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2.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6.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9.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3.xml" ContentType="application/vnd.openxmlformats-officedocument.presentationml.tags+xml"/>
  <Override PartName="/ppt/notesSlides/notesSlide46.xml" ContentType="application/vnd.openxmlformats-officedocument.presentationml.notesSlide+xml"/>
  <Override PartName="/ppt/tags/tag4.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harts/chart6.xml" ContentType="application/vnd.openxmlformats-officedocument.drawingml.chart+xml"/>
  <Override PartName="/ppt/theme/themeOverride5.xml" ContentType="application/vnd.openxmlformats-officedocument.themeOverr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charts/chart7.xml" ContentType="application/vnd.openxmlformats-officedocument.drawingml.chart+xml"/>
  <Override PartName="/ppt/theme/themeOverride6.xml" ContentType="application/vnd.openxmlformats-officedocument.themeOverr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5.xml" ContentType="application/vnd.openxmlformats-officedocument.presentationml.tags+xml"/>
  <Override PartName="/ppt/notesSlides/notesSlide80.xml" ContentType="application/vnd.openxmlformats-officedocument.presentationml.notesSlide+xml"/>
  <Override PartName="/ppt/tags/tag6.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8" r:id="rId4"/>
    <p:sldMasterId id="2147483726" r:id="rId5"/>
    <p:sldMasterId id="2147483738" r:id="rId6"/>
    <p:sldMasterId id="2147483760" r:id="rId7"/>
    <p:sldMasterId id="2147483772" r:id="rId8"/>
    <p:sldMasterId id="2147483778" r:id="rId9"/>
    <p:sldMasterId id="2147483787" r:id="rId10"/>
    <p:sldMasterId id="2147483802" r:id="rId11"/>
    <p:sldMasterId id="2147483814" r:id="rId12"/>
    <p:sldMasterId id="2147483826" r:id="rId13"/>
    <p:sldMasterId id="2147483849" r:id="rId14"/>
    <p:sldMasterId id="2147483859" r:id="rId15"/>
    <p:sldMasterId id="2147483869" r:id="rId16"/>
    <p:sldMasterId id="2147483898" r:id="rId17"/>
  </p:sldMasterIdLst>
  <p:notesMasterIdLst>
    <p:notesMasterId r:id="rId256"/>
  </p:notesMasterIdLst>
  <p:sldIdLst>
    <p:sldId id="2135715167" r:id="rId18"/>
    <p:sldId id="2135715173" r:id="rId19"/>
    <p:sldId id="2135715217" r:id="rId20"/>
    <p:sldId id="3383" r:id="rId21"/>
    <p:sldId id="2135715219" r:id="rId22"/>
    <p:sldId id="2135715157" r:id="rId23"/>
    <p:sldId id="266" r:id="rId24"/>
    <p:sldId id="3472" r:id="rId25"/>
    <p:sldId id="3416" r:id="rId26"/>
    <p:sldId id="2135714420" r:id="rId27"/>
    <p:sldId id="2135715191" r:id="rId28"/>
    <p:sldId id="2135715192" r:id="rId29"/>
    <p:sldId id="1321" r:id="rId30"/>
    <p:sldId id="272" r:id="rId31"/>
    <p:sldId id="347" r:id="rId32"/>
    <p:sldId id="2145706109" r:id="rId33"/>
    <p:sldId id="2134959274" r:id="rId34"/>
    <p:sldId id="2147468916" r:id="rId35"/>
    <p:sldId id="591" r:id="rId36"/>
    <p:sldId id="2134959217" r:id="rId37"/>
    <p:sldId id="2134959298" r:id="rId38"/>
    <p:sldId id="2134959300" r:id="rId39"/>
    <p:sldId id="2134959301" r:id="rId40"/>
    <p:sldId id="2134959302" r:id="rId41"/>
    <p:sldId id="2134959305" r:id="rId42"/>
    <p:sldId id="2134959307" r:id="rId43"/>
    <p:sldId id="761" r:id="rId44"/>
    <p:sldId id="2145706105" r:id="rId45"/>
    <p:sldId id="282" r:id="rId46"/>
    <p:sldId id="2135714421" r:id="rId47"/>
    <p:sldId id="2135714426" r:id="rId48"/>
    <p:sldId id="2147468917" r:id="rId49"/>
    <p:sldId id="2145706096" r:id="rId50"/>
    <p:sldId id="2135714427" r:id="rId51"/>
    <p:sldId id="2135714428" r:id="rId52"/>
    <p:sldId id="2135714430" r:id="rId53"/>
    <p:sldId id="2135714431" r:id="rId54"/>
    <p:sldId id="2135714433" r:id="rId55"/>
    <p:sldId id="2135714435" r:id="rId56"/>
    <p:sldId id="2135714437" r:id="rId57"/>
    <p:sldId id="277" r:id="rId58"/>
    <p:sldId id="2145706090" r:id="rId59"/>
    <p:sldId id="281" r:id="rId60"/>
    <p:sldId id="459" r:id="rId61"/>
    <p:sldId id="2147468918" r:id="rId62"/>
    <p:sldId id="6432" r:id="rId63"/>
    <p:sldId id="649" r:id="rId64"/>
    <p:sldId id="403" r:id="rId65"/>
    <p:sldId id="2145706114" r:id="rId66"/>
    <p:sldId id="2145706106" r:id="rId67"/>
    <p:sldId id="2134959122" r:id="rId68"/>
    <p:sldId id="2134959282" r:id="rId69"/>
    <p:sldId id="2145706107" r:id="rId70"/>
    <p:sldId id="2145706108" r:id="rId71"/>
    <p:sldId id="584" r:id="rId72"/>
    <p:sldId id="2135714388" r:id="rId73"/>
    <p:sldId id="2135715177" r:id="rId74"/>
    <p:sldId id="485" r:id="rId75"/>
    <p:sldId id="486" r:id="rId76"/>
    <p:sldId id="509" r:id="rId77"/>
    <p:sldId id="488" r:id="rId78"/>
    <p:sldId id="497" r:id="rId79"/>
    <p:sldId id="511" r:id="rId80"/>
    <p:sldId id="499" r:id="rId81"/>
    <p:sldId id="501" r:id="rId82"/>
    <p:sldId id="498" r:id="rId83"/>
    <p:sldId id="502" r:id="rId84"/>
    <p:sldId id="492" r:id="rId85"/>
    <p:sldId id="467" r:id="rId86"/>
    <p:sldId id="466" r:id="rId87"/>
    <p:sldId id="503" r:id="rId88"/>
    <p:sldId id="504" r:id="rId89"/>
    <p:sldId id="506" r:id="rId90"/>
    <p:sldId id="507" r:id="rId91"/>
    <p:sldId id="508" r:id="rId92"/>
    <p:sldId id="484" r:id="rId93"/>
    <p:sldId id="482" r:id="rId94"/>
    <p:sldId id="483" r:id="rId95"/>
    <p:sldId id="510" r:id="rId96"/>
    <p:sldId id="2135715178" r:id="rId97"/>
    <p:sldId id="2135715176" r:id="rId98"/>
    <p:sldId id="2141411310" r:id="rId99"/>
    <p:sldId id="2141411311" r:id="rId100"/>
    <p:sldId id="2145706271" r:id="rId101"/>
    <p:sldId id="2010" r:id="rId102"/>
    <p:sldId id="2141411206" r:id="rId103"/>
    <p:sldId id="2067" r:id="rId104"/>
    <p:sldId id="2141411226" r:id="rId105"/>
    <p:sldId id="2145706229" r:id="rId106"/>
    <p:sldId id="1741" r:id="rId107"/>
    <p:sldId id="2145706234" r:id="rId108"/>
    <p:sldId id="2145706279" r:id="rId109"/>
    <p:sldId id="262" r:id="rId110"/>
    <p:sldId id="516" r:id="rId111"/>
    <p:sldId id="2145706239" r:id="rId112"/>
    <p:sldId id="336" r:id="rId113"/>
    <p:sldId id="343" r:id="rId114"/>
    <p:sldId id="344" r:id="rId115"/>
    <p:sldId id="2145706241" r:id="rId116"/>
    <p:sldId id="333" r:id="rId117"/>
    <p:sldId id="2145706272" r:id="rId118"/>
    <p:sldId id="2145706254" r:id="rId119"/>
    <p:sldId id="2145706244" r:id="rId120"/>
    <p:sldId id="2145706275" r:id="rId121"/>
    <p:sldId id="2145706276" r:id="rId122"/>
    <p:sldId id="2145706277" r:id="rId123"/>
    <p:sldId id="2145706278" r:id="rId124"/>
    <p:sldId id="2145706273" r:id="rId125"/>
    <p:sldId id="2145706256" r:id="rId126"/>
    <p:sldId id="2145706274" r:id="rId127"/>
    <p:sldId id="2141411339" r:id="rId128"/>
    <p:sldId id="1598" r:id="rId129"/>
    <p:sldId id="2141411340" r:id="rId130"/>
    <p:sldId id="1673" r:id="rId131"/>
    <p:sldId id="1689" r:id="rId132"/>
    <p:sldId id="1631" r:id="rId133"/>
    <p:sldId id="2141411343" r:id="rId134"/>
    <p:sldId id="1670" r:id="rId135"/>
    <p:sldId id="2141411344" r:id="rId136"/>
    <p:sldId id="577" r:id="rId137"/>
    <p:sldId id="2141411347" r:id="rId138"/>
    <p:sldId id="2135715179" r:id="rId139"/>
    <p:sldId id="2135715216" r:id="rId140"/>
    <p:sldId id="2135715187" r:id="rId141"/>
    <p:sldId id="2147468913" r:id="rId142"/>
    <p:sldId id="257" r:id="rId143"/>
    <p:sldId id="2135715212" r:id="rId144"/>
    <p:sldId id="1290" r:id="rId145"/>
    <p:sldId id="1524" r:id="rId146"/>
    <p:sldId id="1443" r:id="rId147"/>
    <p:sldId id="1522" r:id="rId148"/>
    <p:sldId id="1521" r:id="rId149"/>
    <p:sldId id="2135715182" r:id="rId150"/>
    <p:sldId id="2135715183" r:id="rId151"/>
    <p:sldId id="2147468922" r:id="rId152"/>
    <p:sldId id="2147468923" r:id="rId153"/>
    <p:sldId id="2146846395" r:id="rId154"/>
    <p:sldId id="617" r:id="rId155"/>
    <p:sldId id="623" r:id="rId156"/>
    <p:sldId id="579" r:id="rId157"/>
    <p:sldId id="592" r:id="rId158"/>
    <p:sldId id="583" r:id="rId159"/>
    <p:sldId id="696" r:id="rId160"/>
    <p:sldId id="705" r:id="rId161"/>
    <p:sldId id="678" r:id="rId162"/>
    <p:sldId id="2146846349" r:id="rId163"/>
    <p:sldId id="636" r:id="rId164"/>
    <p:sldId id="593" r:id="rId165"/>
    <p:sldId id="620" r:id="rId166"/>
    <p:sldId id="634" r:id="rId167"/>
    <p:sldId id="663" r:id="rId168"/>
    <p:sldId id="2147468924" r:id="rId169"/>
    <p:sldId id="682" r:id="rId170"/>
    <p:sldId id="2146846397" r:id="rId171"/>
    <p:sldId id="2146846350" r:id="rId172"/>
    <p:sldId id="2147468925" r:id="rId173"/>
    <p:sldId id="2147468926" r:id="rId174"/>
    <p:sldId id="303" r:id="rId175"/>
    <p:sldId id="2147468927" r:id="rId176"/>
    <p:sldId id="2135714588" r:id="rId177"/>
    <p:sldId id="2135715184" r:id="rId178"/>
    <p:sldId id="2135715185" r:id="rId179"/>
    <p:sldId id="4863" r:id="rId180"/>
    <p:sldId id="4915" r:id="rId181"/>
    <p:sldId id="4876" r:id="rId182"/>
    <p:sldId id="4904" r:id="rId183"/>
    <p:sldId id="4905" r:id="rId184"/>
    <p:sldId id="4906" r:id="rId185"/>
    <p:sldId id="4907" r:id="rId186"/>
    <p:sldId id="4891" r:id="rId187"/>
    <p:sldId id="4899" r:id="rId188"/>
    <p:sldId id="4877" r:id="rId189"/>
    <p:sldId id="4908" r:id="rId190"/>
    <p:sldId id="4909" r:id="rId191"/>
    <p:sldId id="4910" r:id="rId192"/>
    <p:sldId id="348" r:id="rId193"/>
    <p:sldId id="404" r:id="rId194"/>
    <p:sldId id="419" r:id="rId195"/>
    <p:sldId id="407" r:id="rId196"/>
    <p:sldId id="4878" r:id="rId197"/>
    <p:sldId id="2135714413" r:id="rId198"/>
    <p:sldId id="4880" r:id="rId199"/>
    <p:sldId id="4911" r:id="rId200"/>
    <p:sldId id="4912" r:id="rId201"/>
    <p:sldId id="4913" r:id="rId202"/>
    <p:sldId id="2135714414" r:id="rId203"/>
    <p:sldId id="2135714417" r:id="rId204"/>
    <p:sldId id="2135714416" r:id="rId205"/>
    <p:sldId id="4885" r:id="rId206"/>
    <p:sldId id="4916" r:id="rId207"/>
    <p:sldId id="2135715186" r:id="rId208"/>
    <p:sldId id="2135715175" r:id="rId209"/>
    <p:sldId id="2135715197" r:id="rId210"/>
    <p:sldId id="2135715195" r:id="rId211"/>
    <p:sldId id="2147468920" r:id="rId212"/>
    <p:sldId id="2134959149" r:id="rId213"/>
    <p:sldId id="280" r:id="rId214"/>
    <p:sldId id="2147468921" r:id="rId215"/>
    <p:sldId id="2134959277" r:id="rId216"/>
    <p:sldId id="2135715202" r:id="rId217"/>
    <p:sldId id="256" r:id="rId218"/>
    <p:sldId id="2296" r:id="rId219"/>
    <p:sldId id="2243" r:id="rId220"/>
    <p:sldId id="2307" r:id="rId221"/>
    <p:sldId id="2310" r:id="rId222"/>
    <p:sldId id="2304" r:id="rId223"/>
    <p:sldId id="2300" r:id="rId224"/>
    <p:sldId id="2147468914" r:id="rId225"/>
    <p:sldId id="2135715180" r:id="rId226"/>
    <p:sldId id="2135715205" r:id="rId227"/>
    <p:sldId id="2135715206" r:id="rId228"/>
    <p:sldId id="460" r:id="rId229"/>
    <p:sldId id="2147468911" r:id="rId230"/>
    <p:sldId id="2135714466" r:id="rId231"/>
    <p:sldId id="2135714478" r:id="rId232"/>
    <p:sldId id="4780" r:id="rId233"/>
    <p:sldId id="1949" r:id="rId234"/>
    <p:sldId id="2147468912" r:id="rId235"/>
    <p:sldId id="2135715207" r:id="rId236"/>
    <p:sldId id="2145705813" r:id="rId237"/>
    <p:sldId id="2146846348" r:id="rId238"/>
    <p:sldId id="2146846354" r:id="rId239"/>
    <p:sldId id="455" r:id="rId240"/>
    <p:sldId id="299" r:id="rId241"/>
    <p:sldId id="674" r:id="rId242"/>
    <p:sldId id="2146846392" r:id="rId243"/>
    <p:sldId id="2146846393" r:id="rId244"/>
    <p:sldId id="2146846366" r:id="rId245"/>
    <p:sldId id="2146846355" r:id="rId246"/>
    <p:sldId id="2146846365" r:id="rId247"/>
    <p:sldId id="2147468915" r:id="rId248"/>
    <p:sldId id="2135715181" r:id="rId249"/>
    <p:sldId id="3484" r:id="rId250"/>
    <p:sldId id="2135715193" r:id="rId251"/>
    <p:sldId id="2135715147" r:id="rId252"/>
    <p:sldId id="3486" r:id="rId253"/>
    <p:sldId id="2135715218" r:id="rId254"/>
    <p:sldId id="2135715188" r:id="rId255"/>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 intro" id="{A3F82D22-DB15-4503-97D3-90877B584FDF}">
          <p14:sldIdLst>
            <p14:sldId id="2135715167"/>
          </p14:sldIdLst>
        </p14:section>
        <p14:section name="Introduction" id="{62F20CBF-14FE-4272-9DA8-7EB8AEA9A2EB}">
          <p14:sldIdLst>
            <p14:sldId id="2135715173"/>
            <p14:sldId id="2135715217"/>
            <p14:sldId id="3383"/>
            <p14:sldId id="2135715219"/>
            <p14:sldId id="2135715157"/>
          </p14:sldIdLst>
        </p14:section>
        <p14:section name="Session open" id="{B2F4FE9A-01AF-4F6D-A338-D16AA24EDD55}">
          <p14:sldIdLst>
            <p14:sldId id="266"/>
            <p14:sldId id="3472"/>
            <p14:sldId id="3416"/>
            <p14:sldId id="2135714420"/>
            <p14:sldId id="2135715191"/>
            <p14:sldId id="2135715192"/>
          </p14:sldIdLst>
        </p14:section>
        <p14:section name="Smoldering Multiple Myeloma" id="{209DB8C6-0147-4B04-B56E-19786AC478CF}">
          <p14:sldIdLst>
            <p14:sldId id="1321"/>
            <p14:sldId id="272"/>
            <p14:sldId id="347"/>
            <p14:sldId id="2145706109"/>
            <p14:sldId id="2134959274"/>
            <p14:sldId id="2147468916"/>
            <p14:sldId id="591"/>
            <p14:sldId id="2134959217"/>
            <p14:sldId id="2134959298"/>
            <p14:sldId id="2134959300"/>
            <p14:sldId id="2134959301"/>
            <p14:sldId id="2134959302"/>
            <p14:sldId id="2134959305"/>
            <p14:sldId id="2134959307"/>
            <p14:sldId id="761"/>
            <p14:sldId id="2145706105"/>
            <p14:sldId id="282"/>
            <p14:sldId id="2135714421"/>
            <p14:sldId id="2135714426"/>
            <p14:sldId id="2147468917"/>
            <p14:sldId id="2145706096"/>
            <p14:sldId id="2135714427"/>
            <p14:sldId id="2135714428"/>
            <p14:sldId id="2135714430"/>
            <p14:sldId id="2135714431"/>
            <p14:sldId id="2135714433"/>
            <p14:sldId id="2135714435"/>
            <p14:sldId id="2135714437"/>
            <p14:sldId id="277"/>
            <p14:sldId id="2145706090"/>
            <p14:sldId id="281"/>
            <p14:sldId id="459"/>
            <p14:sldId id="2147468918"/>
            <p14:sldId id="6432"/>
            <p14:sldId id="649"/>
            <p14:sldId id="403"/>
            <p14:sldId id="2145706114"/>
            <p14:sldId id="2145706106"/>
            <p14:sldId id="2134959122"/>
            <p14:sldId id="2134959282"/>
            <p14:sldId id="2145706107"/>
            <p14:sldId id="2145706108"/>
            <p14:sldId id="584"/>
            <p14:sldId id="2135714388"/>
          </p14:sldIdLst>
        </p14:section>
        <p14:section name="Importance of Minimal Residual Disease and Genetic Testing in Multiple Myeloma" id="{10465C54-8B0A-428E-B327-551A064C9221}">
          <p14:sldIdLst>
            <p14:sldId id="2135715177"/>
            <p14:sldId id="485"/>
            <p14:sldId id="486"/>
            <p14:sldId id="509"/>
            <p14:sldId id="488"/>
            <p14:sldId id="497"/>
            <p14:sldId id="511"/>
            <p14:sldId id="499"/>
            <p14:sldId id="501"/>
            <p14:sldId id="498"/>
            <p14:sldId id="502"/>
            <p14:sldId id="492"/>
            <p14:sldId id="467"/>
            <p14:sldId id="466"/>
            <p14:sldId id="503"/>
            <p14:sldId id="504"/>
            <p14:sldId id="506"/>
            <p14:sldId id="507"/>
            <p14:sldId id="508"/>
            <p14:sldId id="484"/>
            <p14:sldId id="482"/>
            <p14:sldId id="483"/>
            <p14:sldId id="510"/>
            <p14:sldId id="2135715178"/>
          </p14:sldIdLst>
        </p14:section>
        <p14:section name="Frontline Therapy for Newly Diagnosed Transplant-Eligible Multiple Myeloma: The Role of Transplantation" id="{9D38239F-E1A4-4DE5-9551-D1CD25ED81C7}">
          <p14:sldIdLst>
            <p14:sldId id="2135715176"/>
            <p14:sldId id="2141411310"/>
            <p14:sldId id="2141411311"/>
            <p14:sldId id="2145706271"/>
            <p14:sldId id="2010"/>
            <p14:sldId id="2141411206"/>
            <p14:sldId id="2067"/>
            <p14:sldId id="2141411226"/>
            <p14:sldId id="2145706229"/>
            <p14:sldId id="1741"/>
            <p14:sldId id="2145706234"/>
            <p14:sldId id="2145706279"/>
            <p14:sldId id="262"/>
            <p14:sldId id="516"/>
            <p14:sldId id="2145706239"/>
            <p14:sldId id="336"/>
            <p14:sldId id="343"/>
            <p14:sldId id="344"/>
            <p14:sldId id="2145706241"/>
            <p14:sldId id="333"/>
            <p14:sldId id="2145706272"/>
            <p14:sldId id="2145706254"/>
            <p14:sldId id="2145706244"/>
            <p14:sldId id="2145706275"/>
            <p14:sldId id="2145706276"/>
            <p14:sldId id="2145706277"/>
            <p14:sldId id="2145706278"/>
            <p14:sldId id="2145706273"/>
            <p14:sldId id="2145706256"/>
            <p14:sldId id="2145706274"/>
            <p14:sldId id="2141411339"/>
            <p14:sldId id="1598"/>
            <p14:sldId id="2141411340"/>
            <p14:sldId id="1673"/>
            <p14:sldId id="1689"/>
            <p14:sldId id="1631"/>
            <p14:sldId id="2141411343"/>
            <p14:sldId id="1670"/>
            <p14:sldId id="2141411344"/>
            <p14:sldId id="577"/>
            <p14:sldId id="2141411347"/>
            <p14:sldId id="2135715179"/>
          </p14:sldIdLst>
        </p14:section>
        <p14:section name="Panel Discussion" id="{FDEBFFF1-2E48-43A4-83F3-2FC26C4D96B0}">
          <p14:sldIdLst>
            <p14:sldId id="2135715216"/>
          </p14:sldIdLst>
        </p14:section>
        <p14:section name="Panel Discussion: Paiva" id="{D6D1F305-DF30-4E0F-952F-C5C0EA037CE0}">
          <p14:sldIdLst>
            <p14:sldId id="2135715187"/>
            <p14:sldId id="2147468913"/>
            <p14:sldId id="257"/>
          </p14:sldIdLst>
        </p14:section>
        <p14:section name="Panel Discussion: Einsele" id="{52C56B12-E70F-4B5E-8CD2-79BC412943A9}">
          <p14:sldIdLst>
            <p14:sldId id="2135715212"/>
            <p14:sldId id="1290"/>
            <p14:sldId id="1524"/>
            <p14:sldId id="1443"/>
            <p14:sldId id="1522"/>
            <p14:sldId id="1521"/>
            <p14:sldId id="2135715182"/>
          </p14:sldIdLst>
        </p14:section>
        <p14:section name="Optimal Use of Consolidation and Maintenance Therapy" id="{744ED399-FA6C-418A-A237-8BF9F83526F4}">
          <p14:sldIdLst>
            <p14:sldId id="2135715183"/>
            <p14:sldId id="2147468922"/>
            <p14:sldId id="2147468923"/>
            <p14:sldId id="2146846395"/>
            <p14:sldId id="617"/>
            <p14:sldId id="623"/>
            <p14:sldId id="579"/>
            <p14:sldId id="592"/>
            <p14:sldId id="583"/>
            <p14:sldId id="696"/>
            <p14:sldId id="705"/>
            <p14:sldId id="678"/>
            <p14:sldId id="2146846349"/>
            <p14:sldId id="636"/>
            <p14:sldId id="593"/>
            <p14:sldId id="620"/>
            <p14:sldId id="634"/>
            <p14:sldId id="663"/>
            <p14:sldId id="2147468924"/>
            <p14:sldId id="682"/>
            <p14:sldId id="2146846397"/>
            <p14:sldId id="2146846350"/>
            <p14:sldId id="2147468925"/>
            <p14:sldId id="2147468926"/>
            <p14:sldId id="303"/>
            <p14:sldId id="2147468927"/>
            <p14:sldId id="2135714588"/>
            <p14:sldId id="2135715184"/>
          </p14:sldIdLst>
        </p14:section>
        <p14:section name="Frontline Therapy for Newly Diagnosed Transplant-Ineligible Patients" id="{9F2813D6-9B50-45D9-8120-858BFA02A517}">
          <p14:sldIdLst>
            <p14:sldId id="2135715185"/>
            <p14:sldId id="4863"/>
            <p14:sldId id="4915"/>
            <p14:sldId id="4876"/>
            <p14:sldId id="4904"/>
            <p14:sldId id="4905"/>
            <p14:sldId id="4906"/>
            <p14:sldId id="4907"/>
            <p14:sldId id="4891"/>
            <p14:sldId id="4899"/>
            <p14:sldId id="4877"/>
            <p14:sldId id="4908"/>
            <p14:sldId id="4909"/>
            <p14:sldId id="4910"/>
            <p14:sldId id="348"/>
            <p14:sldId id="404"/>
            <p14:sldId id="419"/>
            <p14:sldId id="407"/>
            <p14:sldId id="4878"/>
            <p14:sldId id="2135714413"/>
            <p14:sldId id="4880"/>
            <p14:sldId id="4911"/>
            <p14:sldId id="4912"/>
            <p14:sldId id="4913"/>
            <p14:sldId id="2135714414"/>
            <p14:sldId id="2135714417"/>
            <p14:sldId id="2135714416"/>
            <p14:sldId id="4885"/>
            <p14:sldId id="4916"/>
            <p14:sldId id="2135715186"/>
          </p14:sldIdLst>
        </p14:section>
        <p14:section name="Debate: Smoldering Myeloma: To treat or not to treat?" id="{4C276A77-3EA9-4F29-945C-84FD15C9FF53}">
          <p14:sldIdLst>
            <p14:sldId id="2135715175"/>
            <p14:sldId id="2135715197"/>
          </p14:sldIdLst>
        </p14:section>
        <p14:section name="Yes: Smoldering Myeloma: To Treat or Not to Treat?" id="{9A459B98-7CF5-423F-AE30-8C8A67545C68}">
          <p14:sldIdLst>
            <p14:sldId id="2135715195"/>
            <p14:sldId id="2147468920"/>
            <p14:sldId id="2134959149"/>
            <p14:sldId id="280"/>
            <p14:sldId id="2147468921"/>
            <p14:sldId id="2134959277"/>
          </p14:sldIdLst>
        </p14:section>
        <p14:section name="No: Smoldering Myeloma: To Treat or Not to Treat?" id="{26563EBE-3533-40BF-A150-626A2EB38B71}">
          <p14:sldIdLst>
            <p14:sldId id="2135715202"/>
            <p14:sldId id="256"/>
            <p14:sldId id="2296"/>
            <p14:sldId id="2243"/>
            <p14:sldId id="2307"/>
            <p14:sldId id="2310"/>
            <p14:sldId id="2304"/>
            <p14:sldId id="2300"/>
            <p14:sldId id="2147468914"/>
          </p14:sldIdLst>
        </p14:section>
        <p14:section name="Debate: Is Myeloma Curable or Not?" id="{85D051D6-9439-4D37-85A0-D521D7BFF157}">
          <p14:sldIdLst>
            <p14:sldId id="2135715180"/>
            <p14:sldId id="2135715205"/>
          </p14:sldIdLst>
        </p14:section>
        <p14:section name="Yes: Is Myeloma Curable or Not?" id="{B51D440C-975A-4A9B-976A-DB3B183AA15B}">
          <p14:sldIdLst>
            <p14:sldId id="2135715206"/>
            <p14:sldId id="460"/>
            <p14:sldId id="2147468911"/>
            <p14:sldId id="2135714466"/>
            <p14:sldId id="2135714478"/>
            <p14:sldId id="4780"/>
            <p14:sldId id="1949"/>
            <p14:sldId id="2147468912"/>
          </p14:sldIdLst>
        </p14:section>
        <p14:section name="No: Is Myeloma Curable or Not?" id="{FE02CDD1-F24A-40CD-A4FA-F3039C875645}">
          <p14:sldIdLst>
            <p14:sldId id="2135715207"/>
            <p14:sldId id="2145705813"/>
            <p14:sldId id="2146846348"/>
            <p14:sldId id="2146846354"/>
            <p14:sldId id="455"/>
            <p14:sldId id="299"/>
            <p14:sldId id="674"/>
            <p14:sldId id="2146846392"/>
            <p14:sldId id="2146846393"/>
            <p14:sldId id="2146846366"/>
            <p14:sldId id="2146846355"/>
            <p14:sldId id="2146846365"/>
            <p14:sldId id="2147468915"/>
            <p14:sldId id="2135715181"/>
          </p14:sldIdLst>
        </p14:section>
        <p14:section name="Session close" id="{1FE81611-99E5-4F8D-83FB-54EC5ACCCEFD}">
          <p14:sldIdLst>
            <p14:sldId id="3484"/>
            <p14:sldId id="2135715193"/>
            <p14:sldId id="2135715147"/>
            <p14:sldId id="3486"/>
            <p14:sldId id="2135715218"/>
            <p14:sldId id="2135715188"/>
          </p14:sldIdLst>
        </p14:section>
      </p14:sectionLst>
    </p:ext>
    <p:ext uri="{EFAFB233-063F-42B5-8137-9DF3F51BA10A}">
      <p15:sldGuideLst xmlns:p15="http://schemas.microsoft.com/office/powerpoint/2012/main">
        <p15:guide id="1" pos="2880" userDrawn="1">
          <p15:clr>
            <a:srgbClr val="A4A3A4"/>
          </p15:clr>
        </p15:guide>
        <p15:guide id="2" orient="horz" pos="1620" userDrawn="1">
          <p15:clr>
            <a:srgbClr val="A4A3A4"/>
          </p15:clr>
        </p15:guide>
        <p15:guide id="3" orient="horz" pos="444" userDrawn="1">
          <p15:clr>
            <a:srgbClr val="A4A3A4"/>
          </p15:clr>
        </p15:guide>
        <p15:guide id="4" pos="14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A00D20-38B9-9F60-BD67-3C6D948F1DD2}" name="Istvan Borbiro, PhD" initials="IBP" userId="S::istvan.borbiro@aptitudehealth.com::39b5405a-d126-48fc-9e4e-2db54b07332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ie Brittle" initials="KB" lastIdx="12" clrIdx="0">
    <p:extLst>
      <p:ext uri="{19B8F6BF-5375-455C-9EA6-DF929625EA0E}">
        <p15:presenceInfo xmlns:p15="http://schemas.microsoft.com/office/powerpoint/2012/main" userId="S::katie.brittle@aptitudehealth.com::aa730c4e-4758-48b0-9b35-b9c7075b5d60" providerId="AD"/>
      </p:ext>
    </p:extLst>
  </p:cmAuthor>
  <p:cmAuthor id="2" name="Elaine Jennings, PhD" initials="EJP" lastIdx="12" clrIdx="1">
    <p:extLst>
      <p:ext uri="{19B8F6BF-5375-455C-9EA6-DF929625EA0E}">
        <p15:presenceInfo xmlns:p15="http://schemas.microsoft.com/office/powerpoint/2012/main" userId="S::Elaine.Jennings@aptitudehealth.com::405f80b1-2625-4f75-89d1-6bc147db6e05" providerId="AD"/>
      </p:ext>
    </p:extLst>
  </p:cmAuthor>
  <p:cmAuthor id="3" name="Istvan Borbiro, PhD" initials="IBP" lastIdx="47" clrIdx="2">
    <p:extLst>
      <p:ext uri="{19B8F6BF-5375-455C-9EA6-DF929625EA0E}">
        <p15:presenceInfo xmlns:p15="http://schemas.microsoft.com/office/powerpoint/2012/main" userId="S::istvan.borbiro@aptitudehealth.com::39b5405a-d126-48fc-9e4e-2db54b073326" providerId="AD"/>
      </p:ext>
    </p:extLst>
  </p:cmAuthor>
  <p:cmAuthor id="4" name="Mastan Somepalli, PhD" initials="MP" lastIdx="5" clrIdx="3">
    <p:extLst>
      <p:ext uri="{19B8F6BF-5375-455C-9EA6-DF929625EA0E}">
        <p15:presenceInfo xmlns:p15="http://schemas.microsoft.com/office/powerpoint/2012/main" userId="S::mastan.somepalli@aptitudehealth.com::27d52599-d987-4738-bc06-f8ae5e5148eb" providerId="AD"/>
      </p:ext>
    </p:extLst>
  </p:cmAuthor>
  <p:cmAuthor id="5" name="Amanda Perkerson, ELS" initials="APE" lastIdx="4" clrIdx="4">
    <p:extLst>
      <p:ext uri="{19B8F6BF-5375-455C-9EA6-DF929625EA0E}">
        <p15:presenceInfo xmlns:p15="http://schemas.microsoft.com/office/powerpoint/2012/main" userId="S::amanda.perkerson@aptitudehealth.com::7cfd3975-6468-4eb5-97d3-d459c13825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0"/>
    <a:srgbClr val="262626"/>
    <a:srgbClr val="002060"/>
    <a:srgbClr val="9EA9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1" d="100"/>
          <a:sy n="121" d="100"/>
        </p:scale>
        <p:origin x="390" y="102"/>
      </p:cViewPr>
      <p:guideLst>
        <p:guide pos="2880"/>
        <p:guide orient="horz" pos="1620"/>
        <p:guide orient="horz" pos="444"/>
        <p:guide pos="14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0.xml"/><Relationship Id="rId21" Type="http://schemas.openxmlformats.org/officeDocument/2006/relationships/slide" Target="slides/slide4.xml"/><Relationship Id="rId63" Type="http://schemas.openxmlformats.org/officeDocument/2006/relationships/slide" Target="slides/slide46.xml"/><Relationship Id="rId159" Type="http://schemas.openxmlformats.org/officeDocument/2006/relationships/slide" Target="slides/slide142.xml"/><Relationship Id="rId170" Type="http://schemas.openxmlformats.org/officeDocument/2006/relationships/slide" Target="slides/slide153.xml"/><Relationship Id="rId191" Type="http://schemas.openxmlformats.org/officeDocument/2006/relationships/slide" Target="slides/slide174.xml"/><Relationship Id="rId205" Type="http://schemas.openxmlformats.org/officeDocument/2006/relationships/slide" Target="slides/slide188.xml"/><Relationship Id="rId226" Type="http://schemas.openxmlformats.org/officeDocument/2006/relationships/slide" Target="slides/slide209.xml"/><Relationship Id="rId247" Type="http://schemas.openxmlformats.org/officeDocument/2006/relationships/slide" Target="slides/slide230.xml"/><Relationship Id="rId107" Type="http://schemas.openxmlformats.org/officeDocument/2006/relationships/slide" Target="slides/slide90.xml"/><Relationship Id="rId11" Type="http://schemas.openxmlformats.org/officeDocument/2006/relationships/slideMaster" Target="slideMasters/slideMaster8.xml"/><Relationship Id="rId32" Type="http://schemas.openxmlformats.org/officeDocument/2006/relationships/slide" Target="slides/slide15.xml"/><Relationship Id="rId53" Type="http://schemas.openxmlformats.org/officeDocument/2006/relationships/slide" Target="slides/slide36.xml"/><Relationship Id="rId74" Type="http://schemas.openxmlformats.org/officeDocument/2006/relationships/slide" Target="slides/slide57.xml"/><Relationship Id="rId128" Type="http://schemas.openxmlformats.org/officeDocument/2006/relationships/slide" Target="slides/slide111.xml"/><Relationship Id="rId149" Type="http://schemas.openxmlformats.org/officeDocument/2006/relationships/slide" Target="slides/slide132.xml"/><Relationship Id="rId5" Type="http://schemas.openxmlformats.org/officeDocument/2006/relationships/slideMaster" Target="slideMasters/slideMaster2.xml"/><Relationship Id="rId95" Type="http://schemas.openxmlformats.org/officeDocument/2006/relationships/slide" Target="slides/slide78.xml"/><Relationship Id="rId160" Type="http://schemas.openxmlformats.org/officeDocument/2006/relationships/slide" Target="slides/slide143.xml"/><Relationship Id="rId181" Type="http://schemas.openxmlformats.org/officeDocument/2006/relationships/slide" Target="slides/slide164.xml"/><Relationship Id="rId216" Type="http://schemas.openxmlformats.org/officeDocument/2006/relationships/slide" Target="slides/slide199.xml"/><Relationship Id="rId237" Type="http://schemas.openxmlformats.org/officeDocument/2006/relationships/slide" Target="slides/slide220.xml"/><Relationship Id="rId258" Type="http://schemas.openxmlformats.org/officeDocument/2006/relationships/presProps" Target="presProps.xml"/><Relationship Id="rId22" Type="http://schemas.openxmlformats.org/officeDocument/2006/relationships/slide" Target="slides/slide5.xml"/><Relationship Id="rId43" Type="http://schemas.openxmlformats.org/officeDocument/2006/relationships/slide" Target="slides/slide26.xml"/><Relationship Id="rId64" Type="http://schemas.openxmlformats.org/officeDocument/2006/relationships/slide" Target="slides/slide47.xml"/><Relationship Id="rId118" Type="http://schemas.openxmlformats.org/officeDocument/2006/relationships/slide" Target="slides/slide101.xml"/><Relationship Id="rId139" Type="http://schemas.openxmlformats.org/officeDocument/2006/relationships/slide" Target="slides/slide122.xml"/><Relationship Id="rId85" Type="http://schemas.openxmlformats.org/officeDocument/2006/relationships/slide" Target="slides/slide68.xml"/><Relationship Id="rId150" Type="http://schemas.openxmlformats.org/officeDocument/2006/relationships/slide" Target="slides/slide133.xml"/><Relationship Id="rId171" Type="http://schemas.openxmlformats.org/officeDocument/2006/relationships/slide" Target="slides/slide154.xml"/><Relationship Id="rId192" Type="http://schemas.openxmlformats.org/officeDocument/2006/relationships/slide" Target="slides/slide175.xml"/><Relationship Id="rId206" Type="http://schemas.openxmlformats.org/officeDocument/2006/relationships/slide" Target="slides/slide189.xml"/><Relationship Id="rId227" Type="http://schemas.openxmlformats.org/officeDocument/2006/relationships/slide" Target="slides/slide210.xml"/><Relationship Id="rId248" Type="http://schemas.openxmlformats.org/officeDocument/2006/relationships/slide" Target="slides/slide231.xml"/><Relationship Id="rId12" Type="http://schemas.openxmlformats.org/officeDocument/2006/relationships/slideMaster" Target="slideMasters/slideMaster9.xml"/><Relationship Id="rId33" Type="http://schemas.openxmlformats.org/officeDocument/2006/relationships/slide" Target="slides/slide16.xml"/><Relationship Id="rId108" Type="http://schemas.openxmlformats.org/officeDocument/2006/relationships/slide" Target="slides/slide91.xml"/><Relationship Id="rId129" Type="http://schemas.openxmlformats.org/officeDocument/2006/relationships/slide" Target="slides/slide112.xml"/><Relationship Id="rId54" Type="http://schemas.openxmlformats.org/officeDocument/2006/relationships/slide" Target="slides/slide37.xml"/><Relationship Id="rId75" Type="http://schemas.openxmlformats.org/officeDocument/2006/relationships/slide" Target="slides/slide58.xml"/><Relationship Id="rId96" Type="http://schemas.openxmlformats.org/officeDocument/2006/relationships/slide" Target="slides/slide79.xml"/><Relationship Id="rId140" Type="http://schemas.openxmlformats.org/officeDocument/2006/relationships/slide" Target="slides/slide123.xml"/><Relationship Id="rId161" Type="http://schemas.openxmlformats.org/officeDocument/2006/relationships/slide" Target="slides/slide144.xml"/><Relationship Id="rId182" Type="http://schemas.openxmlformats.org/officeDocument/2006/relationships/slide" Target="slides/slide165.xml"/><Relationship Id="rId217" Type="http://schemas.openxmlformats.org/officeDocument/2006/relationships/slide" Target="slides/slide200.xml"/><Relationship Id="rId6" Type="http://schemas.openxmlformats.org/officeDocument/2006/relationships/slideMaster" Target="slideMasters/slideMaster3.xml"/><Relationship Id="rId238" Type="http://schemas.openxmlformats.org/officeDocument/2006/relationships/slide" Target="slides/slide221.xml"/><Relationship Id="rId259" Type="http://schemas.openxmlformats.org/officeDocument/2006/relationships/viewProps" Target="viewProps.xml"/><Relationship Id="rId23" Type="http://schemas.openxmlformats.org/officeDocument/2006/relationships/slide" Target="slides/slide6.xml"/><Relationship Id="rId119" Type="http://schemas.openxmlformats.org/officeDocument/2006/relationships/slide" Target="slides/slide102.xml"/><Relationship Id="rId44" Type="http://schemas.openxmlformats.org/officeDocument/2006/relationships/slide" Target="slides/slide27.xml"/><Relationship Id="rId65" Type="http://schemas.openxmlformats.org/officeDocument/2006/relationships/slide" Target="slides/slide48.xml"/><Relationship Id="rId86" Type="http://schemas.openxmlformats.org/officeDocument/2006/relationships/slide" Target="slides/slide69.xml"/><Relationship Id="rId130" Type="http://schemas.openxmlformats.org/officeDocument/2006/relationships/slide" Target="slides/slide113.xml"/><Relationship Id="rId151" Type="http://schemas.openxmlformats.org/officeDocument/2006/relationships/slide" Target="slides/slide134.xml"/><Relationship Id="rId172" Type="http://schemas.openxmlformats.org/officeDocument/2006/relationships/slide" Target="slides/slide155.xml"/><Relationship Id="rId193" Type="http://schemas.openxmlformats.org/officeDocument/2006/relationships/slide" Target="slides/slide176.xml"/><Relationship Id="rId207" Type="http://schemas.openxmlformats.org/officeDocument/2006/relationships/slide" Target="slides/slide190.xml"/><Relationship Id="rId228" Type="http://schemas.openxmlformats.org/officeDocument/2006/relationships/slide" Target="slides/slide211.xml"/><Relationship Id="rId249" Type="http://schemas.openxmlformats.org/officeDocument/2006/relationships/slide" Target="slides/slide232.xml"/><Relationship Id="rId13" Type="http://schemas.openxmlformats.org/officeDocument/2006/relationships/slideMaster" Target="slideMasters/slideMaster10.xml"/><Relationship Id="rId109" Type="http://schemas.openxmlformats.org/officeDocument/2006/relationships/slide" Target="slides/slide92.xml"/><Relationship Id="rId260" Type="http://schemas.openxmlformats.org/officeDocument/2006/relationships/theme" Target="theme/theme1.xml"/><Relationship Id="rId34" Type="http://schemas.openxmlformats.org/officeDocument/2006/relationships/slide" Target="slides/slide17.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20" Type="http://schemas.openxmlformats.org/officeDocument/2006/relationships/slide" Target="slides/slide103.xml"/><Relationship Id="rId141" Type="http://schemas.openxmlformats.org/officeDocument/2006/relationships/slide" Target="slides/slide124.xml"/><Relationship Id="rId7" Type="http://schemas.openxmlformats.org/officeDocument/2006/relationships/slideMaster" Target="slideMasters/slideMaster4.xml"/><Relationship Id="rId162" Type="http://schemas.openxmlformats.org/officeDocument/2006/relationships/slide" Target="slides/slide145.xml"/><Relationship Id="rId183" Type="http://schemas.openxmlformats.org/officeDocument/2006/relationships/slide" Target="slides/slide166.xml"/><Relationship Id="rId218" Type="http://schemas.openxmlformats.org/officeDocument/2006/relationships/slide" Target="slides/slide201.xml"/><Relationship Id="rId239" Type="http://schemas.openxmlformats.org/officeDocument/2006/relationships/slide" Target="slides/slide222.xml"/><Relationship Id="rId250" Type="http://schemas.openxmlformats.org/officeDocument/2006/relationships/slide" Target="slides/slide233.xml"/><Relationship Id="rId24" Type="http://schemas.openxmlformats.org/officeDocument/2006/relationships/slide" Target="slides/slide7.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31" Type="http://schemas.openxmlformats.org/officeDocument/2006/relationships/slide" Target="slides/slide114.xml"/><Relationship Id="rId152" Type="http://schemas.openxmlformats.org/officeDocument/2006/relationships/slide" Target="slides/slide135.xml"/><Relationship Id="rId173" Type="http://schemas.openxmlformats.org/officeDocument/2006/relationships/slide" Target="slides/slide156.xml"/><Relationship Id="rId194" Type="http://schemas.openxmlformats.org/officeDocument/2006/relationships/slide" Target="slides/slide177.xml"/><Relationship Id="rId208" Type="http://schemas.openxmlformats.org/officeDocument/2006/relationships/slide" Target="slides/slide191.xml"/><Relationship Id="rId229" Type="http://schemas.openxmlformats.org/officeDocument/2006/relationships/slide" Target="slides/slide212.xml"/><Relationship Id="rId240" Type="http://schemas.openxmlformats.org/officeDocument/2006/relationships/slide" Target="slides/slide223.xml"/><Relationship Id="rId261" Type="http://schemas.openxmlformats.org/officeDocument/2006/relationships/tableStyles" Target="tableStyles.xml"/><Relationship Id="rId14" Type="http://schemas.openxmlformats.org/officeDocument/2006/relationships/slideMaster" Target="slideMasters/slideMaster11.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8" Type="http://schemas.openxmlformats.org/officeDocument/2006/relationships/slideMaster" Target="slideMasters/slideMaster5.xml"/><Relationship Id="rId98" Type="http://schemas.openxmlformats.org/officeDocument/2006/relationships/slide" Target="slides/slide81.xml"/><Relationship Id="rId121" Type="http://schemas.openxmlformats.org/officeDocument/2006/relationships/slide" Target="slides/slide104.xml"/><Relationship Id="rId142" Type="http://schemas.openxmlformats.org/officeDocument/2006/relationships/slide" Target="slides/slide125.xml"/><Relationship Id="rId163" Type="http://schemas.openxmlformats.org/officeDocument/2006/relationships/slide" Target="slides/slide146.xml"/><Relationship Id="rId184" Type="http://schemas.openxmlformats.org/officeDocument/2006/relationships/slide" Target="slides/slide167.xml"/><Relationship Id="rId219" Type="http://schemas.openxmlformats.org/officeDocument/2006/relationships/slide" Target="slides/slide202.xml"/><Relationship Id="rId230" Type="http://schemas.openxmlformats.org/officeDocument/2006/relationships/slide" Target="slides/slide213.xml"/><Relationship Id="rId251" Type="http://schemas.openxmlformats.org/officeDocument/2006/relationships/slide" Target="slides/slide234.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88" Type="http://schemas.openxmlformats.org/officeDocument/2006/relationships/slide" Target="slides/slide71.xml"/><Relationship Id="rId111" Type="http://schemas.openxmlformats.org/officeDocument/2006/relationships/slide" Target="slides/slide94.xml"/><Relationship Id="rId132" Type="http://schemas.openxmlformats.org/officeDocument/2006/relationships/slide" Target="slides/slide115.xml"/><Relationship Id="rId153" Type="http://schemas.openxmlformats.org/officeDocument/2006/relationships/slide" Target="slides/slide136.xml"/><Relationship Id="rId174" Type="http://schemas.openxmlformats.org/officeDocument/2006/relationships/slide" Target="slides/slide157.xml"/><Relationship Id="rId195" Type="http://schemas.openxmlformats.org/officeDocument/2006/relationships/slide" Target="slides/slide178.xml"/><Relationship Id="rId209" Type="http://schemas.openxmlformats.org/officeDocument/2006/relationships/slide" Target="slides/slide192.xml"/><Relationship Id="rId220" Type="http://schemas.openxmlformats.org/officeDocument/2006/relationships/slide" Target="slides/slide203.xml"/><Relationship Id="rId241" Type="http://schemas.openxmlformats.org/officeDocument/2006/relationships/slide" Target="slides/slide224.xml"/><Relationship Id="rId15" Type="http://schemas.openxmlformats.org/officeDocument/2006/relationships/slideMaster" Target="slideMasters/slideMaster12.xml"/><Relationship Id="rId36" Type="http://schemas.openxmlformats.org/officeDocument/2006/relationships/slide" Target="slides/slide19.xml"/><Relationship Id="rId57" Type="http://schemas.openxmlformats.org/officeDocument/2006/relationships/slide" Target="slides/slide40.xml"/><Relationship Id="rId262" Type="http://schemas.microsoft.com/office/2016/11/relationships/changesInfo" Target="changesInfos/changesInfo1.xml"/><Relationship Id="rId78" Type="http://schemas.openxmlformats.org/officeDocument/2006/relationships/slide" Target="slides/slide61.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slide" Target="slides/slide105.xml"/><Relationship Id="rId143" Type="http://schemas.openxmlformats.org/officeDocument/2006/relationships/slide" Target="slides/slide126.xml"/><Relationship Id="rId164" Type="http://schemas.openxmlformats.org/officeDocument/2006/relationships/slide" Target="slides/slide147.xml"/><Relationship Id="rId185" Type="http://schemas.openxmlformats.org/officeDocument/2006/relationships/slide" Target="slides/slide168.xml"/><Relationship Id="rId9" Type="http://schemas.openxmlformats.org/officeDocument/2006/relationships/slideMaster" Target="slideMasters/slideMaster6.xml"/><Relationship Id="rId210" Type="http://schemas.openxmlformats.org/officeDocument/2006/relationships/slide" Target="slides/slide193.xml"/><Relationship Id="rId26" Type="http://schemas.openxmlformats.org/officeDocument/2006/relationships/slide" Target="slides/slide9.xml"/><Relationship Id="rId231" Type="http://schemas.openxmlformats.org/officeDocument/2006/relationships/slide" Target="slides/slide214.xml"/><Relationship Id="rId252" Type="http://schemas.openxmlformats.org/officeDocument/2006/relationships/slide" Target="slides/slide235.xml"/><Relationship Id="rId47" Type="http://schemas.openxmlformats.org/officeDocument/2006/relationships/slide" Target="slides/slide30.xml"/><Relationship Id="rId68" Type="http://schemas.openxmlformats.org/officeDocument/2006/relationships/slide" Target="slides/slide51.xml"/><Relationship Id="rId89" Type="http://schemas.openxmlformats.org/officeDocument/2006/relationships/slide" Target="slides/slide72.xml"/><Relationship Id="rId112" Type="http://schemas.openxmlformats.org/officeDocument/2006/relationships/slide" Target="slides/slide95.xml"/><Relationship Id="rId133" Type="http://schemas.openxmlformats.org/officeDocument/2006/relationships/slide" Target="slides/slide116.xml"/><Relationship Id="rId154" Type="http://schemas.openxmlformats.org/officeDocument/2006/relationships/slide" Target="slides/slide137.xml"/><Relationship Id="rId175" Type="http://schemas.openxmlformats.org/officeDocument/2006/relationships/slide" Target="slides/slide158.xml"/><Relationship Id="rId196" Type="http://schemas.openxmlformats.org/officeDocument/2006/relationships/slide" Target="slides/slide179.xml"/><Relationship Id="rId200" Type="http://schemas.openxmlformats.org/officeDocument/2006/relationships/slide" Target="slides/slide183.xml"/><Relationship Id="rId16" Type="http://schemas.openxmlformats.org/officeDocument/2006/relationships/slideMaster" Target="slideMasters/slideMaster13.xml"/><Relationship Id="rId221" Type="http://schemas.openxmlformats.org/officeDocument/2006/relationships/slide" Target="slides/slide204.xml"/><Relationship Id="rId242" Type="http://schemas.openxmlformats.org/officeDocument/2006/relationships/slide" Target="slides/slide225.xml"/><Relationship Id="rId263" Type="http://schemas.microsoft.com/office/2018/10/relationships/authors" Target="authors.xml"/><Relationship Id="rId37" Type="http://schemas.openxmlformats.org/officeDocument/2006/relationships/slide" Target="slides/slide20.xml"/><Relationship Id="rId58" Type="http://schemas.openxmlformats.org/officeDocument/2006/relationships/slide" Target="slides/slide41.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slide" Target="slides/slide106.xml"/><Relationship Id="rId144" Type="http://schemas.openxmlformats.org/officeDocument/2006/relationships/slide" Target="slides/slide127.xml"/><Relationship Id="rId90" Type="http://schemas.openxmlformats.org/officeDocument/2006/relationships/slide" Target="slides/slide73.xml"/><Relationship Id="rId165" Type="http://schemas.openxmlformats.org/officeDocument/2006/relationships/slide" Target="slides/slide148.xml"/><Relationship Id="rId186" Type="http://schemas.openxmlformats.org/officeDocument/2006/relationships/slide" Target="slides/slide169.xml"/><Relationship Id="rId211" Type="http://schemas.openxmlformats.org/officeDocument/2006/relationships/slide" Target="slides/slide194.xml"/><Relationship Id="rId232" Type="http://schemas.openxmlformats.org/officeDocument/2006/relationships/slide" Target="slides/slide215.xml"/><Relationship Id="rId253" Type="http://schemas.openxmlformats.org/officeDocument/2006/relationships/slide" Target="slides/slide236.xml"/><Relationship Id="rId27" Type="http://schemas.openxmlformats.org/officeDocument/2006/relationships/slide" Target="slides/slide10.xml"/><Relationship Id="rId48" Type="http://schemas.openxmlformats.org/officeDocument/2006/relationships/slide" Target="slides/slide31.xml"/><Relationship Id="rId69" Type="http://schemas.openxmlformats.org/officeDocument/2006/relationships/slide" Target="slides/slide52.xml"/><Relationship Id="rId113" Type="http://schemas.openxmlformats.org/officeDocument/2006/relationships/slide" Target="slides/slide96.xml"/><Relationship Id="rId134" Type="http://schemas.openxmlformats.org/officeDocument/2006/relationships/slide" Target="slides/slide117.xml"/><Relationship Id="rId80" Type="http://schemas.openxmlformats.org/officeDocument/2006/relationships/slide" Target="slides/slide63.xml"/><Relationship Id="rId155" Type="http://schemas.openxmlformats.org/officeDocument/2006/relationships/slide" Target="slides/slide138.xml"/><Relationship Id="rId176" Type="http://schemas.openxmlformats.org/officeDocument/2006/relationships/slide" Target="slides/slide159.xml"/><Relationship Id="rId197" Type="http://schemas.openxmlformats.org/officeDocument/2006/relationships/slide" Target="slides/slide180.xml"/><Relationship Id="rId201" Type="http://schemas.openxmlformats.org/officeDocument/2006/relationships/slide" Target="slides/slide184.xml"/><Relationship Id="rId222" Type="http://schemas.openxmlformats.org/officeDocument/2006/relationships/slide" Target="slides/slide205.xml"/><Relationship Id="rId243" Type="http://schemas.openxmlformats.org/officeDocument/2006/relationships/slide" Target="slides/slide226.xml"/><Relationship Id="rId17" Type="http://schemas.openxmlformats.org/officeDocument/2006/relationships/slideMaster" Target="slideMasters/slideMaster14.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24" Type="http://schemas.openxmlformats.org/officeDocument/2006/relationships/slide" Target="slides/slide107.xml"/><Relationship Id="rId70" Type="http://schemas.openxmlformats.org/officeDocument/2006/relationships/slide" Target="slides/slide53.xml"/><Relationship Id="rId91" Type="http://schemas.openxmlformats.org/officeDocument/2006/relationships/slide" Target="slides/slide74.xml"/><Relationship Id="rId145" Type="http://schemas.openxmlformats.org/officeDocument/2006/relationships/slide" Target="slides/slide128.xml"/><Relationship Id="rId166" Type="http://schemas.openxmlformats.org/officeDocument/2006/relationships/slide" Target="slides/slide149.xml"/><Relationship Id="rId187" Type="http://schemas.openxmlformats.org/officeDocument/2006/relationships/slide" Target="slides/slide170.xml"/><Relationship Id="rId1" Type="http://schemas.openxmlformats.org/officeDocument/2006/relationships/customXml" Target="../customXml/item1.xml"/><Relationship Id="rId212" Type="http://schemas.openxmlformats.org/officeDocument/2006/relationships/slide" Target="slides/slide195.xml"/><Relationship Id="rId233" Type="http://schemas.openxmlformats.org/officeDocument/2006/relationships/slide" Target="slides/slide216.xml"/><Relationship Id="rId254" Type="http://schemas.openxmlformats.org/officeDocument/2006/relationships/slide" Target="slides/slide237.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60" Type="http://schemas.openxmlformats.org/officeDocument/2006/relationships/slide" Target="slides/slide43.xml"/><Relationship Id="rId81" Type="http://schemas.openxmlformats.org/officeDocument/2006/relationships/slide" Target="slides/slide64.xml"/><Relationship Id="rId135" Type="http://schemas.openxmlformats.org/officeDocument/2006/relationships/slide" Target="slides/slide118.xml"/><Relationship Id="rId156" Type="http://schemas.openxmlformats.org/officeDocument/2006/relationships/slide" Target="slides/slide139.xml"/><Relationship Id="rId177" Type="http://schemas.openxmlformats.org/officeDocument/2006/relationships/slide" Target="slides/slide160.xml"/><Relationship Id="rId198" Type="http://schemas.openxmlformats.org/officeDocument/2006/relationships/slide" Target="slides/slide181.xml"/><Relationship Id="rId202" Type="http://schemas.openxmlformats.org/officeDocument/2006/relationships/slide" Target="slides/slide185.xml"/><Relationship Id="rId223" Type="http://schemas.openxmlformats.org/officeDocument/2006/relationships/slide" Target="slides/slide206.xml"/><Relationship Id="rId244" Type="http://schemas.openxmlformats.org/officeDocument/2006/relationships/slide" Target="slides/slide227.xml"/><Relationship Id="rId18" Type="http://schemas.openxmlformats.org/officeDocument/2006/relationships/slide" Target="slides/slide1.xml"/><Relationship Id="rId39" Type="http://schemas.openxmlformats.org/officeDocument/2006/relationships/slide" Target="slides/slide22.xml"/><Relationship Id="rId50" Type="http://schemas.openxmlformats.org/officeDocument/2006/relationships/slide" Target="slides/slide33.xml"/><Relationship Id="rId104" Type="http://schemas.openxmlformats.org/officeDocument/2006/relationships/slide" Target="slides/slide87.xml"/><Relationship Id="rId125" Type="http://schemas.openxmlformats.org/officeDocument/2006/relationships/slide" Target="slides/slide108.xml"/><Relationship Id="rId146" Type="http://schemas.openxmlformats.org/officeDocument/2006/relationships/slide" Target="slides/slide129.xml"/><Relationship Id="rId167" Type="http://schemas.openxmlformats.org/officeDocument/2006/relationships/slide" Target="slides/slide150.xml"/><Relationship Id="rId188" Type="http://schemas.openxmlformats.org/officeDocument/2006/relationships/slide" Target="slides/slide171.xml"/><Relationship Id="rId71" Type="http://schemas.openxmlformats.org/officeDocument/2006/relationships/slide" Target="slides/slide54.xml"/><Relationship Id="rId92" Type="http://schemas.openxmlformats.org/officeDocument/2006/relationships/slide" Target="slides/slide75.xml"/><Relationship Id="rId213" Type="http://schemas.openxmlformats.org/officeDocument/2006/relationships/slide" Target="slides/slide196.xml"/><Relationship Id="rId234" Type="http://schemas.openxmlformats.org/officeDocument/2006/relationships/slide" Target="slides/slide217.xml"/><Relationship Id="rId2" Type="http://schemas.openxmlformats.org/officeDocument/2006/relationships/customXml" Target="../customXml/item2.xml"/><Relationship Id="rId29" Type="http://schemas.openxmlformats.org/officeDocument/2006/relationships/slide" Target="slides/slide12.xml"/><Relationship Id="rId255" Type="http://schemas.openxmlformats.org/officeDocument/2006/relationships/slide" Target="slides/slide238.xml"/><Relationship Id="rId40" Type="http://schemas.openxmlformats.org/officeDocument/2006/relationships/slide" Target="slides/slide23.xml"/><Relationship Id="rId115" Type="http://schemas.openxmlformats.org/officeDocument/2006/relationships/slide" Target="slides/slide98.xml"/><Relationship Id="rId136" Type="http://schemas.openxmlformats.org/officeDocument/2006/relationships/slide" Target="slides/slide119.xml"/><Relationship Id="rId157" Type="http://schemas.openxmlformats.org/officeDocument/2006/relationships/slide" Target="slides/slide140.xml"/><Relationship Id="rId178" Type="http://schemas.openxmlformats.org/officeDocument/2006/relationships/slide" Target="slides/slide161.xml"/><Relationship Id="rId61" Type="http://schemas.openxmlformats.org/officeDocument/2006/relationships/slide" Target="slides/slide44.xml"/><Relationship Id="rId82" Type="http://schemas.openxmlformats.org/officeDocument/2006/relationships/slide" Target="slides/slide65.xml"/><Relationship Id="rId199" Type="http://schemas.openxmlformats.org/officeDocument/2006/relationships/slide" Target="slides/slide182.xml"/><Relationship Id="rId203" Type="http://schemas.openxmlformats.org/officeDocument/2006/relationships/slide" Target="slides/slide186.xml"/><Relationship Id="rId19" Type="http://schemas.openxmlformats.org/officeDocument/2006/relationships/slide" Target="slides/slide2.xml"/><Relationship Id="rId224" Type="http://schemas.openxmlformats.org/officeDocument/2006/relationships/slide" Target="slides/slide207.xml"/><Relationship Id="rId245" Type="http://schemas.openxmlformats.org/officeDocument/2006/relationships/slide" Target="slides/slide228.xml"/><Relationship Id="rId30" Type="http://schemas.openxmlformats.org/officeDocument/2006/relationships/slide" Target="slides/slide13.xml"/><Relationship Id="rId105" Type="http://schemas.openxmlformats.org/officeDocument/2006/relationships/slide" Target="slides/slide88.xml"/><Relationship Id="rId126" Type="http://schemas.openxmlformats.org/officeDocument/2006/relationships/slide" Target="slides/slide109.xml"/><Relationship Id="rId147" Type="http://schemas.openxmlformats.org/officeDocument/2006/relationships/slide" Target="slides/slide130.xml"/><Relationship Id="rId168" Type="http://schemas.openxmlformats.org/officeDocument/2006/relationships/slide" Target="slides/slide151.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189" Type="http://schemas.openxmlformats.org/officeDocument/2006/relationships/slide" Target="slides/slide172.xml"/><Relationship Id="rId3" Type="http://schemas.openxmlformats.org/officeDocument/2006/relationships/customXml" Target="../customXml/item3.xml"/><Relationship Id="rId214" Type="http://schemas.openxmlformats.org/officeDocument/2006/relationships/slide" Target="slides/slide197.xml"/><Relationship Id="rId235" Type="http://schemas.openxmlformats.org/officeDocument/2006/relationships/slide" Target="slides/slide218.xml"/><Relationship Id="rId256" Type="http://schemas.openxmlformats.org/officeDocument/2006/relationships/notesMaster" Target="notesMasters/notesMaster1.xml"/><Relationship Id="rId116" Type="http://schemas.openxmlformats.org/officeDocument/2006/relationships/slide" Target="slides/slide99.xml"/><Relationship Id="rId137" Type="http://schemas.openxmlformats.org/officeDocument/2006/relationships/slide" Target="slides/slide120.xml"/><Relationship Id="rId158" Type="http://schemas.openxmlformats.org/officeDocument/2006/relationships/slide" Target="slides/slide141.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179" Type="http://schemas.openxmlformats.org/officeDocument/2006/relationships/slide" Target="slides/slide162.xml"/><Relationship Id="rId190" Type="http://schemas.openxmlformats.org/officeDocument/2006/relationships/slide" Target="slides/slide173.xml"/><Relationship Id="rId204" Type="http://schemas.openxmlformats.org/officeDocument/2006/relationships/slide" Target="slides/slide187.xml"/><Relationship Id="rId225" Type="http://schemas.openxmlformats.org/officeDocument/2006/relationships/slide" Target="slides/slide208.xml"/><Relationship Id="rId246" Type="http://schemas.openxmlformats.org/officeDocument/2006/relationships/slide" Target="slides/slide229.xml"/><Relationship Id="rId106" Type="http://schemas.openxmlformats.org/officeDocument/2006/relationships/slide" Target="slides/slide89.xml"/><Relationship Id="rId127" Type="http://schemas.openxmlformats.org/officeDocument/2006/relationships/slide" Target="slides/slide110.xml"/><Relationship Id="rId10" Type="http://schemas.openxmlformats.org/officeDocument/2006/relationships/slideMaster" Target="slideMasters/slideMaster7.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94" Type="http://schemas.openxmlformats.org/officeDocument/2006/relationships/slide" Target="slides/slide77.xml"/><Relationship Id="rId148" Type="http://schemas.openxmlformats.org/officeDocument/2006/relationships/slide" Target="slides/slide131.xml"/><Relationship Id="rId169" Type="http://schemas.openxmlformats.org/officeDocument/2006/relationships/slide" Target="slides/slide152.xml"/><Relationship Id="rId4" Type="http://schemas.openxmlformats.org/officeDocument/2006/relationships/slideMaster" Target="slideMasters/slideMaster1.xml"/><Relationship Id="rId180" Type="http://schemas.openxmlformats.org/officeDocument/2006/relationships/slide" Target="slides/slide163.xml"/><Relationship Id="rId215" Type="http://schemas.openxmlformats.org/officeDocument/2006/relationships/slide" Target="slides/slide198.xml"/><Relationship Id="rId236" Type="http://schemas.openxmlformats.org/officeDocument/2006/relationships/slide" Target="slides/slide219.xml"/><Relationship Id="rId257" Type="http://schemas.openxmlformats.org/officeDocument/2006/relationships/commentAuthors" Target="commentAuthors.xml"/><Relationship Id="rId42" Type="http://schemas.openxmlformats.org/officeDocument/2006/relationships/slide" Target="slides/slide25.xml"/><Relationship Id="rId84" Type="http://schemas.openxmlformats.org/officeDocument/2006/relationships/slide" Target="slides/slide67.xml"/><Relationship Id="rId138" Type="http://schemas.openxmlformats.org/officeDocument/2006/relationships/slide" Target="slides/slide12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tvan Borbiro, PhD" userId="39b5405a-d126-48fc-9e4e-2db54b073326" providerId="ADAL" clId="{3CA90658-B7C7-4087-AF4C-D88FFCC03F00}"/>
    <pc:docChg chg="undo custSel addSld delSld modSld sldOrd modSection">
      <pc:chgData name="Istvan Borbiro, PhD" userId="39b5405a-d126-48fc-9e4e-2db54b073326" providerId="ADAL" clId="{3CA90658-B7C7-4087-AF4C-D88FFCC03F00}" dt="2022-03-18T15:49:11.109" v="50"/>
      <pc:docMkLst>
        <pc:docMk/>
      </pc:docMkLst>
      <pc:sldChg chg="addSp modSp add mod ord modTransition modNotes">
        <pc:chgData name="Istvan Borbiro, PhD" userId="39b5405a-d126-48fc-9e4e-2db54b073326" providerId="ADAL" clId="{3CA90658-B7C7-4087-AF4C-D88FFCC03F00}" dt="2022-03-18T15:49:11.109" v="50"/>
        <pc:sldMkLst>
          <pc:docMk/>
          <pc:sldMk cId="0" sldId="649"/>
        </pc:sldMkLst>
        <pc:spChg chg="add mod">
          <ac:chgData name="Istvan Borbiro, PhD" userId="39b5405a-d126-48fc-9e4e-2db54b073326" providerId="ADAL" clId="{3CA90658-B7C7-4087-AF4C-D88FFCC03F00}" dt="2022-03-18T14:37:34.010" v="48" actId="1076"/>
          <ac:spMkLst>
            <pc:docMk/>
            <pc:sldMk cId="0" sldId="649"/>
            <ac:spMk id="27" creationId="{2FC6BD1A-10FA-48BC-847E-8843252EFFA0}"/>
          </ac:spMkLst>
        </pc:spChg>
        <pc:spChg chg="mod">
          <ac:chgData name="Istvan Borbiro, PhD" userId="39b5405a-d126-48fc-9e4e-2db54b073326" providerId="ADAL" clId="{3CA90658-B7C7-4087-AF4C-D88FFCC03F00}" dt="2022-03-18T14:37:16.706" v="40" actId="1035"/>
          <ac:spMkLst>
            <pc:docMk/>
            <pc:sldMk cId="0" sldId="649"/>
            <ac:spMk id="44034" creationId="{7E718819-B2FA-A34F-ACC2-44518388085F}"/>
          </ac:spMkLst>
        </pc:spChg>
        <pc:spChg chg="mod">
          <ac:chgData name="Istvan Borbiro, PhD" userId="39b5405a-d126-48fc-9e4e-2db54b073326" providerId="ADAL" clId="{3CA90658-B7C7-4087-AF4C-D88FFCC03F00}" dt="2022-03-18T14:34:49.257" v="15" actId="1076"/>
          <ac:spMkLst>
            <pc:docMk/>
            <pc:sldMk cId="0" sldId="649"/>
            <ac:spMk id="44037" creationId="{B697E047-D8CA-4743-9226-50386AF748F8}"/>
          </ac:spMkLst>
        </pc:spChg>
        <pc:spChg chg="mod">
          <ac:chgData name="Istvan Borbiro, PhD" userId="39b5405a-d126-48fc-9e4e-2db54b073326" providerId="ADAL" clId="{3CA90658-B7C7-4087-AF4C-D88FFCC03F00}" dt="2022-03-18T14:34:49.257" v="15" actId="1076"/>
          <ac:spMkLst>
            <pc:docMk/>
            <pc:sldMk cId="0" sldId="649"/>
            <ac:spMk id="44048" creationId="{01372DA7-680C-1540-858D-443FA0D40411}"/>
          </ac:spMkLst>
        </pc:spChg>
        <pc:spChg chg="mod">
          <ac:chgData name="Istvan Borbiro, PhD" userId="39b5405a-d126-48fc-9e4e-2db54b073326" providerId="ADAL" clId="{3CA90658-B7C7-4087-AF4C-D88FFCC03F00}" dt="2022-03-18T14:34:37.944" v="13" actId="1076"/>
          <ac:spMkLst>
            <pc:docMk/>
            <pc:sldMk cId="0" sldId="649"/>
            <ac:spMk id="1105922" creationId="{AAF8B09E-E895-3544-B49C-7B07A77CD679}"/>
          </ac:spMkLst>
        </pc:spChg>
        <pc:spChg chg="mod">
          <ac:chgData name="Istvan Borbiro, PhD" userId="39b5405a-d126-48fc-9e4e-2db54b073326" providerId="ADAL" clId="{3CA90658-B7C7-4087-AF4C-D88FFCC03F00}" dt="2022-03-18T14:35:06.387" v="16" actId="20577"/>
          <ac:spMkLst>
            <pc:docMk/>
            <pc:sldMk cId="0" sldId="649"/>
            <ac:spMk id="1105924" creationId="{022AED8A-56E5-1B48-BCB9-BFBBEF8CD97E}"/>
          </ac:spMkLst>
        </pc:spChg>
        <pc:spChg chg="mod">
          <ac:chgData name="Istvan Borbiro, PhD" userId="39b5405a-d126-48fc-9e4e-2db54b073326" providerId="ADAL" clId="{3CA90658-B7C7-4087-AF4C-D88FFCC03F00}" dt="2022-03-18T14:34:49.257" v="15" actId="1076"/>
          <ac:spMkLst>
            <pc:docMk/>
            <pc:sldMk cId="0" sldId="649"/>
            <ac:spMk id="1105926" creationId="{1BE538EE-B8F0-B94E-BC7C-9872EF213592}"/>
          </ac:spMkLst>
        </pc:spChg>
        <pc:spChg chg="mod">
          <ac:chgData name="Istvan Borbiro, PhD" userId="39b5405a-d126-48fc-9e4e-2db54b073326" providerId="ADAL" clId="{3CA90658-B7C7-4087-AF4C-D88FFCC03F00}" dt="2022-03-18T14:34:49.257" v="15" actId="1076"/>
          <ac:spMkLst>
            <pc:docMk/>
            <pc:sldMk cId="0" sldId="649"/>
            <ac:spMk id="1105927" creationId="{2376DF8A-622C-2245-8AED-6AF8C88B1994}"/>
          </ac:spMkLst>
        </pc:spChg>
        <pc:spChg chg="mod">
          <ac:chgData name="Istvan Borbiro, PhD" userId="39b5405a-d126-48fc-9e4e-2db54b073326" providerId="ADAL" clId="{3CA90658-B7C7-4087-AF4C-D88FFCC03F00}" dt="2022-03-18T14:34:49.257" v="15" actId="1076"/>
          <ac:spMkLst>
            <pc:docMk/>
            <pc:sldMk cId="0" sldId="649"/>
            <ac:spMk id="1105928" creationId="{4DC2299E-C9B8-8348-968E-6C9626C8C75E}"/>
          </ac:spMkLst>
        </pc:spChg>
        <pc:spChg chg="mod">
          <ac:chgData name="Istvan Borbiro, PhD" userId="39b5405a-d126-48fc-9e4e-2db54b073326" providerId="ADAL" clId="{3CA90658-B7C7-4087-AF4C-D88FFCC03F00}" dt="2022-03-18T14:34:49.257" v="15" actId="1076"/>
          <ac:spMkLst>
            <pc:docMk/>
            <pc:sldMk cId="0" sldId="649"/>
            <ac:spMk id="1105929" creationId="{FE58F469-6551-CD4F-83DB-FA4C52F4B965}"/>
          </ac:spMkLst>
        </pc:spChg>
        <pc:spChg chg="mod">
          <ac:chgData name="Istvan Borbiro, PhD" userId="39b5405a-d126-48fc-9e4e-2db54b073326" providerId="ADAL" clId="{3CA90658-B7C7-4087-AF4C-D88FFCC03F00}" dt="2022-03-18T14:34:49.257" v="15" actId="1076"/>
          <ac:spMkLst>
            <pc:docMk/>
            <pc:sldMk cId="0" sldId="649"/>
            <ac:spMk id="1105930" creationId="{A68C8513-C790-4347-913B-7E931F71D33B}"/>
          </ac:spMkLst>
        </pc:spChg>
        <pc:spChg chg="mod">
          <ac:chgData name="Istvan Borbiro, PhD" userId="39b5405a-d126-48fc-9e4e-2db54b073326" providerId="ADAL" clId="{3CA90658-B7C7-4087-AF4C-D88FFCC03F00}" dt="2022-03-18T14:34:49.257" v="15" actId="1076"/>
          <ac:spMkLst>
            <pc:docMk/>
            <pc:sldMk cId="0" sldId="649"/>
            <ac:spMk id="1105931" creationId="{4793A756-6969-9C46-BA73-0E20C4DF3DA6}"/>
          </ac:spMkLst>
        </pc:spChg>
        <pc:spChg chg="mod">
          <ac:chgData name="Istvan Borbiro, PhD" userId="39b5405a-d126-48fc-9e4e-2db54b073326" providerId="ADAL" clId="{3CA90658-B7C7-4087-AF4C-D88FFCC03F00}" dt="2022-03-18T14:34:49.257" v="15" actId="1076"/>
          <ac:spMkLst>
            <pc:docMk/>
            <pc:sldMk cId="0" sldId="649"/>
            <ac:spMk id="1105932" creationId="{1F0562E2-A762-EE43-886E-0D468DDA1E41}"/>
          </ac:spMkLst>
        </pc:spChg>
        <pc:spChg chg="mod">
          <ac:chgData name="Istvan Borbiro, PhD" userId="39b5405a-d126-48fc-9e4e-2db54b073326" providerId="ADAL" clId="{3CA90658-B7C7-4087-AF4C-D88FFCC03F00}" dt="2022-03-18T14:34:49.257" v="15" actId="1076"/>
          <ac:spMkLst>
            <pc:docMk/>
            <pc:sldMk cId="0" sldId="649"/>
            <ac:spMk id="1105933" creationId="{5E0E1094-FF84-344E-A6D2-42596FF777C1}"/>
          </ac:spMkLst>
        </pc:spChg>
        <pc:spChg chg="mod">
          <ac:chgData name="Istvan Borbiro, PhD" userId="39b5405a-d126-48fc-9e4e-2db54b073326" providerId="ADAL" clId="{3CA90658-B7C7-4087-AF4C-D88FFCC03F00}" dt="2022-03-18T14:34:49.257" v="15" actId="1076"/>
          <ac:spMkLst>
            <pc:docMk/>
            <pc:sldMk cId="0" sldId="649"/>
            <ac:spMk id="1105935" creationId="{721D4509-E0AA-7647-9923-21758C2EB3A9}"/>
          </ac:spMkLst>
        </pc:spChg>
        <pc:spChg chg="mod">
          <ac:chgData name="Istvan Borbiro, PhD" userId="39b5405a-d126-48fc-9e4e-2db54b073326" providerId="ADAL" clId="{3CA90658-B7C7-4087-AF4C-D88FFCC03F00}" dt="2022-03-18T14:34:49.257" v="15" actId="1076"/>
          <ac:spMkLst>
            <pc:docMk/>
            <pc:sldMk cId="0" sldId="649"/>
            <ac:spMk id="1105936" creationId="{7855A714-2977-BE40-B9D2-82693A2319E0}"/>
          </ac:spMkLst>
        </pc:spChg>
        <pc:spChg chg="mod">
          <ac:chgData name="Istvan Borbiro, PhD" userId="39b5405a-d126-48fc-9e4e-2db54b073326" providerId="ADAL" clId="{3CA90658-B7C7-4087-AF4C-D88FFCC03F00}" dt="2022-03-18T14:34:49.257" v="15" actId="1076"/>
          <ac:spMkLst>
            <pc:docMk/>
            <pc:sldMk cId="0" sldId="649"/>
            <ac:spMk id="1105939" creationId="{3F322526-3ADA-0243-B684-0C06F7D5D527}"/>
          </ac:spMkLst>
        </pc:spChg>
        <pc:spChg chg="mod">
          <ac:chgData name="Istvan Borbiro, PhD" userId="39b5405a-d126-48fc-9e4e-2db54b073326" providerId="ADAL" clId="{3CA90658-B7C7-4087-AF4C-D88FFCC03F00}" dt="2022-03-18T14:34:49.257" v="15" actId="1076"/>
          <ac:spMkLst>
            <pc:docMk/>
            <pc:sldMk cId="0" sldId="649"/>
            <ac:spMk id="1105940" creationId="{FF377DDA-9644-D34E-879C-75689E168B28}"/>
          </ac:spMkLst>
        </pc:spChg>
        <pc:spChg chg="mod">
          <ac:chgData name="Istvan Borbiro, PhD" userId="39b5405a-d126-48fc-9e4e-2db54b073326" providerId="ADAL" clId="{3CA90658-B7C7-4087-AF4C-D88FFCC03F00}" dt="2022-03-18T14:34:49.257" v="15" actId="1076"/>
          <ac:spMkLst>
            <pc:docMk/>
            <pc:sldMk cId="0" sldId="649"/>
            <ac:spMk id="1105942" creationId="{A6FDF8C0-A241-8E49-BCB2-9AF69AFB3645}"/>
          </ac:spMkLst>
        </pc:spChg>
        <pc:spChg chg="mod">
          <ac:chgData name="Istvan Borbiro, PhD" userId="39b5405a-d126-48fc-9e4e-2db54b073326" providerId="ADAL" clId="{3CA90658-B7C7-4087-AF4C-D88FFCC03F00}" dt="2022-03-18T14:34:49.257" v="15" actId="1076"/>
          <ac:spMkLst>
            <pc:docMk/>
            <pc:sldMk cId="0" sldId="649"/>
            <ac:spMk id="1105943" creationId="{9F8307AF-7EEC-184B-AF4E-CA7A867A9C17}"/>
          </ac:spMkLst>
        </pc:spChg>
        <pc:spChg chg="mod">
          <ac:chgData name="Istvan Borbiro, PhD" userId="39b5405a-d126-48fc-9e4e-2db54b073326" providerId="ADAL" clId="{3CA90658-B7C7-4087-AF4C-D88FFCC03F00}" dt="2022-03-18T14:34:49.257" v="15" actId="1076"/>
          <ac:spMkLst>
            <pc:docMk/>
            <pc:sldMk cId="0" sldId="649"/>
            <ac:spMk id="1105944" creationId="{3B4F07A6-D0C9-6B41-9D88-D22C0F448487}"/>
          </ac:spMkLst>
        </pc:spChg>
        <pc:grpChg chg="mod">
          <ac:chgData name="Istvan Borbiro, PhD" userId="39b5405a-d126-48fc-9e4e-2db54b073326" providerId="ADAL" clId="{3CA90658-B7C7-4087-AF4C-D88FFCC03F00}" dt="2022-03-18T14:34:49.257" v="15" actId="1076"/>
          <ac:grpSpMkLst>
            <pc:docMk/>
            <pc:sldMk cId="0" sldId="649"/>
            <ac:grpSpMk id="44036" creationId="{36206A9F-8376-2042-B901-E23D4BE5EE0C}"/>
          </ac:grpSpMkLst>
        </pc:grpChg>
        <pc:grpChg chg="mod">
          <ac:chgData name="Istvan Borbiro, PhD" userId="39b5405a-d126-48fc-9e4e-2db54b073326" providerId="ADAL" clId="{3CA90658-B7C7-4087-AF4C-D88FFCC03F00}" dt="2022-03-18T14:34:49.257" v="15" actId="1076"/>
          <ac:grpSpMkLst>
            <pc:docMk/>
            <pc:sldMk cId="0" sldId="649"/>
            <ac:grpSpMk id="44046" creationId="{43A34A8D-4D44-6443-BC32-B2A11D30038A}"/>
          </ac:grpSpMkLst>
        </pc:grpChg>
        <pc:grpChg chg="mod">
          <ac:chgData name="Istvan Borbiro, PhD" userId="39b5405a-d126-48fc-9e4e-2db54b073326" providerId="ADAL" clId="{3CA90658-B7C7-4087-AF4C-D88FFCC03F00}" dt="2022-03-18T14:34:49.257" v="15" actId="1076"/>
          <ac:grpSpMkLst>
            <pc:docMk/>
            <pc:sldMk cId="0" sldId="649"/>
            <ac:grpSpMk id="44047" creationId="{0CDF8A48-FDA2-1448-B9C7-0811F1F6202A}"/>
          </ac:grpSpMkLst>
        </pc:grpChg>
        <pc:grpChg chg="mod">
          <ac:chgData name="Istvan Borbiro, PhD" userId="39b5405a-d126-48fc-9e4e-2db54b073326" providerId="ADAL" clId="{3CA90658-B7C7-4087-AF4C-D88FFCC03F00}" dt="2022-03-18T14:34:49.257" v="15" actId="1076"/>
          <ac:grpSpMkLst>
            <pc:docMk/>
            <pc:sldMk cId="0" sldId="649"/>
            <ac:grpSpMk id="44049" creationId="{059340E8-672B-F74A-BEA8-00E6D91D13D0}"/>
          </ac:grpSpMkLst>
        </pc:grpChg>
        <pc:grpChg chg="mod">
          <ac:chgData name="Istvan Borbiro, PhD" userId="39b5405a-d126-48fc-9e4e-2db54b073326" providerId="ADAL" clId="{3CA90658-B7C7-4087-AF4C-D88FFCC03F00}" dt="2022-03-18T14:34:49.257" v="15" actId="1076"/>
          <ac:grpSpMkLst>
            <pc:docMk/>
            <pc:sldMk cId="0" sldId="649"/>
            <ac:grpSpMk id="44050" creationId="{A75A7BFC-927E-3848-BC20-92920A8F5C13}"/>
          </ac:grpSpMkLst>
        </pc:grpChg>
        <pc:picChg chg="add mod">
          <ac:chgData name="Istvan Borbiro, PhD" userId="39b5405a-d126-48fc-9e4e-2db54b073326" providerId="ADAL" clId="{3CA90658-B7C7-4087-AF4C-D88FFCC03F00}" dt="2022-03-18T14:37:05.212" v="23" actId="1076"/>
          <ac:picMkLst>
            <pc:docMk/>
            <pc:sldMk cId="0" sldId="649"/>
            <ac:picMk id="28" creationId="{59816F19-5106-46FA-80AF-B2C7EA89E0A7}"/>
          </ac:picMkLst>
        </pc:picChg>
      </pc:sldChg>
      <pc:sldChg chg="del">
        <pc:chgData name="Istvan Borbiro, PhD" userId="39b5405a-d126-48fc-9e4e-2db54b073326" providerId="ADAL" clId="{3CA90658-B7C7-4087-AF4C-D88FFCC03F00}" dt="2022-03-18T14:35:35.140" v="17" actId="47"/>
        <pc:sldMkLst>
          <pc:docMk/>
          <pc:sldMk cId="1475649510" sldId="2145706097"/>
        </pc:sldMkLst>
      </pc:sldChg>
    </pc:docChg>
  </pc:docChgLst>
  <pc:docChgLst>
    <pc:chgData name="Istvan Borbiro, PhD" userId="39b5405a-d126-48fc-9e4e-2db54b073326" providerId="ADAL" clId="{194C6550-1514-42B5-A05F-2C48CEB794C3}"/>
    <pc:docChg chg="custSel delSld modSld modSection">
      <pc:chgData name="Istvan Borbiro, PhD" userId="39b5405a-d126-48fc-9e4e-2db54b073326" providerId="ADAL" clId="{194C6550-1514-42B5-A05F-2C48CEB794C3}" dt="2022-03-30T06:41:14.886" v="13" actId="20577"/>
      <pc:docMkLst>
        <pc:docMk/>
      </pc:docMkLst>
      <pc:sldChg chg="modSp mod">
        <pc:chgData name="Istvan Borbiro, PhD" userId="39b5405a-d126-48fc-9e4e-2db54b073326" providerId="ADAL" clId="{194C6550-1514-42B5-A05F-2C48CEB794C3}" dt="2022-03-30T06:41:14.886" v="13" actId="20577"/>
        <pc:sldMkLst>
          <pc:docMk/>
          <pc:sldMk cId="2757447699" sldId="2135715167"/>
        </pc:sldMkLst>
        <pc:spChg chg="mod">
          <ac:chgData name="Istvan Borbiro, PhD" userId="39b5405a-d126-48fc-9e4e-2db54b073326" providerId="ADAL" clId="{194C6550-1514-42B5-A05F-2C48CEB794C3}" dt="2022-03-30T06:41:00.362" v="12" actId="404"/>
          <ac:spMkLst>
            <pc:docMk/>
            <pc:sldMk cId="2757447699" sldId="2135715167"/>
            <ac:spMk id="2" creationId="{9D52F03D-68CC-C841-9D78-6BABB5EAD251}"/>
          </ac:spMkLst>
        </pc:spChg>
        <pc:spChg chg="mod">
          <ac:chgData name="Istvan Borbiro, PhD" userId="39b5405a-d126-48fc-9e4e-2db54b073326" providerId="ADAL" clId="{194C6550-1514-42B5-A05F-2C48CEB794C3}" dt="2022-03-30T06:41:14.886" v="13" actId="20577"/>
          <ac:spMkLst>
            <pc:docMk/>
            <pc:sldMk cId="2757447699" sldId="2135715167"/>
            <ac:spMk id="3" creationId="{5B1A592A-AF74-0E4A-BEBF-BA3B930B790E}"/>
          </ac:spMkLst>
        </pc:spChg>
      </pc:sldChg>
      <pc:sldChg chg="del">
        <pc:chgData name="Istvan Borbiro, PhD" userId="39b5405a-d126-48fc-9e4e-2db54b073326" providerId="ADAL" clId="{194C6550-1514-42B5-A05F-2C48CEB794C3}" dt="2022-03-30T06:37:14.417" v="2" actId="47"/>
        <pc:sldMkLst>
          <pc:docMk/>
          <pc:sldMk cId="128110604" sldId="2135715170"/>
        </pc:sldMkLst>
      </pc:sldChg>
      <pc:sldChg chg="del">
        <pc:chgData name="Istvan Borbiro, PhD" userId="39b5405a-d126-48fc-9e4e-2db54b073326" providerId="ADAL" clId="{194C6550-1514-42B5-A05F-2C48CEB794C3}" dt="2022-03-30T06:37:13.189" v="1" actId="47"/>
        <pc:sldMkLst>
          <pc:docMk/>
          <pc:sldMk cId="590569297" sldId="2135715171"/>
        </pc:sldMkLst>
      </pc:sldChg>
      <pc:sldChg chg="del">
        <pc:chgData name="Istvan Borbiro, PhD" userId="39b5405a-d126-48fc-9e4e-2db54b073326" providerId="ADAL" clId="{194C6550-1514-42B5-A05F-2C48CEB794C3}" dt="2022-03-30T06:37:12.045" v="0" actId="47"/>
        <pc:sldMkLst>
          <pc:docMk/>
          <pc:sldMk cId="3668517472" sldId="2135715172"/>
        </pc:sldMkLst>
      </pc:sldChg>
    </pc:docChg>
  </pc:docChgLst>
  <pc:docChgLst>
    <pc:chgData name="Elaine Jennings, PhD" userId="405f80b1-2625-4f75-89d1-6bc147db6e05" providerId="ADAL" clId="{8D17C993-7D77-4DB4-9CF2-985A1DBBC161}"/>
    <pc:docChg chg="undo redo custSel delSld modSld modSection">
      <pc:chgData name="Elaine Jennings, PhD" userId="405f80b1-2625-4f75-89d1-6bc147db6e05" providerId="ADAL" clId="{8D17C993-7D77-4DB4-9CF2-985A1DBBC161}" dt="2022-03-18T13:08:38.233" v="84" actId="1592"/>
      <pc:docMkLst>
        <pc:docMk/>
      </pc:docMkLst>
      <pc:sldChg chg="delCm">
        <pc:chgData name="Elaine Jennings, PhD" userId="405f80b1-2625-4f75-89d1-6bc147db6e05" providerId="ADAL" clId="{8D17C993-7D77-4DB4-9CF2-985A1DBBC161}" dt="2022-03-18T12:59:43.309" v="0" actId="1592"/>
        <pc:sldMkLst>
          <pc:docMk/>
          <pc:sldMk cId="3749378475" sldId="503"/>
        </pc:sldMkLst>
      </pc:sldChg>
      <pc:sldChg chg="delCm">
        <pc:chgData name="Elaine Jennings, PhD" userId="405f80b1-2625-4f75-89d1-6bc147db6e05" providerId="ADAL" clId="{8D17C993-7D77-4DB4-9CF2-985A1DBBC161}" dt="2022-03-18T13:03:53.268" v="20" actId="1592"/>
        <pc:sldMkLst>
          <pc:docMk/>
          <pc:sldMk cId="2051336857" sldId="663"/>
        </pc:sldMkLst>
      </pc:sldChg>
      <pc:sldChg chg="del">
        <pc:chgData name="Elaine Jennings, PhD" userId="405f80b1-2625-4f75-89d1-6bc147db6e05" providerId="ADAL" clId="{8D17C993-7D77-4DB4-9CF2-985A1DBBC161}" dt="2022-03-18T13:04:29.299" v="22" actId="47"/>
        <pc:sldMkLst>
          <pc:docMk/>
          <pc:sldMk cId="1634604626" sldId="4917"/>
        </pc:sldMkLst>
      </pc:sldChg>
      <pc:sldChg chg="del">
        <pc:chgData name="Elaine Jennings, PhD" userId="405f80b1-2625-4f75-89d1-6bc147db6e05" providerId="ADAL" clId="{8D17C993-7D77-4DB4-9CF2-985A1DBBC161}" dt="2022-03-18T13:05:03.743" v="24" actId="47"/>
        <pc:sldMkLst>
          <pc:docMk/>
          <pc:sldMk cId="315096077" sldId="4918"/>
        </pc:sldMkLst>
      </pc:sldChg>
      <pc:sldChg chg="delCm">
        <pc:chgData name="Elaine Jennings, PhD" userId="405f80b1-2625-4f75-89d1-6bc147db6e05" providerId="ADAL" clId="{8D17C993-7D77-4DB4-9CF2-985A1DBBC161}" dt="2022-03-18T13:04:51.048" v="23" actId="1592"/>
        <pc:sldMkLst>
          <pc:docMk/>
          <pc:sldMk cId="1598611056" sldId="2135714413"/>
        </pc:sldMkLst>
      </pc:sldChg>
      <pc:sldChg chg="delCm">
        <pc:chgData name="Elaine Jennings, PhD" userId="405f80b1-2625-4f75-89d1-6bc147db6e05" providerId="ADAL" clId="{8D17C993-7D77-4DB4-9CF2-985A1DBBC161}" dt="2022-03-18T13:03:12.952" v="19" actId="1592"/>
        <pc:sldMkLst>
          <pc:docMk/>
          <pc:sldMk cId="3189400335" sldId="2135715187"/>
        </pc:sldMkLst>
      </pc:sldChg>
      <pc:sldChg chg="delCm">
        <pc:chgData name="Elaine Jennings, PhD" userId="405f80b1-2625-4f75-89d1-6bc147db6e05" providerId="ADAL" clId="{8D17C993-7D77-4DB4-9CF2-985A1DBBC161}" dt="2022-03-18T13:08:38.233" v="84" actId="1592"/>
        <pc:sldMkLst>
          <pc:docMk/>
          <pc:sldMk cId="880453055" sldId="2135715197"/>
        </pc:sldMkLst>
      </pc:sldChg>
      <pc:sldChg chg="delCm">
        <pc:chgData name="Elaine Jennings, PhD" userId="405f80b1-2625-4f75-89d1-6bc147db6e05" providerId="ADAL" clId="{8D17C993-7D77-4DB4-9CF2-985A1DBBC161}" dt="2022-03-18T13:06:18.303" v="27" actId="1592"/>
        <pc:sldMkLst>
          <pc:docMk/>
          <pc:sldMk cId="644188013" sldId="2135715205"/>
        </pc:sldMkLst>
      </pc:sldChg>
      <pc:sldChg chg="addCm delCm">
        <pc:chgData name="Elaine Jennings, PhD" userId="405f80b1-2625-4f75-89d1-6bc147db6e05" providerId="ADAL" clId="{8D17C993-7D77-4DB4-9CF2-985A1DBBC161}" dt="2022-03-18T13:01:07.912" v="10" actId="1592"/>
        <pc:sldMkLst>
          <pc:docMk/>
          <pc:sldMk cId="746104816" sldId="2145706241"/>
        </pc:sldMkLst>
      </pc:sldChg>
      <pc:sldChg chg="addSp delSp modSp mod addCm delCm modCm">
        <pc:chgData name="Elaine Jennings, PhD" userId="405f80b1-2625-4f75-89d1-6bc147db6e05" providerId="ADAL" clId="{8D17C993-7D77-4DB4-9CF2-985A1DBBC161}" dt="2022-03-18T13:08:29.741" v="83" actId="1037"/>
        <pc:sldMkLst>
          <pc:docMk/>
          <pc:sldMk cId="1932948389" sldId="2145706244"/>
        </pc:sldMkLst>
        <pc:picChg chg="add del mod ord">
          <ac:chgData name="Elaine Jennings, PhD" userId="405f80b1-2625-4f75-89d1-6bc147db6e05" providerId="ADAL" clId="{8D17C993-7D77-4DB4-9CF2-985A1DBBC161}" dt="2022-03-18T13:07:58.255" v="45" actId="478"/>
          <ac:picMkLst>
            <pc:docMk/>
            <pc:sldMk cId="1932948389" sldId="2145706244"/>
            <ac:picMk id="3" creationId="{823B7228-F4B5-4DE9-9634-9DC1252D704F}"/>
          </ac:picMkLst>
        </pc:picChg>
        <pc:picChg chg="add del mod">
          <ac:chgData name="Elaine Jennings, PhD" userId="405f80b1-2625-4f75-89d1-6bc147db6e05" providerId="ADAL" clId="{8D17C993-7D77-4DB4-9CF2-985A1DBBC161}" dt="2022-03-18T13:08:29.741" v="83" actId="1037"/>
          <ac:picMkLst>
            <pc:docMk/>
            <pc:sldMk cId="1932948389" sldId="2145706244"/>
            <ac:picMk id="10" creationId="{175F5DF7-A919-428D-B3CF-40A12F8D3228}"/>
          </ac:picMkLst>
        </pc:picChg>
      </pc:sldChg>
      <pc:sldChg chg="delCm">
        <pc:chgData name="Elaine Jennings, PhD" userId="405f80b1-2625-4f75-89d1-6bc147db6e05" providerId="ADAL" clId="{8D17C993-7D77-4DB4-9CF2-985A1DBBC161}" dt="2022-03-18T13:06:12.443" v="26" actId="1592"/>
        <pc:sldMkLst>
          <pc:docMk/>
          <pc:sldMk cId="801042029" sldId="2147468914"/>
        </pc:sldMkLst>
      </pc:sldChg>
      <pc:sldChg chg="addCm delCm">
        <pc:chgData name="Elaine Jennings, PhD" userId="405f80b1-2625-4f75-89d1-6bc147db6e05" providerId="ADAL" clId="{8D17C993-7D77-4DB4-9CF2-985A1DBBC161}" dt="2022-03-18T13:07:44.997" v="44" actId="1592"/>
        <pc:sldMkLst>
          <pc:docMk/>
          <pc:sldMk cId="3616720635" sldId="2147468915"/>
        </pc:sldMkLst>
      </pc:sldChg>
      <pc:sldChg chg="del">
        <pc:chgData name="Elaine Jennings, PhD" userId="405f80b1-2625-4f75-89d1-6bc147db6e05" providerId="ADAL" clId="{8D17C993-7D77-4DB4-9CF2-985A1DBBC161}" dt="2022-03-18T13:05:54.879" v="25" actId="47"/>
        <pc:sldMkLst>
          <pc:docMk/>
          <pc:sldMk cId="766374541" sldId="2147468919"/>
        </pc:sldMkLst>
      </pc:sldChg>
      <pc:sldChg chg="delCm">
        <pc:chgData name="Elaine Jennings, PhD" userId="405f80b1-2625-4f75-89d1-6bc147db6e05" providerId="ADAL" clId="{8D17C993-7D77-4DB4-9CF2-985A1DBBC161}" dt="2022-03-18T13:04:01.590" v="21" actId="1592"/>
        <pc:sldMkLst>
          <pc:docMk/>
          <pc:sldMk cId="263627517" sldId="2147468925"/>
        </pc:sldMkLst>
      </pc:sldChg>
    </pc:docChg>
  </pc:docChgLst>
  <pc:docChgLst>
    <pc:chgData name="Marta Corsin-Jimenez, PhD" userId="S::marta.corsin@aptitudehealth.com::c68dc461-c5c5-4729-aa37-e990868ec17e" providerId="AD" clId="Web-{2064B6DE-9903-3BED-B5AC-115EB393615A}"/>
    <pc:docChg chg="mod">
      <pc:chgData name="Marta Corsin-Jimenez, PhD" userId="S::marta.corsin@aptitudehealth.com::c68dc461-c5c5-4729-aa37-e990868ec17e" providerId="AD" clId="Web-{2064B6DE-9903-3BED-B5AC-115EB393615A}" dt="2022-03-22T09:52:00.009" v="0" actId="33475"/>
      <pc:docMkLst>
        <pc:docMk/>
      </pc:docMkLst>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file:///\\yardley.medergygroup.com\Shared\Data\Client%20Files\Janssen%20(J)\Global%20Med%20Affairs%20(J)\Daratumumab%20(D)\JJD-64504%20ALCYONE%20Update%20Oral%20ASH%202018\Drafts\MRD%20Figure.xlsx" TargetMode="External"/><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6355479258436945E-2"/>
          <c:y val="4.4099742682161797E-2"/>
          <c:w val="0.81660427813324954"/>
          <c:h val="0.85364888224685243"/>
        </c:manualLayout>
      </c:layout>
      <c:barChart>
        <c:barDir val="col"/>
        <c:grouping val="clustered"/>
        <c:varyColors val="0"/>
        <c:ser>
          <c:idx val="0"/>
          <c:order val="0"/>
          <c:tx>
            <c:strRef>
              <c:f>Sheet1!$B$1</c:f>
              <c:strCache>
                <c:ptCount val="1"/>
                <c:pt idx="0">
                  <c:v>VRD</c:v>
                </c:pt>
              </c:strCache>
            </c:strRef>
          </c:tx>
          <c:spPr>
            <a:solidFill>
              <a:srgbClr val="004990"/>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n-N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ost-induction</c:v>
                </c:pt>
                <c:pt idx="1">
                  <c:v>Post-ASCT</c:v>
                </c:pt>
                <c:pt idx="2">
                  <c:v>Post-induction</c:v>
                </c:pt>
                <c:pt idx="3">
                  <c:v>Post-ASCT</c:v>
                </c:pt>
              </c:strCache>
            </c:strRef>
          </c:cat>
          <c:val>
            <c:numRef>
              <c:f>Sheet1!$B$2:$B$5</c:f>
              <c:numCache>
                <c:formatCode>0.0%</c:formatCode>
                <c:ptCount val="4"/>
                <c:pt idx="0">
                  <c:v>0.66300000000000003</c:v>
                </c:pt>
                <c:pt idx="1">
                  <c:v>0.74399999999999999</c:v>
                </c:pt>
                <c:pt idx="2">
                  <c:v>0.46700000000000003</c:v>
                </c:pt>
                <c:pt idx="3">
                  <c:v>0.624</c:v>
                </c:pt>
              </c:numCache>
            </c:numRef>
          </c:val>
          <c:extLst>
            <c:ext xmlns:c16="http://schemas.microsoft.com/office/drawing/2014/chart" uri="{C3380CC4-5D6E-409C-BE32-E72D297353CC}">
              <c16:uniqueId val="{00000000-B3A5-4EBE-BF43-808F167B9568}"/>
            </c:ext>
          </c:extLst>
        </c:ser>
        <c:ser>
          <c:idx val="1"/>
          <c:order val="1"/>
          <c:tx>
            <c:strRef>
              <c:f>Sheet1!$C$1</c:f>
              <c:strCache>
                <c:ptCount val="1"/>
                <c:pt idx="0">
                  <c:v>VTD</c:v>
                </c:pt>
              </c:strCache>
            </c:strRef>
          </c:tx>
          <c:spPr>
            <a:solidFill>
              <a:srgbClr val="EE3A4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n-N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ost-induction</c:v>
                </c:pt>
                <c:pt idx="1">
                  <c:v>Post-ASCT</c:v>
                </c:pt>
                <c:pt idx="2">
                  <c:v>Post-induction</c:v>
                </c:pt>
                <c:pt idx="3">
                  <c:v>Post-ASCT</c:v>
                </c:pt>
              </c:strCache>
            </c:strRef>
          </c:cat>
          <c:val>
            <c:numRef>
              <c:f>Sheet1!$C$2:$C$5</c:f>
              <c:numCache>
                <c:formatCode>0.0%</c:formatCode>
                <c:ptCount val="4"/>
                <c:pt idx="0">
                  <c:v>0.51200000000000001</c:v>
                </c:pt>
                <c:pt idx="1">
                  <c:v>0.53500000000000003</c:v>
                </c:pt>
                <c:pt idx="2">
                  <c:v>0.34899999999999998</c:v>
                </c:pt>
                <c:pt idx="3">
                  <c:v>0.47299999999999998</c:v>
                </c:pt>
              </c:numCache>
            </c:numRef>
          </c:val>
          <c:extLst>
            <c:ext xmlns:c16="http://schemas.microsoft.com/office/drawing/2014/chart" uri="{C3380CC4-5D6E-409C-BE32-E72D297353CC}">
              <c16:uniqueId val="{00000001-B3A5-4EBE-BF43-808F167B9568}"/>
            </c:ext>
          </c:extLst>
        </c:ser>
        <c:dLbls>
          <c:showLegendKey val="0"/>
          <c:showVal val="1"/>
          <c:showCatName val="0"/>
          <c:showSerName val="0"/>
          <c:showPercent val="0"/>
          <c:showBubbleSize val="0"/>
        </c:dLbls>
        <c:gapWidth val="100"/>
        <c:overlap val="-27"/>
        <c:axId val="124877824"/>
        <c:axId val="124887808"/>
      </c:barChart>
      <c:catAx>
        <c:axId val="12487782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NL"/>
          </a:p>
        </c:txPr>
        <c:crossAx val="124887808"/>
        <c:crosses val="autoZero"/>
        <c:auto val="1"/>
        <c:lblAlgn val="ctr"/>
        <c:lblOffset val="100"/>
        <c:noMultiLvlLbl val="0"/>
      </c:catAx>
      <c:valAx>
        <c:axId val="124887808"/>
        <c:scaling>
          <c:orientation val="minMax"/>
          <c:max val="1"/>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NL"/>
          </a:p>
        </c:txPr>
        <c:crossAx val="124877824"/>
        <c:crosses val="autoZero"/>
        <c:crossBetween val="between"/>
        <c:majorUnit val="0.2"/>
      </c:valAx>
      <c:spPr>
        <a:noFill/>
        <a:ln>
          <a:noFill/>
        </a:ln>
        <a:effectLst/>
      </c:spPr>
    </c:plotArea>
    <c:legend>
      <c:legendPos val="r"/>
      <c:layout>
        <c:manualLayout>
          <c:xMode val="edge"/>
          <c:yMode val="edge"/>
          <c:x val="0.88106040560698717"/>
          <c:y val="0.25756953955886586"/>
          <c:w val="9.1238754332958902E-2"/>
          <c:h val="0.1451975112767856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2"/>
          </a:solidFill>
        </a:defRPr>
      </a:pPr>
      <a:endParaRPr lang="en-NL"/>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VRD</c:v>
                </c:pt>
              </c:strCache>
            </c:strRef>
          </c:tx>
          <c:spPr>
            <a:ln w="28575" cap="rnd">
              <a:solidFill>
                <a:srgbClr val="004990"/>
              </a:solidFill>
              <a:round/>
            </a:ln>
            <a:effectLst/>
          </c:spPr>
          <c:marker>
            <c:symbol val="circle"/>
            <c:size val="6"/>
            <c:spPr>
              <a:solidFill>
                <a:srgbClr val="004990"/>
              </a:solidFill>
              <a:ln w="9525">
                <a:solidFill>
                  <a:srgbClr val="0049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ycle 3</c:v>
                </c:pt>
                <c:pt idx="1">
                  <c:v>Cycle 4</c:v>
                </c:pt>
                <c:pt idx="2">
                  <c:v>Cycle 5</c:v>
                </c:pt>
                <c:pt idx="3">
                  <c:v>Cycle 6
(Post-Induction)</c:v>
                </c:pt>
                <c:pt idx="4">
                  <c:v>Post-ASCT</c:v>
                </c:pt>
              </c:strCache>
            </c:strRef>
          </c:cat>
          <c:val>
            <c:numRef>
              <c:f>Sheet1!$B$2:$B$6</c:f>
              <c:numCache>
                <c:formatCode>0.0%</c:formatCode>
                <c:ptCount val="5"/>
                <c:pt idx="0">
                  <c:v>0.54500000000000004</c:v>
                </c:pt>
                <c:pt idx="1">
                  <c:v>0.627</c:v>
                </c:pt>
                <c:pt idx="3">
                  <c:v>0.70099999999999996</c:v>
                </c:pt>
              </c:numCache>
            </c:numRef>
          </c:val>
          <c:smooth val="0"/>
          <c:extLst>
            <c:ext xmlns:c16="http://schemas.microsoft.com/office/drawing/2014/chart" uri="{C3380CC4-5D6E-409C-BE32-E72D297353CC}">
              <c16:uniqueId val="{00000000-858A-4CD9-BADE-2523603F91A0}"/>
            </c:ext>
          </c:extLst>
        </c:ser>
        <c:ser>
          <c:idx val="1"/>
          <c:order val="1"/>
          <c:tx>
            <c:strRef>
              <c:f>Sheet1!$C$1</c:f>
              <c:strCache>
                <c:ptCount val="1"/>
                <c:pt idx="0">
                  <c:v>VTD</c:v>
                </c:pt>
              </c:strCache>
            </c:strRef>
          </c:tx>
          <c:spPr>
            <a:ln w="28575" cap="rnd">
              <a:solidFill>
                <a:srgbClr val="EE3A42"/>
              </a:solidFill>
              <a:round/>
            </a:ln>
            <a:effectLst/>
          </c:spPr>
          <c:marker>
            <c:symbol val="circle"/>
            <c:size val="6"/>
            <c:spPr>
              <a:solidFill>
                <a:srgbClr val="EE3A42"/>
              </a:solidFill>
              <a:ln w="9525">
                <a:solidFill>
                  <a:srgbClr val="EE3A42"/>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ycle 3</c:v>
                </c:pt>
                <c:pt idx="1">
                  <c:v>Cycle 4</c:v>
                </c:pt>
                <c:pt idx="2">
                  <c:v>Cycle 5</c:v>
                </c:pt>
                <c:pt idx="3">
                  <c:v>Cycle 6
(Post-Induction)</c:v>
                </c:pt>
                <c:pt idx="4">
                  <c:v>Post-ASCT</c:v>
                </c:pt>
              </c:strCache>
            </c:strRef>
          </c:cat>
          <c:val>
            <c:numRef>
              <c:f>Sheet1!$C$2:$C$6</c:f>
              <c:numCache>
                <c:formatCode>0.0%</c:formatCode>
                <c:ptCount val="5"/>
                <c:pt idx="0">
                  <c:v>0.35099999999999998</c:v>
                </c:pt>
                <c:pt idx="1">
                  <c:v>0.40500000000000003</c:v>
                </c:pt>
                <c:pt idx="3">
                  <c:v>0.55900000000000005</c:v>
                </c:pt>
              </c:numCache>
            </c:numRef>
          </c:val>
          <c:smooth val="0"/>
          <c:extLst>
            <c:ext xmlns:c16="http://schemas.microsoft.com/office/drawing/2014/chart" uri="{C3380CC4-5D6E-409C-BE32-E72D297353CC}">
              <c16:uniqueId val="{00000001-858A-4CD9-BADE-2523603F91A0}"/>
            </c:ext>
          </c:extLst>
        </c:ser>
        <c:ser>
          <c:idx val="2"/>
          <c:order val="2"/>
          <c:tx>
            <c:strRef>
              <c:f>Sheet1!$D$1</c:f>
              <c:strCache>
                <c:ptCount val="1"/>
                <c:pt idx="0">
                  <c:v>vrd2</c:v>
                </c:pt>
              </c:strCache>
            </c:strRef>
          </c:tx>
          <c:spPr>
            <a:ln w="28575" cap="rnd">
              <a:solidFill>
                <a:srgbClr val="004990"/>
              </a:solidFill>
              <a:prstDash val="sysDot"/>
              <a:round/>
            </a:ln>
            <a:effectLst/>
          </c:spPr>
          <c:marker>
            <c:symbol val="circle"/>
            <c:size val="6"/>
            <c:spPr>
              <a:solidFill>
                <a:srgbClr val="004990"/>
              </a:solidFill>
              <a:ln w="9525">
                <a:solidFill>
                  <a:srgbClr val="004990"/>
                </a:solidFill>
              </a:ln>
              <a:effectLst/>
            </c:spPr>
          </c:marker>
          <c:dPt>
            <c:idx val="4"/>
            <c:marker>
              <c:symbol val="circle"/>
              <c:size val="6"/>
              <c:spPr>
                <a:solidFill>
                  <a:srgbClr val="004990"/>
                </a:solidFill>
                <a:ln w="9525">
                  <a:solidFill>
                    <a:srgbClr val="004990"/>
                  </a:solidFill>
                </a:ln>
                <a:effectLst/>
              </c:spPr>
            </c:marker>
            <c:bubble3D val="0"/>
            <c:spPr>
              <a:ln w="28575" cap="rnd">
                <a:solidFill>
                  <a:srgbClr val="004990"/>
                </a:solidFill>
                <a:prstDash val="solid"/>
                <a:round/>
              </a:ln>
              <a:effectLst/>
            </c:spPr>
            <c:extLst>
              <c:ext xmlns:c16="http://schemas.microsoft.com/office/drawing/2014/chart" uri="{C3380CC4-5D6E-409C-BE32-E72D297353CC}">
                <c16:uniqueId val="{00000003-858A-4CD9-BADE-2523603F91A0}"/>
              </c:ext>
            </c:extLst>
          </c:dPt>
          <c:dLbls>
            <c:dLbl>
              <c:idx val="3"/>
              <c:delete val="1"/>
              <c:extLst>
                <c:ext xmlns:c15="http://schemas.microsoft.com/office/drawing/2012/chart" uri="{CE6537A1-D6FC-4f65-9D91-7224C49458BB}"/>
                <c:ext xmlns:c16="http://schemas.microsoft.com/office/drawing/2014/chart" uri="{C3380CC4-5D6E-409C-BE32-E72D297353CC}">
                  <c16:uniqueId val="{00000004-858A-4CD9-BADE-2523603F91A0}"/>
                </c:ext>
              </c:extLst>
            </c:dLbl>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ycle 3</c:v>
                </c:pt>
                <c:pt idx="1">
                  <c:v>Cycle 4</c:v>
                </c:pt>
                <c:pt idx="2">
                  <c:v>Cycle 5</c:v>
                </c:pt>
                <c:pt idx="3">
                  <c:v>Cycle 6
(Post-Induction)</c:v>
                </c:pt>
                <c:pt idx="4">
                  <c:v>Post-ASCT</c:v>
                </c:pt>
              </c:strCache>
            </c:strRef>
          </c:cat>
          <c:val>
            <c:numRef>
              <c:f>Sheet1!$D$2:$D$6</c:f>
              <c:numCache>
                <c:formatCode>General</c:formatCode>
                <c:ptCount val="5"/>
                <c:pt idx="3" formatCode="0.0%">
                  <c:v>0.70099999999999996</c:v>
                </c:pt>
                <c:pt idx="4" formatCode="0.0%">
                  <c:v>0.80200000000000005</c:v>
                </c:pt>
              </c:numCache>
            </c:numRef>
          </c:val>
          <c:smooth val="0"/>
          <c:extLst>
            <c:ext xmlns:c16="http://schemas.microsoft.com/office/drawing/2014/chart" uri="{C3380CC4-5D6E-409C-BE32-E72D297353CC}">
              <c16:uniqueId val="{00000005-858A-4CD9-BADE-2523603F91A0}"/>
            </c:ext>
          </c:extLst>
        </c:ser>
        <c:ser>
          <c:idx val="3"/>
          <c:order val="3"/>
          <c:tx>
            <c:strRef>
              <c:f>Sheet1!$E$1</c:f>
              <c:strCache>
                <c:ptCount val="1"/>
                <c:pt idx="0">
                  <c:v>vtd2</c:v>
                </c:pt>
              </c:strCache>
            </c:strRef>
          </c:tx>
          <c:spPr>
            <a:ln w="28575" cap="rnd">
              <a:solidFill>
                <a:srgbClr val="EE3A42"/>
              </a:solidFill>
              <a:prstDash val="solid"/>
              <a:round/>
            </a:ln>
            <a:effectLst/>
          </c:spPr>
          <c:marker>
            <c:symbol val="circle"/>
            <c:size val="6"/>
            <c:spPr>
              <a:solidFill>
                <a:srgbClr val="EE3A42"/>
              </a:solidFill>
              <a:ln w="9525">
                <a:solidFill>
                  <a:srgbClr val="EE3A42"/>
                </a:solidFill>
              </a:ln>
              <a:effectLst/>
            </c:spPr>
          </c:marker>
          <c:dLbls>
            <c:dLbl>
              <c:idx val="3"/>
              <c:delete val="1"/>
              <c:extLst>
                <c:ext xmlns:c15="http://schemas.microsoft.com/office/drawing/2012/chart" uri="{CE6537A1-D6FC-4f65-9D91-7224C49458BB}"/>
                <c:ext xmlns:c16="http://schemas.microsoft.com/office/drawing/2014/chart" uri="{C3380CC4-5D6E-409C-BE32-E72D297353CC}">
                  <c16:uniqueId val="{00000006-858A-4CD9-BADE-2523603F91A0}"/>
                </c:ext>
              </c:extLst>
            </c:dLbl>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ycle 3</c:v>
                </c:pt>
                <c:pt idx="1">
                  <c:v>Cycle 4</c:v>
                </c:pt>
                <c:pt idx="2">
                  <c:v>Cycle 5</c:v>
                </c:pt>
                <c:pt idx="3">
                  <c:v>Cycle 6
(Post-Induction)</c:v>
                </c:pt>
                <c:pt idx="4">
                  <c:v>Post-ASCT</c:v>
                </c:pt>
              </c:strCache>
            </c:strRef>
          </c:cat>
          <c:val>
            <c:numRef>
              <c:f>Sheet1!$E$2:$E$6</c:f>
              <c:numCache>
                <c:formatCode>General</c:formatCode>
                <c:ptCount val="5"/>
                <c:pt idx="3" formatCode="0.0%">
                  <c:v>0.55900000000000005</c:v>
                </c:pt>
                <c:pt idx="4" formatCode="0.0%">
                  <c:v>0.59499999999999997</c:v>
                </c:pt>
              </c:numCache>
            </c:numRef>
          </c:val>
          <c:smooth val="0"/>
          <c:extLst>
            <c:ext xmlns:c16="http://schemas.microsoft.com/office/drawing/2014/chart" uri="{C3380CC4-5D6E-409C-BE32-E72D297353CC}">
              <c16:uniqueId val="{00000007-858A-4CD9-BADE-2523603F91A0}"/>
            </c:ext>
          </c:extLst>
        </c:ser>
        <c:dLbls>
          <c:showLegendKey val="0"/>
          <c:showVal val="1"/>
          <c:showCatName val="0"/>
          <c:showSerName val="0"/>
          <c:showPercent val="0"/>
          <c:showBubbleSize val="0"/>
        </c:dLbls>
        <c:marker val="1"/>
        <c:smooth val="0"/>
        <c:axId val="111868544"/>
        <c:axId val="117776768"/>
      </c:lineChart>
      <c:catAx>
        <c:axId val="11186854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NL"/>
          </a:p>
        </c:txPr>
        <c:crossAx val="117776768"/>
        <c:crosses val="autoZero"/>
        <c:auto val="1"/>
        <c:lblAlgn val="ctr"/>
        <c:lblOffset val="100"/>
        <c:noMultiLvlLbl val="0"/>
      </c:catAx>
      <c:valAx>
        <c:axId val="117776768"/>
        <c:scaling>
          <c:orientation val="minMax"/>
          <c:max val="1"/>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NL"/>
          </a:p>
        </c:txPr>
        <c:crossAx val="111868544"/>
        <c:crosses val="autoZero"/>
        <c:crossBetween val="between"/>
        <c:majorUnit val="0.2"/>
      </c:valAx>
      <c:spPr>
        <a:noFill/>
        <a:ln>
          <a:noFill/>
        </a:ln>
        <a:effectLst/>
      </c:spPr>
    </c:plotArea>
    <c:legend>
      <c:legendPos val="r"/>
      <c:layout>
        <c:manualLayout>
          <c:xMode val="edge"/>
          <c:yMode val="edge"/>
          <c:x val="0.88139651219569182"/>
          <c:y val="0.30864096657371337"/>
          <c:w val="0.10825641830622004"/>
          <c:h val="0.3393893548268064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NL"/>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400">
          <a:solidFill>
            <a:schemeClr val="tx2"/>
          </a:solidFill>
          <a:latin typeface="+mn-lt"/>
        </a:defRPr>
      </a:pPr>
      <a:endParaRPr lang="en-NL"/>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650485050362957"/>
          <c:y val="0.15552335477114787"/>
          <c:w val="0.78759007604209519"/>
          <c:h val="0.74222507810191463"/>
        </c:manualLayout>
      </c:layout>
      <c:barChart>
        <c:barDir val="bar"/>
        <c:grouping val="clustered"/>
        <c:varyColors val="0"/>
        <c:ser>
          <c:idx val="0"/>
          <c:order val="0"/>
          <c:tx>
            <c:strRef>
              <c:f>Sheet1!$B$1</c:f>
              <c:strCache>
                <c:ptCount val="1"/>
                <c:pt idx="0">
                  <c:v>VRD</c:v>
                </c:pt>
              </c:strCache>
            </c:strRef>
          </c:tx>
          <c:spPr>
            <a:solidFill>
              <a:srgbClr val="004990"/>
            </a:solidFill>
            <a:ln>
              <a:noFill/>
            </a:ln>
            <a:effectLst/>
          </c:spPr>
          <c:invertIfNegative val="0"/>
          <c:dLbls>
            <c:spPr>
              <a:noFill/>
              <a:ln>
                <a:noFill/>
              </a:ln>
              <a:effectLst/>
            </c:spPr>
            <c:txPr>
              <a:bodyPr rot="0" spcFirstLastPara="1" vertOverflow="ellipsis" vert="horz" wrap="square" lIns="0" rIns="0" anchor="ctr" anchorCtr="1"/>
              <a:lstStyle/>
              <a:p>
                <a:pPr>
                  <a:defRPr sz="1197" b="1" i="0" u="none" strike="noStrike" kern="1200" baseline="0">
                    <a:solidFill>
                      <a:schemeClr val="bg1"/>
                    </a:solidFill>
                    <a:latin typeface="+mn-lt"/>
                    <a:ea typeface="+mn-ea"/>
                    <a:cs typeface="+mn-cs"/>
                  </a:defRPr>
                </a:pPr>
                <a:endParaRPr lang="en-NL"/>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st Induction</c:v>
                </c:pt>
                <c:pt idx="1">
                  <c:v>Post ASCT</c:v>
                </c:pt>
              </c:strCache>
            </c:strRef>
          </c:cat>
          <c:val>
            <c:numRef>
              <c:f>Sheet1!$B$2:$B$3</c:f>
              <c:numCache>
                <c:formatCode>0.0%</c:formatCode>
                <c:ptCount val="2"/>
                <c:pt idx="0">
                  <c:v>0.41799999999999998</c:v>
                </c:pt>
                <c:pt idx="1">
                  <c:v>0.28499999999999998</c:v>
                </c:pt>
              </c:numCache>
            </c:numRef>
          </c:val>
          <c:extLst>
            <c:ext xmlns:c16="http://schemas.microsoft.com/office/drawing/2014/chart" uri="{C3380CC4-5D6E-409C-BE32-E72D297353CC}">
              <c16:uniqueId val="{00000000-D91C-7A45-8EE6-927512898237}"/>
            </c:ext>
          </c:extLst>
        </c:ser>
        <c:dLbls>
          <c:showLegendKey val="0"/>
          <c:showVal val="1"/>
          <c:showCatName val="0"/>
          <c:showSerName val="0"/>
          <c:showPercent val="0"/>
          <c:showBubbleSize val="0"/>
        </c:dLbls>
        <c:gapWidth val="100"/>
        <c:axId val="124877824"/>
        <c:axId val="124887808"/>
      </c:barChart>
      <c:catAx>
        <c:axId val="124877824"/>
        <c:scaling>
          <c:orientation val="minMax"/>
        </c:scaling>
        <c:delete val="0"/>
        <c:axPos val="l"/>
        <c:numFmt formatCode="General" sourceLinked="1"/>
        <c:majorTickMark val="out"/>
        <c:minorTickMark val="none"/>
        <c:tickLblPos val="none"/>
        <c:spPr>
          <a:ln>
            <a:solidFill>
              <a:srgbClr val="222658">
                <a:shade val="50000"/>
              </a:srgbClr>
            </a:solidFill>
          </a:ln>
        </c:spPr>
        <c:txPr>
          <a:bodyPr/>
          <a:lstStyle/>
          <a:p>
            <a:pPr>
              <a:defRPr sz="1400"/>
            </a:pPr>
            <a:endParaRPr lang="en-NL"/>
          </a:p>
        </c:txPr>
        <c:crossAx val="124887808"/>
        <c:crosses val="autoZero"/>
        <c:auto val="1"/>
        <c:lblAlgn val="ctr"/>
        <c:lblOffset val="100"/>
        <c:noMultiLvlLbl val="0"/>
      </c:catAx>
      <c:valAx>
        <c:axId val="124887808"/>
        <c:scaling>
          <c:orientation val="minMax"/>
          <c:max val="0.5"/>
        </c:scaling>
        <c:delete val="1"/>
        <c:axPos val="b"/>
        <c:numFmt formatCode="0%" sourceLinked="0"/>
        <c:majorTickMark val="out"/>
        <c:minorTickMark val="none"/>
        <c:tickLblPos val="none"/>
        <c:crossAx val="124877824"/>
        <c:crosses val="autoZero"/>
        <c:crossBetween val="between"/>
        <c:majorUnit val="0.2"/>
      </c:valAx>
      <c:spPr>
        <a:noFill/>
        <a:ln>
          <a:noFill/>
        </a:ln>
        <a:effectLst/>
      </c:spPr>
    </c:plotArea>
    <c:legend>
      <c:legendPos val="r"/>
      <c:layout>
        <c:manualLayout>
          <c:xMode val="edge"/>
          <c:yMode val="edge"/>
          <c:x val="0.76458625210727771"/>
          <c:y val="9.1423283249376569E-2"/>
          <c:w val="0.23541374789272232"/>
          <c:h val="9.5751438331598521E-2"/>
        </c:manualLayout>
      </c:layout>
      <c:overlay val="0"/>
      <c:txPr>
        <a:bodyPr/>
        <a:lstStyle/>
        <a:p>
          <a:pPr>
            <a:defRPr sz="1050"/>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defRPr>
      </a:pPr>
      <a:endParaRPr lang="en-NL"/>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Isa-RVd†</c:v>
                </c:pt>
              </c:strCache>
            </c:strRef>
          </c:tx>
          <c:spPr>
            <a:solidFill>
              <a:srgbClr val="37609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c:v>
                </c:pt>
                <c:pt idx="1">
                  <c:v>&gt;nCR</c:v>
                </c:pt>
                <c:pt idx="2">
                  <c:v>&gt;VGPR</c:v>
                </c:pt>
                <c:pt idx="3">
                  <c:v>&gt;PR</c:v>
                </c:pt>
              </c:strCache>
            </c:strRef>
          </c:cat>
          <c:val>
            <c:numRef>
              <c:f>Sheet1!$B$2:$B$5</c:f>
              <c:numCache>
                <c:formatCode>General</c:formatCode>
                <c:ptCount val="4"/>
                <c:pt idx="0">
                  <c:v>24.2</c:v>
                </c:pt>
                <c:pt idx="1">
                  <c:v>41.7</c:v>
                </c:pt>
                <c:pt idx="2">
                  <c:v>77.3</c:v>
                </c:pt>
                <c:pt idx="3">
                  <c:v>90</c:v>
                </c:pt>
              </c:numCache>
            </c:numRef>
          </c:val>
          <c:extLst>
            <c:ext xmlns:c16="http://schemas.microsoft.com/office/drawing/2014/chart" uri="{C3380CC4-5D6E-409C-BE32-E72D297353CC}">
              <c16:uniqueId val="{00000000-EE76-C24C-9BC5-B23BB61E28A3}"/>
            </c:ext>
          </c:extLst>
        </c:ser>
        <c:ser>
          <c:idx val="1"/>
          <c:order val="1"/>
          <c:tx>
            <c:strRef>
              <c:f>Sheet1!$C$1</c:f>
              <c:strCache>
                <c:ptCount val="1"/>
                <c:pt idx="0">
                  <c:v>RVd</c:v>
                </c:pt>
              </c:strCache>
            </c:strRef>
          </c:tx>
          <c:spPr>
            <a:solidFill>
              <a:srgbClr val="8064A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R</c:v>
                </c:pt>
                <c:pt idx="1">
                  <c:v>&gt;nCR</c:v>
                </c:pt>
                <c:pt idx="2">
                  <c:v>&gt;VGPR</c:v>
                </c:pt>
                <c:pt idx="3">
                  <c:v>&gt;PR</c:v>
                </c:pt>
              </c:strCache>
            </c:strRef>
          </c:cat>
          <c:val>
            <c:numRef>
              <c:f>Sheet1!$C$2:$C$5</c:f>
              <c:numCache>
                <c:formatCode>General</c:formatCode>
                <c:ptCount val="4"/>
                <c:pt idx="0">
                  <c:v>21.6</c:v>
                </c:pt>
                <c:pt idx="1">
                  <c:v>36.200000000000003</c:v>
                </c:pt>
                <c:pt idx="2">
                  <c:v>60.5</c:v>
                </c:pt>
                <c:pt idx="3">
                  <c:v>83.6</c:v>
                </c:pt>
              </c:numCache>
            </c:numRef>
          </c:val>
          <c:extLst>
            <c:ext xmlns:c16="http://schemas.microsoft.com/office/drawing/2014/chart" uri="{C3380CC4-5D6E-409C-BE32-E72D297353CC}">
              <c16:uniqueId val="{00000001-EE76-C24C-9BC5-B23BB61E28A3}"/>
            </c:ext>
          </c:extLst>
        </c:ser>
        <c:dLbls>
          <c:showLegendKey val="0"/>
          <c:showVal val="0"/>
          <c:showCatName val="0"/>
          <c:showSerName val="0"/>
          <c:showPercent val="0"/>
          <c:showBubbleSize val="0"/>
        </c:dLbls>
        <c:gapWidth val="219"/>
        <c:overlap val="-27"/>
        <c:axId val="797688048"/>
        <c:axId val="797695264"/>
      </c:barChart>
      <c:catAx>
        <c:axId val="7976880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NL"/>
          </a:p>
        </c:txPr>
        <c:crossAx val="797695264"/>
        <c:crosses val="autoZero"/>
        <c:auto val="1"/>
        <c:lblAlgn val="ctr"/>
        <c:lblOffset val="100"/>
        <c:noMultiLvlLbl val="0"/>
      </c:catAx>
      <c:valAx>
        <c:axId val="79769526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NL"/>
          </a:p>
        </c:txPr>
        <c:crossAx val="797688048"/>
        <c:crosses val="autoZero"/>
        <c:crossBetween val="between"/>
        <c:dispUnits>
          <c:builtInUnit val="hundreds"/>
        </c:dispUnits>
      </c:valAx>
      <c:spPr>
        <a:noFill/>
        <a:ln>
          <a:noFill/>
        </a:ln>
        <a:effectLst/>
      </c:spPr>
    </c:plotArea>
    <c:legend>
      <c:legendPos val="tr"/>
      <c:layout>
        <c:manualLayout>
          <c:xMode val="edge"/>
          <c:yMode val="edge"/>
          <c:x val="0.8840056625307382"/>
          <c:y val="2.6308884254719719E-2"/>
          <c:w val="0.10425005760399737"/>
          <c:h val="0.1871915093427612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B$1</c:f>
              <c:strCache>
                <c:ptCount val="1"/>
                <c:pt idx="0">
                  <c:v>Isa-RVd</c:v>
                </c:pt>
              </c:strCache>
            </c:strRef>
          </c:tx>
          <c:spPr>
            <a:solidFill>
              <a:srgbClr val="376092"/>
            </a:solidFill>
            <a:ln>
              <a:noFill/>
            </a:ln>
            <a:effectLst/>
          </c:spPr>
          <c:invertIfNegative val="0"/>
          <c:dLbls>
            <c:dLbl>
              <c:idx val="0"/>
              <c:layout>
                <c:manualLayout>
                  <c:x val="-4.7302109046206443E-3"/>
                  <c:y val="3.518782726526486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42A-B245-8397-B72B8258914F}"/>
                </c:ext>
              </c:extLst>
            </c:dLbl>
            <c:numFmt formatCode="0.0%"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2</c:f>
              <c:numCache>
                <c:formatCode>General</c:formatCode>
                <c:ptCount val="1"/>
              </c:numCache>
            </c:numRef>
          </c:cat>
          <c:val>
            <c:numRef>
              <c:f>Sheet1!$B$2:$B$2</c:f>
              <c:numCache>
                <c:formatCode>General</c:formatCode>
                <c:ptCount val="1"/>
                <c:pt idx="0">
                  <c:v>50.1</c:v>
                </c:pt>
              </c:numCache>
            </c:numRef>
          </c:val>
          <c:extLst>
            <c:ext xmlns:c16="http://schemas.microsoft.com/office/drawing/2014/chart" uri="{C3380CC4-5D6E-409C-BE32-E72D297353CC}">
              <c16:uniqueId val="{00000000-742A-B245-8397-B72B8258914F}"/>
            </c:ext>
          </c:extLst>
        </c:ser>
        <c:ser>
          <c:idx val="1"/>
          <c:order val="1"/>
          <c:tx>
            <c:strRef>
              <c:f>Sheet1!$C$1</c:f>
              <c:strCache>
                <c:ptCount val="1"/>
                <c:pt idx="0">
                  <c:v>RVd</c:v>
                </c:pt>
              </c:strCache>
            </c:strRef>
          </c:tx>
          <c:spPr>
            <a:solidFill>
              <a:srgbClr val="8064A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C$2:$C$2</c:f>
              <c:numCache>
                <c:formatCode>General</c:formatCode>
                <c:ptCount val="1"/>
                <c:pt idx="0">
                  <c:v>35.6</c:v>
                </c:pt>
              </c:numCache>
            </c:numRef>
          </c:val>
          <c:extLst>
            <c:ext xmlns:c16="http://schemas.microsoft.com/office/drawing/2014/chart" uri="{C3380CC4-5D6E-409C-BE32-E72D297353CC}">
              <c16:uniqueId val="{00000001-742A-B245-8397-B72B8258914F}"/>
            </c:ext>
          </c:extLst>
        </c:ser>
        <c:dLbls>
          <c:showLegendKey val="0"/>
          <c:showVal val="0"/>
          <c:showCatName val="0"/>
          <c:showSerName val="0"/>
          <c:showPercent val="0"/>
          <c:showBubbleSize val="0"/>
        </c:dLbls>
        <c:gapWidth val="219"/>
        <c:overlap val="-27"/>
        <c:axId val="797688048"/>
        <c:axId val="797695264"/>
      </c:barChart>
      <c:catAx>
        <c:axId val="7976880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NL"/>
          </a:p>
        </c:txPr>
        <c:crossAx val="797695264"/>
        <c:crosses val="autoZero"/>
        <c:auto val="1"/>
        <c:lblAlgn val="ctr"/>
        <c:lblOffset val="100"/>
        <c:noMultiLvlLbl val="0"/>
      </c:catAx>
      <c:valAx>
        <c:axId val="797695264"/>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NL"/>
          </a:p>
        </c:txPr>
        <c:crossAx val="797688048"/>
        <c:crosses val="autoZero"/>
        <c:crossBetween val="between"/>
        <c:dispUnits>
          <c:builtInUnit val="hundreds"/>
        </c:dispUnits>
      </c:valAx>
      <c:spPr>
        <a:noFill/>
        <a:ln>
          <a:noFill/>
        </a:ln>
        <a:effectLst/>
      </c:spPr>
    </c:plotArea>
    <c:legend>
      <c:legendPos val="tr"/>
      <c:layout>
        <c:manualLayout>
          <c:xMode val="edge"/>
          <c:yMode val="edge"/>
          <c:x val="0.78439006989857663"/>
          <c:y val="0.17718447139940788"/>
          <c:w val="0.14050970256531403"/>
          <c:h val="0.1812785264532631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tx1"/>
          </a:solidFill>
        </a:defRPr>
      </a:pPr>
      <a:endParaRPr lang="en-NL"/>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B$1</c:f>
              <c:strCache>
                <c:ptCount val="1"/>
                <c:pt idx="0">
                  <c:v>KMP</c:v>
                </c:pt>
              </c:strCache>
            </c:strRef>
          </c:tx>
          <c:spPr>
            <a:solidFill>
              <a:schemeClr val="accent3">
                <a:lumMod val="50000"/>
              </a:schemeClr>
            </a:solidFill>
          </c:spPr>
          <c:invertIfNegative val="0"/>
          <c:dLbls>
            <c:dLbl>
              <c:idx val="0"/>
              <c:tx>
                <c:rich>
                  <a:bodyPr/>
                  <a:lstStyle/>
                  <a:p>
                    <a:r>
                      <a:rPr lang="en-US" sz="1400" b="0">
                        <a:solidFill>
                          <a:schemeClr val="tx1"/>
                        </a:solidFill>
                      </a:rPr>
                      <a:t>2.5%</a:t>
                    </a:r>
                    <a:endParaRPr lang="en-US"/>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C52-4C0A-8F48-404EC07F59EF}"/>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Grade ≥2</c:v>
                </c:pt>
              </c:strCache>
            </c:strRef>
          </c:cat>
          <c:val>
            <c:numRef>
              <c:f>Sheet1!$B$2</c:f>
              <c:numCache>
                <c:formatCode>General</c:formatCode>
                <c:ptCount val="1"/>
                <c:pt idx="0">
                  <c:v>2.5</c:v>
                </c:pt>
              </c:numCache>
            </c:numRef>
          </c:val>
          <c:extLst>
            <c:ext xmlns:c16="http://schemas.microsoft.com/office/drawing/2014/chart" uri="{C3380CC4-5D6E-409C-BE32-E72D297353CC}">
              <c16:uniqueId val="{00000001-FC52-4C0A-8F48-404EC07F59EF}"/>
            </c:ext>
          </c:extLst>
        </c:ser>
        <c:ser>
          <c:idx val="1"/>
          <c:order val="1"/>
          <c:tx>
            <c:strRef>
              <c:f>Sheet1!$C$1</c:f>
              <c:strCache>
                <c:ptCount val="1"/>
                <c:pt idx="0">
                  <c:v>VMP</c:v>
                </c:pt>
              </c:strCache>
            </c:strRef>
          </c:tx>
          <c:spPr>
            <a:solidFill>
              <a:schemeClr val="accent6">
                <a:lumMod val="60000"/>
                <a:lumOff val="40000"/>
              </a:schemeClr>
            </a:solidFill>
            <a:ln>
              <a:noFill/>
            </a:ln>
          </c:spPr>
          <c:invertIfNegative val="0"/>
          <c:dLbls>
            <c:dLbl>
              <c:idx val="0"/>
              <c:tx>
                <c:rich>
                  <a:bodyPr/>
                  <a:lstStyle/>
                  <a:p>
                    <a:r>
                      <a:rPr lang="en-US" sz="1400" b="0">
                        <a:solidFill>
                          <a:schemeClr val="tx1"/>
                        </a:solidFill>
                      </a:rPr>
                      <a:t>35.1%</a:t>
                    </a:r>
                    <a:endParaRPr lang="en-US"/>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C52-4C0A-8F48-404EC07F59EF}"/>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Grade ≥2</c:v>
                </c:pt>
              </c:strCache>
            </c:strRef>
          </c:cat>
          <c:val>
            <c:numRef>
              <c:f>Sheet1!$C$2</c:f>
              <c:numCache>
                <c:formatCode>General</c:formatCode>
                <c:ptCount val="1"/>
                <c:pt idx="0">
                  <c:v>35.1</c:v>
                </c:pt>
              </c:numCache>
            </c:numRef>
          </c:val>
          <c:extLst>
            <c:ext xmlns:c16="http://schemas.microsoft.com/office/drawing/2014/chart" uri="{C3380CC4-5D6E-409C-BE32-E72D297353CC}">
              <c16:uniqueId val="{00000003-FC52-4C0A-8F48-404EC07F59EF}"/>
            </c:ext>
          </c:extLst>
        </c:ser>
        <c:dLbls>
          <c:showLegendKey val="0"/>
          <c:showVal val="0"/>
          <c:showCatName val="0"/>
          <c:showSerName val="0"/>
          <c:showPercent val="0"/>
          <c:showBubbleSize val="0"/>
        </c:dLbls>
        <c:gapWidth val="150"/>
        <c:axId val="-2040214760"/>
        <c:axId val="-2040211688"/>
      </c:barChart>
      <c:catAx>
        <c:axId val="-2040214760"/>
        <c:scaling>
          <c:orientation val="minMax"/>
        </c:scaling>
        <c:delete val="0"/>
        <c:axPos val="b"/>
        <c:numFmt formatCode="General" sourceLinked="0"/>
        <c:majorTickMark val="none"/>
        <c:minorTickMark val="none"/>
        <c:tickLblPos val="none"/>
        <c:spPr>
          <a:ln w="19050"/>
        </c:spPr>
        <c:crossAx val="-2040211688"/>
        <c:crosses val="autoZero"/>
        <c:auto val="1"/>
        <c:lblAlgn val="ctr"/>
        <c:lblOffset val="100"/>
        <c:noMultiLvlLbl val="0"/>
      </c:catAx>
      <c:valAx>
        <c:axId val="-2040211688"/>
        <c:scaling>
          <c:orientation val="minMax"/>
        </c:scaling>
        <c:delete val="0"/>
        <c:axPos val="l"/>
        <c:title>
          <c:tx>
            <c:rich>
              <a:bodyPr rot="-5400000" vert="horz"/>
              <a:lstStyle/>
              <a:p>
                <a:pPr>
                  <a:defRPr/>
                </a:pPr>
                <a:r>
                  <a:rPr lang="en-US"/>
                  <a:t>Grade ≥2 PNa (%)</a:t>
                </a:r>
              </a:p>
            </c:rich>
          </c:tx>
          <c:layout>
            <c:manualLayout>
              <c:xMode val="edge"/>
              <c:yMode val="edge"/>
              <c:x val="1.1377572000792E-3"/>
              <c:y val="0.17430962657607799"/>
            </c:manualLayout>
          </c:layout>
          <c:overlay val="0"/>
        </c:title>
        <c:numFmt formatCode="General" sourceLinked="1"/>
        <c:majorTickMark val="out"/>
        <c:minorTickMark val="none"/>
        <c:tickLblPos val="nextTo"/>
        <c:spPr>
          <a:ln w="19050"/>
        </c:spPr>
        <c:crossAx val="-2040214760"/>
        <c:crosses val="autoZero"/>
        <c:crossBetween val="between"/>
      </c:valAx>
      <c:spPr>
        <a:ln w="19050"/>
      </c:spPr>
    </c:plotArea>
    <c:plotVisOnly val="1"/>
    <c:dispBlanksAs val="gap"/>
    <c:showDLblsOverMax val="0"/>
  </c:chart>
  <c:txPr>
    <a:bodyPr/>
    <a:lstStyle/>
    <a:p>
      <a:pPr>
        <a:defRPr lang="en-US" sz="1400" b="1" noProof="0">
          <a:solidFill>
            <a:schemeClr val="tx1"/>
          </a:solidFill>
          <a:latin typeface="Calibri" panose="020F0502020204030204" pitchFamily="34" charset="0"/>
          <a:cs typeface="Calibri" panose="020F0502020204030204" pitchFamily="34" charset="0"/>
        </a:defRPr>
      </a:pPr>
      <a:endParaRPr lang="en-NL"/>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D$21</c:f>
              <c:strCache>
                <c:ptCount val="1"/>
                <c:pt idx="0">
                  <c:v>10^-5</c:v>
                </c:pt>
              </c:strCache>
            </c:strRef>
          </c:tx>
          <c:spPr>
            <a:solidFill>
              <a:srgbClr val="FFDA65"/>
            </a:solidFill>
            <a:ln>
              <a:solidFill>
                <a:schemeClr val="tx1"/>
              </a:solidFill>
            </a:ln>
          </c:spPr>
          <c:invertIfNegative val="0"/>
          <c:dPt>
            <c:idx val="0"/>
            <c:invertIfNegative val="0"/>
            <c:bubble3D val="0"/>
            <c:spPr>
              <a:solidFill>
                <a:srgbClr val="6D2687"/>
              </a:solidFill>
              <a:ln>
                <a:solidFill>
                  <a:schemeClr val="tx1"/>
                </a:solidFill>
              </a:ln>
            </c:spPr>
            <c:extLst>
              <c:ext xmlns:c16="http://schemas.microsoft.com/office/drawing/2014/chart" uri="{C3380CC4-5D6E-409C-BE32-E72D297353CC}">
                <c16:uniqueId val="{00000002-5C4A-4587-B5D1-612645AE8883}"/>
              </c:ext>
            </c:extLst>
          </c:dPt>
          <c:dPt>
            <c:idx val="1"/>
            <c:invertIfNegative val="0"/>
            <c:bubble3D val="0"/>
            <c:spPr>
              <a:solidFill>
                <a:srgbClr val="E46C0A"/>
              </a:solidFill>
              <a:ln>
                <a:solidFill>
                  <a:schemeClr val="tx1"/>
                </a:solidFill>
              </a:ln>
            </c:spPr>
            <c:extLst>
              <c:ext xmlns:c16="http://schemas.microsoft.com/office/drawing/2014/chart" uri="{C3380CC4-5D6E-409C-BE32-E72D297353CC}">
                <c16:uniqueId val="{00000001-5C4A-4587-B5D1-612645AE8883}"/>
              </c:ext>
            </c:extLst>
          </c:dPt>
          <c:dLbls>
            <c:dLbl>
              <c:idx val="0"/>
              <c:tx>
                <c:rich>
                  <a:bodyPr/>
                  <a:lstStyle/>
                  <a:p>
                    <a:fld id="{AA356227-55ED-4F81-8424-E46E92E7D465}" type="VALUE">
                      <a:rPr lang="en-US"/>
                      <a:pPr/>
                      <a:t>[VALUE]</a:t>
                    </a:fld>
                    <a:r>
                      <a:rPr lang="en-US"/>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C4A-4587-B5D1-612645AE8883}"/>
                </c:ext>
              </c:extLst>
            </c:dLbl>
            <c:dLbl>
              <c:idx val="1"/>
              <c:tx>
                <c:rich>
                  <a:bodyPr/>
                  <a:lstStyle/>
                  <a:p>
                    <a:fld id="{3A2B73C8-3E98-4BF4-BBC0-302927C1EB7E}" type="VALUE">
                      <a:rPr lang="en-US" smtClean="0"/>
                      <a:pPr/>
                      <a:t>[VALUE]</a:t>
                    </a:fld>
                    <a:r>
                      <a:rPr lang="en-US"/>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C4A-4587-B5D1-612645AE8883}"/>
                </c:ext>
              </c:extLst>
            </c:dLbl>
            <c:spPr>
              <a:noFill/>
              <a:ln>
                <a:noFill/>
              </a:ln>
              <a:effectLst/>
            </c:spPr>
            <c:txPr>
              <a:bodyPr/>
              <a:lstStyle/>
              <a:p>
                <a:pPr>
                  <a:defRPr>
                    <a:solidFill>
                      <a:schemeClr val="bg1"/>
                    </a:solidFill>
                  </a:defRPr>
                </a:pPr>
                <a:endParaRPr lang="en-N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C$22:$C$23</c:f>
              <c:strCache>
                <c:ptCount val="2"/>
                <c:pt idx="0">
                  <c:v>D-VMP (n = 350)</c:v>
                </c:pt>
                <c:pt idx="1">
                  <c:v>VMP (n = 356)</c:v>
                </c:pt>
              </c:strCache>
            </c:strRef>
          </c:cat>
          <c:val>
            <c:numRef>
              <c:f>Sheet1!$D$22:$D$23</c:f>
              <c:numCache>
                <c:formatCode>General</c:formatCode>
                <c:ptCount val="2"/>
                <c:pt idx="0">
                  <c:v>22</c:v>
                </c:pt>
                <c:pt idx="1">
                  <c:v>6</c:v>
                </c:pt>
              </c:numCache>
            </c:numRef>
          </c:val>
          <c:extLst>
            <c:ext xmlns:c16="http://schemas.microsoft.com/office/drawing/2014/chart" uri="{C3380CC4-5D6E-409C-BE32-E72D297353CC}">
              <c16:uniqueId val="{00000003-5C4A-4587-B5D1-612645AE8883}"/>
            </c:ext>
          </c:extLst>
        </c:ser>
        <c:ser>
          <c:idx val="1"/>
          <c:order val="1"/>
          <c:tx>
            <c:strRef>
              <c:f>Sheet1!$E$21</c:f>
              <c:strCache>
                <c:ptCount val="1"/>
              </c:strCache>
            </c:strRef>
          </c:tx>
          <c:spPr>
            <a:solidFill>
              <a:schemeClr val="accent4">
                <a:lumMod val="60000"/>
                <a:lumOff val="40000"/>
              </a:schemeClr>
            </a:solidFill>
            <a:ln>
              <a:solidFill>
                <a:schemeClr val="tx1"/>
              </a:solidFill>
            </a:ln>
          </c:spPr>
          <c:invertIfNegative val="0"/>
          <c:dPt>
            <c:idx val="0"/>
            <c:invertIfNegative val="0"/>
            <c:bubble3D val="0"/>
            <c:extLst>
              <c:ext xmlns:c16="http://schemas.microsoft.com/office/drawing/2014/chart" uri="{C3380CC4-5D6E-409C-BE32-E72D297353CC}">
                <c16:uniqueId val="{00000005-5C4A-4587-B5D1-612645AE8883}"/>
              </c:ext>
            </c:extLst>
          </c:dPt>
          <c:dPt>
            <c:idx val="1"/>
            <c:invertIfNegative val="0"/>
            <c:bubble3D val="0"/>
            <c:spPr>
              <a:solidFill>
                <a:srgbClr val="FFC000"/>
              </a:solidFill>
              <a:ln>
                <a:solidFill>
                  <a:schemeClr val="tx1"/>
                </a:solidFill>
              </a:ln>
            </c:spPr>
            <c:extLst>
              <c:ext xmlns:c16="http://schemas.microsoft.com/office/drawing/2014/chart" uri="{C3380CC4-5D6E-409C-BE32-E72D297353CC}">
                <c16:uniqueId val="{00000007-5C4A-4587-B5D1-612645AE8883}"/>
              </c:ext>
            </c:extLst>
          </c:dPt>
          <c:cat>
            <c:strRef>
              <c:f>Sheet1!$C$22:$C$23</c:f>
              <c:strCache>
                <c:ptCount val="2"/>
                <c:pt idx="0">
                  <c:v>D-VMP (n = 350)</c:v>
                </c:pt>
                <c:pt idx="1">
                  <c:v>VMP (n = 356)</c:v>
                </c:pt>
              </c:strCache>
            </c:strRef>
          </c:cat>
          <c:val>
            <c:numRef>
              <c:f>Sheet1!$E$22:$E$23</c:f>
              <c:numCache>
                <c:formatCode>General</c:formatCode>
                <c:ptCount val="2"/>
                <c:pt idx="0">
                  <c:v>5</c:v>
                </c:pt>
                <c:pt idx="1">
                  <c:v>1</c:v>
                </c:pt>
              </c:numCache>
            </c:numRef>
          </c:val>
          <c:extLst>
            <c:ext xmlns:c16="http://schemas.microsoft.com/office/drawing/2014/chart" uri="{C3380CC4-5D6E-409C-BE32-E72D297353CC}">
              <c16:uniqueId val="{00000008-5C4A-4587-B5D1-612645AE8883}"/>
            </c:ext>
          </c:extLst>
        </c:ser>
        <c:dLbls>
          <c:showLegendKey val="0"/>
          <c:showVal val="0"/>
          <c:showCatName val="0"/>
          <c:showSerName val="0"/>
          <c:showPercent val="0"/>
          <c:showBubbleSize val="0"/>
        </c:dLbls>
        <c:gapWidth val="150"/>
        <c:overlap val="100"/>
        <c:axId val="-2035741064"/>
        <c:axId val="-2035737944"/>
      </c:barChart>
      <c:catAx>
        <c:axId val="-2035741064"/>
        <c:scaling>
          <c:orientation val="minMax"/>
        </c:scaling>
        <c:delete val="0"/>
        <c:axPos val="b"/>
        <c:numFmt formatCode="General" sourceLinked="0"/>
        <c:majorTickMark val="out"/>
        <c:minorTickMark val="none"/>
        <c:tickLblPos val="nextTo"/>
        <c:crossAx val="-2035737944"/>
        <c:crosses val="autoZero"/>
        <c:auto val="1"/>
        <c:lblAlgn val="ctr"/>
        <c:lblOffset val="100"/>
        <c:noMultiLvlLbl val="0"/>
      </c:catAx>
      <c:valAx>
        <c:axId val="-2035737944"/>
        <c:scaling>
          <c:orientation val="minMax"/>
        </c:scaling>
        <c:delete val="0"/>
        <c:axPos val="l"/>
        <c:majorGridlines>
          <c:spPr>
            <a:ln>
              <a:noFill/>
            </a:ln>
          </c:spPr>
        </c:majorGridlines>
        <c:title>
          <c:tx>
            <c:rich>
              <a:bodyPr/>
              <a:lstStyle/>
              <a:p>
                <a:pPr>
                  <a:defRPr/>
                </a:pPr>
                <a:r>
                  <a:rPr lang="en-US"/>
                  <a:t>MRD-negative rate, %</a:t>
                </a:r>
              </a:p>
            </c:rich>
          </c:tx>
          <c:layout>
            <c:manualLayout>
              <c:xMode val="edge"/>
              <c:yMode val="edge"/>
              <c:x val="0"/>
              <c:y val="0.20068533100029162"/>
            </c:manualLayout>
          </c:layout>
          <c:overlay val="0"/>
        </c:title>
        <c:numFmt formatCode="General" sourceLinked="1"/>
        <c:majorTickMark val="out"/>
        <c:minorTickMark val="none"/>
        <c:tickLblPos val="nextTo"/>
        <c:crossAx val="-2035741064"/>
        <c:crosses val="autoZero"/>
        <c:crossBetween val="between"/>
      </c:valAx>
    </c:plotArea>
    <c:plotVisOnly val="1"/>
    <c:dispBlanksAs val="gap"/>
    <c:showDLblsOverMax val="0"/>
  </c:chart>
  <c:txPr>
    <a:bodyPr/>
    <a:lstStyle/>
    <a:p>
      <a:pPr>
        <a:defRPr sz="1200">
          <a:latin typeface="+mn-lt"/>
          <a:cs typeface="Arial" panose="020B0604020202020204" pitchFamily="34" charset="0"/>
        </a:defRPr>
      </a:pPr>
      <a:endParaRPr lang="en-NL"/>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121204E6-696B-C84C-98C1-91702D228BF9}" type="datetimeFigureOut">
              <a:rPr lang="en-US" smtClean="0"/>
              <a:pPr/>
              <a:t>3/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01284403-8432-1547-B618-B9B2A12ED082}" type="slidenum">
              <a:rPr lang="en-US" smtClean="0"/>
              <a:pPr/>
              <a:t>‹#›</a:t>
            </a:fld>
            <a:endParaRPr lang="en-US"/>
          </a:p>
        </p:txBody>
      </p:sp>
    </p:spTree>
    <p:extLst>
      <p:ext uri="{BB962C8B-B14F-4D97-AF65-F5344CB8AC3E}">
        <p14:creationId xmlns:p14="http://schemas.microsoft.com/office/powerpoint/2010/main" val="4098099687"/>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Arial" panose="020B0604020202020204" pitchFamily="34" charset="0"/>
        <a:ea typeface="+mn-ea"/>
        <a:cs typeface="+mn-cs"/>
      </a:defRPr>
    </a:lvl1pPr>
    <a:lvl2pPr marL="342900" algn="l" defTabSz="685800" rtl="0" eaLnBrk="1" latinLnBrk="0" hangingPunct="1">
      <a:defRPr sz="900" kern="1200">
        <a:solidFill>
          <a:schemeClr val="tx1"/>
        </a:solidFill>
        <a:latin typeface="Arial" panose="020B0604020202020204" pitchFamily="34" charset="0"/>
        <a:ea typeface="+mn-ea"/>
        <a:cs typeface="+mn-cs"/>
      </a:defRPr>
    </a:lvl2pPr>
    <a:lvl3pPr marL="685800" algn="l" defTabSz="685800" rtl="0" eaLnBrk="1" latinLnBrk="0" hangingPunct="1">
      <a:defRPr sz="900" kern="1200">
        <a:solidFill>
          <a:schemeClr val="tx1"/>
        </a:solidFill>
        <a:latin typeface="Arial" panose="020B0604020202020204" pitchFamily="34" charset="0"/>
        <a:ea typeface="+mn-ea"/>
        <a:cs typeface="+mn-cs"/>
      </a:defRPr>
    </a:lvl3pPr>
    <a:lvl4pPr marL="1028700" algn="l" defTabSz="685800" rtl="0" eaLnBrk="1" latinLnBrk="0" hangingPunct="1">
      <a:defRPr sz="900" kern="1200">
        <a:solidFill>
          <a:schemeClr val="tx1"/>
        </a:solidFill>
        <a:latin typeface="Arial" panose="020B0604020202020204" pitchFamily="34" charset="0"/>
        <a:ea typeface="+mn-ea"/>
        <a:cs typeface="+mn-cs"/>
      </a:defRPr>
    </a:lvl4pPr>
    <a:lvl5pPr marL="1371600" algn="l" defTabSz="685800" rtl="0" eaLnBrk="1" latinLnBrk="0" hangingPunct="1">
      <a:defRPr sz="900" kern="1200">
        <a:solidFill>
          <a:schemeClr val="tx1"/>
        </a:solidFill>
        <a:latin typeface="Arial" panose="020B0604020202020204"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01284403-8432-1547-B618-B9B2A12ED082}" type="slidenum">
              <a:rPr lang="en-US" smtClean="0"/>
              <a:pPr/>
              <a:t>1</a:t>
            </a:fld>
            <a:endParaRPr lang="en-US"/>
          </a:p>
        </p:txBody>
      </p:sp>
    </p:spTree>
    <p:extLst>
      <p:ext uri="{BB962C8B-B14F-4D97-AF65-F5344CB8AC3E}">
        <p14:creationId xmlns:p14="http://schemas.microsoft.com/office/powerpoint/2010/main" val="1514827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266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a:extLst>
              <a:ext uri="{FF2B5EF4-FFF2-40B4-BE49-F238E27FC236}">
                <a16:creationId xmlns:a16="http://schemas.microsoft.com/office/drawing/2014/main" id="{98F70443-C2F5-064C-B323-2C8D81112B5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20000"/>
              </a:spcBef>
              <a:spcAft>
                <a:spcPct val="0"/>
              </a:spcAft>
              <a:buClrTx/>
              <a:buSzTx/>
              <a:buFontTx/>
              <a:buNone/>
              <a:tabLst/>
              <a:defRPr/>
            </a:pPr>
            <a:fld id="{048784B8-7B57-5342-80C7-28F581AECE69}" type="slidenum">
              <a:rPr kumimoji="0" lang="es-ES_tradnl" altLang="LID8192"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14400" rtl="0" eaLnBrk="0" fontAlgn="base" latinLnBrk="0" hangingPunct="0">
                <a:lnSpc>
                  <a:spcPct val="100000"/>
                </a:lnSpc>
                <a:spcBef>
                  <a:spcPct val="20000"/>
                </a:spcBef>
                <a:spcAft>
                  <a:spcPct val="0"/>
                </a:spcAft>
                <a:buClrTx/>
                <a:buSzTx/>
                <a:buFontTx/>
                <a:buNone/>
                <a:tabLst/>
                <a:defRPr/>
              </a:pPr>
              <a:t>27</a:t>
            </a:fld>
            <a:endParaRPr kumimoji="0" lang="es-ES_tradnl" altLang="LID8192" sz="12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
        <p:nvSpPr>
          <p:cNvPr id="17411" name="Rectangle 2">
            <a:extLst>
              <a:ext uri="{FF2B5EF4-FFF2-40B4-BE49-F238E27FC236}">
                <a16:creationId xmlns:a16="http://schemas.microsoft.com/office/drawing/2014/main" id="{D5607FAF-13C7-7B41-B832-E2864AF912E4}"/>
              </a:ext>
            </a:extLst>
          </p:cNvPr>
          <p:cNvSpPr>
            <a:spLocks noGrp="1" noRot="1" noChangeAspect="1" noChangeArrowheads="1" noTextEdit="1"/>
          </p:cNvSpPr>
          <p:nvPr>
            <p:ph type="sldImg"/>
          </p:nvPr>
        </p:nvSpPr>
        <p:spPr bwMode="auto">
          <a:xfrm>
            <a:off x="139700" y="768350"/>
            <a:ext cx="6821488" cy="3838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a:extLst>
              <a:ext uri="{FF2B5EF4-FFF2-40B4-BE49-F238E27FC236}">
                <a16:creationId xmlns:a16="http://schemas.microsoft.com/office/drawing/2014/main" id="{CC64C9EF-7A87-6C43-906B-85994D436BE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s-ES" altLang="LID8192"/>
              <a:t>And Mayo Clinic identified </a:t>
            </a:r>
            <a:r>
              <a:rPr lang="es-ES" altLang="LID8192" err="1"/>
              <a:t>these</a:t>
            </a:r>
            <a:r>
              <a:rPr lang="es-ES" altLang="LID8192"/>
              <a:t> patients as </a:t>
            </a:r>
            <a:r>
              <a:rPr lang="es-ES" altLang="LID8192" err="1"/>
              <a:t>those</a:t>
            </a:r>
            <a:r>
              <a:rPr lang="es-ES" altLang="LID8192"/>
              <a:t> with XXXXX and the Spanish </a:t>
            </a:r>
            <a:r>
              <a:rPr lang="es-ES" altLang="LID8192" err="1"/>
              <a:t>group</a:t>
            </a:r>
            <a:r>
              <a:rPr lang="es-ES" altLang="LID8192"/>
              <a:t> as </a:t>
            </a:r>
            <a:r>
              <a:rPr lang="es-ES" altLang="LID8192" err="1"/>
              <a:t>those</a:t>
            </a:r>
            <a:r>
              <a:rPr lang="es-ES" altLang="LID8192"/>
              <a:t> with  more tan 95 % of </a:t>
            </a:r>
            <a:r>
              <a:rPr lang="es-ES" altLang="LID8192" err="1"/>
              <a:t>aberrant</a:t>
            </a:r>
            <a:r>
              <a:rPr lang="es-ES" altLang="LID8192"/>
              <a:t> PC by immunophenotype plus </a:t>
            </a:r>
            <a:r>
              <a:rPr lang="es-ES" altLang="LID8192" err="1"/>
              <a:t>immunoparesia</a:t>
            </a:r>
            <a:endParaRPr lang="es-ES" altLang="LID8192"/>
          </a:p>
        </p:txBody>
      </p:sp>
    </p:spTree>
    <p:extLst>
      <p:ext uri="{BB962C8B-B14F-4D97-AF65-F5344CB8AC3E}">
        <p14:creationId xmlns:p14="http://schemas.microsoft.com/office/powerpoint/2010/main" val="4451046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Here you can see how this model allowed us to identify three different subgroup of patie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s for how many had 2 and how many had all 3: 354 of 415 had 2, 61 of the 415 had all 3. There was a slight increase in risk for the group with all 3. </a:t>
            </a:r>
            <a:endParaRPr lang="es-ES" sz="1200" kern="1200">
              <a:solidFill>
                <a:schemeClr val="tx1"/>
              </a:solidFill>
              <a:effectLst/>
              <a:latin typeface="+mn-lt"/>
              <a:ea typeface="+mn-ea"/>
              <a:cs typeface="+mn-cs"/>
            </a:endParaRPr>
          </a:p>
          <a:p>
            <a:endParaRPr lang="es-ES"/>
          </a:p>
          <a:p>
            <a:pPr eaLnBrk="1" hangingPunct="1">
              <a:spcBef>
                <a:spcPct val="0"/>
              </a:spcBef>
            </a:pPr>
            <a:r>
              <a:rPr lang="en-US" altLang="en-US" b="1" i="0" u="sng">
                <a:latin typeface="Arial" pitchFamily="34" charset="0"/>
              </a:rPr>
              <a:t>RedMedEd Fact-Check</a:t>
            </a:r>
            <a:r>
              <a:rPr lang="en-US" altLang="en-US" b="1" i="0">
                <a:latin typeface="Arial" pitchFamily="34" charset="0"/>
              </a:rPr>
              <a:t>:</a:t>
            </a:r>
          </a:p>
          <a:p>
            <a:pPr marL="0" marR="0" lvl="0" indent="0" algn="l" defTabSz="457200" rtl="0" eaLnBrk="1" fontAlgn="base" latinLnBrk="0" hangingPunct="1">
              <a:lnSpc>
                <a:spcPct val="100000"/>
              </a:lnSpc>
              <a:spcBef>
                <a:spcPct val="0"/>
              </a:spcBef>
              <a:spcAft>
                <a:spcPct val="0"/>
              </a:spcAft>
              <a:buClr>
                <a:srgbClr val="000000"/>
              </a:buClr>
              <a:buSzPct val="100000"/>
              <a:buFont typeface="Times New Roman" pitchFamily="16" charset="0"/>
              <a:buNone/>
              <a:tabLst/>
              <a:defRPr/>
            </a:pPr>
            <a:r>
              <a:rPr lang="en-US" altLang="en-US" i="0" baseline="0">
                <a:latin typeface="Arial" pitchFamily="34" charset="0"/>
              </a:rPr>
              <a:t>Figure and table taken directly from San Miguel ASCO 2019 (Abstract 8000) slide presentation (slide 14)</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83C2F3-A687-A740-A8DC-F6A5F80870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896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Marcador de imagen de diapositiva 1">
            <a:extLst>
              <a:ext uri="{FF2B5EF4-FFF2-40B4-BE49-F238E27FC236}">
                <a16:creationId xmlns:a16="http://schemas.microsoft.com/office/drawing/2014/main" id="{AAB3E586-BA63-CF4C-B56D-1EEF58036BC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Marcador de notas 2">
            <a:extLst>
              <a:ext uri="{FF2B5EF4-FFF2-40B4-BE49-F238E27FC236}">
                <a16:creationId xmlns:a16="http://schemas.microsoft.com/office/drawing/2014/main" id="{EBDFFB48-F4AF-9B45-A3D8-D0ECE0360411}"/>
              </a:ext>
            </a:extLst>
          </p:cNvPr>
          <p:cNvSpPr>
            <a:spLocks noGrp="1"/>
          </p:cNvSpPr>
          <p:nvPr>
            <p:ph type="body" idx="1"/>
          </p:nvPr>
        </p:nvSpPr>
        <p:spPr/>
        <p:txBody>
          <a:bodyPr/>
          <a:lstStyle/>
          <a:p>
            <a:pPr eaLnBrk="1" fontAlgn="auto" hangingPunct="1">
              <a:spcBef>
                <a:spcPts val="0"/>
              </a:spcBef>
              <a:spcAft>
                <a:spcPts val="0"/>
              </a:spcAft>
              <a:defRPr/>
            </a:pPr>
            <a:r>
              <a:rPr lang="en-US">
                <a:ea typeface="+mn-ea"/>
                <a:cs typeface="+mn-cs"/>
              </a:rPr>
              <a:t>FISH information was added in a subsequent analysis and not as part of the firs-one because this information was present in half of the patients approximately. </a:t>
            </a:r>
          </a:p>
          <a:p>
            <a:pPr eaLnBrk="1" fontAlgn="auto" hangingPunct="1">
              <a:spcBef>
                <a:spcPts val="0"/>
              </a:spcBef>
              <a:spcAft>
                <a:spcPts val="0"/>
              </a:spcAft>
              <a:defRPr/>
            </a:pPr>
            <a:r>
              <a:rPr lang="en-US">
                <a:ea typeface="+mn-ea"/>
                <a:cs typeface="+mn-cs"/>
              </a:rPr>
              <a:t>T(4;14), 14M16 +1q or del13q/13 were identified in the univariate cox regression analysis predicting outcome. When this feature was included in the model, xxxxxx</a:t>
            </a:r>
          </a:p>
          <a:p>
            <a:pPr eaLnBrk="1" fontAlgn="auto" hangingPunct="1">
              <a:spcBef>
                <a:spcPts val="0"/>
              </a:spcBef>
              <a:spcAft>
                <a:spcPts val="0"/>
              </a:spcAft>
              <a:defRPr/>
            </a:pPr>
            <a:endParaRPr lang="en-US">
              <a:ea typeface="+mn-ea"/>
              <a:cs typeface="+mn-cs"/>
            </a:endParaRPr>
          </a:p>
          <a:p>
            <a:pPr eaLnBrk="1" fontAlgn="auto" hangingPunct="1">
              <a:spcBef>
                <a:spcPts val="0"/>
              </a:spcBef>
              <a:spcAft>
                <a:spcPts val="0"/>
              </a:spcAft>
              <a:defRPr/>
            </a:pPr>
            <a:endParaRPr lang="en-US">
              <a:ea typeface="+mn-ea"/>
              <a:cs typeface="+mn-cs"/>
            </a:endParaRPr>
          </a:p>
          <a:p>
            <a:pPr eaLnBrk="1" fontAlgn="auto" hangingPunct="1">
              <a:spcBef>
                <a:spcPts val="0"/>
              </a:spcBef>
              <a:spcAft>
                <a:spcPts val="0"/>
              </a:spcAft>
              <a:defRPr/>
            </a:pPr>
            <a:r>
              <a:rPr lang="en-US">
                <a:ea typeface="+mn-ea"/>
                <a:cs typeface="+mn-cs"/>
              </a:rPr>
              <a:t>101 of the 145 had an abnormality. 24 did not and 20 were missing (but had all 3 of the other characteristics and were therefore classified as high risk). Of those 101 many had more than 1 of the 4 however the key one was del13q was part of 76 of the 101. 4,14 was in 27 of the 101. 14,16 was in only 8, and 1qgain was in 38 of the 101. But as mentioned, there were many with 2+ (ex. Del13q + 1qgain, etc). </a:t>
            </a:r>
            <a:endParaRPr lang="es-ES">
              <a:ea typeface="+mn-ea"/>
              <a:cs typeface="+mn-cs"/>
            </a:endParaRPr>
          </a:p>
          <a:p>
            <a:pPr>
              <a:defRPr/>
            </a:pPr>
            <a:r>
              <a:rPr lang="en-US">
                <a:ea typeface="+mn-ea"/>
                <a:cs typeface="+mn-cs"/>
              </a:rPr>
              <a:t>Only those 4 were deemed relevant to this comparison where others did not have a link shown. </a:t>
            </a:r>
            <a:endParaRPr lang="es-ES"/>
          </a:p>
        </p:txBody>
      </p:sp>
      <p:sp>
        <p:nvSpPr>
          <p:cNvPr id="84995" name="Marcador de número de diapositiva 3">
            <a:extLst>
              <a:ext uri="{FF2B5EF4-FFF2-40B4-BE49-F238E27FC236}">
                <a16:creationId xmlns:a16="http://schemas.microsoft.com/office/drawing/2014/main" id="{1193F9F2-F1BB-F548-A9EB-7D584C01C51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0CC57693-C7AB-1746-9D3C-5C593046DD3C}" type="slidenum">
              <a:rPr kumimoji="0" lang="en-US" altLang="es-ES" sz="1200" b="0" i="0" u="none" strike="noStrike" kern="1200" cap="none" spc="0" normalizeH="0" baseline="0" noProof="0" smtClean="0">
                <a:ln>
                  <a:noFill/>
                </a:ln>
                <a:solidFill>
                  <a:prstClr val="black"/>
                </a:solidFill>
                <a:effectLst/>
                <a:uLnTx/>
                <a:uFillTx/>
                <a:latin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30</a:t>
            </a:fld>
            <a:endParaRPr kumimoji="0" lang="en-US" altLang="es-ES" sz="1200" b="0" i="0" u="none" strike="noStrike" kern="1200" cap="none" spc="0" normalizeH="0" baseline="0" noProof="0">
              <a:ln>
                <a:noFill/>
              </a:ln>
              <a:solidFill>
                <a:prstClr val="black"/>
              </a:solidFill>
              <a:effectLst/>
              <a:uLnTx/>
              <a:uFillTx/>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53B426-8E59-8743-8149-2F3EB17B74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5675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53B426-8E59-8743-8149-2F3EB17B74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86095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7">
            <a:extLst>
              <a:ext uri="{FF2B5EF4-FFF2-40B4-BE49-F238E27FC236}">
                <a16:creationId xmlns:a16="http://schemas.microsoft.com/office/drawing/2014/main" id="{3077A0C2-3286-1745-8358-57195C157FC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37931725" indent="-37474525">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7B7FE038-1BE2-414F-BADA-0B2E5A6D2119}" type="slidenum">
              <a:rPr kumimoji="0" lang="es-ES" altLang="es-ES_tradnl" sz="1200" b="0" i="0" u="none" strike="noStrike" kern="1200" cap="none" spc="0" normalizeH="0" baseline="0" noProof="0" smtClean="0">
                <a:ln>
                  <a:noFill/>
                </a:ln>
                <a:solidFill>
                  <a:prstClr val="black"/>
                </a:solidFill>
                <a:effectLst/>
                <a:uLnTx/>
                <a:uFillTx/>
                <a:latin typeface="Times New Roman" panose="02020603050405020304" pitchFamily="18" charset="0"/>
                <a:ea typeface="ＭＳ Ｐゴシック" panose="020B0600070205080204" pitchFamily="34" charset="-128"/>
                <a:cs typeface="ＭＳ Ｐゴシック" panose="020B0600070205080204" pitchFamily="34" charset="-128"/>
              </a:rPr>
              <a:pPr marL="0" marR="0" lvl="0" indent="0" algn="r" defTabSz="457200" rtl="0" eaLnBrk="1" fontAlgn="base" latinLnBrk="0" hangingPunct="1">
                <a:lnSpc>
                  <a:spcPct val="100000"/>
                </a:lnSpc>
                <a:spcBef>
                  <a:spcPct val="0"/>
                </a:spcBef>
                <a:spcAft>
                  <a:spcPct val="0"/>
                </a:spcAft>
                <a:buClrTx/>
                <a:buSzTx/>
                <a:buFontTx/>
                <a:buNone/>
                <a:tabLst/>
                <a:defRPr/>
              </a:pPr>
              <a:t>34</a:t>
            </a:fld>
            <a:endParaRPr kumimoji="0" lang="es-ES" altLang="es-ES_tradnl" sz="1200" b="0" i="0" u="none" strike="noStrike" kern="1200" cap="none" spc="0" normalizeH="0" baseline="0" noProof="0">
              <a:ln>
                <a:noFill/>
              </a:ln>
              <a:solidFill>
                <a:prstClr val="black"/>
              </a:solidFill>
              <a:effectLst/>
              <a:uLnTx/>
              <a:uFillTx/>
              <a:latin typeface="Times New Roman" panose="02020603050405020304" pitchFamily="18" charset="0"/>
              <a:ea typeface="ＭＳ Ｐゴシック" panose="020B0600070205080204" pitchFamily="34" charset="-128"/>
              <a:cs typeface="ＭＳ Ｐゴシック" panose="020B0600070205080204" pitchFamily="34" charset="-128"/>
            </a:endParaRPr>
          </a:p>
        </p:txBody>
      </p:sp>
      <p:sp>
        <p:nvSpPr>
          <p:cNvPr id="93186" name="Rectangle 2">
            <a:extLst>
              <a:ext uri="{FF2B5EF4-FFF2-40B4-BE49-F238E27FC236}">
                <a16:creationId xmlns:a16="http://schemas.microsoft.com/office/drawing/2014/main" id="{021D30F1-BFC0-C04C-9C85-56A672301319}"/>
              </a:ext>
            </a:extLst>
          </p:cNvPr>
          <p:cNvSpPr>
            <a:spLocks noGrp="1" noRot="1" noChangeAspect="1" noChangeArrowheads="1" noTextEdit="1"/>
          </p:cNvSpPr>
          <p:nvPr>
            <p:ph type="sldImg"/>
          </p:nvPr>
        </p:nvSpPr>
        <p:spPr bwMode="auto">
          <a:xfrm>
            <a:off x="111125" y="744538"/>
            <a:ext cx="6611938" cy="37195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Rectangle 3">
            <a:extLst>
              <a:ext uri="{FF2B5EF4-FFF2-40B4-BE49-F238E27FC236}">
                <a16:creationId xmlns:a16="http://schemas.microsoft.com/office/drawing/2014/main" id="{32F03EC2-6446-4E41-989E-02401F702D6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s-ES" altLang="es-ES">
                <a:ea typeface="Geneva" panose="020B0503030404040204" pitchFamily="34" charset="0"/>
                <a:cs typeface="Geneva" panose="020B0503030404040204" pitchFamily="34" charset="0"/>
              </a:rPr>
              <a:t>Evolving </a:t>
            </a:r>
            <a:r>
              <a:rPr lang="es-ES" altLang="es-ES" err="1">
                <a:ea typeface="Geneva" panose="020B0503030404040204" pitchFamily="34" charset="0"/>
                <a:cs typeface="Geneva" panose="020B0503030404040204" pitchFamily="34" charset="0"/>
              </a:rPr>
              <a:t>change</a:t>
            </a:r>
            <a:r>
              <a:rPr lang="es-ES" altLang="es-ES">
                <a:ea typeface="Geneva" panose="020B0503030404040204" pitchFamily="34" charset="0"/>
                <a:cs typeface="Geneva" panose="020B0503030404040204" pitchFamily="34" charset="0"/>
              </a:rPr>
              <a:t> in monoclonal </a:t>
            </a:r>
            <a:r>
              <a:rPr lang="es-ES" altLang="es-ES" err="1">
                <a:ea typeface="Geneva" panose="020B0503030404040204" pitchFamily="34" charset="0"/>
                <a:cs typeface="Geneva" panose="020B0503030404040204" pitchFamily="34" charset="0"/>
              </a:rPr>
              <a:t>protein</a:t>
            </a:r>
            <a:r>
              <a:rPr lang="es-ES" altLang="es-ES">
                <a:ea typeface="Geneva" panose="020B0503030404040204" pitchFamily="34" charset="0"/>
                <a:cs typeface="Geneva" panose="020B0503030404040204" pitchFamily="34" charset="0"/>
              </a:rPr>
              <a:t> level (</a:t>
            </a:r>
            <a:r>
              <a:rPr lang="es-ES" altLang="es-ES" err="1">
                <a:ea typeface="Geneva" panose="020B0503030404040204" pitchFamily="34" charset="0"/>
                <a:cs typeface="Geneva" panose="020B0503030404040204" pitchFamily="34" charset="0"/>
              </a:rPr>
              <a:t>eMP</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was</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defined</a:t>
            </a:r>
            <a:r>
              <a:rPr lang="es-ES" altLang="es-ES">
                <a:ea typeface="Geneva" panose="020B0503030404040204" pitchFamily="34" charset="0"/>
                <a:cs typeface="Geneva" panose="020B0503030404040204" pitchFamily="34" charset="0"/>
              </a:rPr>
              <a:t> as ⩾10% </a:t>
            </a:r>
            <a:r>
              <a:rPr lang="es-ES" altLang="es-ES" err="1">
                <a:ea typeface="Geneva" panose="020B0503030404040204" pitchFamily="34" charset="0"/>
                <a:cs typeface="Geneva" panose="020B0503030404040204" pitchFamily="34" charset="0"/>
              </a:rPr>
              <a:t>increase</a:t>
            </a:r>
            <a:r>
              <a:rPr lang="es-ES" altLang="es-ES">
                <a:ea typeface="Geneva" panose="020B0503030404040204" pitchFamily="34" charset="0"/>
                <a:cs typeface="Geneva" panose="020B0503030404040204" pitchFamily="34" charset="0"/>
              </a:rPr>
              <a:t> in serum monoclonal </a:t>
            </a:r>
            <a:r>
              <a:rPr lang="es-ES" altLang="es-ES" err="1">
                <a:ea typeface="Geneva" panose="020B0503030404040204" pitchFamily="34" charset="0"/>
                <a:cs typeface="Geneva" panose="020B0503030404040204" pitchFamily="34" charset="0"/>
              </a:rPr>
              <a:t>protein</a:t>
            </a:r>
            <a:r>
              <a:rPr lang="es-ES" altLang="es-ES">
                <a:ea typeface="Geneva" panose="020B0503030404040204" pitchFamily="34" charset="0"/>
                <a:cs typeface="Geneva" panose="020B0503030404040204" pitchFamily="34" charset="0"/>
              </a:rPr>
              <a:t> (M) and/or </a:t>
            </a:r>
            <a:r>
              <a:rPr lang="es-ES" altLang="es-ES" err="1">
                <a:ea typeface="Geneva" panose="020B0503030404040204" pitchFamily="34" charset="0"/>
                <a:cs typeface="Geneva" panose="020B0503030404040204" pitchFamily="34" charset="0"/>
              </a:rPr>
              <a:t>immunoglobulin</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Ig</a:t>
            </a:r>
            <a:r>
              <a:rPr lang="es-ES" altLang="es-ES">
                <a:ea typeface="Geneva" panose="020B0503030404040204" pitchFamily="34" charset="0"/>
                <a:cs typeface="Geneva" panose="020B0503030404040204" pitchFamily="34" charset="0"/>
              </a:rPr>
              <a:t>) (M/</a:t>
            </a:r>
            <a:r>
              <a:rPr lang="es-ES" altLang="es-ES" err="1">
                <a:ea typeface="Geneva" panose="020B0503030404040204" pitchFamily="34" charset="0"/>
                <a:cs typeface="Geneva" panose="020B0503030404040204" pitchFamily="34" charset="0"/>
              </a:rPr>
              <a:t>Ig</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within</a:t>
            </a:r>
            <a:r>
              <a:rPr lang="es-ES" altLang="es-ES">
                <a:ea typeface="Geneva" panose="020B0503030404040204" pitchFamily="34" charset="0"/>
                <a:cs typeface="Geneva" panose="020B0503030404040204" pitchFamily="34" charset="0"/>
              </a:rPr>
              <a:t> the </a:t>
            </a:r>
            <a:r>
              <a:rPr lang="es-ES" altLang="es-ES" err="1">
                <a:ea typeface="Geneva" panose="020B0503030404040204" pitchFamily="34" charset="0"/>
                <a:cs typeface="Geneva" panose="020B0503030404040204" pitchFamily="34" charset="0"/>
              </a:rPr>
              <a:t>first</a:t>
            </a:r>
            <a:r>
              <a:rPr lang="es-ES" altLang="es-ES">
                <a:ea typeface="Geneva" panose="020B0503030404040204" pitchFamily="34" charset="0"/>
                <a:cs typeface="Geneva" panose="020B0503030404040204" pitchFamily="34" charset="0"/>
              </a:rPr>
              <a:t> 6 months of diagnosis (only </a:t>
            </a:r>
            <a:r>
              <a:rPr lang="es-ES" altLang="es-ES" err="1">
                <a:ea typeface="Geneva" panose="020B0503030404040204" pitchFamily="34" charset="0"/>
                <a:cs typeface="Geneva" panose="020B0503030404040204" pitchFamily="34" charset="0"/>
              </a:rPr>
              <a:t>if</a:t>
            </a:r>
            <a:r>
              <a:rPr lang="es-ES" altLang="es-ES">
                <a:ea typeface="Geneva" panose="020B0503030404040204" pitchFamily="34" charset="0"/>
                <a:cs typeface="Geneva" panose="020B0503030404040204" pitchFamily="34" charset="0"/>
              </a:rPr>
              <a:t> M-</a:t>
            </a:r>
            <a:r>
              <a:rPr lang="es-ES" altLang="es-ES" err="1">
                <a:ea typeface="Geneva" panose="020B0503030404040204" pitchFamily="34" charset="0"/>
                <a:cs typeface="Geneva" panose="020B0503030404040204" pitchFamily="34" charset="0"/>
              </a:rPr>
              <a:t>protein</a:t>
            </a:r>
            <a:r>
              <a:rPr lang="es-ES" altLang="es-ES">
                <a:ea typeface="Geneva" panose="020B0503030404040204" pitchFamily="34" charset="0"/>
                <a:cs typeface="Geneva" panose="020B0503030404040204" pitchFamily="34" charset="0"/>
              </a:rPr>
              <a:t> ⩾3 g/dl) and/or ⩾25% </a:t>
            </a:r>
            <a:r>
              <a:rPr lang="es-ES" altLang="es-ES" err="1">
                <a:ea typeface="Geneva" panose="020B0503030404040204" pitchFamily="34" charset="0"/>
                <a:cs typeface="Geneva" panose="020B0503030404040204" pitchFamily="34" charset="0"/>
              </a:rPr>
              <a:t>increase</a:t>
            </a:r>
            <a:r>
              <a:rPr lang="es-ES" altLang="es-ES">
                <a:ea typeface="Geneva" panose="020B0503030404040204" pitchFamily="34" charset="0"/>
                <a:cs typeface="Geneva" panose="020B0503030404040204" pitchFamily="34" charset="0"/>
              </a:rPr>
              <a:t> in M/</a:t>
            </a:r>
            <a:r>
              <a:rPr lang="es-ES" altLang="es-ES" err="1">
                <a:ea typeface="Geneva" panose="020B0503030404040204" pitchFamily="34" charset="0"/>
                <a:cs typeface="Geneva" panose="020B0503030404040204" pitchFamily="34" charset="0"/>
              </a:rPr>
              <a:t>Ig</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within</a:t>
            </a:r>
            <a:r>
              <a:rPr lang="es-ES" altLang="es-ES">
                <a:ea typeface="Geneva" panose="020B0503030404040204" pitchFamily="34" charset="0"/>
                <a:cs typeface="Geneva" panose="020B0503030404040204" pitchFamily="34" charset="0"/>
              </a:rPr>
              <a:t> the </a:t>
            </a:r>
            <a:r>
              <a:rPr lang="es-ES" altLang="es-ES" err="1">
                <a:ea typeface="Geneva" panose="020B0503030404040204" pitchFamily="34" charset="0"/>
                <a:cs typeface="Geneva" panose="020B0503030404040204" pitchFamily="34" charset="0"/>
              </a:rPr>
              <a:t>first</a:t>
            </a:r>
            <a:r>
              <a:rPr lang="es-ES" altLang="es-ES">
                <a:ea typeface="Geneva" panose="020B0503030404040204" pitchFamily="34" charset="0"/>
                <a:cs typeface="Geneva" panose="020B0503030404040204" pitchFamily="34" charset="0"/>
              </a:rPr>
              <a:t> 12 months, with a </a:t>
            </a:r>
            <a:r>
              <a:rPr lang="es-ES" altLang="es-ES" err="1">
                <a:ea typeface="Geneva" panose="020B0503030404040204" pitchFamily="34" charset="0"/>
                <a:cs typeface="Geneva" panose="020B0503030404040204" pitchFamily="34" charset="0"/>
              </a:rPr>
              <a:t>minimum</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required</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increase</a:t>
            </a:r>
            <a:r>
              <a:rPr lang="es-ES" altLang="es-ES">
                <a:ea typeface="Geneva" panose="020B0503030404040204" pitchFamily="34" charset="0"/>
                <a:cs typeface="Geneva" panose="020B0503030404040204" pitchFamily="34" charset="0"/>
              </a:rPr>
              <a:t> of 0.5 g/dl in M-</a:t>
            </a:r>
            <a:r>
              <a:rPr lang="es-ES" altLang="es-ES" err="1">
                <a:ea typeface="Geneva" panose="020B0503030404040204" pitchFamily="34" charset="0"/>
                <a:cs typeface="Geneva" panose="020B0503030404040204" pitchFamily="34" charset="0"/>
              </a:rPr>
              <a:t>protein</a:t>
            </a:r>
            <a:r>
              <a:rPr lang="es-ES" altLang="es-ES">
                <a:ea typeface="Geneva" panose="020B0503030404040204" pitchFamily="34" charset="0"/>
                <a:cs typeface="Geneva" panose="020B0503030404040204" pitchFamily="34" charset="0"/>
              </a:rPr>
              <a:t> and/or 500 mg/dl in </a:t>
            </a:r>
            <a:r>
              <a:rPr lang="es-ES" altLang="es-ES" err="1">
                <a:ea typeface="Geneva" panose="020B0503030404040204" pitchFamily="34" charset="0"/>
                <a:cs typeface="Geneva" panose="020B0503030404040204" pitchFamily="34" charset="0"/>
              </a:rPr>
              <a:t>Ig</a:t>
            </a:r>
            <a:r>
              <a:rPr lang="es-ES" altLang="es-ES">
                <a:ea typeface="Geneva" panose="020B0503030404040204" pitchFamily="34" charset="0"/>
                <a:cs typeface="Geneva" panose="020B0503030404040204" pitchFamily="34" charset="0"/>
              </a:rPr>
              <a:t>. Evolving </a:t>
            </a:r>
            <a:r>
              <a:rPr lang="es-ES" altLang="es-ES" err="1">
                <a:ea typeface="Geneva" panose="020B0503030404040204" pitchFamily="34" charset="0"/>
                <a:cs typeface="Geneva" panose="020B0503030404040204" pitchFamily="34" charset="0"/>
              </a:rPr>
              <a:t>change</a:t>
            </a:r>
            <a:r>
              <a:rPr lang="es-ES" altLang="es-ES">
                <a:ea typeface="Geneva" panose="020B0503030404040204" pitchFamily="34" charset="0"/>
                <a:cs typeface="Geneva" panose="020B0503030404040204" pitchFamily="34" charset="0"/>
              </a:rPr>
              <a:t> in hemoglobin (</a:t>
            </a:r>
            <a:r>
              <a:rPr lang="es-ES" altLang="es-ES" err="1">
                <a:ea typeface="Geneva" panose="020B0503030404040204" pitchFamily="34" charset="0"/>
                <a:cs typeface="Geneva" panose="020B0503030404040204" pitchFamily="34" charset="0"/>
              </a:rPr>
              <a:t>eHb</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was</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defined</a:t>
            </a:r>
            <a:r>
              <a:rPr lang="es-ES" altLang="es-ES">
                <a:ea typeface="Geneva" panose="020B0503030404040204" pitchFamily="34" charset="0"/>
                <a:cs typeface="Geneva" panose="020B0503030404040204" pitchFamily="34" charset="0"/>
              </a:rPr>
              <a:t> as ⩾0.5 g/dl </a:t>
            </a:r>
            <a:r>
              <a:rPr lang="es-ES" altLang="es-ES" err="1">
                <a:ea typeface="Geneva" panose="020B0503030404040204" pitchFamily="34" charset="0"/>
                <a:cs typeface="Geneva" panose="020B0503030404040204" pitchFamily="34" charset="0"/>
              </a:rPr>
              <a:t>decrease</a:t>
            </a:r>
            <a:r>
              <a:rPr lang="es-ES" altLang="es-ES">
                <a:ea typeface="Geneva" panose="020B0503030404040204" pitchFamily="34" charset="0"/>
                <a:cs typeface="Geneva" panose="020B0503030404040204" pitchFamily="34" charset="0"/>
              </a:rPr>
              <a:t> </a:t>
            </a:r>
            <a:r>
              <a:rPr lang="es-ES" altLang="es-ES" err="1">
                <a:ea typeface="Geneva" panose="020B0503030404040204" pitchFamily="34" charset="0"/>
                <a:cs typeface="Geneva" panose="020B0503030404040204" pitchFamily="34" charset="0"/>
              </a:rPr>
              <a:t>within</a:t>
            </a:r>
            <a:r>
              <a:rPr lang="es-ES" altLang="es-ES">
                <a:ea typeface="Geneva" panose="020B0503030404040204" pitchFamily="34" charset="0"/>
                <a:cs typeface="Geneva" panose="020B0503030404040204" pitchFamily="34" charset="0"/>
              </a:rPr>
              <a:t> 12 months of diagnosis. </a:t>
            </a:r>
            <a:endParaRPr lang="es-ES_tradnl" altLang="es-ES_tradnl">
              <a:ea typeface="ＭＳ Ｐゴシック" panose="020B0600070205080204" pitchFamily="34" charset="-128"/>
              <a:cs typeface="ＭＳ Ｐゴシック" panose="020B0600070205080204" pitchFamily="34" charset="-128"/>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Marcador de imagen de diapositiva 1">
            <a:extLst>
              <a:ext uri="{FF2B5EF4-FFF2-40B4-BE49-F238E27FC236}">
                <a16:creationId xmlns:a16="http://schemas.microsoft.com/office/drawing/2014/main" id="{3B8B3377-D12E-6049-955D-3AEFC6A10D6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4" name="Marcador de notas 2">
            <a:extLst>
              <a:ext uri="{FF2B5EF4-FFF2-40B4-BE49-F238E27FC236}">
                <a16:creationId xmlns:a16="http://schemas.microsoft.com/office/drawing/2014/main" id="{A8029BEB-D289-5245-B253-73362D2288C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s-ES">
              <a:ea typeface="Geneva" panose="020B0503030404040204" pitchFamily="34" charset="0"/>
              <a:cs typeface="Geneva" panose="020B0503030404040204" pitchFamily="34" charset="0"/>
            </a:endParaRPr>
          </a:p>
        </p:txBody>
      </p:sp>
      <p:sp>
        <p:nvSpPr>
          <p:cNvPr id="95235" name="Marcador de número de diapositiva 3">
            <a:extLst>
              <a:ext uri="{FF2B5EF4-FFF2-40B4-BE49-F238E27FC236}">
                <a16:creationId xmlns:a16="http://schemas.microsoft.com/office/drawing/2014/main" id="{B1074F81-FC3A-8B42-B2A3-D8932B126C3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1829284B-C8DB-A447-A015-03061F114B0A}" type="slidenum">
              <a:rPr kumimoji="0" lang="en-US" altLang="es-ES" sz="1200" b="0" i="0" u="none" strike="noStrike" kern="1200" cap="none" spc="0" normalizeH="0" baseline="0" noProof="0" smtClean="0">
                <a:ln>
                  <a:noFill/>
                </a:ln>
                <a:solidFill>
                  <a:prstClr val="black"/>
                </a:solidFill>
                <a:effectLst/>
                <a:uLnTx/>
                <a:uFillTx/>
                <a:latin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35</a:t>
            </a:fld>
            <a:endParaRPr kumimoji="0" lang="en-US" altLang="es-ES" sz="1200" b="0" i="0" u="none" strike="noStrike" kern="1200" cap="none" spc="0" normalizeH="0" baseline="0" noProof="0">
              <a:ln>
                <a:noFill/>
              </a:ln>
              <a:solidFill>
                <a:prstClr val="black"/>
              </a:solidFill>
              <a:effectLst/>
              <a:uLnTx/>
              <a:uFillTx/>
              <a:latin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Image Placeholder 1">
            <a:extLst>
              <a:ext uri="{FF2B5EF4-FFF2-40B4-BE49-F238E27FC236}">
                <a16:creationId xmlns:a16="http://schemas.microsoft.com/office/drawing/2014/main" id="{AEB2AE99-35CD-8444-9489-BE50DDC44A7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4" name="Notes Placeholder 2">
            <a:extLst>
              <a:ext uri="{FF2B5EF4-FFF2-40B4-BE49-F238E27FC236}">
                <a16:creationId xmlns:a16="http://schemas.microsoft.com/office/drawing/2014/main" id="{2E8452E8-F783-9B48-8F52-55416A98A85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ea typeface="Geneva" panose="020B0503030404040204" pitchFamily="34" charset="0"/>
                <a:cs typeface="Geneva" panose="020B0503030404040204" pitchFamily="34" charset="0"/>
              </a:rPr>
              <a:t>- Median FU: 6.2 years,  range of 10 months to 14.6 years</a:t>
            </a:r>
          </a:p>
          <a:p>
            <a:r>
              <a:rPr lang="en-US" altLang="en-US">
                <a:ea typeface="Geneva" panose="020B0503030404040204" pitchFamily="34" charset="0"/>
                <a:cs typeface="Geneva" panose="020B0503030404040204" pitchFamily="34" charset="0"/>
              </a:rPr>
              <a:t>- Median TTP of the whole cohort is 4 years.</a:t>
            </a:r>
          </a:p>
          <a:p>
            <a:r>
              <a:rPr lang="en-US" altLang="en-US">
                <a:ea typeface="Geneva" panose="020B0503030404040204" pitchFamily="34" charset="0"/>
                <a:cs typeface="Geneva" panose="020B0503030404040204" pitchFamily="34" charset="0"/>
              </a:rPr>
              <a:t>- 61 % of the cohort progressed while the remaining haven’t to date.</a:t>
            </a:r>
          </a:p>
          <a:p>
            <a:endParaRPr lang="en-US" altLang="en-US">
              <a:ea typeface="Geneva" panose="020B0503030404040204" pitchFamily="34" charset="0"/>
              <a:cs typeface="Geneva" panose="020B0503030404040204" pitchFamily="34" charset="0"/>
            </a:endParaRPr>
          </a:p>
        </p:txBody>
      </p:sp>
      <p:sp>
        <p:nvSpPr>
          <p:cNvPr id="4" name="Slide Number Placeholder 3">
            <a:extLst>
              <a:ext uri="{FF2B5EF4-FFF2-40B4-BE49-F238E27FC236}">
                <a16:creationId xmlns:a16="http://schemas.microsoft.com/office/drawing/2014/main" id="{438083F0-4264-5F4C-B9D4-4ED9460F8FD3}"/>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905B13-6CE3-1E41-85B4-4AEC9DF1DE22}"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Slide Image Placeholder 1">
            <a:extLst>
              <a:ext uri="{FF2B5EF4-FFF2-40B4-BE49-F238E27FC236}">
                <a16:creationId xmlns:a16="http://schemas.microsoft.com/office/drawing/2014/main" id="{4BEF3B6E-1303-5240-8D39-8D5C5EAD937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2" name="Notes Placeholder 2">
            <a:extLst>
              <a:ext uri="{FF2B5EF4-FFF2-40B4-BE49-F238E27FC236}">
                <a16:creationId xmlns:a16="http://schemas.microsoft.com/office/drawing/2014/main" id="{93A255B6-FF7C-0743-9C38-492833D934D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Geneva" panose="020B0503030404040204" pitchFamily="34" charset="0"/>
              <a:cs typeface="Geneva" panose="020B0503030404040204" pitchFamily="34" charset="0"/>
            </a:endParaRPr>
          </a:p>
        </p:txBody>
      </p:sp>
      <p:sp>
        <p:nvSpPr>
          <p:cNvPr id="4" name="Slide Number Placeholder 3">
            <a:extLst>
              <a:ext uri="{FF2B5EF4-FFF2-40B4-BE49-F238E27FC236}">
                <a16:creationId xmlns:a16="http://schemas.microsoft.com/office/drawing/2014/main" id="{C60A0411-968B-5F43-859B-6E33B7F891D1}"/>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6D13741-D06C-524B-961A-966584FB710B}"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01284403-8432-1547-B618-B9B2A12ED082}" type="slidenum">
              <a:rPr lang="en-US" smtClean="0"/>
              <a:pPr/>
              <a:t>6</a:t>
            </a:fld>
            <a:endParaRPr lang="en-US"/>
          </a:p>
        </p:txBody>
      </p:sp>
    </p:spTree>
    <p:extLst>
      <p:ext uri="{BB962C8B-B14F-4D97-AF65-F5344CB8AC3E}">
        <p14:creationId xmlns:p14="http://schemas.microsoft.com/office/powerpoint/2010/main" val="54225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u="sng"/>
              <a:t>Fact-Check</a:t>
            </a:r>
            <a:r>
              <a:rPr lang="en-US" b="1" u="none"/>
              <a:t>:</a:t>
            </a:r>
          </a:p>
          <a:p>
            <a:r>
              <a:rPr lang="en-US"/>
              <a:t>From---</a:t>
            </a:r>
            <a:endParaRPr lang="en-US" alt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AA53FC-BCB3-4ADD-B0D9-8DD896CC9B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190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40">
              <a:defRPr/>
            </a:pPr>
            <a:r>
              <a:rPr lang="en-US"/>
              <a:t>Slide created by RedMedEd </a:t>
            </a:r>
            <a:r>
              <a:rPr lang="en-US" baseline="0"/>
              <a:t>for MMRF Pt Summit series (2016)</a:t>
            </a:r>
          </a:p>
          <a:p>
            <a:pPr defTabSz="939340">
              <a:defRPr/>
            </a:pPr>
            <a:r>
              <a:rPr lang="en-US" baseline="0"/>
              <a:t>Updated for 2017 series</a:t>
            </a:r>
          </a:p>
          <a:p>
            <a:pPr defTabSz="939340">
              <a:defRPr/>
            </a:pPr>
            <a:r>
              <a:rPr lang="en-US" baseline="0"/>
              <a:t>Updated for 2019 series</a:t>
            </a:r>
          </a:p>
          <a:p>
            <a:pPr defTabSz="939340">
              <a:defRPr/>
            </a:pPr>
            <a:r>
              <a:rPr lang="en-US" baseline="0"/>
              <a:t>Updated for SMM webinar 2020</a:t>
            </a:r>
            <a:endParaRPr lang="en-US"/>
          </a:p>
          <a:p>
            <a:endParaRPr lang="en-US"/>
          </a:p>
          <a:p>
            <a:r>
              <a:rPr lang="en-US" sz="900" b="1"/>
              <a:t>Smoldering</a:t>
            </a:r>
          </a:p>
          <a:p>
            <a:pPr marL="230444" indent="-230444">
              <a:buAutoNum type="arabicPeriod"/>
            </a:pPr>
            <a:r>
              <a:rPr lang="en-US" sz="900" b="0">
                <a:solidFill>
                  <a:srgbClr val="FF0000"/>
                </a:solidFill>
                <a:highlight>
                  <a:srgbClr val="FFFF00"/>
                </a:highlight>
              </a:rPr>
              <a:t>NCT03839459, phase 2</a:t>
            </a:r>
          </a:p>
          <a:p>
            <a:pPr marL="230444" indent="-230444" defTabSz="924001">
              <a:buFontTx/>
              <a:buAutoNum type="arabicPeriod"/>
              <a:defRPr/>
            </a:pPr>
            <a:r>
              <a:rPr lang="en-US" sz="900" b="0">
                <a:solidFill>
                  <a:srgbClr val="FF0000"/>
                </a:solidFill>
                <a:highlight>
                  <a:srgbClr val="FFFF00"/>
                </a:highlight>
              </a:rPr>
              <a:t>NCT02916771, phase 2</a:t>
            </a:r>
          </a:p>
          <a:p>
            <a:pPr marL="230444" indent="-230444" defTabSz="924001">
              <a:buFontTx/>
              <a:buAutoNum type="arabicPeriod"/>
              <a:defRPr/>
            </a:pPr>
            <a:r>
              <a:rPr lang="en-US" sz="900" b="0"/>
              <a:t>NCT03301220, phase 3—not recruiting</a:t>
            </a:r>
          </a:p>
          <a:p>
            <a:pPr marL="230444" marR="0" lvl="0" indent="-230444" algn="l" defTabSz="924001" rtl="0" eaLnBrk="1" fontAlgn="auto" latinLnBrk="0" hangingPunct="1">
              <a:lnSpc>
                <a:spcPct val="100000"/>
              </a:lnSpc>
              <a:spcBef>
                <a:spcPts val="0"/>
              </a:spcBef>
              <a:spcAft>
                <a:spcPts val="0"/>
              </a:spcAft>
              <a:buClrTx/>
              <a:buSzTx/>
              <a:buFontTx/>
              <a:buAutoNum type="arabicPeriod"/>
              <a:tabLst/>
              <a:defRPr/>
            </a:pPr>
            <a:r>
              <a:rPr lang="en-US" sz="900" b="0"/>
              <a:t>NCT01572480, phase 2</a:t>
            </a:r>
          </a:p>
          <a:p>
            <a:pPr marL="230444" marR="0" lvl="0" indent="-230444" algn="l" defTabSz="924001" rtl="0" eaLnBrk="1" fontAlgn="auto" latinLnBrk="0" hangingPunct="1">
              <a:lnSpc>
                <a:spcPct val="100000"/>
              </a:lnSpc>
              <a:spcBef>
                <a:spcPts val="0"/>
              </a:spcBef>
              <a:spcAft>
                <a:spcPts val="0"/>
              </a:spcAft>
              <a:buClrTx/>
              <a:buSzTx/>
              <a:buFontTx/>
              <a:buAutoNum type="arabicPeriod"/>
              <a:tabLst/>
              <a:defRPr/>
            </a:pPr>
            <a:r>
              <a:rPr lang="en-US" sz="900" b="0"/>
              <a:t>NCT03673826, phase 2</a:t>
            </a:r>
          </a:p>
          <a:p>
            <a:pPr marL="230444" marR="0" lvl="0" indent="-230444" algn="l" defTabSz="924001" rtl="0" eaLnBrk="1" fontAlgn="auto" latinLnBrk="0" hangingPunct="1">
              <a:lnSpc>
                <a:spcPct val="100000"/>
              </a:lnSpc>
              <a:spcBef>
                <a:spcPts val="0"/>
              </a:spcBef>
              <a:spcAft>
                <a:spcPts val="0"/>
              </a:spcAft>
              <a:buClrTx/>
              <a:buSzTx/>
              <a:buFontTx/>
              <a:buAutoNum type="arabicPeriod"/>
              <a:tabLst/>
              <a:defRPr/>
            </a:pPr>
            <a:r>
              <a:rPr lang="en-US" sz="900" b="0"/>
              <a:t>NCT03289299, phase 2</a:t>
            </a:r>
          </a:p>
          <a:p>
            <a:pPr marL="230444" indent="-230444">
              <a:buAutoNum type="arabicPeriod"/>
            </a:pPr>
            <a:r>
              <a:rPr lang="en-US" sz="900" b="0"/>
              <a:t>NCT03937635, phase 3</a:t>
            </a:r>
          </a:p>
          <a:p>
            <a:pPr marL="230444" indent="-230444">
              <a:buAutoNum type="arabicPeriod"/>
            </a:pPr>
            <a:r>
              <a:rPr lang="en-US" sz="900"/>
              <a:t>NCT02279394, phase 2—not recruiting</a:t>
            </a:r>
            <a:endParaRPr lang="en-US" sz="900" b="0"/>
          </a:p>
          <a:p>
            <a:pPr marL="230444" indent="-230444">
              <a:buAutoNum type="arabicPeriod"/>
            </a:pPr>
            <a:r>
              <a:rPr lang="en-US" sz="900" b="0"/>
              <a:t>NCT02886065, phase 1 / NCT03591</a:t>
            </a:r>
            <a:r>
              <a:rPr lang="en-US" sz="900" b="0">
                <a:solidFill>
                  <a:srgbClr val="FF0000"/>
                </a:solidFill>
              </a:rPr>
              <a:t>614</a:t>
            </a:r>
            <a:r>
              <a:rPr lang="en-US" sz="900" b="0"/>
              <a:t>, phase 1 / NCT03631043, phase 1</a:t>
            </a:r>
          </a:p>
          <a:p>
            <a:pPr marL="230444" indent="-230444" defTabSz="924001">
              <a:buFontTx/>
              <a:buAutoNum type="arabicPeriod"/>
              <a:defRPr/>
            </a:pPr>
            <a:r>
              <a:rPr lang="en-US" sz="900" b="0"/>
              <a:t>NCT02960555, phase 2—not recruiting</a:t>
            </a:r>
          </a:p>
          <a:p>
            <a:endParaRPr lang="en-US" sz="900" b="1"/>
          </a:p>
          <a:p>
            <a:r>
              <a:rPr lang="en-US" sz="900" b="1"/>
              <a:t>MGU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900"/>
              <a:t>NCT03689595, observational</a:t>
            </a:r>
            <a:endParaRPr lang="en-US" sz="900" b="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900" b="0"/>
              <a:t>NCT02726750, observationa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900" b="0"/>
              <a:t>NCT02269592, observational</a:t>
            </a:r>
          </a:p>
          <a:p>
            <a:pPr marL="228600" indent="-228600">
              <a:buAutoNum type="arabicPeriod"/>
            </a:pPr>
            <a:r>
              <a:rPr lang="en-US" sz="900" b="0"/>
              <a:t>NCT03236428, phase 2</a:t>
            </a:r>
          </a:p>
          <a:p>
            <a:pPr marL="228600" indent="-228600">
              <a:buAutoNum type="arabicPeriod"/>
            </a:pPr>
            <a:r>
              <a:rPr lang="en-US" sz="900" b="0"/>
              <a:t>NCT03820817, phase 1</a:t>
            </a:r>
          </a:p>
          <a:p>
            <a:pPr marL="228600" indent="-228600">
              <a:buAutoNum type="arabicPeriod"/>
            </a:pPr>
            <a:r>
              <a:rPr lang="en-US" sz="900" b="0"/>
              <a:t>NCT03591614, phase 1</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D8206-4DFC-4FD2-BA69-A4FC24434D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17 DRAFT FOR REVIEW</a:t>
            </a: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MRF Patient Summit</a:t>
            </a:r>
          </a:p>
        </p:txBody>
      </p:sp>
    </p:spTree>
    <p:extLst>
      <p:ext uri="{BB962C8B-B14F-4D97-AF65-F5344CB8AC3E}">
        <p14:creationId xmlns:p14="http://schemas.microsoft.com/office/powerpoint/2010/main" val="11955578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Graphs from Irene Ghobrial’s “Clinical smoldering-March 2020” slide set</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MRF Patient Summit</a:t>
            </a: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17 DRAFT FOR REVIEW</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A18932-933C-449D-984C-C1F15FCAA6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85225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7">
            <a:extLst>
              <a:ext uri="{FF2B5EF4-FFF2-40B4-BE49-F238E27FC236}">
                <a16:creationId xmlns:a16="http://schemas.microsoft.com/office/drawing/2014/main" id="{B73DCD72-BDD1-AE43-AD38-D76A85C98CA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16000">
              <a:defRPr sz="2400" b="1">
                <a:solidFill>
                  <a:schemeClr val="tx1"/>
                </a:solidFill>
                <a:latin typeface="Arial" panose="020B0604020202020204" pitchFamily="34" charset="0"/>
                <a:ea typeface="MS PGothic" panose="020B0600070205080204" pitchFamily="34" charset="-128"/>
              </a:defRPr>
            </a:lvl1pPr>
            <a:lvl2pPr marL="742950" indent="-285750" defTabSz="1016000">
              <a:defRPr sz="2400" b="1">
                <a:solidFill>
                  <a:schemeClr val="tx1"/>
                </a:solidFill>
                <a:latin typeface="Arial" panose="020B0604020202020204" pitchFamily="34" charset="0"/>
                <a:ea typeface="MS PGothic" panose="020B0600070205080204" pitchFamily="34" charset="-128"/>
              </a:defRPr>
            </a:lvl2pPr>
            <a:lvl3pPr marL="1143000" indent="-228600" defTabSz="1016000">
              <a:defRPr sz="2400" b="1">
                <a:solidFill>
                  <a:schemeClr val="tx1"/>
                </a:solidFill>
                <a:latin typeface="Arial" panose="020B0604020202020204" pitchFamily="34" charset="0"/>
                <a:ea typeface="MS PGothic" panose="020B0600070205080204" pitchFamily="34" charset="-128"/>
              </a:defRPr>
            </a:lvl3pPr>
            <a:lvl4pPr marL="1600200" indent="-228600" defTabSz="1016000">
              <a:defRPr sz="2400" b="1">
                <a:solidFill>
                  <a:schemeClr val="tx1"/>
                </a:solidFill>
                <a:latin typeface="Arial" panose="020B0604020202020204" pitchFamily="34" charset="0"/>
                <a:ea typeface="MS PGothic" panose="020B0600070205080204" pitchFamily="34" charset="-128"/>
              </a:defRPr>
            </a:lvl4pPr>
            <a:lvl5pPr marL="2057400" indent="-228600" defTabSz="1016000">
              <a:defRPr sz="2400" b="1">
                <a:solidFill>
                  <a:schemeClr val="tx1"/>
                </a:solidFill>
                <a:latin typeface="Arial" panose="020B0604020202020204" pitchFamily="34" charset="0"/>
                <a:ea typeface="MS PGothic" panose="020B0600070205080204" pitchFamily="34" charset="-128"/>
              </a:defRPr>
            </a:lvl5pPr>
            <a:lvl6pPr marL="2514600" indent="-228600" defTabSz="10160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defTabSz="10160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defTabSz="10160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defTabSz="10160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marL="0" marR="0" lvl="0" indent="0" algn="r" defTabSz="1016000" rtl="0" eaLnBrk="0" fontAlgn="base" latinLnBrk="0" hangingPunct="0">
              <a:lnSpc>
                <a:spcPct val="100000"/>
              </a:lnSpc>
              <a:spcBef>
                <a:spcPct val="0"/>
              </a:spcBef>
              <a:spcAft>
                <a:spcPct val="0"/>
              </a:spcAft>
              <a:buClrTx/>
              <a:buSzTx/>
              <a:buFontTx/>
              <a:buNone/>
              <a:tabLst/>
              <a:defRPr/>
            </a:pPr>
            <a:fld id="{891284F4-AC60-344F-BB3E-0D872682D630}"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1016000" rtl="0" eaLnBrk="0" fontAlgn="base" latinLnBrk="0" hangingPunct="0">
                <a:lnSpc>
                  <a:spcPct val="100000"/>
                </a:lnSpc>
                <a:spcBef>
                  <a:spcPct val="0"/>
                </a:spcBef>
                <a:spcAft>
                  <a:spcPct val="0"/>
                </a:spcAft>
                <a:buClrTx/>
                <a:buSzTx/>
                <a:buFontTx/>
                <a:buNone/>
                <a:tabLst/>
                <a:defRPr/>
              </a:pPr>
              <a:t>47</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
        <p:nvSpPr>
          <p:cNvPr id="45058" name="Rectangle 2">
            <a:extLst>
              <a:ext uri="{FF2B5EF4-FFF2-40B4-BE49-F238E27FC236}">
                <a16:creationId xmlns:a16="http://schemas.microsoft.com/office/drawing/2014/main" id="{1023AE13-8C2C-F943-B249-CDEB6010F022}"/>
              </a:ext>
            </a:extLst>
          </p:cNvPr>
          <p:cNvSpPr>
            <a:spLocks noGrp="1" noRot="1" noChangeAspect="1" noChangeArrowheads="1" noTextEdit="1"/>
          </p:cNvSpPr>
          <p:nvPr>
            <p:ph type="sldImg"/>
          </p:nvPr>
        </p:nvSpPr>
        <p:spPr>
          <a:xfrm>
            <a:off x="-322263" y="306388"/>
            <a:ext cx="8416926" cy="4735512"/>
          </a:xfrm>
          <a:ln/>
        </p:spPr>
      </p:sp>
      <p:sp>
        <p:nvSpPr>
          <p:cNvPr id="1106947" name="Rectangle 3">
            <a:extLst>
              <a:ext uri="{FF2B5EF4-FFF2-40B4-BE49-F238E27FC236}">
                <a16:creationId xmlns:a16="http://schemas.microsoft.com/office/drawing/2014/main" id="{E0F4D466-6E21-4746-B645-E4F26AF90221}"/>
              </a:ext>
            </a:extLst>
          </p:cNvPr>
          <p:cNvSpPr>
            <a:spLocks noGrp="1" noChangeArrowheads="1"/>
          </p:cNvSpPr>
          <p:nvPr>
            <p:ph type="body" idx="1"/>
          </p:nvPr>
        </p:nvSpPr>
        <p:spPr>
          <a:xfrm>
            <a:off x="642938" y="5145088"/>
            <a:ext cx="6484937" cy="4437062"/>
          </a:xfrm>
        </p:spPr>
        <p:txBody>
          <a:bodyPr/>
          <a:lstStyle/>
          <a:p>
            <a:pPr>
              <a:defRPr/>
            </a:pPr>
            <a:endParaRPr lang="en-US" altLang="en-US" b="1" dirty="0">
              <a:effectLst>
                <a:outerShdw blurRad="38100" dist="38100" dir="2700000" algn="tl">
                  <a:srgbClr val="C0C0C0"/>
                </a:outerShdw>
              </a:effectLst>
              <a:ea typeface="ＭＳ Ｐゴシック" charset="-128"/>
            </a:endParaRPr>
          </a:p>
          <a:p>
            <a:pPr>
              <a:defRPr/>
            </a:pPr>
            <a:endParaRPr lang="en-US" altLang="en-US" dirty="0">
              <a:ea typeface="ＭＳ Ｐゴシック" charset="-128"/>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MRF Patient Summit</a:t>
            </a: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17 DRAFT FOR REVIEW</a:t>
            </a: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A18932-933C-449D-984C-C1F15FCAA6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71718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3100" y="1131888"/>
            <a:ext cx="5424488" cy="30511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a:t>Slide prepared by RedMedEd based on abstract data</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253411-8C2A-4963-85EE-13D20AFB64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7489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noProof="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40F78E-CA27-47BA-8A35-96C0A43A9F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2586623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37470641-B066-AC41-AADC-54F0788CE62F}" type="slidenum">
              <a:rPr kumimoji="0" lang="en-GB" sz="1200" b="0" i="0" u="none" strike="noStrike" kern="1200" cap="none" spc="0" normalizeH="0" baseline="0" noProof="0" smtClean="0">
                <a:ln>
                  <a:noFill/>
                </a:ln>
                <a:solidFill>
                  <a:srgbClr val="000000"/>
                </a:solidFill>
                <a:effectLst/>
                <a:uLnTx/>
                <a:uFillTx/>
                <a:latin typeface="Times New Roman" charset="0"/>
                <a:ea typeface="ＭＳ Ｐゴシック" charset="0"/>
                <a:cs typeface="+mn-cs"/>
              </a:rPr>
              <a:pPr marL="0" marR="0" lvl="0" indent="0" algn="r" defTabSz="914400" rtl="0" eaLnBrk="0" fontAlgn="base" latinLnBrk="0" hangingPunct="0">
                <a:lnSpc>
                  <a:spcPct val="100000"/>
                </a:lnSpc>
                <a:spcBef>
                  <a:spcPct val="20000"/>
                </a:spcBef>
                <a:spcAft>
                  <a:spcPct val="0"/>
                </a:spcAft>
                <a:buClrTx/>
                <a:buSzTx/>
                <a:buFontTx/>
                <a:buNone/>
                <a:tabLst/>
                <a:defRPr/>
              </a:pPr>
              <a:t>82</a:t>
            </a:fld>
            <a:endParaRPr kumimoji="0" lang="en-GB" sz="1200" b="0" i="0" u="none" strike="noStrike" kern="1200" cap="none" spc="0" normalizeH="0" baseline="0" noProof="0">
              <a:ln>
                <a:noFill/>
              </a:ln>
              <a:solidFill>
                <a:srgbClr val="000000"/>
              </a:solidFill>
              <a:effectLst/>
              <a:uLnTx/>
              <a:uFillTx/>
              <a:latin typeface="Times New Roman" charset="0"/>
              <a:ea typeface="ＭＳ Ｐゴシック" charset="0"/>
              <a:cs typeface="+mn-cs"/>
            </a:endParaRPr>
          </a:p>
        </p:txBody>
      </p:sp>
    </p:spTree>
    <p:extLst>
      <p:ext uri="{BB962C8B-B14F-4D97-AF65-F5344CB8AC3E}">
        <p14:creationId xmlns:p14="http://schemas.microsoft.com/office/powerpoint/2010/main" val="18916443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89" name="Marcador de imagen de diapositiva 1"/>
          <p:cNvSpPr>
            <a:spLocks noGrp="1" noRot="1" noChangeAspect="1" noTextEdit="1"/>
          </p:cNvSpPr>
          <p:nvPr>
            <p:ph type="sldImg"/>
          </p:nvPr>
        </p:nvSpPr>
        <p:spPr>
          <a:xfrm>
            <a:off x="381000" y="685800"/>
            <a:ext cx="6096000" cy="3429000"/>
          </a:xfrm>
          <a:ln/>
        </p:spPr>
      </p:sp>
      <p:sp>
        <p:nvSpPr>
          <p:cNvPr id="191490" name="Marcador de nota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_tradnl" altLang="x-none">
              <a:latin typeface="Times New Roman" charset="0"/>
            </a:endParaRPr>
          </a:p>
        </p:txBody>
      </p:sp>
      <p:sp>
        <p:nvSpPr>
          <p:cNvPr id="191491" name="Marcador de número de diapositiva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spcBef>
                <a:spcPct val="20000"/>
              </a:spcBef>
              <a:defRPr sz="2600" b="1">
                <a:solidFill>
                  <a:schemeClr val="tx1"/>
                </a:solidFill>
                <a:latin typeface="Times New Roman" charset="0"/>
                <a:ea typeface="ＭＳ Ｐゴシック" charset="-128"/>
                <a:cs typeface="ＭＳ Ｐゴシック" charset="-128"/>
              </a:defRPr>
            </a:lvl1pPr>
            <a:lvl2pPr marL="742950" indent="-285750" algn="ctr">
              <a:spcBef>
                <a:spcPct val="20000"/>
              </a:spcBef>
              <a:defRPr sz="2600" b="1">
                <a:solidFill>
                  <a:schemeClr val="tx1"/>
                </a:solidFill>
                <a:latin typeface="Times New Roman" charset="0"/>
                <a:ea typeface="ＭＳ Ｐゴシック" charset="-128"/>
                <a:cs typeface="ＭＳ Ｐゴシック" charset="-128"/>
              </a:defRPr>
            </a:lvl2pPr>
            <a:lvl3pPr marL="1143000" indent="-228600" algn="ctr">
              <a:spcBef>
                <a:spcPct val="20000"/>
              </a:spcBef>
              <a:defRPr sz="2600" b="1">
                <a:solidFill>
                  <a:schemeClr val="tx1"/>
                </a:solidFill>
                <a:latin typeface="Times New Roman" charset="0"/>
                <a:ea typeface="ＭＳ Ｐゴシック" charset="-128"/>
                <a:cs typeface="ＭＳ Ｐゴシック" charset="-128"/>
              </a:defRPr>
            </a:lvl3pPr>
            <a:lvl4pPr marL="1600200" indent="-228600" algn="ctr">
              <a:spcBef>
                <a:spcPct val="20000"/>
              </a:spcBef>
              <a:defRPr sz="2600" b="1">
                <a:solidFill>
                  <a:schemeClr val="tx1"/>
                </a:solidFill>
                <a:latin typeface="Times New Roman" charset="0"/>
                <a:ea typeface="ＭＳ Ｐゴシック" charset="-128"/>
                <a:cs typeface="ＭＳ Ｐゴシック" charset="-128"/>
              </a:defRPr>
            </a:lvl4pPr>
            <a:lvl5pPr marL="2057400" indent="-228600" algn="ctr">
              <a:spcBef>
                <a:spcPct val="20000"/>
              </a:spcBef>
              <a:defRPr sz="2600" b="1">
                <a:solidFill>
                  <a:schemeClr val="tx1"/>
                </a:solidFill>
                <a:latin typeface="Times New Roman" charset="0"/>
                <a:ea typeface="ＭＳ Ｐゴシック" charset="-128"/>
                <a:cs typeface="ＭＳ Ｐゴシック" charset="-128"/>
              </a:defRPr>
            </a:lvl5pPr>
            <a:lvl6pPr marL="2514600" indent="-228600" algn="ctr" eaLnBrk="0" fontAlgn="base" hangingPunct="0">
              <a:spcBef>
                <a:spcPct val="20000"/>
              </a:spcBef>
              <a:spcAft>
                <a:spcPct val="0"/>
              </a:spcAft>
              <a:defRPr sz="2600" b="1">
                <a:solidFill>
                  <a:schemeClr val="tx1"/>
                </a:solidFill>
                <a:latin typeface="Times New Roman" charset="0"/>
                <a:ea typeface="ＭＳ Ｐゴシック" charset="-128"/>
                <a:cs typeface="ＭＳ Ｐゴシック" charset="-128"/>
              </a:defRPr>
            </a:lvl6pPr>
            <a:lvl7pPr marL="2971800" indent="-228600" algn="ctr" eaLnBrk="0" fontAlgn="base" hangingPunct="0">
              <a:spcBef>
                <a:spcPct val="20000"/>
              </a:spcBef>
              <a:spcAft>
                <a:spcPct val="0"/>
              </a:spcAft>
              <a:defRPr sz="2600" b="1">
                <a:solidFill>
                  <a:schemeClr val="tx1"/>
                </a:solidFill>
                <a:latin typeface="Times New Roman" charset="0"/>
                <a:ea typeface="ＭＳ Ｐゴシック" charset="-128"/>
                <a:cs typeface="ＭＳ Ｐゴシック" charset="-128"/>
              </a:defRPr>
            </a:lvl7pPr>
            <a:lvl8pPr marL="3429000" indent="-228600" algn="ctr" eaLnBrk="0" fontAlgn="base" hangingPunct="0">
              <a:spcBef>
                <a:spcPct val="20000"/>
              </a:spcBef>
              <a:spcAft>
                <a:spcPct val="0"/>
              </a:spcAft>
              <a:defRPr sz="2600" b="1">
                <a:solidFill>
                  <a:schemeClr val="tx1"/>
                </a:solidFill>
                <a:latin typeface="Times New Roman" charset="0"/>
                <a:ea typeface="ＭＳ Ｐゴシック" charset="-128"/>
                <a:cs typeface="ＭＳ Ｐゴシック" charset="-128"/>
              </a:defRPr>
            </a:lvl8pPr>
            <a:lvl9pPr marL="3886200" indent="-228600" algn="ctr" eaLnBrk="0" fontAlgn="base" hangingPunct="0">
              <a:spcBef>
                <a:spcPct val="20000"/>
              </a:spcBef>
              <a:spcAft>
                <a:spcPct val="0"/>
              </a:spcAft>
              <a:defRPr sz="2600" b="1">
                <a:solidFill>
                  <a:schemeClr val="tx1"/>
                </a:solidFill>
                <a:latin typeface="Times New Roman" charset="0"/>
                <a:ea typeface="ＭＳ Ｐゴシック" charset="-128"/>
                <a:cs typeface="ＭＳ Ｐゴシック" charset="-128"/>
              </a:defRPr>
            </a:lvl9pPr>
          </a:lstStyle>
          <a:p>
            <a:pPr marL="0" marR="0" lvl="0" indent="0" algn="r" defTabSz="914400" rtl="0" eaLnBrk="0" fontAlgn="base" latinLnBrk="0" hangingPunct="0">
              <a:lnSpc>
                <a:spcPct val="100000"/>
              </a:lnSpc>
              <a:spcBef>
                <a:spcPct val="20000"/>
              </a:spcBef>
              <a:spcAft>
                <a:spcPct val="0"/>
              </a:spcAft>
              <a:buClrTx/>
              <a:buSzTx/>
              <a:buFontTx/>
              <a:buNone/>
              <a:tabLst/>
              <a:defRPr/>
            </a:pPr>
            <a:fld id="{8F7F2917-7161-9E41-BACD-3A03A6B194AB}" type="slidenum">
              <a:rPr kumimoji="0" lang="en-GB" altLang="x-none" sz="1200" b="0" i="0" u="none" strike="noStrike" kern="1200" cap="none" spc="0" normalizeH="0" baseline="0" noProof="0">
                <a:ln>
                  <a:noFill/>
                </a:ln>
                <a:solidFill>
                  <a:srgbClr val="000000"/>
                </a:solidFill>
                <a:effectLst/>
                <a:uLnTx/>
                <a:uFillTx/>
                <a:latin typeface="Times New Roman" charset="0"/>
                <a:ea typeface="ＭＳ Ｐゴシック" charset="-128"/>
              </a:rPr>
              <a:pPr marL="0" marR="0" lvl="0" indent="0" algn="r" defTabSz="914400" rtl="0" eaLnBrk="0" fontAlgn="base" latinLnBrk="0" hangingPunct="0">
                <a:lnSpc>
                  <a:spcPct val="100000"/>
                </a:lnSpc>
                <a:spcBef>
                  <a:spcPct val="20000"/>
                </a:spcBef>
                <a:spcAft>
                  <a:spcPct val="0"/>
                </a:spcAft>
                <a:buClrTx/>
                <a:buSzTx/>
                <a:buFontTx/>
                <a:buNone/>
                <a:tabLst/>
                <a:defRPr/>
              </a:pPr>
              <a:t>85</a:t>
            </a:fld>
            <a:endParaRPr kumimoji="0" lang="en-GB" altLang="x-none" sz="1200" b="0" i="0" u="none" strike="noStrike" kern="1200" cap="none" spc="0" normalizeH="0" baseline="0" noProof="0">
              <a:ln>
                <a:noFill/>
              </a:ln>
              <a:solidFill>
                <a:srgbClr val="000000"/>
              </a:solidFill>
              <a:effectLst/>
              <a:uLnTx/>
              <a:uFillTx/>
              <a:latin typeface="Times New Roman" charset="0"/>
              <a:ea typeface="ＭＳ Ｐゴシック" charset="-128"/>
            </a:endParaRPr>
          </a:p>
        </p:txBody>
      </p:sp>
    </p:spTree>
    <p:extLst>
      <p:ext uri="{BB962C8B-B14F-4D97-AF65-F5344CB8AC3E}">
        <p14:creationId xmlns:p14="http://schemas.microsoft.com/office/powerpoint/2010/main" val="9326695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DB94BEC6-8814-8341-B89D-330125034DAC}" type="slidenum">
              <a:rPr kumimoji="0" lang="en-GB" sz="1200" b="0" i="0" u="none" strike="noStrike" kern="1200" cap="none" spc="0" normalizeH="0" baseline="0" noProof="0" smtClean="0">
                <a:ln>
                  <a:noFill/>
                </a:ln>
                <a:solidFill>
                  <a:srgbClr val="000000"/>
                </a:solidFill>
                <a:effectLst/>
                <a:uLnTx/>
                <a:uFillTx/>
                <a:latin typeface="Times New Roman" charset="0"/>
                <a:ea typeface="+mn-ea"/>
                <a:cs typeface="+mn-cs"/>
              </a:rPr>
              <a:pPr marL="0" marR="0" lvl="0" indent="0" algn="r" defTabSz="914400" rtl="0" eaLnBrk="0" fontAlgn="base" latinLnBrk="0" hangingPunct="0">
                <a:lnSpc>
                  <a:spcPct val="100000"/>
                </a:lnSpc>
                <a:spcBef>
                  <a:spcPct val="20000"/>
                </a:spcBef>
                <a:spcAft>
                  <a:spcPct val="0"/>
                </a:spcAft>
                <a:buClrTx/>
                <a:buSzTx/>
                <a:buFontTx/>
                <a:buNone/>
                <a:tabLst/>
                <a:defRPr/>
              </a:pPr>
              <a:t>86</a:t>
            </a:fld>
            <a:endParaRPr kumimoji="0" lang="en-GB" sz="1200" b="0" i="0" u="none" strike="noStrike" kern="1200" cap="none" spc="0" normalizeH="0" baseline="0" noProof="0">
              <a:ln>
                <a:noFill/>
              </a:ln>
              <a:solidFill>
                <a:srgbClr val="000000"/>
              </a:solidFill>
              <a:effectLst/>
              <a:uLnTx/>
              <a:uFillTx/>
              <a:latin typeface="Times New Roman" charset="0"/>
              <a:ea typeface="+mn-ea"/>
              <a:cs typeface="+mn-cs"/>
            </a:endParaRPr>
          </a:p>
        </p:txBody>
      </p:sp>
    </p:spTree>
    <p:extLst>
      <p:ext uri="{BB962C8B-B14F-4D97-AF65-F5344CB8AC3E}">
        <p14:creationId xmlns:p14="http://schemas.microsoft.com/office/powerpoint/2010/main" val="994218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51267-63BB-43DB-8317-5D66F51DA4A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531709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125" y="744538"/>
            <a:ext cx="6610350" cy="3719512"/>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imes New Roman" charset="0"/>
                <a:ea typeface="+mn-ea"/>
                <a:cs typeface="+mn-cs"/>
              </a:rPr>
              <a:t>Recent Developments and Future Directions in the Treatment of</a:t>
            </a:r>
          </a:p>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imes New Roman" charset="0"/>
                <a:ea typeface="+mn-ea"/>
                <a:cs typeface="+mn-cs"/>
              </a:rPr>
              <a:t>Multiple Myeloma</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Times New Roman"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2D9549AE-45CC-4586-8B7C-037A687BF43B}" type="slidenum">
              <a:rPr kumimoji="0" lang="en-US" sz="1200" b="0" i="0" u="none" strike="noStrike" kern="1200" cap="none" spc="0" normalizeH="0" baseline="0" noProof="0" smtClean="0">
                <a:ln>
                  <a:noFill/>
                </a:ln>
                <a:solidFill>
                  <a:prstClr val="black"/>
                </a:solidFill>
                <a:effectLst/>
                <a:uLnTx/>
                <a:uFillTx/>
                <a:latin typeface="Times New Roman" charset="0"/>
                <a:ea typeface="+mn-ea"/>
                <a:cs typeface="+mn-cs"/>
              </a:rPr>
              <a:pPr marL="0" marR="0" lvl="0" indent="0" algn="r" defTabSz="914400" rtl="0" eaLnBrk="0" fontAlgn="base" latinLnBrk="0" hangingPunct="0">
                <a:lnSpc>
                  <a:spcPct val="100000"/>
                </a:lnSpc>
                <a:spcBef>
                  <a:spcPct val="20000"/>
                </a:spcBef>
                <a:spcAft>
                  <a:spcPct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Times New Roman" charset="0"/>
              <a:ea typeface="+mn-ea"/>
              <a:cs typeface="+mn-cs"/>
            </a:endParaRPr>
          </a:p>
        </p:txBody>
      </p:sp>
    </p:spTree>
    <p:extLst>
      <p:ext uri="{BB962C8B-B14F-4D97-AF65-F5344CB8AC3E}">
        <p14:creationId xmlns:p14="http://schemas.microsoft.com/office/powerpoint/2010/main" val="17559985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DB94BEC6-8814-8341-B89D-330125034DAC}" type="slidenum">
              <a:rPr kumimoji="0" lang="en-GB" sz="1200" b="0" i="0" u="none" strike="noStrike" kern="1200" cap="none" spc="0" normalizeH="0" baseline="0" noProof="0" smtClean="0">
                <a:ln>
                  <a:noFill/>
                </a:ln>
                <a:solidFill>
                  <a:srgbClr val="000000"/>
                </a:solidFill>
                <a:effectLst/>
                <a:uLnTx/>
                <a:uFillTx/>
                <a:latin typeface="Times New Roman" charset="0"/>
                <a:ea typeface="+mn-ea"/>
                <a:cs typeface="+mn-cs"/>
              </a:rPr>
              <a:pPr marL="0" marR="0" lvl="0" indent="0" algn="r" defTabSz="914400" rtl="0" eaLnBrk="0" fontAlgn="base" latinLnBrk="0" hangingPunct="0">
                <a:lnSpc>
                  <a:spcPct val="100000"/>
                </a:lnSpc>
                <a:spcBef>
                  <a:spcPct val="20000"/>
                </a:spcBef>
                <a:spcAft>
                  <a:spcPct val="0"/>
                </a:spcAft>
                <a:buClrTx/>
                <a:buSzTx/>
                <a:buFontTx/>
                <a:buNone/>
                <a:tabLst/>
                <a:defRPr/>
              </a:pPr>
              <a:t>88</a:t>
            </a:fld>
            <a:endParaRPr kumimoji="0" lang="en-GB" sz="1200" b="0" i="0" u="none" strike="noStrike" kern="1200" cap="none" spc="0" normalizeH="0" baseline="0" noProof="0">
              <a:ln>
                <a:noFill/>
              </a:ln>
              <a:solidFill>
                <a:srgbClr val="000000"/>
              </a:solidFill>
              <a:effectLst/>
              <a:uLnTx/>
              <a:uFillTx/>
              <a:latin typeface="Times New Roman" charset="0"/>
              <a:ea typeface="+mn-ea"/>
              <a:cs typeface="+mn-cs"/>
            </a:endParaRPr>
          </a:p>
        </p:txBody>
      </p:sp>
    </p:spTree>
    <p:extLst>
      <p:ext uri="{BB962C8B-B14F-4D97-AF65-F5344CB8AC3E}">
        <p14:creationId xmlns:p14="http://schemas.microsoft.com/office/powerpoint/2010/main" val="38481477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xfrm>
            <a:off x="381000" y="685800"/>
            <a:ext cx="6096000" cy="3429000"/>
          </a:xfrm>
          <a:ln/>
        </p:spPr>
      </p:sp>
      <p:sp>
        <p:nvSpPr>
          <p:cNvPr id="236547" name="Rectangle 3"/>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ES">
              <a:ea typeface="ＭＳ Ｐゴシック" charset="0"/>
              <a:cs typeface="ＭＳ Ｐゴシック" charset="0"/>
            </a:endParaRPr>
          </a:p>
        </p:txBody>
      </p:sp>
    </p:spTree>
    <p:extLst>
      <p:ext uri="{BB962C8B-B14F-4D97-AF65-F5344CB8AC3E}">
        <p14:creationId xmlns:p14="http://schemas.microsoft.com/office/powerpoint/2010/main" val="41343182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1141413"/>
            <a:ext cx="5476875" cy="30813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Of 16 studies identified, 4 met the eligibility criteria</a:t>
            </a:r>
          </a:p>
          <a:p>
            <a:pPr marL="171450" indent="-171450">
              <a:buFont typeface="Arial" panose="020B0604020202020204" pitchFamily="34" charset="0"/>
              <a:buChar char="•"/>
            </a:pPr>
            <a:r>
              <a:rPr lang="en-US"/>
              <a:t>GEM studies were considered the main studies, as their induction regimens had a symmetrical design (six 4-week cycles followed by ASCT)</a:t>
            </a:r>
          </a:p>
          <a:p>
            <a:pPr marL="171450" indent="-171450">
              <a:buFont typeface="Arial" panose="020B0604020202020204" pitchFamily="34" charset="0"/>
              <a:buChar char="•"/>
            </a:pPr>
            <a:r>
              <a:rPr lang="en-US"/>
              <a:t>IFM studies were considered supportive since they had a variable number of cycles (3 VRD cycles before ASCT vs 8 VRD cycles in IFM 2009 and 4 VTD cycles before ASCT in IFM 2013-04)</a:t>
            </a:r>
          </a:p>
          <a:p>
            <a:pPr marL="628650" lvl="1" indent="-171450">
              <a:buFont typeface="Arial" panose="020B0604020202020204" pitchFamily="34" charset="0"/>
              <a:buChar char="•"/>
            </a:pPr>
            <a:r>
              <a:rPr lang="en-US"/>
              <a:t>IFM analyses used the subgroup of patients from the VRD non-ASCT (induction and consolidation) arm of IFM 2009 to compare with the IFM 2013-04 VTD arm</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C401E838-2872-3841-9FB3-D5B7F6169E4E}" type="slidenum">
              <a:rPr kumimoji="0" lang="en-US" sz="1200" b="0" i="0" u="none" strike="noStrike" kern="1200" cap="none" spc="0" normalizeH="0" baseline="0" noProof="0" smtClean="0">
                <a:ln>
                  <a:noFill/>
                </a:ln>
                <a:solidFill>
                  <a:srgbClr val="000000"/>
                </a:solidFill>
                <a:effectLst/>
                <a:uLnTx/>
                <a:uFillTx/>
                <a:latin typeface="Times New Roman" charset="0"/>
                <a:ea typeface="+mn-ea"/>
                <a:cs typeface="+mn-cs"/>
              </a:rPr>
              <a:pPr marL="0" marR="0" lvl="0" indent="0" algn="r" defTabSz="914400" rtl="0" eaLnBrk="0" fontAlgn="base" latinLnBrk="0" hangingPunct="0">
                <a:lnSpc>
                  <a:spcPct val="100000"/>
                </a:lnSpc>
                <a:spcBef>
                  <a:spcPct val="20000"/>
                </a:spcBef>
                <a:spcAft>
                  <a:spcPct val="0"/>
                </a:spcAft>
                <a:buClrTx/>
                <a:buSzTx/>
                <a:buFontTx/>
                <a:buNone/>
                <a:tabLst/>
                <a:defRPr/>
              </a:pPr>
              <a:t>96</a:t>
            </a:fld>
            <a:endParaRPr kumimoji="0" lang="en-US" sz="1200" b="0" i="0" u="none" strike="noStrike" kern="1200" cap="none" spc="0" normalizeH="0" baseline="0" noProof="0">
              <a:ln>
                <a:noFill/>
              </a:ln>
              <a:solidFill>
                <a:srgbClr val="000000"/>
              </a:solidFill>
              <a:effectLst/>
              <a:uLnTx/>
              <a:uFillTx/>
              <a:latin typeface="Times New Roman" charset="0"/>
              <a:ea typeface="+mn-ea"/>
              <a:cs typeface="+mn-cs"/>
            </a:endParaRPr>
          </a:p>
        </p:txBody>
      </p:sp>
    </p:spTree>
    <p:extLst>
      <p:ext uri="{BB962C8B-B14F-4D97-AF65-F5344CB8AC3E}">
        <p14:creationId xmlns:p14="http://schemas.microsoft.com/office/powerpoint/2010/main" val="11621682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14FC3707-65D4-4421-BBAE-36A7DD209099}" type="slidenum">
              <a:rPr kumimoji="0" lang="en-US" sz="1200" b="0" i="0" u="none" strike="noStrike" kern="1200" cap="none" spc="0" normalizeH="0" baseline="0" noProof="0" smtClean="0">
                <a:ln>
                  <a:noFill/>
                </a:ln>
                <a:solidFill>
                  <a:srgbClr val="000000"/>
                </a:solidFill>
                <a:effectLst/>
                <a:uLnTx/>
                <a:uFillTx/>
                <a:latin typeface="Times New Roman" charset="0"/>
                <a:ea typeface="+mn-ea"/>
                <a:cs typeface="+mn-cs"/>
              </a:rPr>
              <a:pPr marL="0" marR="0" lvl="0" indent="0" algn="r" defTabSz="914400" rtl="0" eaLnBrk="0" fontAlgn="base" latinLnBrk="0" hangingPunct="0">
                <a:lnSpc>
                  <a:spcPct val="100000"/>
                </a:lnSpc>
                <a:spcBef>
                  <a:spcPct val="20000"/>
                </a:spcBef>
                <a:spcAft>
                  <a:spcPct val="0"/>
                </a:spcAft>
                <a:buClrTx/>
                <a:buSzTx/>
                <a:buFontTx/>
                <a:buNone/>
                <a:tabLst/>
                <a:defRPr/>
              </a:pPr>
              <a:t>97</a:t>
            </a:fld>
            <a:endParaRPr kumimoji="0" lang="en-US" sz="1200" b="0" i="0" u="none" strike="noStrike" kern="1200" cap="none" spc="0" normalizeH="0" baseline="0" noProof="0">
              <a:ln>
                <a:noFill/>
              </a:ln>
              <a:solidFill>
                <a:srgbClr val="000000"/>
              </a:solidFill>
              <a:effectLst/>
              <a:uLnTx/>
              <a:uFillTx/>
              <a:latin typeface="Times New Roman" charset="0"/>
              <a:ea typeface="+mn-ea"/>
              <a:cs typeface="+mn-cs"/>
            </a:endParaRPr>
          </a:p>
        </p:txBody>
      </p:sp>
    </p:spTree>
    <p:extLst>
      <p:ext uri="{BB962C8B-B14F-4D97-AF65-F5344CB8AC3E}">
        <p14:creationId xmlns:p14="http://schemas.microsoft.com/office/powerpoint/2010/main" val="1732710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14FC3707-65D4-4421-BBAE-36A7DD209099}" type="slidenum">
              <a:rPr kumimoji="0" lang="en-US" sz="1200" b="0" i="0" u="none" strike="noStrike" kern="1200" cap="none" spc="0" normalizeH="0" baseline="0" noProof="0" smtClean="0">
                <a:ln>
                  <a:noFill/>
                </a:ln>
                <a:solidFill>
                  <a:srgbClr val="000000"/>
                </a:solidFill>
                <a:effectLst/>
                <a:uLnTx/>
                <a:uFillTx/>
                <a:latin typeface="Times New Roman" charset="0"/>
                <a:ea typeface="+mn-ea"/>
                <a:cs typeface="+mn-cs"/>
              </a:rPr>
              <a:pPr marL="0" marR="0" lvl="0" indent="0" algn="r" defTabSz="914400" rtl="0" eaLnBrk="0" fontAlgn="base" latinLnBrk="0" hangingPunct="0">
                <a:lnSpc>
                  <a:spcPct val="100000"/>
                </a:lnSpc>
                <a:spcBef>
                  <a:spcPct val="20000"/>
                </a:spcBef>
                <a:spcAft>
                  <a:spcPct val="0"/>
                </a:spcAft>
                <a:buClrTx/>
                <a:buSzTx/>
                <a:buFontTx/>
                <a:buNone/>
                <a:tabLst/>
                <a:defRPr/>
              </a:pPr>
              <a:t>98</a:t>
            </a:fld>
            <a:endParaRPr kumimoji="0" lang="en-US" sz="1200" b="0" i="0" u="none" strike="noStrike" kern="1200" cap="none" spc="0" normalizeH="0" baseline="0" noProof="0">
              <a:ln>
                <a:noFill/>
              </a:ln>
              <a:solidFill>
                <a:srgbClr val="000000"/>
              </a:solidFill>
              <a:effectLst/>
              <a:uLnTx/>
              <a:uFillTx/>
              <a:latin typeface="Times New Roman" charset="0"/>
              <a:ea typeface="+mn-ea"/>
              <a:cs typeface="+mn-cs"/>
            </a:endParaRPr>
          </a:p>
        </p:txBody>
      </p:sp>
    </p:spTree>
    <p:extLst>
      <p:ext uri="{BB962C8B-B14F-4D97-AF65-F5344CB8AC3E}">
        <p14:creationId xmlns:p14="http://schemas.microsoft.com/office/powerpoint/2010/main" val="13147095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Rectangle 2"/>
          <p:cNvSpPr>
            <a:spLocks noGrp="1" noRot="1" noChangeAspect="1" noChangeArrowheads="1" noTextEdit="1"/>
          </p:cNvSpPr>
          <p:nvPr>
            <p:ph type="sldImg"/>
          </p:nvPr>
        </p:nvSpPr>
        <p:spPr>
          <a:xfrm>
            <a:off x="381000" y="685800"/>
            <a:ext cx="6096000" cy="3429000"/>
          </a:xfrm>
          <a:ln/>
        </p:spPr>
      </p:sp>
      <p:sp>
        <p:nvSpPr>
          <p:cNvPr id="236547" name="Rectangle 3"/>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s-ES">
              <a:ea typeface="ＭＳ Ｐゴシック" charset="0"/>
              <a:cs typeface="ＭＳ Ｐゴシック" charset="0"/>
            </a:endParaRPr>
          </a:p>
        </p:txBody>
      </p:sp>
    </p:spTree>
    <p:extLst>
      <p:ext uri="{BB962C8B-B14F-4D97-AF65-F5344CB8AC3E}">
        <p14:creationId xmlns:p14="http://schemas.microsoft.com/office/powerpoint/2010/main" val="1636000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AEs should be considered in the context of the different BORT routes of administration and schedules</a:t>
            </a:r>
          </a:p>
          <a:p>
            <a:pPr marL="628650" lvl="1" indent="-171450">
              <a:buFont typeface="Arial" panose="020B0604020202020204" pitchFamily="34" charset="0"/>
              <a:buChar char="•"/>
            </a:pPr>
            <a:r>
              <a:rPr lang="en-US"/>
              <a:t>BORT was given SC in GEM2012 and IFM 2013-04 and IV in GEM2005 and IFM 2009 </a:t>
            </a:r>
          </a:p>
          <a:p>
            <a:pPr marL="628650" lvl="1" indent="-171450">
              <a:buFont typeface="Arial" panose="020B0604020202020204" pitchFamily="34" charset="0"/>
              <a:buChar char="•"/>
            </a:pPr>
            <a:r>
              <a:rPr lang="en-US"/>
              <a:t>BORT dose intensity was higher when administered in 3-week cycles (IFM studies) vs 4-week cycles (GEM studie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14FC3707-65D4-4421-BBAE-36A7DD209099}" type="slidenum">
              <a:rPr kumimoji="0" lang="en-US" sz="1200" b="0" i="0" u="none" strike="noStrike" kern="1200" cap="none" spc="0" normalizeH="0" baseline="0" noProof="0" smtClean="0">
                <a:ln>
                  <a:noFill/>
                </a:ln>
                <a:solidFill>
                  <a:srgbClr val="000000"/>
                </a:solidFill>
                <a:effectLst/>
                <a:uLnTx/>
                <a:uFillTx/>
                <a:latin typeface="Times New Roman" charset="0"/>
                <a:ea typeface="+mn-ea"/>
                <a:cs typeface="+mn-cs"/>
              </a:rPr>
              <a:pPr marL="0" marR="0" lvl="0" indent="0" algn="r" defTabSz="914400" rtl="0" eaLnBrk="0" fontAlgn="base" latinLnBrk="0" hangingPunct="0">
                <a:lnSpc>
                  <a:spcPct val="100000"/>
                </a:lnSpc>
                <a:spcBef>
                  <a:spcPct val="20000"/>
                </a:spcBef>
                <a:spcAft>
                  <a:spcPct val="0"/>
                </a:spcAft>
                <a:buClrTx/>
                <a:buSzTx/>
                <a:buFontTx/>
                <a:buNone/>
                <a:tabLst/>
                <a:defRPr/>
              </a:pPr>
              <a:t>100</a:t>
            </a:fld>
            <a:endParaRPr kumimoji="0" lang="en-US" sz="1200" b="0" i="0" u="none" strike="noStrike" kern="1200" cap="none" spc="0" normalizeH="0" baseline="0" noProof="0">
              <a:ln>
                <a:noFill/>
              </a:ln>
              <a:solidFill>
                <a:srgbClr val="000000"/>
              </a:solidFill>
              <a:effectLst/>
              <a:uLnTx/>
              <a:uFillTx/>
              <a:latin typeface="Times New Roman" charset="0"/>
              <a:ea typeface="+mn-ea"/>
              <a:cs typeface="+mn-cs"/>
            </a:endParaRPr>
          </a:p>
        </p:txBody>
      </p:sp>
    </p:spTree>
    <p:extLst>
      <p:ext uri="{BB962C8B-B14F-4D97-AF65-F5344CB8AC3E}">
        <p14:creationId xmlns:p14="http://schemas.microsoft.com/office/powerpoint/2010/main" val="9890304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sz="1200" b="1" i="0" kern="1200">
                <a:solidFill>
                  <a:schemeClr val="tx1"/>
                </a:solidFill>
                <a:effectLst/>
                <a:latin typeface="+mn-lt"/>
                <a:ea typeface="+mn-ea"/>
                <a:cs typeface="+mn-cs"/>
              </a:rPr>
              <a:t>Background:</a:t>
            </a:r>
            <a:r>
              <a:rPr lang="en-GB" sz="1200" b="0" i="0" kern="1200">
                <a:solidFill>
                  <a:schemeClr val="tx1"/>
                </a:solidFill>
                <a:effectLst/>
                <a:latin typeface="+mn-lt"/>
                <a:ea typeface="+mn-ea"/>
                <a:cs typeface="+mn-cs"/>
              </a:rPr>
              <a:t> In newly-diagnosed multiple myeloma (NDMM), lenalidomide/bortezomib/dexamethasone (RVd) is one of the most widely used combination regimens. Anti-CD38 monoclonal antibodies (CD38-moAb) increase efficacy when added to standard-of-care regimens. Here we present the first primary endpoint of the randomized, open-label, multicenter, phase III GMMG-HD7 trial, comparing RVd without (arm IA) or with the CD38-moAb isatuximab (Isa, arm IB) with regard to the rate of minimal residual disease (MRD) negativity after induction therapy in patients with transplant-eligible NDMM.</a:t>
            </a:r>
          </a:p>
          <a:p>
            <a:r>
              <a:rPr lang="en-GB" sz="1200" b="1" i="0" kern="1200">
                <a:solidFill>
                  <a:schemeClr val="tx1"/>
                </a:solidFill>
                <a:effectLst/>
                <a:latin typeface="+mn-lt"/>
                <a:ea typeface="+mn-ea"/>
                <a:cs typeface="+mn-cs"/>
              </a:rPr>
              <a:t>Patients and Methods:</a:t>
            </a:r>
            <a:r>
              <a:rPr lang="en-GB" sz="1200" b="0" i="0" kern="1200">
                <a:solidFill>
                  <a:schemeClr val="tx1"/>
                </a:solidFill>
                <a:effectLst/>
                <a:latin typeface="+mn-lt"/>
                <a:ea typeface="+mn-ea"/>
                <a:cs typeface="+mn-cs"/>
              </a:rPr>
              <a:t> Patients with transplant-eligible NDMM at 67 sites in Germany were equally randomized to receive three 42-day cycles of RVd (lenalidomide 25 mg/d p.o., d1–14 and d22-35; bortezomib 1.3 mg/m</a:t>
            </a:r>
            <a:r>
              <a:rPr lang="en-GB" sz="1200" b="0" i="0" kern="1200" baseline="30000">
                <a:solidFill>
                  <a:schemeClr val="tx1"/>
                </a:solidFill>
                <a:effectLst/>
                <a:latin typeface="+mn-lt"/>
                <a:ea typeface="+mn-ea"/>
                <a:cs typeface="+mn-cs"/>
              </a:rPr>
              <a:t>2</a:t>
            </a:r>
            <a:r>
              <a:rPr lang="en-GB" sz="1200" b="0" i="0" kern="1200">
                <a:solidFill>
                  <a:schemeClr val="tx1"/>
                </a:solidFill>
                <a:effectLst/>
                <a:latin typeface="+mn-lt"/>
                <a:ea typeface="+mn-ea"/>
                <a:cs typeface="+mn-cs"/>
              </a:rPr>
              <a:t> s.c. d1, 4, 8, 11, 22, 25, 29, 32; dexamethasone 20 mg/d d1-2, 4-5, 8-9, 11-12, 15, 22-23, 25-26, 29-30, 32-33) in both arms. Isa was added to arm IB only (10 mg/kg i.v., cycle 1: d 1, 8, 15, 22, 29; cycles 2-3: d 1, 15, 29). Randomization for induction was stratified according to revised International Staging System (R-ISS). Primary endpoint of the trial was MRD negativity assessed by next-generation flow (NGF, cut off 1x10</a:t>
            </a:r>
            <a:r>
              <a:rPr lang="en-GB" sz="1200" b="0" i="0" kern="1200" baseline="30000">
                <a:solidFill>
                  <a:schemeClr val="tx1"/>
                </a:solidFill>
                <a:effectLst/>
                <a:latin typeface="+mn-lt"/>
                <a:ea typeface="+mn-ea"/>
                <a:cs typeface="+mn-cs"/>
              </a:rPr>
              <a:t>-5</a:t>
            </a:r>
            <a:r>
              <a:rPr lang="en-GB" sz="1200" b="0" i="0" kern="1200">
                <a:solidFill>
                  <a:schemeClr val="tx1"/>
                </a:solidFill>
                <a:effectLst/>
                <a:latin typeface="+mn-lt"/>
                <a:ea typeface="+mn-ea"/>
                <a:cs typeface="+mn-cs"/>
              </a:rPr>
              <a:t>) after induction. Secondary endpoints included rates of complete response (CR) after induction and safety. Data cut-off for the present analysis was April 2021.</a:t>
            </a:r>
          </a:p>
          <a:p>
            <a:r>
              <a:rPr lang="en-GB" sz="1200" b="1" i="0" kern="1200">
                <a:solidFill>
                  <a:schemeClr val="tx1"/>
                </a:solidFill>
                <a:effectLst/>
                <a:latin typeface="+mn-lt"/>
                <a:ea typeface="+mn-ea"/>
                <a:cs typeface="+mn-cs"/>
              </a:rPr>
              <a:t>Results:</a:t>
            </a:r>
            <a:r>
              <a:rPr lang="en-GB" sz="1200" b="0" i="0" kern="1200">
                <a:solidFill>
                  <a:schemeClr val="tx1"/>
                </a:solidFill>
                <a:effectLst/>
                <a:latin typeface="+mn-lt"/>
                <a:ea typeface="+mn-ea"/>
                <a:cs typeface="+mn-cs"/>
              </a:rPr>
              <a:t> Between 10/2018 and 09/2020, 662 patients were included in the trial. 660 patients were eligible for intention-to-treat analysis and 658 patients started induction (RVd: 329/328 and Isa-RVd: 331/330). Median age was 58 (range 26–70) years and baseline characteristics were well balanced between treatment arms. On induction, 35 (10.6%) and 18 (5.4%) patients discontinued treatment in the RVd vs. Isa-RVd arms (p=0.02). Among these, 8 (2.4%, RVd) vs. 7 (2.1%, Isa-RVd) patients discontinued induction due to adverse events (AE). 293 (89.1%) vs. 312 (94.3%) patients in the RVd vs. Isa-RVd arms continued further study treatment after induction.</a:t>
            </a:r>
          </a:p>
          <a:p>
            <a:r>
              <a:rPr lang="en-GB" sz="1200" b="0" i="0" kern="1200">
                <a:solidFill>
                  <a:schemeClr val="tx1"/>
                </a:solidFill>
                <a:effectLst/>
                <a:latin typeface="+mn-lt"/>
                <a:ea typeface="+mn-ea"/>
                <a:cs typeface="+mn-cs"/>
              </a:rPr>
              <a:t>MRD negativity rates after induction were 35.6% vs. 50.1% (odds ratio [OR]=1.83, 95% confidence interval [95% CI]: 1.34-2.51, p&lt;0.001) for RVd vs. Isa-RVd, respectively. On multivariate analyses including treatment arm, R-ISS, performance status, renal impairment, age and sex, treatment with Isa-RVd (vs. RVd) remained the only significant predictor for increased MRD negativity after induction (OR=1.82, 95% CI: 1.33-2.49, p&lt;0.001). While the rates of CR after induction did not yet differ between the RVd vs. Isa-RVd arms (21.6% vs. 24.2%, p=0.46), the rate of very good partial response or better (≥VGPR) was significantly higher in the Isa-RVd arm (60.5% vs. 77.3%, p&lt;0.001). The rates of progressive disease were 4.0% (RVd) vs. 1.5% (Isa-RVd).</a:t>
            </a:r>
          </a:p>
          <a:p>
            <a:r>
              <a:rPr lang="en-GB" sz="1200" b="0" i="0" kern="1200">
                <a:solidFill>
                  <a:schemeClr val="tx1"/>
                </a:solidFill>
                <a:effectLst/>
                <a:latin typeface="+mn-lt"/>
                <a:ea typeface="+mn-ea"/>
                <a:cs typeface="+mn-cs"/>
              </a:rPr>
              <a:t>At least one AE (grade ≥3) on induction occurred in 61.3% (RVd) and 63.6% (Isa-RVd) of patients (p=0.57). Most common AE (grade ≥3) by system organ class (SOC) for RVd vs. Isa-RVd were: “investigations”: 23.5% vs. 23.9% (p=0.93), “blood and lymphatic system disorders”: 16.8% vs. 25.8% (p=0.006), „infections and infestations“: 10.4% vs. 13.0% (p=0.33) and “nervous system disorders“: 10.1% vs. 8.5% (p=0.50). Rates of serious AE (SAE, any grade) on induction were similar between RVd and Isa-RVd (36.3% vs. 34.8%, p=0.75). Eight (RVd) and four (Isa-RVd) patients died during induction.</a:t>
            </a:r>
          </a:p>
          <a:p>
            <a:r>
              <a:rPr lang="en-GB" sz="1200" b="1" i="0" kern="1200">
                <a:solidFill>
                  <a:schemeClr val="tx1"/>
                </a:solidFill>
                <a:effectLst/>
                <a:latin typeface="+mn-lt"/>
                <a:ea typeface="+mn-ea"/>
                <a:cs typeface="+mn-cs"/>
              </a:rPr>
              <a:t>Conclusions:</a:t>
            </a:r>
            <a:r>
              <a:rPr lang="en-GB" sz="1200" b="0" i="0" kern="1200">
                <a:solidFill>
                  <a:schemeClr val="tx1"/>
                </a:solidFill>
                <a:effectLst/>
                <a:latin typeface="+mn-lt"/>
                <a:ea typeface="+mn-ea"/>
                <a:cs typeface="+mn-cs"/>
              </a:rPr>
              <a:t> The GMMG-HD7 trial met its primary endpoint. To the best of our knowledge this is the first phase III trial to demonstrate superiority of MRD negativity rates after induction by adding a CD38-moAb to RVd. There were no increased rates of SAE or early discontinuation in patients treated with Isa-RVd compared to RVd. The trial is ongoing, including analyses post autologous transplantation, which is followed by a second randomization to compare the efficacy of the addition of Isa to lenalidomide maintenance.</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A882EDBF-181B-1842-8EE0-78983714CB93}" type="slidenum">
              <a:rPr kumimoji="0" lang="en-GB" altLang="es-ES" sz="1200" b="0" i="0" u="none" strike="noStrike" kern="1200" cap="none" spc="0" normalizeH="0" baseline="0" noProof="0" smtClean="0">
                <a:ln>
                  <a:noFill/>
                </a:ln>
                <a:solidFill>
                  <a:srgbClr val="000000"/>
                </a:solidFill>
                <a:effectLst/>
                <a:uLnTx/>
                <a:uFillTx/>
                <a:latin typeface="Times New Roman" charset="0"/>
                <a:ea typeface="ＭＳ Ｐゴシック" charset="0"/>
                <a:cs typeface="+mn-cs"/>
              </a:rPr>
              <a:pPr marL="0" marR="0" lvl="0" indent="0" algn="r" defTabSz="914400" rtl="0" eaLnBrk="0" fontAlgn="base" latinLnBrk="0" hangingPunct="0">
                <a:lnSpc>
                  <a:spcPct val="100000"/>
                </a:lnSpc>
                <a:spcBef>
                  <a:spcPct val="20000"/>
                </a:spcBef>
                <a:spcAft>
                  <a:spcPct val="0"/>
                </a:spcAft>
                <a:buClrTx/>
                <a:buSzTx/>
                <a:buFontTx/>
                <a:buNone/>
                <a:tabLst/>
                <a:defRPr/>
              </a:pPr>
              <a:t>112</a:t>
            </a:fld>
            <a:endParaRPr kumimoji="0" lang="en-GB" altLang="es-ES" sz="1200" b="0" i="0" u="none" strike="noStrike" kern="1200" cap="none" spc="0" normalizeH="0" baseline="0" noProof="0">
              <a:ln>
                <a:noFill/>
              </a:ln>
              <a:solidFill>
                <a:srgbClr val="000000"/>
              </a:solidFill>
              <a:effectLst/>
              <a:uLnTx/>
              <a:uFillTx/>
              <a:latin typeface="Times New Roman" charset="0"/>
              <a:ea typeface="ＭＳ Ｐゴシック" charset="0"/>
              <a:cs typeface="+mn-cs"/>
            </a:endParaRPr>
          </a:p>
        </p:txBody>
      </p:sp>
    </p:spTree>
    <p:extLst>
      <p:ext uri="{BB962C8B-B14F-4D97-AF65-F5344CB8AC3E}">
        <p14:creationId xmlns:p14="http://schemas.microsoft.com/office/powerpoint/2010/main" val="41272964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A882EDBF-181B-1842-8EE0-78983714CB93}" type="slidenum">
              <a:rPr kumimoji="0" lang="en-GB" altLang="es-ES" sz="1200" b="0" i="0" u="none" strike="noStrike" kern="1200" cap="none" spc="0" normalizeH="0" baseline="0" noProof="0" smtClean="0">
                <a:ln>
                  <a:noFill/>
                </a:ln>
                <a:solidFill>
                  <a:srgbClr val="000000"/>
                </a:solidFill>
                <a:effectLst/>
                <a:uLnTx/>
                <a:uFillTx/>
                <a:latin typeface="Times New Roman" charset="0"/>
                <a:ea typeface="ＭＳ Ｐゴシック" charset="0"/>
                <a:cs typeface="+mn-cs"/>
              </a:rPr>
              <a:pPr marL="0" marR="0" lvl="0" indent="0" algn="r" defTabSz="914400" rtl="0" eaLnBrk="0" fontAlgn="base" latinLnBrk="0" hangingPunct="0">
                <a:lnSpc>
                  <a:spcPct val="100000"/>
                </a:lnSpc>
                <a:spcBef>
                  <a:spcPct val="20000"/>
                </a:spcBef>
                <a:spcAft>
                  <a:spcPct val="0"/>
                </a:spcAft>
                <a:buClrTx/>
                <a:buSzTx/>
                <a:buFontTx/>
                <a:buNone/>
                <a:tabLst/>
                <a:defRPr/>
              </a:pPr>
              <a:t>114</a:t>
            </a:fld>
            <a:endParaRPr kumimoji="0" lang="en-GB" altLang="es-ES" sz="1200" b="0" i="0" u="none" strike="noStrike" kern="1200" cap="none" spc="0" normalizeH="0" baseline="0" noProof="0">
              <a:ln>
                <a:noFill/>
              </a:ln>
              <a:solidFill>
                <a:srgbClr val="000000"/>
              </a:solidFill>
              <a:effectLst/>
              <a:uLnTx/>
              <a:uFillTx/>
              <a:latin typeface="Times New Roman" charset="0"/>
              <a:ea typeface="ＭＳ Ｐゴシック" charset="0"/>
              <a:cs typeface="+mn-cs"/>
            </a:endParaRPr>
          </a:p>
        </p:txBody>
      </p:sp>
    </p:spTree>
    <p:extLst>
      <p:ext uri="{BB962C8B-B14F-4D97-AF65-F5344CB8AC3E}">
        <p14:creationId xmlns:p14="http://schemas.microsoft.com/office/powerpoint/2010/main" val="1827644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51267-63BB-43DB-8317-5D66F51DA4A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531709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sz="1200" b="0" i="1" kern="1200">
                <a:solidFill>
                  <a:schemeClr val="tx1"/>
                </a:solidFill>
                <a:effectLst/>
                <a:latin typeface="+mn-lt"/>
                <a:ea typeface="+mn-ea"/>
                <a:cs typeface="+mn-cs"/>
              </a:rPr>
              <a:t>Introduction: </a:t>
            </a:r>
            <a:r>
              <a:rPr lang="en-GB" sz="1200" b="0" i="0" kern="1200">
                <a:solidFill>
                  <a:schemeClr val="tx1"/>
                </a:solidFill>
                <a:effectLst/>
                <a:latin typeface="+mn-lt"/>
                <a:ea typeface="+mn-ea"/>
                <a:cs typeface="+mn-cs"/>
              </a:rPr>
              <a:t>Daratumumab (DARA) is approved across lines of therapy for multiple myeloma. In the primary analysis of the phase 2 GRIFFIN trial (NCT02874742) in pts with transplant-eligible NDMM (median follow-up, 13.5 mo), D-RVd improved the rate of stringent complete response (sCR) by the end of post-autologous stem cell transplant (ASCT) consolidation versus RVd (42.4% vs 32.0%; odds ratio [OR], 1.57; 95% CI, 0.87-2.82; 1-sided </a:t>
            </a:r>
            <a:r>
              <a:rPr lang="en-GB" sz="1200" b="0" i="1" kern="1200">
                <a:solidFill>
                  <a:schemeClr val="tx1"/>
                </a:solidFill>
                <a:effectLst/>
                <a:latin typeface="+mn-lt"/>
                <a:ea typeface="+mn-ea"/>
                <a:cs typeface="+mn-cs"/>
              </a:rPr>
              <a:t>P</a:t>
            </a:r>
            <a:r>
              <a:rPr lang="en-GB" sz="1200" b="0" i="0" kern="1200">
                <a:solidFill>
                  <a:schemeClr val="tx1"/>
                </a:solidFill>
                <a:effectLst/>
                <a:latin typeface="+mn-lt"/>
                <a:ea typeface="+mn-ea"/>
                <a:cs typeface="+mn-cs"/>
              </a:rPr>
              <a:t>=0.068) (Voorhees PM, et al. </a:t>
            </a:r>
            <a:r>
              <a:rPr lang="en-GB" sz="1200" b="0" i="1" kern="1200">
                <a:solidFill>
                  <a:schemeClr val="tx1"/>
                </a:solidFill>
                <a:effectLst/>
                <a:latin typeface="+mn-lt"/>
                <a:ea typeface="+mn-ea"/>
                <a:cs typeface="+mn-cs"/>
              </a:rPr>
              <a:t>Blood. </a:t>
            </a:r>
            <a:r>
              <a:rPr lang="en-GB" sz="1200" b="0" i="0" kern="1200">
                <a:solidFill>
                  <a:schemeClr val="tx1"/>
                </a:solidFill>
                <a:effectLst/>
                <a:latin typeface="+mn-lt"/>
                <a:ea typeface="+mn-ea"/>
                <a:cs typeface="+mn-cs"/>
              </a:rPr>
              <a:t>2020). With longer follow-up (median, 27.4 mo) after 12 months of maintenance therapy, sCR rates deepened for D-RVd versus RVd (63.6% vs 47.4%, 2-sided </a:t>
            </a:r>
            <a:r>
              <a:rPr lang="en-GB" sz="1200" b="0" i="1" kern="1200">
                <a:solidFill>
                  <a:schemeClr val="tx1"/>
                </a:solidFill>
                <a:effectLst/>
                <a:latin typeface="+mn-lt"/>
                <a:ea typeface="+mn-ea"/>
                <a:cs typeface="+mn-cs"/>
              </a:rPr>
              <a:t>P</a:t>
            </a:r>
            <a:r>
              <a:rPr lang="en-GB" sz="1200" b="0" i="0" kern="1200">
                <a:solidFill>
                  <a:schemeClr val="tx1"/>
                </a:solidFill>
                <a:effectLst/>
                <a:latin typeface="+mn-lt"/>
                <a:ea typeface="+mn-ea"/>
                <a:cs typeface="+mn-cs"/>
              </a:rPr>
              <a:t>=0.0253), as did the rate of minimal residual disease (MRD; 10</a:t>
            </a:r>
            <a:r>
              <a:rPr lang="en-GB" sz="1200" b="0" i="0" kern="1200" baseline="30000">
                <a:solidFill>
                  <a:schemeClr val="tx1"/>
                </a:solidFill>
                <a:effectLst/>
                <a:latin typeface="+mn-lt"/>
                <a:ea typeface="+mn-ea"/>
                <a:cs typeface="+mn-cs"/>
              </a:rPr>
              <a:t>–5</a:t>
            </a:r>
            <a:r>
              <a:rPr lang="en-GB" sz="1200" b="0" i="0" kern="1200">
                <a:solidFill>
                  <a:schemeClr val="tx1"/>
                </a:solidFill>
                <a:effectLst/>
                <a:latin typeface="+mn-lt"/>
                <a:ea typeface="+mn-ea"/>
                <a:cs typeface="+mn-cs"/>
              </a:rPr>
              <a:t>) negativity (62.5% vs 27.2%, </a:t>
            </a:r>
            <a:r>
              <a:rPr lang="en-GB" sz="1200" b="0" i="1" kern="1200">
                <a:solidFill>
                  <a:schemeClr val="tx1"/>
                </a:solidFill>
                <a:effectLst/>
                <a:latin typeface="+mn-lt"/>
                <a:ea typeface="+mn-ea"/>
                <a:cs typeface="+mn-cs"/>
              </a:rPr>
              <a:t>P</a:t>
            </a:r>
            <a:r>
              <a:rPr lang="en-GB" sz="1200" b="0" i="0" kern="1200">
                <a:solidFill>
                  <a:schemeClr val="tx1"/>
                </a:solidFill>
                <a:effectLst/>
                <a:latin typeface="+mn-lt"/>
                <a:ea typeface="+mn-ea"/>
                <a:cs typeface="+mn-cs"/>
              </a:rPr>
              <a:t>&lt;0.0001) (Kaufman JL, et al. </a:t>
            </a:r>
            <a:r>
              <a:rPr lang="en-GB" sz="1200" b="0" i="1" kern="1200">
                <a:solidFill>
                  <a:schemeClr val="tx1"/>
                </a:solidFill>
                <a:effectLst/>
                <a:latin typeface="+mn-lt"/>
                <a:ea typeface="+mn-ea"/>
                <a:cs typeface="+mn-cs"/>
              </a:rPr>
              <a:t>Blood. </a:t>
            </a:r>
            <a:r>
              <a:rPr lang="en-GB" sz="1200" b="0" i="0" kern="1200">
                <a:solidFill>
                  <a:schemeClr val="tx1"/>
                </a:solidFill>
                <a:effectLst/>
                <a:latin typeface="+mn-lt"/>
                <a:ea typeface="+mn-ea"/>
                <a:cs typeface="+mn-cs"/>
              </a:rPr>
              <a:t>2020). Here, we present an analysis among clinically relevant subgroups (age ≥65 years, International Staging System [ISS] stage III disease, and high cytogenetic risk [del17p, t(4;14), or t(14;16) abnormalities]) after 24 months of maintenance therapy (median follow-up, 38.6 mo).</a:t>
            </a:r>
          </a:p>
          <a:p>
            <a:r>
              <a:rPr lang="en-GB" sz="1200" b="0" i="1" kern="1200">
                <a:solidFill>
                  <a:schemeClr val="tx1"/>
                </a:solidFill>
                <a:effectLst/>
                <a:latin typeface="+mn-lt"/>
                <a:ea typeface="+mn-ea"/>
                <a:cs typeface="+mn-cs"/>
              </a:rPr>
              <a:t>Methods: </a:t>
            </a:r>
            <a:r>
              <a:rPr lang="en-GB" sz="1200" b="0" i="0" kern="1200">
                <a:solidFill>
                  <a:schemeClr val="tx1"/>
                </a:solidFill>
                <a:effectLst/>
                <a:latin typeface="+mn-lt"/>
                <a:ea typeface="+mn-ea"/>
                <a:cs typeface="+mn-cs"/>
              </a:rPr>
              <a:t>Eligible pts with transplant-eligible NDMM were randomized 1:1 to D-RVd or RVd. Pts received 4 RVd or D-RVd induction cycles, high dose therapy, ASCT, 2 RVd or D-RVd consolidation cycles, and maintenance with lenalidomide (R) alone or with DARA (D-R) for 24 months. During induction and consolidation (21-day cycles), pts received R (25 mg PO on Days 1-14), bortezomib (1.3 mg/m</a:t>
            </a:r>
            <a:r>
              <a:rPr lang="en-GB" sz="1200" b="0" i="0" kern="1200" baseline="30000">
                <a:solidFill>
                  <a:schemeClr val="tx1"/>
                </a:solidFill>
                <a:effectLst/>
                <a:latin typeface="+mn-lt"/>
                <a:ea typeface="+mn-ea"/>
                <a:cs typeface="+mn-cs"/>
              </a:rPr>
              <a:t>2</a:t>
            </a:r>
            <a:r>
              <a:rPr lang="en-GB" sz="1200" b="0" i="0" kern="1200">
                <a:solidFill>
                  <a:schemeClr val="tx1"/>
                </a:solidFill>
                <a:effectLst/>
                <a:latin typeface="+mn-lt"/>
                <a:ea typeface="+mn-ea"/>
                <a:cs typeface="+mn-cs"/>
              </a:rPr>
              <a:t> SC on Days 1, 4, 8, and 11), and dexamethasone (40 mg PO QW) ± DARA (16 mg/kg IV on Days 1, 8, and 15 of Cycles 1-4 and Day 1 of Cycles 5-6). During maintenance (Cycles 7-32; 28-day cycles), pts received R (10 mg PO on Days 1-21; if tolerated, 15 mg in Cycles 10+) ± DARA (16 mg/kg IV Q8W, or Q4W per pt decision after Amendment 2) until disease progression or up to 24 months. The primary endpoint was sCR rate by the end of post-ASCT consolidation. Responses were assessed per International Myeloma Working Group criteria by a validated computer algorithm. Additional endpoints included progression-free survival (PFS) and MRD-negativity (10</a:t>
            </a:r>
            <a:r>
              <a:rPr lang="en-GB" sz="1200" b="0" i="0" kern="1200" baseline="30000">
                <a:solidFill>
                  <a:schemeClr val="tx1"/>
                </a:solidFill>
                <a:effectLst/>
                <a:latin typeface="+mn-lt"/>
                <a:ea typeface="+mn-ea"/>
                <a:cs typeface="+mn-cs"/>
              </a:rPr>
              <a:t>–5</a:t>
            </a:r>
            <a:r>
              <a:rPr lang="en-GB" sz="1200" b="0" i="0" kern="1200">
                <a:solidFill>
                  <a:schemeClr val="tx1"/>
                </a:solidFill>
                <a:effectLst/>
                <a:latin typeface="+mn-lt"/>
                <a:ea typeface="+mn-ea"/>
                <a:cs typeface="+mn-cs"/>
              </a:rPr>
              <a:t>) rate by next-generation sequencing.</a:t>
            </a:r>
          </a:p>
          <a:p>
            <a:r>
              <a:rPr lang="en-GB" sz="1200" b="0" i="1" kern="1200">
                <a:solidFill>
                  <a:schemeClr val="tx1"/>
                </a:solidFill>
                <a:effectLst/>
                <a:latin typeface="+mn-lt"/>
                <a:ea typeface="+mn-ea"/>
                <a:cs typeface="+mn-cs"/>
              </a:rPr>
              <a:t>Results:</a:t>
            </a:r>
            <a:r>
              <a:rPr lang="en-GB" sz="1200" b="0" i="0" kern="1200">
                <a:solidFill>
                  <a:schemeClr val="tx1"/>
                </a:solidFill>
                <a:effectLst/>
                <a:latin typeface="+mn-lt"/>
                <a:ea typeface="+mn-ea"/>
                <a:cs typeface="+mn-cs"/>
              </a:rPr>
              <a:t> In total, 207 pts were randomized (D-RVd, n=104; RVd, n=103); each group had a similar number of pts with age ≥65 years (n=28; n=28), ISS stage III disease (n=14; n=14), or high cytogenetic risk (n=16; n=14). Among response-evaluable pts, the rate of sCR after 24 months of maintenance therapy was numerically higher for D-RVd versus RVd among pts ≥65 years (63.0% vs 40.7%, OR, 2.47, 95% CI, 0.83-7.39), but similar for D-RVd and RVd pts with ISS stage III disease (57.1% vs 61.5%, OR, 0.83, 95% CI, 0.18-3.88) and high cytogenetic risk (43.8% vs 38.5%, OR, 1.24, 95% CI, 0.28-5.53; </a:t>
            </a:r>
            <a:r>
              <a:rPr lang="en-GB" sz="1200" b="0" i="1" kern="1200">
                <a:solidFill>
                  <a:schemeClr val="tx1"/>
                </a:solidFill>
                <a:effectLst/>
                <a:latin typeface="+mn-lt"/>
                <a:ea typeface="+mn-ea"/>
                <a:cs typeface="+mn-cs"/>
              </a:rPr>
              <a:t>Figure</a:t>
            </a:r>
            <a:r>
              <a:rPr lang="en-GB" sz="1200" b="0" i="0" kern="1200">
                <a:solidFill>
                  <a:schemeClr val="tx1"/>
                </a:solidFill>
                <a:effectLst/>
                <a:latin typeface="+mn-lt"/>
                <a:ea typeface="+mn-ea"/>
                <a:cs typeface="+mn-cs"/>
              </a:rPr>
              <a:t>). MRD-negativity (10</a:t>
            </a:r>
            <a:r>
              <a:rPr lang="en-GB" sz="1200" b="0" i="0" kern="1200" baseline="30000">
                <a:solidFill>
                  <a:schemeClr val="tx1"/>
                </a:solidFill>
                <a:effectLst/>
                <a:latin typeface="+mn-lt"/>
                <a:ea typeface="+mn-ea"/>
                <a:cs typeface="+mn-cs"/>
              </a:rPr>
              <a:t>–5</a:t>
            </a:r>
            <a:r>
              <a:rPr lang="en-GB" sz="1200" b="0" i="0" kern="1200">
                <a:solidFill>
                  <a:schemeClr val="tx1"/>
                </a:solidFill>
                <a:effectLst/>
                <a:latin typeface="+mn-lt"/>
                <a:ea typeface="+mn-ea"/>
                <a:cs typeface="+mn-cs"/>
              </a:rPr>
              <a:t>) rates favored D-RVd versus RVd across all subgroups: ≥65 years (67.9% vs 17.9%), ISS stage III disease (71.4% vs 35.7%), and high cytogenetic risk (43.8% vs 28.6%; </a:t>
            </a:r>
            <a:r>
              <a:rPr lang="en-GB" sz="1200" b="0" i="1" kern="1200">
                <a:solidFill>
                  <a:schemeClr val="tx1"/>
                </a:solidFill>
                <a:effectLst/>
                <a:latin typeface="+mn-lt"/>
                <a:ea typeface="+mn-ea"/>
                <a:cs typeface="+mn-cs"/>
              </a:rPr>
              <a:t>Figure</a:t>
            </a:r>
            <a:r>
              <a:rPr lang="en-GB" sz="1200" b="0" i="0" kern="1200">
                <a:solidFill>
                  <a:schemeClr val="tx1"/>
                </a:solidFill>
                <a:effectLst/>
                <a:latin typeface="+mn-lt"/>
                <a:ea typeface="+mn-ea"/>
                <a:cs typeface="+mn-cs"/>
              </a:rPr>
              <a:t>). With 38.6 months median follow-up, median PFS was not reached (NR) for pts ≥65 years in either treatment group (6 pts progressed: D-RVd, n=1; RVd, n=5). Among pts with ISS stage III disease, median PFS was NR for D-RVd and 33.1 months for RVd (7 pts progressed: D-RVd, n=1; RVd, n=6). Among pts with high cytogenetic risk, median PFS was NR for D-RVd and 36.1 months for RVd (10 pts progressed: D-RVd, n=5; RVd, n=5; </a:t>
            </a:r>
            <a:r>
              <a:rPr lang="en-GB" sz="1200" b="0" i="1" kern="1200">
                <a:solidFill>
                  <a:schemeClr val="tx1"/>
                </a:solidFill>
                <a:effectLst/>
                <a:latin typeface="+mn-lt"/>
                <a:ea typeface="+mn-ea"/>
                <a:cs typeface="+mn-cs"/>
              </a:rPr>
              <a:t>Figure</a:t>
            </a:r>
            <a:r>
              <a:rPr lang="en-GB" sz="1200" b="0" i="0" kern="1200">
                <a:solidFill>
                  <a:schemeClr val="tx1"/>
                </a:solidFill>
                <a:effectLst/>
                <a:latin typeface="+mn-lt"/>
                <a:ea typeface="+mn-ea"/>
                <a:cs typeface="+mn-cs"/>
              </a:rPr>
              <a:t>). In pts ≥65 years, grade 3/4 treatment-emergent adverse events (TEAEs) occurred in 88.9% of D-RVd pts and 77.8% of RVd pts; the most common (≥20%) were neutropenia (37.0%; 29.6%) and lymphopenia (25.9%; 11.1%). Serious TEAEs occurred in 55.6% and 40.7% of pts, respectively. TEAEs led to study treatment discontinuation in 33.3% of D-RVd pts and 25.9% of RVd pts. One death due to a TEAE (unrelated to study treatment) occurred in a D-RVd pt ≥65 years of age.</a:t>
            </a:r>
          </a:p>
          <a:p>
            <a:r>
              <a:rPr lang="en-GB" sz="1200" b="0" i="1" kern="1200">
                <a:solidFill>
                  <a:schemeClr val="tx1"/>
                </a:solidFill>
                <a:effectLst/>
                <a:latin typeface="+mn-lt"/>
                <a:ea typeface="+mn-ea"/>
                <a:cs typeface="+mn-cs"/>
              </a:rPr>
              <a:t>Conclusion: </a:t>
            </a:r>
            <a:r>
              <a:rPr lang="en-GB" sz="1200" b="0" i="0" kern="1200">
                <a:solidFill>
                  <a:schemeClr val="tx1"/>
                </a:solidFill>
                <a:effectLst/>
                <a:latin typeface="+mn-lt"/>
                <a:ea typeface="+mn-ea"/>
                <a:cs typeface="+mn-cs"/>
              </a:rPr>
              <a:t>Subgroup analyses of pts in GRIFFIN show that the addition of DARA to RVd induction/consolidation and R maintenance, in conjunction with ASCT, may benefit clinically relevant subgroups. sCR rates were improved for D-RVd versus RVd in pts ≥65 years but not in pts with ISS stage III disease or high cytogenetic risk. Improved MRD-negativity rates were observed for D-RVd in all subgroups. Although immature and with limited pt numbers, PFS results also trended towards favoring D-RVd in these subgroups. Among pts ≥65 years, TEAEs and serious TEAEs were numerically higher for D-RVd. These results support the use of DARA in transplant-eligible NDMM pts among high-risk subgroups, although larger studies are needed.</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A882EDBF-181B-1842-8EE0-78983714CB93}" type="slidenum">
              <a:rPr kumimoji="0" lang="en-GB" altLang="es-ES" sz="1200" b="0" i="0" u="none" strike="noStrike" kern="1200" cap="none" spc="0" normalizeH="0" baseline="0" noProof="0" smtClean="0">
                <a:ln>
                  <a:noFill/>
                </a:ln>
                <a:solidFill>
                  <a:srgbClr val="000000"/>
                </a:solidFill>
                <a:effectLst/>
                <a:uLnTx/>
                <a:uFillTx/>
                <a:latin typeface="Times New Roman" charset="0"/>
                <a:ea typeface="ＭＳ Ｐゴシック" charset="0"/>
                <a:cs typeface="+mn-cs"/>
              </a:rPr>
              <a:pPr marL="0" marR="0" lvl="0" indent="0" algn="r" defTabSz="914400" rtl="0" eaLnBrk="0" fontAlgn="base" latinLnBrk="0" hangingPunct="0">
                <a:lnSpc>
                  <a:spcPct val="100000"/>
                </a:lnSpc>
                <a:spcBef>
                  <a:spcPct val="20000"/>
                </a:spcBef>
                <a:spcAft>
                  <a:spcPct val="0"/>
                </a:spcAft>
                <a:buClrTx/>
                <a:buSzTx/>
                <a:buFontTx/>
                <a:buNone/>
                <a:tabLst/>
                <a:defRPr/>
              </a:pPr>
              <a:t>115</a:t>
            </a:fld>
            <a:endParaRPr kumimoji="0" lang="en-GB" altLang="es-ES" sz="1200" b="0" i="0" u="none" strike="noStrike" kern="1200" cap="none" spc="0" normalizeH="0" baseline="0" noProof="0">
              <a:ln>
                <a:noFill/>
              </a:ln>
              <a:solidFill>
                <a:srgbClr val="000000"/>
              </a:solidFill>
              <a:effectLst/>
              <a:uLnTx/>
              <a:uFillTx/>
              <a:latin typeface="Times New Roman" charset="0"/>
              <a:ea typeface="ＭＳ Ｐゴシック" charset="0"/>
              <a:cs typeface="+mn-cs"/>
            </a:endParaRPr>
          </a:p>
        </p:txBody>
      </p:sp>
    </p:spTree>
    <p:extLst>
      <p:ext uri="{BB962C8B-B14F-4D97-AF65-F5344CB8AC3E}">
        <p14:creationId xmlns:p14="http://schemas.microsoft.com/office/powerpoint/2010/main" val="334062175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A882EDBF-181B-1842-8EE0-78983714CB93}" type="slidenum">
              <a:rPr kumimoji="0" lang="en-GB" altLang="es-ES" sz="1200" b="0" i="0" u="none" strike="noStrike" kern="1200" cap="none" spc="0" normalizeH="0" baseline="0" noProof="0" smtClean="0">
                <a:ln>
                  <a:noFill/>
                </a:ln>
                <a:solidFill>
                  <a:srgbClr val="000000"/>
                </a:solidFill>
                <a:effectLst/>
                <a:uLnTx/>
                <a:uFillTx/>
                <a:latin typeface="Times New Roman" charset="0"/>
                <a:ea typeface="ＭＳ Ｐゴシック" charset="0"/>
                <a:cs typeface="+mn-cs"/>
              </a:rPr>
              <a:pPr marL="0" marR="0" lvl="0" indent="0" algn="r" defTabSz="914400" rtl="0" eaLnBrk="0" fontAlgn="base" latinLnBrk="0" hangingPunct="0">
                <a:lnSpc>
                  <a:spcPct val="100000"/>
                </a:lnSpc>
                <a:spcBef>
                  <a:spcPct val="20000"/>
                </a:spcBef>
                <a:spcAft>
                  <a:spcPct val="0"/>
                </a:spcAft>
                <a:buClrTx/>
                <a:buSzTx/>
                <a:buFontTx/>
                <a:buNone/>
                <a:tabLst/>
                <a:defRPr/>
              </a:pPr>
              <a:t>116</a:t>
            </a:fld>
            <a:endParaRPr kumimoji="0" lang="en-GB" altLang="es-ES" sz="1200" b="0" i="0" u="none" strike="noStrike" kern="1200" cap="none" spc="0" normalizeH="0" baseline="0" noProof="0">
              <a:ln>
                <a:noFill/>
              </a:ln>
              <a:solidFill>
                <a:srgbClr val="000000"/>
              </a:solidFill>
              <a:effectLst/>
              <a:uLnTx/>
              <a:uFillTx/>
              <a:latin typeface="Times New Roman" charset="0"/>
              <a:ea typeface="ＭＳ Ｐゴシック" charset="0"/>
              <a:cs typeface="+mn-cs"/>
            </a:endParaRPr>
          </a:p>
        </p:txBody>
      </p:sp>
    </p:spTree>
    <p:extLst>
      <p:ext uri="{BB962C8B-B14F-4D97-AF65-F5344CB8AC3E}">
        <p14:creationId xmlns:p14="http://schemas.microsoft.com/office/powerpoint/2010/main" val="4927985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20000"/>
              </a:spcBef>
              <a:spcAft>
                <a:spcPct val="0"/>
              </a:spcAft>
              <a:buClrTx/>
              <a:buSzTx/>
              <a:buFontTx/>
              <a:buNone/>
              <a:tabLst/>
              <a:defRPr/>
            </a:pPr>
            <a:fld id="{A882EDBF-181B-1842-8EE0-78983714CB93}" type="slidenum">
              <a:rPr kumimoji="0" lang="en-GB" altLang="es-ES" sz="1200" b="0" i="0" u="none" strike="noStrike" kern="1200" cap="none" spc="0" normalizeH="0" baseline="0" noProof="0" smtClean="0">
                <a:ln>
                  <a:noFill/>
                </a:ln>
                <a:solidFill>
                  <a:srgbClr val="000000"/>
                </a:solidFill>
                <a:effectLst/>
                <a:uLnTx/>
                <a:uFillTx/>
                <a:latin typeface="Times New Roman" charset="0"/>
                <a:ea typeface="ＭＳ Ｐゴシック" charset="0"/>
                <a:cs typeface="+mn-cs"/>
              </a:rPr>
              <a:pPr marL="0" marR="0" lvl="0" indent="0" algn="r" defTabSz="914400" rtl="0" eaLnBrk="0" fontAlgn="base" latinLnBrk="0" hangingPunct="0">
                <a:lnSpc>
                  <a:spcPct val="100000"/>
                </a:lnSpc>
                <a:spcBef>
                  <a:spcPct val="20000"/>
                </a:spcBef>
                <a:spcAft>
                  <a:spcPct val="0"/>
                </a:spcAft>
                <a:buClrTx/>
                <a:buSzTx/>
                <a:buFontTx/>
                <a:buNone/>
                <a:tabLst/>
                <a:defRPr/>
              </a:pPr>
              <a:t>118</a:t>
            </a:fld>
            <a:endParaRPr kumimoji="0" lang="en-GB" altLang="es-ES" sz="1200" b="0" i="0" u="none" strike="noStrike" kern="1200" cap="none" spc="0" normalizeH="0" baseline="0" noProof="0">
              <a:ln>
                <a:noFill/>
              </a:ln>
              <a:solidFill>
                <a:srgbClr val="000000"/>
              </a:solidFill>
              <a:effectLst/>
              <a:uLnTx/>
              <a:uFillTx/>
              <a:latin typeface="Times New Roman" charset="0"/>
              <a:ea typeface="ＭＳ Ｐゴシック" charset="0"/>
              <a:cs typeface="+mn-cs"/>
            </a:endParaRPr>
          </a:p>
        </p:txBody>
      </p:sp>
    </p:spTree>
    <p:extLst>
      <p:ext uri="{BB962C8B-B14F-4D97-AF65-F5344CB8AC3E}">
        <p14:creationId xmlns:p14="http://schemas.microsoft.com/office/powerpoint/2010/main" val="32355949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8721594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40000"/>
              </a:spcAft>
              <a:buClrTx/>
              <a:buSzTx/>
              <a:buFont typeface="Wingdings" pitchFamily="2" charset="2"/>
              <a:buNone/>
              <a:tabLst/>
              <a:defRPr/>
            </a:pPr>
            <a:fld id="{6F118F77-BF2E-4843-AA6C-ED9ACCB38B45}" type="slidenum">
              <a:rPr kumimoji="0" lang="de-DE" sz="1300" b="0" i="0" u="none" strike="noStrike" kern="1200" cap="none" spc="0" normalizeH="0" baseline="0" noProof="0" smtClean="0">
                <a:ln>
                  <a:noFill/>
                </a:ln>
                <a:solidFill>
                  <a:srgbClr val="000000"/>
                </a:solidFill>
                <a:effectLst/>
                <a:uLnTx/>
                <a:uFillTx/>
                <a:latin typeface="Frutiger LT Com 55 Roman" pitchFamily="34" charset="0"/>
                <a:ea typeface="+mn-ea"/>
                <a:cs typeface="+mn-cs"/>
              </a:rPr>
              <a:pPr marL="0" marR="0" lvl="0" indent="0" algn="r" defTabSz="914400" rtl="0" eaLnBrk="1" fontAlgn="base" latinLnBrk="0" hangingPunct="1">
                <a:lnSpc>
                  <a:spcPct val="100000"/>
                </a:lnSpc>
                <a:spcBef>
                  <a:spcPct val="0"/>
                </a:spcBef>
                <a:spcAft>
                  <a:spcPct val="40000"/>
                </a:spcAft>
                <a:buClrTx/>
                <a:buSzTx/>
                <a:buFont typeface="Wingdings" pitchFamily="2" charset="2"/>
                <a:buNone/>
                <a:tabLst/>
                <a:defRPr/>
              </a:pPr>
              <a:t>130</a:t>
            </a:fld>
            <a:endParaRPr kumimoji="0" lang="de-DE" sz="1300" b="0" i="0" u="none" strike="noStrike" kern="1200" cap="none" spc="0" normalizeH="0" baseline="0" noProof="0">
              <a:ln>
                <a:noFill/>
              </a:ln>
              <a:solidFill>
                <a:srgbClr val="000000"/>
              </a:solidFill>
              <a:effectLst/>
              <a:uLnTx/>
              <a:uFillTx/>
              <a:latin typeface="Frutiger LT Com 55 Roman" pitchFamily="34" charset="0"/>
              <a:ea typeface="+mn-ea"/>
              <a:cs typeface="+mn-cs"/>
            </a:endParaRPr>
          </a:p>
        </p:txBody>
      </p:sp>
    </p:spTree>
    <p:extLst>
      <p:ext uri="{BB962C8B-B14F-4D97-AF65-F5344CB8AC3E}">
        <p14:creationId xmlns:p14="http://schemas.microsoft.com/office/powerpoint/2010/main" val="18879037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Folienbildplatzhalter 1"/>
          <p:cNvSpPr>
            <a:spLocks noGrp="1" noRot="1" noChangeAspect="1" noTextEdit="1"/>
          </p:cNvSpPr>
          <p:nvPr>
            <p:ph type="sldImg"/>
          </p:nvPr>
        </p:nvSpPr>
        <p:spPr>
          <a:xfrm>
            <a:off x="-4244975" y="1506538"/>
            <a:ext cx="13368338" cy="7519987"/>
          </a:xfrm>
          <a:ln/>
        </p:spPr>
      </p:sp>
      <p:sp>
        <p:nvSpPr>
          <p:cNvPr id="18944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de-DE" altLang="de-DE"/>
          </a:p>
        </p:txBody>
      </p:sp>
      <p:sp>
        <p:nvSpPr>
          <p:cNvPr id="189444"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1225">
              <a:defRPr sz="2400">
                <a:solidFill>
                  <a:schemeClr val="tx1"/>
                </a:solidFill>
                <a:latin typeface="Arial" panose="020B0604020202020204" pitchFamily="34" charset="0"/>
              </a:defRPr>
            </a:lvl1pPr>
            <a:lvl2pPr marL="742950" indent="-285750" algn="ctr" defTabSz="911225">
              <a:defRPr sz="2400">
                <a:solidFill>
                  <a:schemeClr val="tx1"/>
                </a:solidFill>
                <a:latin typeface="Arial" panose="020B0604020202020204" pitchFamily="34" charset="0"/>
              </a:defRPr>
            </a:lvl2pPr>
            <a:lvl3pPr marL="1143000" indent="-228600" algn="ctr" defTabSz="911225">
              <a:defRPr sz="2400">
                <a:solidFill>
                  <a:schemeClr val="tx1"/>
                </a:solidFill>
                <a:latin typeface="Arial" panose="020B0604020202020204" pitchFamily="34" charset="0"/>
              </a:defRPr>
            </a:lvl3pPr>
            <a:lvl4pPr marL="1600200" indent="-228600" algn="ctr" defTabSz="911225">
              <a:defRPr sz="2400">
                <a:solidFill>
                  <a:schemeClr val="tx1"/>
                </a:solidFill>
                <a:latin typeface="Arial" panose="020B0604020202020204" pitchFamily="34" charset="0"/>
              </a:defRPr>
            </a:lvl4pPr>
            <a:lvl5pPr marL="2057400" indent="-228600" algn="ctr" defTabSz="911225">
              <a:defRPr sz="2400">
                <a:solidFill>
                  <a:schemeClr val="tx1"/>
                </a:solidFill>
                <a:latin typeface="Arial" panose="020B0604020202020204" pitchFamily="34" charset="0"/>
              </a:defRPr>
            </a:lvl5pPr>
            <a:lvl6pPr marL="2514600" indent="-228600" algn="ctr" defTabSz="911225" eaLnBrk="0" fontAlgn="base" hangingPunct="0">
              <a:spcBef>
                <a:spcPct val="0"/>
              </a:spcBef>
              <a:spcAft>
                <a:spcPct val="0"/>
              </a:spcAft>
              <a:defRPr sz="2400">
                <a:solidFill>
                  <a:schemeClr val="tx1"/>
                </a:solidFill>
                <a:latin typeface="Arial" panose="020B0604020202020204" pitchFamily="34" charset="0"/>
              </a:defRPr>
            </a:lvl6pPr>
            <a:lvl7pPr marL="2971800" indent="-228600" algn="ctr" defTabSz="911225" eaLnBrk="0" fontAlgn="base" hangingPunct="0">
              <a:spcBef>
                <a:spcPct val="0"/>
              </a:spcBef>
              <a:spcAft>
                <a:spcPct val="0"/>
              </a:spcAft>
              <a:defRPr sz="2400">
                <a:solidFill>
                  <a:schemeClr val="tx1"/>
                </a:solidFill>
                <a:latin typeface="Arial" panose="020B0604020202020204" pitchFamily="34" charset="0"/>
              </a:defRPr>
            </a:lvl7pPr>
            <a:lvl8pPr marL="3429000" indent="-228600" algn="ctr" defTabSz="911225" eaLnBrk="0" fontAlgn="base" hangingPunct="0">
              <a:spcBef>
                <a:spcPct val="0"/>
              </a:spcBef>
              <a:spcAft>
                <a:spcPct val="0"/>
              </a:spcAft>
              <a:defRPr sz="2400">
                <a:solidFill>
                  <a:schemeClr val="tx1"/>
                </a:solidFill>
                <a:latin typeface="Arial" panose="020B0604020202020204" pitchFamily="34" charset="0"/>
              </a:defRPr>
            </a:lvl8pPr>
            <a:lvl9pPr marL="3886200" indent="-228600" algn="ctr" defTabSz="911225" eaLnBrk="0" fontAlgn="base" hangingPunct="0">
              <a:spcBef>
                <a:spcPct val="0"/>
              </a:spcBef>
              <a:spcAft>
                <a:spcPct val="0"/>
              </a:spcAft>
              <a:defRPr sz="2400">
                <a:solidFill>
                  <a:schemeClr val="tx1"/>
                </a:solidFill>
                <a:latin typeface="Arial" panose="020B0604020202020204" pitchFamily="34" charset="0"/>
              </a:defRPr>
            </a:lvl9pPr>
          </a:lstStyle>
          <a:p>
            <a:pPr marL="0" marR="0" lvl="0" indent="0" algn="r" defTabSz="911225" rtl="0" eaLnBrk="1" fontAlgn="base" latinLnBrk="0" hangingPunct="1">
              <a:lnSpc>
                <a:spcPct val="100000"/>
              </a:lnSpc>
              <a:spcBef>
                <a:spcPct val="0"/>
              </a:spcBef>
              <a:spcAft>
                <a:spcPct val="0"/>
              </a:spcAft>
              <a:buClrTx/>
              <a:buSzTx/>
              <a:buFontTx/>
              <a:buNone/>
              <a:tabLst/>
              <a:defRPr/>
            </a:pPr>
            <a:fld id="{E3C4A38D-97FC-47B7-96E7-087F288693BE}" type="slidenum">
              <a:rPr kumimoji="0" lang="de-DE" altLang="de-DE"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charset="0"/>
              </a:rPr>
              <a:pPr marL="0" marR="0" lvl="0" indent="0" algn="r" defTabSz="911225" rtl="0" eaLnBrk="1" fontAlgn="base" latinLnBrk="0" hangingPunct="1">
                <a:lnSpc>
                  <a:spcPct val="100000"/>
                </a:lnSpc>
                <a:spcBef>
                  <a:spcPct val="0"/>
                </a:spcBef>
                <a:spcAft>
                  <a:spcPct val="0"/>
                </a:spcAft>
                <a:buClrTx/>
                <a:buSzTx/>
                <a:buFontTx/>
                <a:buNone/>
                <a:tabLst/>
                <a:defRPr/>
              </a:pPr>
              <a:t>132</a:t>
            </a:fld>
            <a:endParaRPr kumimoji="0" lang="de-DE" altLang="de-DE"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charset="0"/>
            </a:endParaRPr>
          </a:p>
        </p:txBody>
      </p:sp>
    </p:spTree>
    <p:extLst>
      <p:ext uri="{BB962C8B-B14F-4D97-AF65-F5344CB8AC3E}">
        <p14:creationId xmlns:p14="http://schemas.microsoft.com/office/powerpoint/2010/main" val="36383032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8600" y="857250"/>
            <a:ext cx="4114800" cy="2314575"/>
          </a:xfrm>
        </p:spPr>
      </p:sp>
      <p:sp>
        <p:nvSpPr>
          <p:cNvPr id="3" name="Notes Placeholder 2"/>
          <p:cNvSpPr>
            <a:spLocks noGrp="1"/>
          </p:cNvSpPr>
          <p:nvPr>
            <p:ph type="body" idx="1"/>
          </p:nvPr>
        </p:nvSpPr>
        <p:spPr/>
        <p:txBody>
          <a:bodyPr/>
          <a:lstStyle/>
          <a:p>
            <a:endParaRPr lang="fr-F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46FD01-9F5C-405F-B70D-F37817FBA2F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48936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8600" y="857250"/>
            <a:ext cx="4114800" cy="2314575"/>
          </a:xfrm>
        </p:spPr>
      </p:sp>
      <p:sp>
        <p:nvSpPr>
          <p:cNvPr id="3" name="Notes Placeholder 2"/>
          <p:cNvSpPr>
            <a:spLocks noGrp="1"/>
          </p:cNvSpPr>
          <p:nvPr>
            <p:ph type="body" idx="1"/>
          </p:nvPr>
        </p:nvSpPr>
        <p:spPr/>
        <p:txBody>
          <a:bodyPr/>
          <a:lstStyle/>
          <a:p>
            <a:endParaRPr lang="fr-F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46FD01-9F5C-405F-B70D-F37817FBA2F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75714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9015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2862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51267-63BB-43DB-8317-5D66F51DA4A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21206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3928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31323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53549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0BDF7-A8FB-0742-ABF9-0FABC231726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55562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4770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74622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r>
              <a:rPr lang="fr-FR"/>
              <a:t>1248 patients TE</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91563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659269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2631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0BDF7-A8FB-0742-ABF9-0FABC231726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0983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Irene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705AB2-F403-194D-B835-009174E956F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630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0BDF7-A8FB-0742-ABF9-0FABC231726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94069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85800" y="1143000"/>
            <a:ext cx="5486400" cy="3086100"/>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46D464-848F-D948-826D-6408A0715D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100590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31134-A3A9-4A44-8CFD-806911A48C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786951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egnaposto immagine diapositiva 1"/>
          <p:cNvSpPr>
            <a:spLocks noGrp="1" noRot="1" noChangeAspect="1" noChangeArrowheads="1" noTextEdit="1"/>
          </p:cNvSpPr>
          <p:nvPr>
            <p:ph type="sldImg"/>
          </p:nvPr>
        </p:nvSpPr>
        <p:spPr>
          <a:ln/>
        </p:spPr>
      </p:sp>
      <p:sp>
        <p:nvSpPr>
          <p:cNvPr id="24578" name="Segnaposto note 2"/>
          <p:cNvSpPr>
            <a:spLocks noGrp="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it-IT"/>
          </a:p>
        </p:txBody>
      </p:sp>
    </p:spTree>
    <p:extLst>
      <p:ext uri="{BB962C8B-B14F-4D97-AF65-F5344CB8AC3E}">
        <p14:creationId xmlns:p14="http://schemas.microsoft.com/office/powerpoint/2010/main" val="41327729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666614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3D5A9-A069-42FC-AB50-C4A2C0733F6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Geneva"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0" lang="en-GB" sz="1200" b="0" i="0" u="none" strike="noStrike" kern="1200" cap="none" spc="0" normalizeH="0" baseline="0" noProof="0">
              <a:ln>
                <a:noFill/>
              </a:ln>
              <a:solidFill>
                <a:prstClr val="black"/>
              </a:solidFill>
              <a:effectLst/>
              <a:uLnTx/>
              <a:uFillTx/>
              <a:latin typeface="Calibri" panose="020F0502020204030204"/>
              <a:ea typeface="Geneva" charset="0"/>
              <a:cs typeface="+mn-cs"/>
            </a:endParaRPr>
          </a:p>
        </p:txBody>
      </p:sp>
    </p:spTree>
    <p:extLst>
      <p:ext uri="{BB962C8B-B14F-4D97-AF65-F5344CB8AC3E}">
        <p14:creationId xmlns:p14="http://schemas.microsoft.com/office/powerpoint/2010/main" val="287587954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SR: pg 128, 177</a:t>
            </a:r>
          </a:p>
          <a:p>
            <a:r>
              <a:rPr lang="en-US"/>
              <a:t>CSR pg 188 (DOT)</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A3D5A9-A069-42FC-AB50-C4A2C0733F62}" type="slidenum">
              <a:rPr kumimoji="0" lang="en-GB" sz="1200" b="0" i="0" u="none" strike="noStrike" kern="1200" cap="none" spc="0" normalizeH="0" baseline="0" noProof="0" smtClean="0">
                <a:ln>
                  <a:noFill/>
                </a:ln>
                <a:solidFill>
                  <a:prstClr val="black"/>
                </a:solidFill>
                <a:effectLst/>
                <a:uLnTx/>
                <a:uFillTx/>
                <a:latin typeface="Arial" charset="0"/>
                <a:ea typeface="Geneva"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77</a:t>
            </a:fld>
            <a:endParaRPr kumimoji="0" lang="en-GB" sz="1200" b="0" i="0" u="none" strike="noStrike" kern="1200" cap="none" spc="0" normalizeH="0" baseline="0" noProof="0">
              <a:ln>
                <a:noFill/>
              </a:ln>
              <a:solidFill>
                <a:prstClr val="black"/>
              </a:solidFill>
              <a:effectLst/>
              <a:uLnTx/>
              <a:uFillTx/>
              <a:latin typeface="Arial" charset="0"/>
              <a:ea typeface="Geneva" charset="0"/>
              <a:cs typeface="+mn-cs"/>
            </a:endParaRPr>
          </a:p>
        </p:txBody>
      </p:sp>
    </p:spTree>
    <p:extLst>
      <p:ext uri="{BB962C8B-B14F-4D97-AF65-F5344CB8AC3E}">
        <p14:creationId xmlns:p14="http://schemas.microsoft.com/office/powerpoint/2010/main" val="18753926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SR page</a:t>
            </a:r>
            <a:r>
              <a:rPr lang="en-GB" baseline="0"/>
              <a:t> 122</a:t>
            </a: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A3D5A9-A069-42FC-AB50-C4A2C0733F62}" type="slidenum">
              <a:rPr kumimoji="0" lang="en-GB" sz="1200" b="0" i="0" u="none" strike="noStrike" kern="1200" cap="none" spc="0" normalizeH="0" baseline="0" noProof="0" smtClean="0">
                <a:ln>
                  <a:noFill/>
                </a:ln>
                <a:solidFill>
                  <a:prstClr val="black"/>
                </a:solidFill>
                <a:effectLst/>
                <a:uLnTx/>
                <a:uFillTx/>
                <a:latin typeface="Arial" charset="0"/>
                <a:ea typeface="Geneva"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78</a:t>
            </a:fld>
            <a:endParaRPr kumimoji="0" lang="en-GB" sz="1200" b="0" i="0" u="none" strike="noStrike" kern="1200" cap="none" spc="0" normalizeH="0" baseline="0" noProof="0">
              <a:ln>
                <a:noFill/>
              </a:ln>
              <a:solidFill>
                <a:prstClr val="black"/>
              </a:solidFill>
              <a:effectLst/>
              <a:uLnTx/>
              <a:uFillTx/>
              <a:latin typeface="Arial" charset="0"/>
              <a:ea typeface="Geneva" charset="0"/>
              <a:cs typeface="+mn-cs"/>
            </a:endParaRPr>
          </a:p>
        </p:txBody>
      </p:sp>
    </p:spTree>
    <p:extLst>
      <p:ext uri="{BB962C8B-B14F-4D97-AF65-F5344CB8AC3E}">
        <p14:creationId xmlns:p14="http://schemas.microsoft.com/office/powerpoint/2010/main" val="8877208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SR pg 109</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A3D5A9-A069-42FC-AB50-C4A2C0733F62}" type="slidenum">
              <a:rPr kumimoji="0" lang="en-GB" sz="1200" b="0" i="0" u="none" strike="noStrike" kern="1200" cap="none" spc="0" normalizeH="0" baseline="0" noProof="0" smtClean="0">
                <a:ln>
                  <a:noFill/>
                </a:ln>
                <a:solidFill>
                  <a:prstClr val="black"/>
                </a:solidFill>
                <a:effectLst/>
                <a:uLnTx/>
                <a:uFillTx/>
                <a:latin typeface="Arial" charset="0"/>
                <a:ea typeface="Geneva"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79</a:t>
            </a:fld>
            <a:endParaRPr kumimoji="0" lang="en-GB" sz="1200" b="0" i="0" u="none" strike="noStrike" kern="1200" cap="none" spc="0" normalizeH="0" baseline="0" noProof="0">
              <a:ln>
                <a:noFill/>
              </a:ln>
              <a:solidFill>
                <a:prstClr val="black"/>
              </a:solidFill>
              <a:effectLst/>
              <a:uLnTx/>
              <a:uFillTx/>
              <a:latin typeface="Arial" charset="0"/>
              <a:ea typeface="Geneva" charset="0"/>
              <a:cs typeface="+mn-cs"/>
            </a:endParaRPr>
          </a:p>
        </p:txBody>
      </p:sp>
    </p:spTree>
    <p:extLst>
      <p:ext uri="{BB962C8B-B14F-4D97-AF65-F5344CB8AC3E}">
        <p14:creationId xmlns:p14="http://schemas.microsoft.com/office/powerpoint/2010/main" val="117476991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44E99F4E-D537-4C49-A909-8BEAB7600C1B}"/>
              </a:ext>
            </a:extLst>
          </p:cNvPr>
          <p:cNvSpPr>
            <a:spLocks noGrp="1" noRot="1" noChangeAspect="1" noTextEdit="1"/>
          </p:cNvSpPr>
          <p:nvPr>
            <p:ph type="sldImg"/>
          </p:nvPr>
        </p:nvSpPr>
        <p:spPr bwMode="auto">
          <a:xfrm>
            <a:off x="461963" y="693738"/>
            <a:ext cx="6153150" cy="346075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5F20FA0A-275E-4D36-9636-7E0DBAB897CB}"/>
              </a:ext>
            </a:extLst>
          </p:cNvPr>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ea typeface="ＭＳ Ｐゴシック" panose="020B0600070205080204" pitchFamily="34" charset="-128"/>
            </a:endParaRPr>
          </a:p>
        </p:txBody>
      </p:sp>
      <p:sp>
        <p:nvSpPr>
          <p:cNvPr id="58372" name="Slide Number Placeholder 3">
            <a:extLst>
              <a:ext uri="{FF2B5EF4-FFF2-40B4-BE49-F238E27FC236}">
                <a16:creationId xmlns:a16="http://schemas.microsoft.com/office/drawing/2014/main" id="{96B597E3-0F9D-443C-AD04-3E331D013FEA}"/>
              </a:ext>
            </a:extLst>
          </p:cNvPr>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3854">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34852" indent="-282635" defTabSz="913854">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30541" indent="-226108" defTabSz="913854">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582758" indent="-226108" defTabSz="913854">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34974" indent="-226108" defTabSz="913854">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487191" indent="-226108" defTabSz="913854"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39407" indent="-226108" defTabSz="913854"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391624" indent="-226108" defTabSz="913854"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43840" indent="-226108" defTabSz="913854"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marL="0" marR="0" lvl="0" indent="0" algn="r" defTabSz="913854" rtl="0" eaLnBrk="0" fontAlgn="auto" latinLnBrk="0" hangingPunct="0">
              <a:lnSpc>
                <a:spcPct val="100000"/>
              </a:lnSpc>
              <a:spcBef>
                <a:spcPct val="0"/>
              </a:spcBef>
              <a:spcAft>
                <a:spcPts val="0"/>
              </a:spcAft>
              <a:buClrTx/>
              <a:buSzTx/>
              <a:buFontTx/>
              <a:buNone/>
              <a:tabLst/>
              <a:defRPr/>
            </a:pPr>
            <a:fld id="{DB5D5029-E228-41E0-90E5-6C9406983CE2}" type="slidenum">
              <a:rPr kumimoji="0" lang="en-US" altLang="en-US" sz="1000" b="0" i="0" u="none" strike="noStrike" kern="1200" cap="none" spc="0" normalizeH="0" baseline="0" noProof="0">
                <a:ln>
                  <a:noFill/>
                </a:ln>
                <a:solidFill>
                  <a:srgbClr val="505050"/>
                </a:solidFill>
                <a:effectLst/>
                <a:uLnTx/>
                <a:uFillTx/>
                <a:latin typeface="Verdana" panose="020B0604030504040204" pitchFamily="34" charset="0"/>
                <a:ea typeface="ＭＳ Ｐゴシック" panose="020B0600070205080204" pitchFamily="34" charset="-128"/>
                <a:cs typeface="+mn-cs"/>
              </a:rPr>
              <a:pPr marL="0" marR="0" lvl="0" indent="0" algn="r" defTabSz="913854" rtl="0" eaLnBrk="0" fontAlgn="auto" latinLnBrk="0" hangingPunct="0">
                <a:lnSpc>
                  <a:spcPct val="100000"/>
                </a:lnSpc>
                <a:spcBef>
                  <a:spcPct val="0"/>
                </a:spcBef>
                <a:spcAft>
                  <a:spcPts val="0"/>
                </a:spcAft>
                <a:buClrTx/>
                <a:buSzTx/>
                <a:buFontTx/>
                <a:buNone/>
                <a:tabLst/>
                <a:defRPr/>
              </a:pPr>
              <a:t>180</a:t>
            </a:fld>
            <a:endParaRPr kumimoji="0" lang="en-US" altLang="en-US" sz="1000" b="0" i="0" u="none" strike="noStrike" kern="1200" cap="none" spc="0" normalizeH="0" baseline="0" noProof="0">
              <a:ln>
                <a:noFill/>
              </a:ln>
              <a:solidFill>
                <a:srgbClr val="505050"/>
              </a:solidFill>
              <a:effectLst/>
              <a:uLnTx/>
              <a:uFillTx/>
              <a:latin typeface="Verdana" panose="020B0604030504040204" pitchFamily="34" charset="0"/>
              <a:ea typeface="ＭＳ Ｐゴシック" panose="020B0600070205080204" pitchFamily="34" charset="-128"/>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rene</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58964862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509680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a:extLst>
              <a:ext uri="{FF2B5EF4-FFF2-40B4-BE49-F238E27FC236}">
                <a16:creationId xmlns:a16="http://schemas.microsoft.com/office/drawing/2014/main" id="{9061620A-5166-429B-A438-9DCDC544771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70659" name="Notes Placeholder 2">
            <a:extLst>
              <a:ext uri="{FF2B5EF4-FFF2-40B4-BE49-F238E27FC236}">
                <a16:creationId xmlns:a16="http://schemas.microsoft.com/office/drawing/2014/main" id="{345C6804-8225-4CC7-BFDA-4F8FC0F75655}"/>
              </a:ext>
            </a:extLst>
          </p:cNvPr>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ea typeface="ＭＳ Ｐゴシック" panose="020B0600070205080204" pitchFamily="34" charset="-128"/>
            </a:endParaRPr>
          </a:p>
        </p:txBody>
      </p:sp>
      <p:sp>
        <p:nvSpPr>
          <p:cNvPr id="70660" name="Slide Number Placeholder 3">
            <a:extLst>
              <a:ext uri="{FF2B5EF4-FFF2-40B4-BE49-F238E27FC236}">
                <a16:creationId xmlns:a16="http://schemas.microsoft.com/office/drawing/2014/main" id="{123816A8-211B-4791-968B-73A0B56FCBDE}"/>
              </a:ext>
            </a:extLst>
          </p:cNvPr>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34852" indent="-28263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30541" indent="-226108">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582758" indent="-226108">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34974" indent="-226108">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487191" indent="-226108"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39407" indent="-226108"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391624" indent="-226108"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43840" indent="-226108"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1E8683AD-0A80-415B-BC78-CA68B8BB98BC}"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18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Marcador de imagen de diapositiva 1">
            <a:extLst>
              <a:ext uri="{FF2B5EF4-FFF2-40B4-BE49-F238E27FC236}">
                <a16:creationId xmlns:a16="http://schemas.microsoft.com/office/drawing/2014/main" id="{AAB3E586-BA63-CF4C-B56D-1EEF58036BC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Marcador de notas 2">
            <a:extLst>
              <a:ext uri="{FF2B5EF4-FFF2-40B4-BE49-F238E27FC236}">
                <a16:creationId xmlns:a16="http://schemas.microsoft.com/office/drawing/2014/main" id="{EBDFFB48-F4AF-9B45-A3D8-D0ECE0360411}"/>
              </a:ext>
            </a:extLst>
          </p:cNvPr>
          <p:cNvSpPr>
            <a:spLocks noGrp="1"/>
          </p:cNvSpPr>
          <p:nvPr>
            <p:ph type="body" idx="1"/>
          </p:nvPr>
        </p:nvSpPr>
        <p:spPr/>
        <p:txBody>
          <a:bodyPr/>
          <a:lstStyle/>
          <a:p>
            <a:pPr eaLnBrk="1" fontAlgn="auto" hangingPunct="1">
              <a:spcBef>
                <a:spcPts val="0"/>
              </a:spcBef>
              <a:spcAft>
                <a:spcPts val="0"/>
              </a:spcAft>
              <a:defRPr/>
            </a:pPr>
            <a:r>
              <a:rPr lang="en-US">
                <a:ea typeface="+mn-ea"/>
                <a:cs typeface="+mn-cs"/>
              </a:rPr>
              <a:t>FISH information was added in a subsequent analysis and not as part of the firs-one because this information was present in half of the patients approximately. </a:t>
            </a:r>
          </a:p>
          <a:p>
            <a:pPr eaLnBrk="1" fontAlgn="auto" hangingPunct="1">
              <a:spcBef>
                <a:spcPts val="0"/>
              </a:spcBef>
              <a:spcAft>
                <a:spcPts val="0"/>
              </a:spcAft>
              <a:defRPr/>
            </a:pPr>
            <a:r>
              <a:rPr lang="en-US">
                <a:ea typeface="+mn-ea"/>
                <a:cs typeface="+mn-cs"/>
              </a:rPr>
              <a:t>T(4;14), 14M16 +1q or del13q/13 were identified in the univariate cox regression analysis predicting outcome. When this feature was included in the model, xxxxxx</a:t>
            </a:r>
          </a:p>
          <a:p>
            <a:pPr eaLnBrk="1" fontAlgn="auto" hangingPunct="1">
              <a:spcBef>
                <a:spcPts val="0"/>
              </a:spcBef>
              <a:spcAft>
                <a:spcPts val="0"/>
              </a:spcAft>
              <a:defRPr/>
            </a:pPr>
            <a:endParaRPr lang="en-US">
              <a:ea typeface="+mn-ea"/>
              <a:cs typeface="+mn-cs"/>
            </a:endParaRPr>
          </a:p>
          <a:p>
            <a:pPr eaLnBrk="1" fontAlgn="auto" hangingPunct="1">
              <a:spcBef>
                <a:spcPts val="0"/>
              </a:spcBef>
              <a:spcAft>
                <a:spcPts val="0"/>
              </a:spcAft>
              <a:defRPr/>
            </a:pPr>
            <a:r>
              <a:rPr lang="en-US">
                <a:ea typeface="+mn-ea"/>
                <a:cs typeface="+mn-cs"/>
              </a:rPr>
              <a:t>101 of the 145 had an abnormality. 24 did not and 20 were missing (but had all 3 of the other characteristics and were therefore classified as high risk). Of those 101 many had more than 1 of the 4 however the key one was del13q was part of 76 of the 101. 4,14 was in 27 of the 101. 14,16 was in only 8, and 1qgain was in 38 of the 101. But as mentioned, there were many with 2+ (ex. Del13q + 1qgain, etc). </a:t>
            </a:r>
            <a:endParaRPr lang="es-ES">
              <a:ea typeface="+mn-ea"/>
              <a:cs typeface="+mn-cs"/>
            </a:endParaRPr>
          </a:p>
          <a:p>
            <a:pPr>
              <a:defRPr/>
            </a:pPr>
            <a:r>
              <a:rPr lang="en-US">
                <a:ea typeface="+mn-ea"/>
                <a:cs typeface="+mn-cs"/>
              </a:rPr>
              <a:t>Only those 4 were deemed relevant to this comparison where others did not have a link shown. </a:t>
            </a:r>
            <a:endParaRPr lang="es-ES"/>
          </a:p>
        </p:txBody>
      </p:sp>
      <p:sp>
        <p:nvSpPr>
          <p:cNvPr id="84995" name="Marcador de número de diapositiva 3">
            <a:extLst>
              <a:ext uri="{FF2B5EF4-FFF2-40B4-BE49-F238E27FC236}">
                <a16:creationId xmlns:a16="http://schemas.microsoft.com/office/drawing/2014/main" id="{1193F9F2-F1BB-F548-A9EB-7D584C01C51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0CC57693-C7AB-1746-9D3C-5C593046DD3C}" type="slidenum">
              <a:rPr kumimoji="0" lang="en-US" altLang="es-ES" sz="1200" b="0" i="0" u="none" strike="noStrike" kern="1200" cap="none" spc="0" normalizeH="0" baseline="0" noProof="0" smtClean="0">
                <a:ln>
                  <a:noFill/>
                </a:ln>
                <a:solidFill>
                  <a:prstClr val="black"/>
                </a:solidFill>
                <a:effectLst/>
                <a:uLnTx/>
                <a:uFillTx/>
                <a:latin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95</a:t>
            </a:fld>
            <a:endParaRPr kumimoji="0" lang="en-US" altLang="es-ES" sz="1200" b="0" i="0" u="none" strike="noStrike" kern="1200" cap="none" spc="0" normalizeH="0" baseline="0" noProof="0">
              <a:ln>
                <a:noFill/>
              </a:ln>
              <a:solidFill>
                <a:prstClr val="black"/>
              </a:solidFill>
              <a:effectLst/>
              <a:uLnTx/>
              <a:uFillTx/>
              <a:latin typeface="Arial" panose="020B0604020202020204" pitchFamily="34" charset="0"/>
            </a:endParaRP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rene</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0166486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5"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eaLnBrk="0" hangingPunct="0">
              <a:defRPr sz="2300" i="1">
                <a:solidFill>
                  <a:schemeClr val="tx1"/>
                </a:solidFill>
                <a:latin typeface="Arial" charset="0"/>
                <a:ea typeface="ＭＳ Ｐゴシック" charset="0"/>
                <a:cs typeface="ＭＳ Ｐゴシック" charset="0"/>
              </a:defRPr>
            </a:lvl1pPr>
            <a:lvl2pPr marL="702756" indent="-270291" defTabSz="903973" eaLnBrk="0" hangingPunct="0">
              <a:defRPr sz="2300" i="1">
                <a:solidFill>
                  <a:schemeClr val="tx1"/>
                </a:solidFill>
                <a:latin typeface="Arial" charset="0"/>
                <a:ea typeface="ＭＳ Ｐゴシック" charset="0"/>
              </a:defRPr>
            </a:lvl2pPr>
            <a:lvl3pPr marL="1081164" indent="-216233" defTabSz="903973" eaLnBrk="0" hangingPunct="0">
              <a:defRPr sz="2300" i="1">
                <a:solidFill>
                  <a:schemeClr val="tx1"/>
                </a:solidFill>
                <a:latin typeface="Arial" charset="0"/>
                <a:ea typeface="ＭＳ Ｐゴシック" charset="0"/>
              </a:defRPr>
            </a:lvl3pPr>
            <a:lvl4pPr marL="1513629" indent="-216233" defTabSz="903973" eaLnBrk="0" hangingPunct="0">
              <a:defRPr sz="2300" i="1">
                <a:solidFill>
                  <a:schemeClr val="tx1"/>
                </a:solidFill>
                <a:latin typeface="Arial" charset="0"/>
                <a:ea typeface="ＭＳ Ｐゴシック" charset="0"/>
              </a:defRPr>
            </a:lvl4pPr>
            <a:lvl5pPr marL="1946095" indent="-216233" defTabSz="903973" eaLnBrk="0" hangingPunct="0">
              <a:defRPr sz="2300" i="1">
                <a:solidFill>
                  <a:schemeClr val="tx1"/>
                </a:solidFill>
                <a:latin typeface="Arial" charset="0"/>
                <a:ea typeface="ＭＳ Ｐゴシック" charset="0"/>
              </a:defRPr>
            </a:lvl5pPr>
            <a:lvl6pPr marL="2378560" indent="-216233" defTabSz="903973" eaLnBrk="0" fontAlgn="base" hangingPunct="0">
              <a:spcBef>
                <a:spcPct val="0"/>
              </a:spcBef>
              <a:spcAft>
                <a:spcPct val="0"/>
              </a:spcAft>
              <a:defRPr sz="2300" i="1">
                <a:solidFill>
                  <a:schemeClr val="tx1"/>
                </a:solidFill>
                <a:latin typeface="Arial" charset="0"/>
                <a:ea typeface="ＭＳ Ｐゴシック" charset="0"/>
              </a:defRPr>
            </a:lvl6pPr>
            <a:lvl7pPr marL="2811026" indent="-216233" defTabSz="903973" eaLnBrk="0" fontAlgn="base" hangingPunct="0">
              <a:spcBef>
                <a:spcPct val="0"/>
              </a:spcBef>
              <a:spcAft>
                <a:spcPct val="0"/>
              </a:spcAft>
              <a:defRPr sz="2300" i="1">
                <a:solidFill>
                  <a:schemeClr val="tx1"/>
                </a:solidFill>
                <a:latin typeface="Arial" charset="0"/>
                <a:ea typeface="ＭＳ Ｐゴシック" charset="0"/>
              </a:defRPr>
            </a:lvl7pPr>
            <a:lvl8pPr marL="3243491" indent="-216233" defTabSz="903973" eaLnBrk="0" fontAlgn="base" hangingPunct="0">
              <a:spcBef>
                <a:spcPct val="0"/>
              </a:spcBef>
              <a:spcAft>
                <a:spcPct val="0"/>
              </a:spcAft>
              <a:defRPr sz="2300" i="1">
                <a:solidFill>
                  <a:schemeClr val="tx1"/>
                </a:solidFill>
                <a:latin typeface="Arial" charset="0"/>
                <a:ea typeface="ＭＳ Ｐゴシック" charset="0"/>
              </a:defRPr>
            </a:lvl8pPr>
            <a:lvl9pPr marL="3675957" indent="-216233" defTabSz="903973" eaLnBrk="0" fontAlgn="base" hangingPunct="0">
              <a:spcBef>
                <a:spcPct val="0"/>
              </a:spcBef>
              <a:spcAft>
                <a:spcPct val="0"/>
              </a:spcAft>
              <a:defRPr sz="2300" i="1">
                <a:solidFill>
                  <a:schemeClr val="tx1"/>
                </a:solidFill>
                <a:latin typeface="Arial" charset="0"/>
                <a:ea typeface="ＭＳ Ｐゴシック" charset="0"/>
              </a:defRPr>
            </a:lvl9pPr>
          </a:lstStyle>
          <a:p>
            <a:pPr marL="0" marR="0" lvl="0" indent="0" algn="r" defTabSz="903973" rtl="0" eaLnBrk="1" fontAlgn="auto" latinLnBrk="0" hangingPunct="1">
              <a:lnSpc>
                <a:spcPct val="100000"/>
              </a:lnSpc>
              <a:spcBef>
                <a:spcPts val="0"/>
              </a:spcBef>
              <a:spcAft>
                <a:spcPts val="0"/>
              </a:spcAft>
              <a:buClrTx/>
              <a:buSzTx/>
              <a:buFontTx/>
              <a:buNone/>
              <a:tabLst/>
              <a:defRPr/>
            </a:pPr>
            <a:fld id="{42E13CD2-1B90-004A-9C8D-D42E064E32A5}" type="slidenum">
              <a:rPr kumimoji="0" lang="en-US" sz="1200" b="0" i="0" u="none" strike="noStrike" kern="1200" cap="none" spc="0" normalizeH="0" baseline="0" noProof="0">
                <a:ln>
                  <a:noFill/>
                </a:ln>
                <a:solidFill>
                  <a:prstClr val="black"/>
                </a:solidFill>
                <a:effectLst/>
                <a:uLnTx/>
                <a:uFillTx/>
                <a:latin typeface="Arial" charset="0"/>
                <a:ea typeface="ＭＳ Ｐゴシック" charset="0"/>
              </a:rPr>
              <a:pPr marL="0" marR="0" lvl="0" indent="0" algn="r" defTabSz="903973" rtl="0" eaLnBrk="1" fontAlgn="auto" latinLnBrk="0" hangingPunct="1">
                <a:lnSpc>
                  <a:spcPct val="100000"/>
                </a:lnSpc>
                <a:spcBef>
                  <a:spcPts val="0"/>
                </a:spcBef>
                <a:spcAft>
                  <a:spcPts val="0"/>
                </a:spcAft>
                <a:buClrTx/>
                <a:buSzTx/>
                <a:buFontTx/>
                <a:buNone/>
                <a:tabLst/>
                <a:defRPr/>
              </a:pPr>
              <a:t>21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169986" name="Rectangle 2"/>
          <p:cNvSpPr>
            <a:spLocks noGrp="1" noRot="1" noChangeAspect="1" noChangeArrowheads="1"/>
          </p:cNvSpPr>
          <p:nvPr>
            <p:ph type="sldImg"/>
          </p:nvPr>
        </p:nvSpPr>
        <p:spPr>
          <a:xfrm>
            <a:off x="382588" y="685800"/>
            <a:ext cx="6094412" cy="3429000"/>
          </a:xfrm>
          <a:solidFill>
            <a:srgbClr val="FFFFFF"/>
          </a:solidFill>
          <a:ln/>
        </p:spPr>
      </p:sp>
      <p:sp>
        <p:nvSpPr>
          <p:cNvPr id="169987" name="Rectangle 3"/>
          <p:cNvSpPr>
            <a:spLocks noGrp="1" noChangeArrowheads="1"/>
          </p:cNvSpPr>
          <p:nvPr>
            <p:ph type="body" idx="1"/>
          </p:nvPr>
        </p:nvSpPr>
        <p:spPr>
          <a:xfrm>
            <a:off x="818555" y="4333119"/>
            <a:ext cx="5487293" cy="4115405"/>
          </a:xfrm>
          <a:solidFill>
            <a:srgbClr val="FFFFFF"/>
          </a:solidFill>
          <a:ln>
            <a:solidFill>
              <a:srgbClr val="000000"/>
            </a:solidFill>
          </a:ln>
          <a:extLst>
            <a:ext uri="{FAA26D3D-D897-4be2-8F04-BA451C77F1D7}">
              <ma14:placeholderFlag xmlns="" xmlns:ma14="http://schemas.microsoft.com/office/mac/drawingml/2011/main" val="1"/>
            </a:ext>
          </a:extLst>
        </p:spPr>
        <p:txBody>
          <a:bodyPr lIns="91430" tIns="45715" rIns="91430" bIns="45715"/>
          <a:lstStyle/>
          <a:p>
            <a:pPr eaLnBrk="1" hangingPunct="1">
              <a:spcBef>
                <a:spcPct val="0"/>
              </a:spcBef>
            </a:pPr>
            <a:r>
              <a:rPr lang="es-ES" sz="2300">
                <a:latin typeface="Times New Roman" charset="0"/>
                <a:ea typeface="ＭＳ Ｐゴシック" charset="0"/>
                <a:cs typeface="ＭＳ Ｐゴシック" charset="0"/>
              </a:rPr>
              <a:t>Pruebas convencionales y moleculares para diagnóstico, pronóstico y seguimiento de los pacientes con Mieloma Múltiple</a:t>
            </a:r>
          </a:p>
          <a:p>
            <a:pPr eaLnBrk="1" hangingPunct="1">
              <a:spcBef>
                <a:spcPct val="0"/>
              </a:spcBef>
            </a:pPr>
            <a:r>
              <a:rPr lang="es-ES" sz="2300">
                <a:latin typeface="Times New Roman" charset="0"/>
                <a:ea typeface="ＭＳ Ｐゴシック" charset="0"/>
                <a:cs typeface="ＭＳ Ｐゴシック" charset="0"/>
              </a:rPr>
              <a:t>40 minutos</a:t>
            </a:r>
            <a:endParaRPr lang="en-US" sz="2300">
              <a:latin typeface="Times New Roman" charset="0"/>
              <a:ea typeface="ＭＳ Ｐゴシック" charset="0"/>
              <a:cs typeface="ＭＳ Ｐゴシック" charset="0"/>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eaLnBrk="0" hangingPunct="0">
              <a:defRPr sz="2300" i="1">
                <a:solidFill>
                  <a:schemeClr val="tx1"/>
                </a:solidFill>
                <a:latin typeface="Arial" charset="0"/>
                <a:ea typeface="ＭＳ Ｐゴシック" charset="0"/>
                <a:cs typeface="ＭＳ Ｐゴシック" charset="0"/>
              </a:defRPr>
            </a:lvl1pPr>
            <a:lvl2pPr marL="702756" indent="-270291" defTabSz="903973" eaLnBrk="0" hangingPunct="0">
              <a:defRPr sz="2300" i="1">
                <a:solidFill>
                  <a:schemeClr val="tx1"/>
                </a:solidFill>
                <a:latin typeface="Arial" charset="0"/>
                <a:ea typeface="ＭＳ Ｐゴシック" charset="0"/>
              </a:defRPr>
            </a:lvl2pPr>
            <a:lvl3pPr marL="1081164" indent="-216233" defTabSz="903973" eaLnBrk="0" hangingPunct="0">
              <a:defRPr sz="2300" i="1">
                <a:solidFill>
                  <a:schemeClr val="tx1"/>
                </a:solidFill>
                <a:latin typeface="Arial" charset="0"/>
                <a:ea typeface="ＭＳ Ｐゴシック" charset="0"/>
              </a:defRPr>
            </a:lvl3pPr>
            <a:lvl4pPr marL="1513629" indent="-216233" defTabSz="903973" eaLnBrk="0" hangingPunct="0">
              <a:defRPr sz="2300" i="1">
                <a:solidFill>
                  <a:schemeClr val="tx1"/>
                </a:solidFill>
                <a:latin typeface="Arial" charset="0"/>
                <a:ea typeface="ＭＳ Ｐゴシック" charset="0"/>
              </a:defRPr>
            </a:lvl4pPr>
            <a:lvl5pPr marL="1946095" indent="-216233" defTabSz="903973" eaLnBrk="0" hangingPunct="0">
              <a:defRPr sz="2300" i="1">
                <a:solidFill>
                  <a:schemeClr val="tx1"/>
                </a:solidFill>
                <a:latin typeface="Arial" charset="0"/>
                <a:ea typeface="ＭＳ Ｐゴシック" charset="0"/>
              </a:defRPr>
            </a:lvl5pPr>
            <a:lvl6pPr marL="2378560" indent="-216233" defTabSz="903973" eaLnBrk="0" fontAlgn="base" hangingPunct="0">
              <a:spcBef>
                <a:spcPct val="0"/>
              </a:spcBef>
              <a:spcAft>
                <a:spcPct val="0"/>
              </a:spcAft>
              <a:defRPr sz="2300" i="1">
                <a:solidFill>
                  <a:schemeClr val="tx1"/>
                </a:solidFill>
                <a:latin typeface="Arial" charset="0"/>
                <a:ea typeface="ＭＳ Ｐゴシック" charset="0"/>
              </a:defRPr>
            </a:lvl6pPr>
            <a:lvl7pPr marL="2811026" indent="-216233" defTabSz="903973" eaLnBrk="0" fontAlgn="base" hangingPunct="0">
              <a:spcBef>
                <a:spcPct val="0"/>
              </a:spcBef>
              <a:spcAft>
                <a:spcPct val="0"/>
              </a:spcAft>
              <a:defRPr sz="2300" i="1">
                <a:solidFill>
                  <a:schemeClr val="tx1"/>
                </a:solidFill>
                <a:latin typeface="Arial" charset="0"/>
                <a:ea typeface="ＭＳ Ｐゴシック" charset="0"/>
              </a:defRPr>
            </a:lvl7pPr>
            <a:lvl8pPr marL="3243491" indent="-216233" defTabSz="903973" eaLnBrk="0" fontAlgn="base" hangingPunct="0">
              <a:spcBef>
                <a:spcPct val="0"/>
              </a:spcBef>
              <a:spcAft>
                <a:spcPct val="0"/>
              </a:spcAft>
              <a:defRPr sz="2300" i="1">
                <a:solidFill>
                  <a:schemeClr val="tx1"/>
                </a:solidFill>
                <a:latin typeface="Arial" charset="0"/>
                <a:ea typeface="ＭＳ Ｐゴシック" charset="0"/>
              </a:defRPr>
            </a:lvl8pPr>
            <a:lvl9pPr marL="3675957" indent="-216233" defTabSz="903973" eaLnBrk="0" fontAlgn="base" hangingPunct="0">
              <a:spcBef>
                <a:spcPct val="0"/>
              </a:spcBef>
              <a:spcAft>
                <a:spcPct val="0"/>
              </a:spcAft>
              <a:defRPr sz="2300" i="1">
                <a:solidFill>
                  <a:schemeClr val="tx1"/>
                </a:solidFill>
                <a:latin typeface="Arial" charset="0"/>
                <a:ea typeface="ＭＳ Ｐゴシック" charset="0"/>
              </a:defRPr>
            </a:lvl9pPr>
          </a:lstStyle>
          <a:p>
            <a:pPr marL="0" marR="0" lvl="0" indent="0" algn="r" defTabSz="903973" rtl="0" eaLnBrk="1" fontAlgn="auto" latinLnBrk="0" hangingPunct="1">
              <a:lnSpc>
                <a:spcPct val="100000"/>
              </a:lnSpc>
              <a:spcBef>
                <a:spcPts val="0"/>
              </a:spcBef>
              <a:spcAft>
                <a:spcPts val="0"/>
              </a:spcAft>
              <a:buClrTx/>
              <a:buSzTx/>
              <a:buFontTx/>
              <a:buNone/>
              <a:tabLst/>
              <a:defRPr/>
            </a:pPr>
            <a:fld id="{DF397319-BC5C-8844-A3B2-7A5F17230529}" type="slidenum">
              <a:rPr kumimoji="0" lang="en-US" sz="1200" b="0" i="0" u="none" strike="noStrike" kern="1200" cap="none" spc="0" normalizeH="0" baseline="0" noProof="0">
                <a:ln>
                  <a:noFill/>
                </a:ln>
                <a:solidFill>
                  <a:prstClr val="black"/>
                </a:solidFill>
                <a:effectLst/>
                <a:uLnTx/>
                <a:uFillTx/>
                <a:latin typeface="Arial" charset="0"/>
                <a:ea typeface="ＭＳ Ｐゴシック" charset="0"/>
              </a:rPr>
              <a:pPr marL="0" marR="0" lvl="0" indent="0" algn="r" defTabSz="903973"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23554" name="Rectangle 2"/>
          <p:cNvSpPr>
            <a:spLocks noGrp="1" noRot="1" noChangeAspect="1" noChangeArrowheads="1"/>
          </p:cNvSpPr>
          <p:nvPr>
            <p:ph type="sldImg"/>
          </p:nvPr>
        </p:nvSpPr>
        <p:spPr>
          <a:xfrm>
            <a:off x="382588" y="685800"/>
            <a:ext cx="6094412" cy="3429000"/>
          </a:xfrm>
          <a:solidFill>
            <a:srgbClr val="FFFFFF"/>
          </a:solidFill>
          <a:ln/>
        </p:spPr>
      </p:sp>
      <p:sp>
        <p:nvSpPr>
          <p:cNvPr id="23555" name="Rectangle 3"/>
          <p:cNvSpPr>
            <a:spLocks noGrp="1" noChangeArrowheads="1"/>
          </p:cNvSpPr>
          <p:nvPr>
            <p:ph type="body" idx="1"/>
          </p:nvPr>
        </p:nvSpPr>
        <p:spPr>
          <a:xfrm>
            <a:off x="818555" y="4334632"/>
            <a:ext cx="5487293" cy="4113892"/>
          </a:xfrm>
          <a:solidFill>
            <a:srgbClr val="FFFFFF"/>
          </a:solidFill>
          <a:ln>
            <a:solidFill>
              <a:srgbClr val="000000"/>
            </a:solidFill>
          </a:ln>
          <a:extLst>
            <a:ext uri="{FAA26D3D-D897-4be2-8F04-BA451C77F1D7}">
              <ma14:placeholderFlag xmlns="" xmlns:ma14="http://schemas.microsoft.com/office/mac/drawingml/2011/main" val="1"/>
            </a:ext>
          </a:extLst>
        </p:spPr>
        <p:txBody>
          <a:bodyPr lIns="91422" tIns="45711" rIns="91422" bIns="45711"/>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243224450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7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4DCBD0-F2CF-EA4E-AF29-A694748F569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515091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8480E7-1D2F-48EE-BB1E-AAC41B8BF73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687596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8480E7-1D2F-48EE-BB1E-AAC41B8BF73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282885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8480E7-1D2F-48EE-BB1E-AAC41B8BF73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50286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Rectangle 7">
            <a:extLst>
              <a:ext uri="{FF2B5EF4-FFF2-40B4-BE49-F238E27FC236}">
                <a16:creationId xmlns:a16="http://schemas.microsoft.com/office/drawing/2014/main" id="{ACD540DE-F2D3-724A-9BBE-9D1A2855B62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37931725" indent="-37474525">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F0F2A0C7-6442-354C-88C8-73C2B0FD47CD}" type="slidenum">
              <a:rPr kumimoji="0" lang="es-ES_tradnl" altLang="es-ES_tradnl" sz="1200" b="0" i="0" u="none" strike="noStrike" kern="1200" cap="none" spc="0" normalizeH="0" baseline="0" noProof="0" smtClean="0">
                <a:ln>
                  <a:noFill/>
                </a:ln>
                <a:solidFill>
                  <a:prstClr val="black"/>
                </a:solidFill>
                <a:effectLst/>
                <a:uLnTx/>
                <a:uFillTx/>
                <a:latin typeface="Times New Roman" panose="02020603050405020304" pitchFamily="18" charset="0"/>
                <a:ea typeface="ＭＳ Ｐゴシック" panose="020B0600070205080204" pitchFamily="34" charset="-128"/>
                <a:cs typeface="ＭＳ Ｐゴシック" panose="020B0600070205080204" pitchFamily="34" charset="-128"/>
              </a:rPr>
              <a:pPr marL="0" marR="0" lvl="0" indent="0" algn="r" defTabSz="457200" rtl="0" eaLnBrk="1" fontAlgn="base" latinLnBrk="0" hangingPunct="1">
                <a:lnSpc>
                  <a:spcPct val="100000"/>
                </a:lnSpc>
                <a:spcBef>
                  <a:spcPct val="0"/>
                </a:spcBef>
                <a:spcAft>
                  <a:spcPct val="0"/>
                </a:spcAft>
                <a:buClrTx/>
                <a:buSzTx/>
                <a:buFontTx/>
                <a:buNone/>
                <a:tabLst/>
                <a:defRPr/>
              </a:pPr>
              <a:t>18</a:t>
            </a:fld>
            <a:endParaRPr kumimoji="0" lang="es-ES_tradnl" altLang="es-ES_tradnl" sz="1200" b="0" i="0" u="none" strike="noStrike" kern="1200" cap="none" spc="0" normalizeH="0" baseline="0" noProof="0">
              <a:ln>
                <a:noFill/>
              </a:ln>
              <a:solidFill>
                <a:prstClr val="black"/>
              </a:solidFill>
              <a:effectLst/>
              <a:uLnTx/>
              <a:uFillTx/>
              <a:latin typeface="Times New Roman" panose="02020603050405020304" pitchFamily="18" charset="0"/>
              <a:ea typeface="ＭＳ Ｐゴシック" panose="020B0600070205080204" pitchFamily="34" charset="-128"/>
              <a:cs typeface="ＭＳ Ｐゴシック" panose="020B0600070205080204" pitchFamily="34" charset="-128"/>
            </a:endParaRPr>
          </a:p>
        </p:txBody>
      </p:sp>
      <p:sp>
        <p:nvSpPr>
          <p:cNvPr id="75778" name="Rectangle 2">
            <a:extLst>
              <a:ext uri="{FF2B5EF4-FFF2-40B4-BE49-F238E27FC236}">
                <a16:creationId xmlns:a16="http://schemas.microsoft.com/office/drawing/2014/main" id="{5B26C094-9CE2-C747-9FEB-A9B8A7D20FA9}"/>
              </a:ext>
            </a:extLst>
          </p:cNvPr>
          <p:cNvSpPr>
            <a:spLocks noGrp="1" noRot="1" noChangeAspect="1" noChangeArrowheads="1" noTextEdit="1"/>
          </p:cNvSpPr>
          <p:nvPr>
            <p:ph type="sldImg"/>
          </p:nvPr>
        </p:nvSpPr>
        <p:spPr bwMode="auto">
          <a:xfrm>
            <a:off x="111125" y="744538"/>
            <a:ext cx="6611938" cy="37195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Rectangle 3">
            <a:extLst>
              <a:ext uri="{FF2B5EF4-FFF2-40B4-BE49-F238E27FC236}">
                <a16:creationId xmlns:a16="http://schemas.microsoft.com/office/drawing/2014/main" id="{8A609571-F4BB-6644-AA5A-8618CBC936D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s-ES_tradnl">
              <a:ea typeface="ＭＳ Ｐゴシック" panose="020B0600070205080204" pitchFamily="34" charset="-128"/>
              <a:cs typeface="ＭＳ Ｐゴシック" panose="020B0600070205080204" pitchFamily="34" charset="-128"/>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8600" y="857250"/>
            <a:ext cx="4114800" cy="2314575"/>
          </a:xfrm>
        </p:spPr>
      </p:sp>
      <p:sp>
        <p:nvSpPr>
          <p:cNvPr id="3" name="Notes Placeholder 2"/>
          <p:cNvSpPr>
            <a:spLocks noGrp="1"/>
          </p:cNvSpPr>
          <p:nvPr>
            <p:ph type="body" idx="1"/>
          </p:nvPr>
        </p:nvSpPr>
        <p:spPr/>
        <p:txBody>
          <a:bodyPr/>
          <a:lstStyle/>
          <a:p>
            <a:endParaRPr lang="fr-F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46FD01-9F5C-405F-B70D-F37817FBA2F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48936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8600" y="857250"/>
            <a:ext cx="4114800" cy="2314575"/>
          </a:xfrm>
        </p:spPr>
      </p:sp>
      <p:sp>
        <p:nvSpPr>
          <p:cNvPr id="3" name="Notes Placeholder 2"/>
          <p:cNvSpPr>
            <a:spLocks noGrp="1"/>
          </p:cNvSpPr>
          <p:nvPr>
            <p:ph type="body" idx="1"/>
          </p:nvPr>
        </p:nvSpPr>
        <p:spPr/>
        <p:txBody>
          <a:bodyPr/>
          <a:lstStyle/>
          <a:p>
            <a:endParaRPr lang="fr-F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46FD01-9F5C-405F-B70D-F37817FBA2F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757141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a:latin typeface="OpenSans"/>
              </a:rPr>
              <a:t>Article Source: https://doi.org/10.1080/10428194.2018.1452221</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2D59DF-CA4C-2640-81FB-A3C47C31D896}" type="slidenum">
              <a:rPr kumimoji="0" lang="en-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479115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31134-A3A9-4A44-8CFD-806911A48C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979649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51267-63BB-43DB-8317-5D66F51DA4A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0711922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51267-63BB-43DB-8317-5D66F51DA4A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602592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1284403-8432-1547-B618-B9B2A12ED08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33418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0"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24046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tiff"/><Relationship Id="rId2" Type="http://schemas.openxmlformats.org/officeDocument/2006/relationships/image" Target="../media/image22.png"/><Relationship Id="rId1" Type="http://schemas.openxmlformats.org/officeDocument/2006/relationships/slideMaster" Target="../slideMasters/slideMaster10.xml"/><Relationship Id="rId6" Type="http://schemas.openxmlformats.org/officeDocument/2006/relationships/image" Target="../media/image26.png"/><Relationship Id="rId5" Type="http://schemas.openxmlformats.org/officeDocument/2006/relationships/image" Target="../media/image25.tiff"/><Relationship Id="rId4" Type="http://schemas.openxmlformats.org/officeDocument/2006/relationships/image" Target="../media/image24.tif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3.xml"/><Relationship Id="rId4" Type="http://schemas.openxmlformats.org/officeDocument/2006/relationships/image" Target="../media/image34.pn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70617" y="1282044"/>
            <a:ext cx="4534294" cy="1548390"/>
          </a:xfrm>
        </p:spPr>
        <p:txBody>
          <a:bodyPr anchor="b">
            <a:normAutofit/>
          </a:bodyPr>
          <a:lstStyle>
            <a:lvl1pPr algn="l">
              <a:defRPr sz="36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4270617" y="2992114"/>
            <a:ext cx="4534294" cy="1073784"/>
          </a:xfrm>
        </p:spPr>
        <p:txBody>
          <a:bodyPr/>
          <a:lstStyle>
            <a:lvl1pPr marL="0" indent="0" algn="l">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7" name="Picture 6">
            <a:extLst>
              <a:ext uri="{FF2B5EF4-FFF2-40B4-BE49-F238E27FC236}">
                <a16:creationId xmlns:a16="http://schemas.microsoft.com/office/drawing/2014/main" id="{0CA8F997-DEF9-0C42-BB82-8F18E1686E4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6738944" y="290366"/>
            <a:ext cx="2123445" cy="306534"/>
          </a:xfrm>
          <a:prstGeom prst="rect">
            <a:avLst/>
          </a:prstGeom>
        </p:spPr>
      </p:pic>
      <p:pic>
        <p:nvPicPr>
          <p:cNvPr id="6" name="Picture 5">
            <a:extLst>
              <a:ext uri="{FF2B5EF4-FFF2-40B4-BE49-F238E27FC236}">
                <a16:creationId xmlns:a16="http://schemas.microsoft.com/office/drawing/2014/main" id="{93054F3A-242D-B641-AF38-9D46BCB3747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7351205" y="4730633"/>
            <a:ext cx="1549400" cy="225954"/>
          </a:xfrm>
          <a:prstGeom prst="rect">
            <a:avLst/>
          </a:prstGeom>
        </p:spPr>
      </p:pic>
    </p:spTree>
    <p:extLst>
      <p:ext uri="{BB962C8B-B14F-4D97-AF65-F5344CB8AC3E}">
        <p14:creationId xmlns:p14="http://schemas.microsoft.com/office/powerpoint/2010/main" val="7744366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2578D-5838-4A91-B822-3596D8DB542A}"/>
              </a:ext>
            </a:extLst>
          </p:cNvPr>
          <p:cNvSpPr>
            <a:spLocks noGrp="1"/>
          </p:cNvSpPr>
          <p:nvPr>
            <p:ph type="title"/>
          </p:nvPr>
        </p:nvSpPr>
        <p:spPr>
          <a:xfrm>
            <a:off x="629841" y="273844"/>
            <a:ext cx="7886700" cy="994172"/>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B74CAE84-5433-42C6-919D-BE7A75A078A6}"/>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18878F6A-E965-4422-B335-7FC69640EDB0}"/>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888BDE5F-3546-48BC-8A19-5727BAAE71A3}"/>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1B39E204-5DA7-4ED4-9417-E97FAC53508F}"/>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8268D35E-D136-40FE-8002-8B14F97E1C6C}"/>
              </a:ext>
            </a:extLst>
          </p:cNvPr>
          <p:cNvSpPr>
            <a:spLocks noGrp="1"/>
          </p:cNvSpPr>
          <p:nvPr>
            <p:ph type="dt" sz="half" idx="10"/>
          </p:nvPr>
        </p:nvSpPr>
        <p:spPr/>
        <p:txBody>
          <a:bodyPr/>
          <a:lstStyle/>
          <a:p>
            <a:endParaRPr lang="el-GR"/>
          </a:p>
        </p:txBody>
      </p:sp>
      <p:sp>
        <p:nvSpPr>
          <p:cNvPr id="8" name="Footer Placeholder 7">
            <a:extLst>
              <a:ext uri="{FF2B5EF4-FFF2-40B4-BE49-F238E27FC236}">
                <a16:creationId xmlns:a16="http://schemas.microsoft.com/office/drawing/2014/main" id="{B0551919-6EEA-4C7F-B741-2023FD132386}"/>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id="{D1D4591D-6779-43BE-8D10-15D2B77F85F4}"/>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26796880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01D0B8-DA81-497B-86C3-4F7A309DFF94}" type="slidenum">
              <a:rPr lang="en-US" smtClean="0"/>
              <a:t>‹#›</a:t>
            </a:fld>
            <a:endParaRPr lang="en-US"/>
          </a:p>
        </p:txBody>
      </p:sp>
    </p:spTree>
    <p:extLst>
      <p:ext uri="{BB962C8B-B14F-4D97-AF65-F5344CB8AC3E}">
        <p14:creationId xmlns:p14="http://schemas.microsoft.com/office/powerpoint/2010/main" val="1763347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01D0B8-DA81-497B-86C3-4F7A309DFF94}" type="slidenum">
              <a:rPr lang="en-US" smtClean="0"/>
              <a:t>‹#›</a:t>
            </a:fld>
            <a:endParaRPr lang="en-US"/>
          </a:p>
        </p:txBody>
      </p:sp>
    </p:spTree>
    <p:extLst>
      <p:ext uri="{BB962C8B-B14F-4D97-AF65-F5344CB8AC3E}">
        <p14:creationId xmlns:p14="http://schemas.microsoft.com/office/powerpoint/2010/main" val="23765410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01D0B8-DA81-497B-86C3-4F7A309DFF94}" type="slidenum">
              <a:rPr lang="en-US" smtClean="0"/>
              <a:t>‹#›</a:t>
            </a:fld>
            <a:endParaRPr lang="en-US"/>
          </a:p>
        </p:txBody>
      </p:sp>
    </p:spTree>
    <p:extLst>
      <p:ext uri="{BB962C8B-B14F-4D97-AF65-F5344CB8AC3E}">
        <p14:creationId xmlns:p14="http://schemas.microsoft.com/office/powerpoint/2010/main" val="11588354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01D0B8-DA81-497B-86C3-4F7A309DFF94}" type="slidenum">
              <a:rPr lang="en-US" smtClean="0"/>
              <a:t>‹#›</a:t>
            </a:fld>
            <a:endParaRPr lang="en-US"/>
          </a:p>
        </p:txBody>
      </p:sp>
    </p:spTree>
    <p:extLst>
      <p:ext uri="{BB962C8B-B14F-4D97-AF65-F5344CB8AC3E}">
        <p14:creationId xmlns:p14="http://schemas.microsoft.com/office/powerpoint/2010/main" val="34619109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457200" y="367840"/>
            <a:ext cx="8229600" cy="535154"/>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457200" y="1026692"/>
            <a:ext cx="8229600" cy="3710927"/>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96692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7_Images and Contents Layout">
    <p:spTree>
      <p:nvGrpSpPr>
        <p:cNvPr id="1" name=""/>
        <p:cNvGrpSpPr/>
        <p:nvPr/>
      </p:nvGrpSpPr>
      <p:grpSpPr>
        <a:xfrm>
          <a:off x="0" y="0"/>
          <a:ext cx="0" cy="0"/>
          <a:chOff x="0" y="0"/>
          <a:chExt cx="0" cy="0"/>
        </a:xfrm>
      </p:grpSpPr>
      <p:sp>
        <p:nvSpPr>
          <p:cNvPr id="4" name="Picture Placeholder 2"/>
          <p:cNvSpPr>
            <a:spLocks noGrp="1"/>
          </p:cNvSpPr>
          <p:nvPr>
            <p:ph type="pic" idx="14" hasCustomPrompt="1"/>
          </p:nvPr>
        </p:nvSpPr>
        <p:spPr>
          <a:xfrm>
            <a:off x="3279312" y="1423095"/>
            <a:ext cx="2430000" cy="2430000"/>
          </a:xfrm>
          <a:prstGeom prst="rect">
            <a:avLst/>
          </a:prstGeom>
          <a:solidFill>
            <a:schemeClr val="bg1">
              <a:lumMod val="95000"/>
            </a:schemeClr>
          </a:solidFill>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a:t>Your Picture Here</a:t>
            </a:r>
            <a:endParaRPr lang="ko-KR" altLang="en-US"/>
          </a:p>
        </p:txBody>
      </p:sp>
      <p:sp>
        <p:nvSpPr>
          <p:cNvPr id="6" name="Picture Placeholder 2"/>
          <p:cNvSpPr>
            <a:spLocks noGrp="1"/>
          </p:cNvSpPr>
          <p:nvPr>
            <p:ph type="pic" idx="15" hasCustomPrompt="1"/>
          </p:nvPr>
        </p:nvSpPr>
        <p:spPr>
          <a:xfrm>
            <a:off x="600463" y="1666095"/>
            <a:ext cx="1944000" cy="1944000"/>
          </a:xfrm>
          <a:prstGeom prst="rect">
            <a:avLst/>
          </a:prstGeom>
          <a:solidFill>
            <a:schemeClr val="bg1">
              <a:lumMod val="95000"/>
            </a:schemeClr>
          </a:solidFill>
          <a:ln w="38100">
            <a:solidFill>
              <a:schemeClr val="accent2"/>
            </a:solid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a:t>Your Picture Here</a:t>
            </a:r>
            <a:endParaRPr lang="ko-KR" altLang="en-US"/>
          </a:p>
        </p:txBody>
      </p:sp>
      <p:sp>
        <p:nvSpPr>
          <p:cNvPr id="7" name="Picture Placeholder 2"/>
          <p:cNvSpPr>
            <a:spLocks noGrp="1"/>
          </p:cNvSpPr>
          <p:nvPr>
            <p:ph type="pic" idx="16" hasCustomPrompt="1"/>
          </p:nvPr>
        </p:nvSpPr>
        <p:spPr>
          <a:xfrm>
            <a:off x="6612011" y="1666095"/>
            <a:ext cx="1944000" cy="1944000"/>
          </a:xfrm>
          <a:prstGeom prst="rect">
            <a:avLst/>
          </a:prstGeom>
          <a:solidFill>
            <a:schemeClr val="bg1">
              <a:lumMod val="95000"/>
            </a:schemeClr>
          </a:solidFill>
          <a:ln w="38100">
            <a:solidFill>
              <a:schemeClr val="accent4"/>
            </a:solidFill>
          </a:ln>
        </p:spPr>
        <p:txBody>
          <a:bodyPr anchor="ctr"/>
          <a:lstStyle>
            <a:lvl1pPr marL="0" indent="0" algn="ctr">
              <a:buNone/>
              <a:defRPr sz="900">
                <a:latin typeface="+mn-lt"/>
                <a:cs typeface="Arial"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ltLang="ko-KR"/>
              <a:t>Your Picture Here</a:t>
            </a:r>
            <a:endParaRPr lang="ko-KR" altLang="en-US"/>
          </a:p>
        </p:txBody>
      </p:sp>
      <p:sp>
        <p:nvSpPr>
          <p:cNvPr id="8" name="제목 1">
            <a:extLst>
              <a:ext uri="{FF2B5EF4-FFF2-40B4-BE49-F238E27FC236}">
                <a16:creationId xmlns:a16="http://schemas.microsoft.com/office/drawing/2014/main" id="{75F8091E-F1D1-4432-A03D-CA0EF01ADACA}"/>
              </a:ext>
            </a:extLst>
          </p:cNvPr>
          <p:cNvSpPr>
            <a:spLocks noGrp="1"/>
          </p:cNvSpPr>
          <p:nvPr>
            <p:ph type="title" hasCustomPrompt="1"/>
          </p:nvPr>
        </p:nvSpPr>
        <p:spPr>
          <a:xfrm>
            <a:off x="0" y="195486"/>
            <a:ext cx="9144000" cy="378042"/>
          </a:xfrm>
          <a:prstGeom prst="rect">
            <a:avLst/>
          </a:prstGeom>
        </p:spPr>
        <p:txBody>
          <a:bodyPr anchor="ctr">
            <a:noAutofit/>
          </a:bodyPr>
          <a:lstStyle>
            <a:lvl1pPr algn="ctr">
              <a:defRPr sz="2700" b="0" baseline="0">
                <a:solidFill>
                  <a:schemeClr val="tx1">
                    <a:lumMod val="75000"/>
                    <a:lumOff val="25000"/>
                  </a:schemeClr>
                </a:solidFill>
              </a:defRPr>
            </a:lvl1pPr>
          </a:lstStyle>
          <a:p>
            <a:r>
              <a:rPr lang="en-US" altLang="ko-KR"/>
              <a:t>BASIC LAYOUT</a:t>
            </a:r>
            <a:endParaRPr lang="ko-KR" altLang="en-US"/>
          </a:p>
        </p:txBody>
      </p:sp>
      <p:sp>
        <p:nvSpPr>
          <p:cNvPr id="9" name="텍스트 개체 틀 2">
            <a:extLst>
              <a:ext uri="{FF2B5EF4-FFF2-40B4-BE49-F238E27FC236}">
                <a16:creationId xmlns:a16="http://schemas.microsoft.com/office/drawing/2014/main" id="{0B231A61-2323-46B3-86EA-6D772A043A46}"/>
              </a:ext>
            </a:extLst>
          </p:cNvPr>
          <p:cNvSpPr>
            <a:spLocks noGrp="1"/>
          </p:cNvSpPr>
          <p:nvPr>
            <p:ph type="body" sz="quarter" idx="41" hasCustomPrompt="1"/>
          </p:nvPr>
        </p:nvSpPr>
        <p:spPr>
          <a:xfrm>
            <a:off x="0" y="592936"/>
            <a:ext cx="9144000" cy="162018"/>
          </a:xfrm>
          <a:prstGeom prst="rect">
            <a:avLst/>
          </a:prstGeom>
        </p:spPr>
        <p:txBody>
          <a:bodyPr anchor="ctr"/>
          <a:lstStyle>
            <a:lvl1pPr marL="0" marR="0" indent="0" algn="ctr" defTabSz="685800" rtl="0" eaLnBrk="1" fontAlgn="auto" latinLnBrk="1" hangingPunct="1">
              <a:lnSpc>
                <a:spcPct val="90000"/>
              </a:lnSpc>
              <a:spcBef>
                <a:spcPts val="750"/>
              </a:spcBef>
              <a:spcAft>
                <a:spcPts val="0"/>
              </a:spcAft>
              <a:buClrTx/>
              <a:buSzTx/>
              <a:buFontTx/>
              <a:buNone/>
              <a:tabLst/>
              <a:defRPr sz="900">
                <a:solidFill>
                  <a:schemeClr val="tx1">
                    <a:lumMod val="75000"/>
                    <a:lumOff val="25000"/>
                  </a:schemeClr>
                </a:solidFill>
              </a:defRPr>
            </a:lvl1pPr>
          </a:lstStyle>
          <a:p>
            <a:pPr marL="0" marR="0" lvl="0" indent="0" algn="ctr" defTabSz="685800" rtl="0" eaLnBrk="1" fontAlgn="auto" latinLnBrk="1" hangingPunct="1">
              <a:lnSpc>
                <a:spcPct val="90000"/>
              </a:lnSpc>
              <a:spcBef>
                <a:spcPts val="750"/>
              </a:spcBef>
              <a:spcAft>
                <a:spcPts val="0"/>
              </a:spcAft>
              <a:buClrTx/>
              <a:buSzTx/>
              <a:buFontTx/>
              <a:buNone/>
              <a:tabLst/>
              <a:defRPr/>
            </a:pPr>
            <a:r>
              <a:rPr lang="en-US" altLang="ko-KR"/>
              <a:t>Subtitle in this line</a:t>
            </a:r>
            <a:endParaRPr lang="ko-KR" altLang="en-US"/>
          </a:p>
        </p:txBody>
      </p:sp>
    </p:spTree>
    <p:extLst>
      <p:ext uri="{BB962C8B-B14F-4D97-AF65-F5344CB8AC3E}">
        <p14:creationId xmlns:p14="http://schemas.microsoft.com/office/powerpoint/2010/main" val="11317996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534591" y="81817"/>
            <a:ext cx="8115301" cy="323429"/>
          </a:xfrm>
          <a:prstGeom prst="rect">
            <a:avLst/>
          </a:prstGeom>
        </p:spPr>
        <p:txBody>
          <a:bodyPr anchor="b">
            <a:normAutofit/>
          </a:bodyPr>
          <a:lstStyle>
            <a:lvl1pPr algn="l">
              <a:defRPr sz="1800" b="1">
                <a:solidFill>
                  <a:schemeClr val="tx2"/>
                </a:solidFill>
              </a:defRPr>
            </a:lvl1pPr>
          </a:lstStyle>
          <a:p>
            <a:r>
              <a:rPr lang="en-US"/>
              <a:t>Calibri Bold 24pt Title</a:t>
            </a:r>
          </a:p>
        </p:txBody>
      </p:sp>
      <p:pic>
        <p:nvPicPr>
          <p:cNvPr id="5" name="Picture 4">
            <a:extLst>
              <a:ext uri="{FF2B5EF4-FFF2-40B4-BE49-F238E27FC236}">
                <a16:creationId xmlns:a16="http://schemas.microsoft.com/office/drawing/2014/main" id="{4817641E-34D3-4FC8-BDEB-CE2B3AF273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84529"/>
            <a:ext cx="9144000" cy="72113"/>
          </a:xfrm>
          <a:prstGeom prst="rect">
            <a:avLst/>
          </a:prstGeom>
        </p:spPr>
      </p:pic>
    </p:spTree>
    <p:extLst>
      <p:ext uri="{BB962C8B-B14F-4D97-AF65-F5344CB8AC3E}">
        <p14:creationId xmlns:p14="http://schemas.microsoft.com/office/powerpoint/2010/main" val="112864972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Basic Slide">
    <p:spTree>
      <p:nvGrpSpPr>
        <p:cNvPr id="1" name=""/>
        <p:cNvGrpSpPr/>
        <p:nvPr/>
      </p:nvGrpSpPr>
      <p:grpSpPr>
        <a:xfrm>
          <a:off x="0" y="0"/>
          <a:ext cx="0" cy="0"/>
          <a:chOff x="0" y="0"/>
          <a:chExt cx="0" cy="0"/>
        </a:xfrm>
      </p:grpSpPr>
      <p:pic>
        <p:nvPicPr>
          <p:cNvPr id="5" name="Picture 6" descr="A picture containing flower, drawing&#10;&#10;Description automatically generated">
            <a:extLst>
              <a:ext uri="{FF2B5EF4-FFF2-40B4-BE49-F238E27FC236}">
                <a16:creationId xmlns:a16="http://schemas.microsoft.com/office/drawing/2014/main" id="{28B29ADC-5F50-7C43-8A8A-3B9E109656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200900" y="4705350"/>
            <a:ext cx="1219200"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826E4C89-8A5B-0849-AA36-5DB6120BA502}"/>
              </a:ext>
            </a:extLst>
          </p:cNvPr>
          <p:cNvCxnSpPr>
            <a:cxnSpLocks/>
          </p:cNvCxnSpPr>
          <p:nvPr userDrawn="1"/>
        </p:nvCxnSpPr>
        <p:spPr>
          <a:xfrm>
            <a:off x="0" y="457200"/>
            <a:ext cx="9144000" cy="0"/>
          </a:xfrm>
          <a:prstGeom prst="line">
            <a:avLst/>
          </a:prstGeom>
          <a:ln>
            <a:solidFill>
              <a:srgbClr val="DF9210"/>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ctrTitle"/>
          </p:nvPr>
        </p:nvSpPr>
        <p:spPr>
          <a:xfrm>
            <a:off x="535133" y="225212"/>
            <a:ext cx="8115301" cy="741144"/>
          </a:xfrm>
          <a:prstGeom prst="rect">
            <a:avLst/>
          </a:prstGeom>
        </p:spPr>
        <p:txBody>
          <a:bodyPr anchor="b">
            <a:normAutofit/>
          </a:bodyPr>
          <a:lstStyle>
            <a:lvl1pPr algn="l">
              <a:defRPr sz="1800" b="0">
                <a:solidFill>
                  <a:schemeClr val="tx2"/>
                </a:solidFill>
              </a:defRPr>
            </a:lvl1pPr>
          </a:lstStyle>
          <a:p>
            <a:r>
              <a:rPr lang="en-US"/>
              <a:t>Click to edit Master title style</a:t>
            </a:r>
          </a:p>
        </p:txBody>
      </p:sp>
      <p:sp>
        <p:nvSpPr>
          <p:cNvPr id="4" name="Text Placeholder 3"/>
          <p:cNvSpPr>
            <a:spLocks noGrp="1"/>
          </p:cNvSpPr>
          <p:nvPr>
            <p:ph type="body" sz="quarter" idx="10"/>
          </p:nvPr>
        </p:nvSpPr>
        <p:spPr>
          <a:xfrm>
            <a:off x="534591" y="1200694"/>
            <a:ext cx="8115300" cy="3194447"/>
          </a:xfrm>
          <a:prstGeom prst="rect">
            <a:avLst/>
          </a:prstGeom>
        </p:spPr>
        <p:txBody>
          <a:bodyPr>
            <a:normAutofit/>
          </a:bodyPr>
          <a:lstStyle>
            <a:lvl1pPr marL="0" indent="0">
              <a:spcBef>
                <a:spcPts val="675"/>
              </a:spcBef>
              <a:buNone/>
              <a:defRPr sz="1013"/>
            </a:lvl1pPr>
            <a:lvl2pPr marL="417910" indent="-160735">
              <a:spcBef>
                <a:spcPts val="675"/>
              </a:spcBef>
              <a:buFont typeface="Arial" panose="020B0604020202020204" pitchFamily="34" charset="0"/>
              <a:buChar char="•"/>
              <a:defRPr sz="900"/>
            </a:lvl2pPr>
            <a:lvl3pPr marL="675085" indent="-160735">
              <a:spcBef>
                <a:spcPts val="675"/>
              </a:spcBef>
              <a:buFont typeface="Arial" panose="020B0604020202020204" pitchFamily="34" charset="0"/>
              <a:buChar char="•"/>
              <a:defRPr sz="788"/>
            </a:lvl3pPr>
            <a:lvl4pPr marL="771525" indent="0">
              <a:buNone/>
              <a:defRPr sz="900"/>
            </a:lvl4pPr>
            <a:lvl5pPr marL="1028700" indent="0">
              <a:buNone/>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70244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242646" y="215443"/>
            <a:ext cx="8679899" cy="543185"/>
          </a:xfrm>
          <a:prstGeom prst="rect">
            <a:avLst/>
          </a:prstGeom>
        </p:spPr>
        <p:txBody>
          <a:bodyPr anchor="ctr"/>
          <a:lstStyle>
            <a:lvl1pPr marL="0" indent="0" algn="ctr">
              <a:buNone/>
              <a:defRPr sz="3038" b="0" baseline="0">
                <a:solidFill>
                  <a:schemeClr val="tx1">
                    <a:lumMod val="85000"/>
                    <a:lumOff val="15000"/>
                  </a:schemeClr>
                </a:solidFill>
                <a:latin typeface="+mj-lt"/>
                <a:cs typeface="Arial" pitchFamily="34" charset="0"/>
              </a:defRPr>
            </a:lvl1pPr>
          </a:lstStyle>
          <a:p>
            <a:pPr lvl="0"/>
            <a:r>
              <a:rPr lang="en-US" altLang="ko-KR"/>
              <a:t>BASIC LAYOUT</a:t>
            </a:r>
          </a:p>
        </p:txBody>
      </p:sp>
    </p:spTree>
    <p:extLst>
      <p:ext uri="{BB962C8B-B14F-4D97-AF65-F5344CB8AC3E}">
        <p14:creationId xmlns:p14="http://schemas.microsoft.com/office/powerpoint/2010/main" val="39290662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Basic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535133" y="362372"/>
            <a:ext cx="8115301" cy="741144"/>
          </a:xfrm>
          <a:prstGeom prst="rect">
            <a:avLst/>
          </a:prstGeom>
        </p:spPr>
        <p:txBody>
          <a:bodyPr anchor="b">
            <a:normAutofit/>
          </a:bodyPr>
          <a:lstStyle>
            <a:lvl1pPr algn="l">
              <a:defRPr sz="1800" b="0">
                <a:solidFill>
                  <a:schemeClr val="tx2"/>
                </a:solidFill>
              </a:defRPr>
            </a:lvl1pPr>
          </a:lstStyle>
          <a:p>
            <a:r>
              <a:rPr lang="en-US"/>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534591" y="1337853"/>
            <a:ext cx="8115300" cy="2982688"/>
          </a:xfrm>
          <a:prstGeom prst="rect">
            <a:avLst/>
          </a:prstGeom>
        </p:spPr>
        <p:txBody>
          <a:bodyPr>
            <a:normAutofit/>
          </a:bodyPr>
          <a:lstStyle>
            <a:lvl1pPr marL="0" indent="0">
              <a:spcBef>
                <a:spcPts val="675"/>
              </a:spcBef>
              <a:buNone/>
              <a:defRPr sz="1013"/>
            </a:lvl1pPr>
            <a:lvl2pPr marL="417899" indent="-160731">
              <a:spcBef>
                <a:spcPts val="675"/>
              </a:spcBef>
              <a:buFont typeface="Arial" panose="020B0604020202020204" pitchFamily="34" charset="0"/>
              <a:buChar char="•"/>
              <a:defRPr sz="900"/>
            </a:lvl2pPr>
            <a:lvl3pPr marL="675068" indent="-160731">
              <a:spcBef>
                <a:spcPts val="675"/>
              </a:spcBef>
              <a:buFont typeface="Arial" panose="020B0604020202020204" pitchFamily="34" charset="0"/>
              <a:buChar char="•"/>
              <a:defRPr sz="788"/>
            </a:lvl3pPr>
            <a:lvl4pPr marL="771506" indent="0">
              <a:buNone/>
              <a:defRPr sz="900"/>
            </a:lvl4pPr>
            <a:lvl5pPr marL="1028675" indent="0">
              <a:buNone/>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1636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644C9-0A12-4479-B9F9-538D75FBDBB1}"/>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B80B42BE-056C-4659-A87F-B50E15078FBE}"/>
              </a:ext>
            </a:extLst>
          </p:cNvPr>
          <p:cNvSpPr>
            <a:spLocks noGrp="1"/>
          </p:cNvSpPr>
          <p:nvPr>
            <p:ph type="dt" sz="half" idx="10"/>
          </p:nvPr>
        </p:nvSpPr>
        <p:spPr/>
        <p:txBody>
          <a:bodyPr/>
          <a:lstStyle/>
          <a:p>
            <a:endParaRPr lang="el-GR"/>
          </a:p>
        </p:txBody>
      </p:sp>
      <p:sp>
        <p:nvSpPr>
          <p:cNvPr id="4" name="Footer Placeholder 3">
            <a:extLst>
              <a:ext uri="{FF2B5EF4-FFF2-40B4-BE49-F238E27FC236}">
                <a16:creationId xmlns:a16="http://schemas.microsoft.com/office/drawing/2014/main" id="{E46D9588-19C3-4A24-B7B8-BA0CE990313F}"/>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id="{F44C3720-E0DE-4795-B7C1-714373A79370}"/>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35643322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ection Title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2F5DC-12FC-A649-BFA0-DBD05B603485}"/>
              </a:ext>
            </a:extLst>
          </p:cNvPr>
          <p:cNvSpPr>
            <a:spLocks noGrp="1"/>
          </p:cNvSpPr>
          <p:nvPr>
            <p:ph type="title" hasCustomPrompt="1"/>
          </p:nvPr>
        </p:nvSpPr>
        <p:spPr>
          <a:xfrm>
            <a:off x="681318" y="293450"/>
            <a:ext cx="7834032" cy="526725"/>
          </a:xfrm>
          <a:prstGeom prst="rect">
            <a:avLst/>
          </a:prstGeom>
        </p:spPr>
        <p:txBody>
          <a:bodyPr>
            <a:normAutofit/>
          </a:bodyPr>
          <a:lstStyle>
            <a:lvl1pPr>
              <a:defRPr sz="1350" b="1">
                <a:solidFill>
                  <a:schemeClr val="tx2"/>
                </a:solidFill>
              </a:defRPr>
            </a:lvl1pPr>
          </a:lstStyle>
          <a:p>
            <a:r>
              <a:rPr lang="en-US"/>
              <a:t>Arial Bold 24pt Section Header</a:t>
            </a:r>
          </a:p>
        </p:txBody>
      </p:sp>
      <p:sp>
        <p:nvSpPr>
          <p:cNvPr id="4" name="Text Placeholder 3">
            <a:extLst>
              <a:ext uri="{FF2B5EF4-FFF2-40B4-BE49-F238E27FC236}">
                <a16:creationId xmlns:a16="http://schemas.microsoft.com/office/drawing/2014/main" id="{0AD58E1D-5984-C841-8580-06F7A5FB4D29}"/>
              </a:ext>
            </a:extLst>
          </p:cNvPr>
          <p:cNvSpPr>
            <a:spLocks noGrp="1"/>
          </p:cNvSpPr>
          <p:nvPr>
            <p:ph type="body" sz="quarter" idx="12" hasCustomPrompt="1"/>
          </p:nvPr>
        </p:nvSpPr>
        <p:spPr>
          <a:xfrm>
            <a:off x="681251" y="1277473"/>
            <a:ext cx="7834032" cy="2945612"/>
          </a:xfrm>
          <a:prstGeom prst="rect">
            <a:avLst/>
          </a:prstGeom>
        </p:spPr>
        <p:txBody>
          <a:bodyPr/>
          <a:lstStyle>
            <a:lvl1pPr marL="232166" marR="0" indent="-232166" algn="l" defTabSz="385754" rtl="0" eaLnBrk="1" fontAlgn="auto" latinLnBrk="0" hangingPunct="1">
              <a:lnSpc>
                <a:spcPct val="100000"/>
              </a:lnSpc>
              <a:spcBef>
                <a:spcPts val="563"/>
              </a:spcBef>
              <a:spcAft>
                <a:spcPts val="0"/>
              </a:spcAft>
              <a:buClr>
                <a:schemeClr val="accent1"/>
              </a:buClr>
              <a:buSzPct val="120000"/>
              <a:buFont typeface="Arial" panose="020B0604020202020204" pitchFamily="34" charset="0"/>
              <a:buChar char="•"/>
              <a:tabLst/>
              <a:defRPr sz="1013"/>
            </a:lvl1pPr>
          </a:lstStyle>
          <a:p>
            <a:pPr lvl="0"/>
            <a:r>
              <a:rPr lang="en-US"/>
              <a:t>Bullet Arial 18pt</a:t>
            </a:r>
          </a:p>
          <a:p>
            <a:pPr marL="232166" marR="0" lvl="0" indent="-232166" algn="l" defTabSz="385754" rtl="0" eaLnBrk="1" fontAlgn="auto" latinLnBrk="0" hangingPunct="1">
              <a:lnSpc>
                <a:spcPct val="100000"/>
              </a:lnSpc>
              <a:spcBef>
                <a:spcPts val="563"/>
              </a:spcBef>
              <a:spcAft>
                <a:spcPts val="0"/>
              </a:spcAft>
              <a:buClr>
                <a:schemeClr val="accent1"/>
              </a:buClr>
              <a:buSzPct val="120000"/>
              <a:buFont typeface="Arial" panose="020B0604020202020204" pitchFamily="34" charset="0"/>
              <a:buChar char="•"/>
              <a:tabLst/>
              <a:defRPr/>
            </a:pPr>
            <a:r>
              <a:rPr lang="en-US"/>
              <a:t>Bullet Arial 18pt</a:t>
            </a:r>
          </a:p>
          <a:p>
            <a:pPr marL="232166" marR="0" lvl="0" indent="-232166" algn="l" defTabSz="385754" rtl="0" eaLnBrk="1" fontAlgn="auto" latinLnBrk="0" hangingPunct="1">
              <a:lnSpc>
                <a:spcPct val="100000"/>
              </a:lnSpc>
              <a:spcBef>
                <a:spcPts val="563"/>
              </a:spcBef>
              <a:spcAft>
                <a:spcPts val="0"/>
              </a:spcAft>
              <a:buClr>
                <a:schemeClr val="accent1"/>
              </a:buClr>
              <a:buSzPct val="120000"/>
              <a:buFont typeface="Arial" panose="020B0604020202020204" pitchFamily="34" charset="0"/>
              <a:buChar char="•"/>
              <a:tabLst/>
              <a:defRPr/>
            </a:pPr>
            <a:r>
              <a:rPr lang="en-US"/>
              <a:t>Bullet Arial 18pt</a:t>
            </a:r>
          </a:p>
          <a:p>
            <a:pPr marL="232166" marR="0" lvl="0" indent="-232166" algn="l" defTabSz="385754" rtl="0" eaLnBrk="1" fontAlgn="auto" latinLnBrk="0" hangingPunct="1">
              <a:lnSpc>
                <a:spcPct val="100000"/>
              </a:lnSpc>
              <a:spcBef>
                <a:spcPts val="563"/>
              </a:spcBef>
              <a:spcAft>
                <a:spcPts val="0"/>
              </a:spcAft>
              <a:buClr>
                <a:schemeClr val="accent1"/>
              </a:buClr>
              <a:buSzPct val="120000"/>
              <a:buFont typeface="Arial" panose="020B0604020202020204" pitchFamily="34" charset="0"/>
              <a:buChar char="•"/>
              <a:tabLst/>
              <a:defRPr/>
            </a:pPr>
            <a:r>
              <a:rPr lang="en-US"/>
              <a:t>Bullet Arial 18pt</a:t>
            </a:r>
          </a:p>
          <a:p>
            <a:pPr marL="232166" marR="0" lvl="0" indent="-232166" algn="l" defTabSz="385754" rtl="0" eaLnBrk="1" fontAlgn="auto" latinLnBrk="0" hangingPunct="1">
              <a:lnSpc>
                <a:spcPct val="100000"/>
              </a:lnSpc>
              <a:spcBef>
                <a:spcPts val="563"/>
              </a:spcBef>
              <a:spcAft>
                <a:spcPts val="0"/>
              </a:spcAft>
              <a:buClr>
                <a:schemeClr val="accent1"/>
              </a:buClr>
              <a:buSzPct val="120000"/>
              <a:buFont typeface="Arial" panose="020B0604020202020204" pitchFamily="34" charset="0"/>
              <a:buChar char="•"/>
              <a:tabLst/>
              <a:defRPr/>
            </a:pPr>
            <a:endParaRPr lang="en-US"/>
          </a:p>
          <a:p>
            <a:pPr marL="232166" marR="0" lvl="0" indent="-232166" algn="l" defTabSz="385754" rtl="0" eaLnBrk="1" fontAlgn="auto" latinLnBrk="0" hangingPunct="1">
              <a:lnSpc>
                <a:spcPct val="100000"/>
              </a:lnSpc>
              <a:spcBef>
                <a:spcPts val="563"/>
              </a:spcBef>
              <a:spcAft>
                <a:spcPts val="0"/>
              </a:spcAft>
              <a:buClr>
                <a:schemeClr val="accent1"/>
              </a:buClr>
              <a:buSzPct val="120000"/>
              <a:buFont typeface="Arial" panose="020B0604020202020204" pitchFamily="34" charset="0"/>
              <a:buChar char="•"/>
              <a:tabLst/>
              <a:defRPr/>
            </a:pPr>
            <a:endParaRPr lang="en-US"/>
          </a:p>
          <a:p>
            <a:pPr lvl="0"/>
            <a:endParaRPr lang="en-US"/>
          </a:p>
        </p:txBody>
      </p:sp>
      <p:cxnSp>
        <p:nvCxnSpPr>
          <p:cNvPr id="6" name="Straight Connector 5">
            <a:extLst>
              <a:ext uri="{FF2B5EF4-FFF2-40B4-BE49-F238E27FC236}">
                <a16:creationId xmlns:a16="http://schemas.microsoft.com/office/drawing/2014/main" id="{403F115F-8943-5942-AD8E-426EF55CD6FE}"/>
              </a:ext>
            </a:extLst>
          </p:cNvPr>
          <p:cNvCxnSpPr/>
          <p:nvPr userDrawn="1"/>
        </p:nvCxnSpPr>
        <p:spPr>
          <a:xfrm>
            <a:off x="0" y="629126"/>
            <a:ext cx="9144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244629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column bul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AB6B8A-72B9-6C49-BD68-50ABFC1012F8}"/>
              </a:ext>
            </a:extLst>
          </p:cNvPr>
          <p:cNvSpPr/>
          <p:nvPr userDrawn="1"/>
        </p:nvSpPr>
        <p:spPr>
          <a:xfrm flipV="1">
            <a:off x="0" y="4859338"/>
            <a:ext cx="9144000" cy="284162"/>
          </a:xfrm>
          <a:prstGeom prst="rect">
            <a:avLst/>
          </a:prstGeom>
          <a:solidFill>
            <a:srgbClr val="D3D3C9">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1350"/>
          </a:p>
        </p:txBody>
      </p:sp>
      <p:pic>
        <p:nvPicPr>
          <p:cNvPr id="5" name="Picture 11">
            <a:extLst>
              <a:ext uri="{FF2B5EF4-FFF2-40B4-BE49-F238E27FC236}">
                <a16:creationId xmlns:a16="http://schemas.microsoft.com/office/drawing/2014/main" id="{75AD24D5-AFB7-3B44-9CA0-A18588108C15}"/>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123114" y="4897439"/>
            <a:ext cx="93980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A close up of a logo&#10;&#10;Description automatically generated">
            <a:extLst>
              <a:ext uri="{FF2B5EF4-FFF2-40B4-BE49-F238E27FC236}">
                <a16:creationId xmlns:a16="http://schemas.microsoft.com/office/drawing/2014/main" id="{FC69D19D-3A1F-1E48-8199-E92B6878336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208964" y="4891088"/>
            <a:ext cx="835025"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05B93B56-72B5-314C-ABC6-A3C54BA25E71}"/>
              </a:ext>
            </a:extLst>
          </p:cNvPr>
          <p:cNvPicPr>
            <a:picLocks noChangeAspect="1" noChangeArrowheads="1"/>
          </p:cNvPicPr>
          <p:nvPr userDrawn="1"/>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79950" y="4870451"/>
            <a:ext cx="1233488" cy="27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
            <a:extLst>
              <a:ext uri="{FF2B5EF4-FFF2-40B4-BE49-F238E27FC236}">
                <a16:creationId xmlns:a16="http://schemas.microsoft.com/office/drawing/2014/main" id="{388621C1-617C-5E4C-A4EE-968473F9557C}"/>
              </a:ext>
            </a:extLst>
          </p:cNvPr>
          <p:cNvPicPr>
            <a:picLocks noChangeAspect="1" noChangeArrowheads="1"/>
          </p:cNvPicPr>
          <p:nvPr userDrawn="1"/>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8100" y="4865689"/>
            <a:ext cx="74771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1" descr="A picture containing plate, drawing&#10;&#10;Description automatically generated">
            <a:extLst>
              <a:ext uri="{FF2B5EF4-FFF2-40B4-BE49-F238E27FC236}">
                <a16:creationId xmlns:a16="http://schemas.microsoft.com/office/drawing/2014/main" id="{41A86B8A-DA07-B849-BA8D-3E8C48B320BD}"/>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6002339" y="4886326"/>
            <a:ext cx="985837"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2">
            <a:extLst>
              <a:ext uri="{FF2B5EF4-FFF2-40B4-BE49-F238E27FC236}">
                <a16:creationId xmlns:a16="http://schemas.microsoft.com/office/drawing/2014/main" id="{3CFB4DC5-7E1F-7342-87D8-8E1E4B6811B2}"/>
              </a:ext>
            </a:extLst>
          </p:cNvPr>
          <p:cNvPicPr>
            <a:picLocks noChangeAspect="1" noChangeArrowheads="1"/>
          </p:cNvPicPr>
          <p:nvPr userDrawn="1"/>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68339" y="4872039"/>
            <a:ext cx="4699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914400" y="1200151"/>
            <a:ext cx="3581400" cy="3143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4724400" y="1200150"/>
            <a:ext cx="3581400" cy="3143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391295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x">
  <p:cSld name="Basic Slide">
    <p:spTree>
      <p:nvGrpSpPr>
        <p:cNvPr id="1" name=""/>
        <p:cNvGrpSpPr/>
        <p:nvPr/>
      </p:nvGrpSpPr>
      <p:grpSpPr>
        <a:xfrm>
          <a:off x="0" y="0"/>
          <a:ext cx="0" cy="0"/>
          <a:chOff x="0" y="0"/>
          <a:chExt cx="0" cy="0"/>
        </a:xfrm>
      </p:grpSpPr>
      <p:sp>
        <p:nvSpPr>
          <p:cNvPr id="68" name="Arial Bold 32pt Title"/>
          <p:cNvSpPr txBox="1">
            <a:spLocks noGrp="1"/>
          </p:cNvSpPr>
          <p:nvPr>
            <p:ph type="title" hasCustomPrompt="1"/>
          </p:nvPr>
        </p:nvSpPr>
        <p:spPr>
          <a:xfrm>
            <a:off x="535129" y="225213"/>
            <a:ext cx="8115302" cy="741145"/>
          </a:xfrm>
          <a:prstGeom prst="rect">
            <a:avLst/>
          </a:prstGeom>
        </p:spPr>
        <p:txBody>
          <a:bodyPr anchor="b"/>
          <a:lstStyle>
            <a:lvl1pPr>
              <a:defRPr sz="2400">
                <a:solidFill>
                  <a:srgbClr val="44546A"/>
                </a:solidFill>
              </a:defRPr>
            </a:lvl1pPr>
          </a:lstStyle>
          <a:p>
            <a:r>
              <a:t>Arial Bold 32pt Title</a:t>
            </a:r>
          </a:p>
        </p:txBody>
      </p:sp>
      <p:sp>
        <p:nvSpPr>
          <p:cNvPr id="69" name="Body Level One…"/>
          <p:cNvSpPr txBox="1">
            <a:spLocks noGrp="1"/>
          </p:cNvSpPr>
          <p:nvPr>
            <p:ph type="body" idx="1"/>
          </p:nvPr>
        </p:nvSpPr>
        <p:spPr>
          <a:xfrm>
            <a:off x="534592" y="1200694"/>
            <a:ext cx="8115301" cy="3194447"/>
          </a:xfrm>
          <a:prstGeom prst="rect">
            <a:avLst/>
          </a:prstGeom>
        </p:spPr>
        <p:txBody>
          <a:bodyPr/>
          <a:lstStyle>
            <a:lvl1pPr marL="0" indent="0">
              <a:spcBef>
                <a:spcPts val="900"/>
              </a:spcBef>
              <a:buSzTx/>
              <a:buFontTx/>
              <a:buNone/>
              <a:defRPr sz="1350"/>
            </a:lvl1pPr>
            <a:lvl2pPr marL="583987" indent="-241095">
              <a:spcBef>
                <a:spcPts val="900"/>
              </a:spcBef>
              <a:buFontTx/>
              <a:defRPr sz="1350"/>
            </a:lvl2pPr>
            <a:lvl3pPr marL="961320" indent="-275537">
              <a:spcBef>
                <a:spcPts val="900"/>
              </a:spcBef>
              <a:buFontTx/>
              <a:defRPr sz="1350"/>
            </a:lvl3pPr>
            <a:lvl4pPr marL="0" indent="1028675">
              <a:spcBef>
                <a:spcPts val="900"/>
              </a:spcBef>
              <a:buSzTx/>
              <a:buFontTx/>
              <a:buNone/>
              <a:defRPr sz="1350"/>
            </a:lvl4pPr>
            <a:lvl5pPr marL="0" indent="1371566">
              <a:spcBef>
                <a:spcPts val="900"/>
              </a:spcBef>
              <a:buSzTx/>
              <a:buFontTx/>
              <a:buNone/>
              <a:defRPr sz="1350"/>
            </a:lvl5pPr>
          </a:lstStyle>
          <a:p>
            <a:r>
              <a:t>Body Level One</a:t>
            </a:r>
          </a:p>
          <a:p>
            <a:pPr lvl="1"/>
            <a:r>
              <a:t>Body Level Two</a:t>
            </a:r>
          </a:p>
          <a:p>
            <a:pPr lvl="2"/>
            <a:r>
              <a:t>Body Level Three</a:t>
            </a:r>
          </a:p>
          <a:p>
            <a:pPr lvl="3"/>
            <a:r>
              <a:t>Body Level Four</a:t>
            </a:r>
          </a:p>
          <a:p>
            <a:pPr lvl="4"/>
            <a:r>
              <a:t>Body Level Five</a:t>
            </a:r>
          </a:p>
        </p:txBody>
      </p:sp>
      <p:pic>
        <p:nvPicPr>
          <p:cNvPr id="70" name="Picture 2" descr="Picture 2"/>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7200901" y="4705292"/>
            <a:ext cx="1219201" cy="552509"/>
          </a:xfrm>
          <a:prstGeom prst="rect">
            <a:avLst/>
          </a:prstGeom>
          <a:ln w="12700">
            <a:miter lim="400000"/>
          </a:ln>
        </p:spPr>
      </p:pic>
      <p:sp>
        <p:nvSpPr>
          <p:cNvPr id="71" name="Straight Connector 7"/>
          <p:cNvSpPr/>
          <p:nvPr/>
        </p:nvSpPr>
        <p:spPr>
          <a:xfrm>
            <a:off x="0" y="457028"/>
            <a:ext cx="9144000" cy="1"/>
          </a:xfrm>
          <a:prstGeom prst="line">
            <a:avLst/>
          </a:prstGeom>
          <a:ln w="6350">
            <a:solidFill>
              <a:srgbClr val="DF9210"/>
            </a:solidFill>
            <a:miter/>
          </a:ln>
        </p:spPr>
        <p:txBody>
          <a:bodyPr lIns="34289" rIns="34289"/>
          <a:lstStyle/>
          <a:p>
            <a:endParaRPr sz="1350"/>
          </a:p>
        </p:txBody>
      </p:sp>
      <p:sp>
        <p:nvSpPr>
          <p:cNvPr id="72" name="Slide Number"/>
          <p:cNvSpPr txBox="1">
            <a:spLocks noGrp="1"/>
          </p:cNvSpPr>
          <p:nvPr>
            <p:ph type="sldNum" sz="quarter" idx="2"/>
          </p:nvPr>
        </p:nvSpPr>
        <p:spPr>
          <a:xfrm>
            <a:off x="4419600" y="4629150"/>
            <a:ext cx="2133600" cy="276226"/>
          </a:xfrm>
          <a:prstGeom prst="rect">
            <a:avLst/>
          </a:prstGeom>
        </p:spPr>
        <p:txBody>
          <a:bodyPr/>
          <a:lstStyle>
            <a:lvl1pPr>
              <a:defRPr>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399456579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747394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Add content with Header">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53D47AF6-7932-7A4E-87CB-BFF91DD6234D}"/>
              </a:ext>
            </a:extLst>
          </p:cNvPr>
          <p:cNvSpPr>
            <a:spLocks noGrp="1"/>
          </p:cNvSpPr>
          <p:nvPr>
            <p:ph type="body" sz="quarter" idx="20" hasCustomPrompt="1"/>
          </p:nvPr>
        </p:nvSpPr>
        <p:spPr>
          <a:xfrm>
            <a:off x="706582" y="556175"/>
            <a:ext cx="7808768" cy="506016"/>
          </a:xfrm>
          <a:prstGeom prst="rect">
            <a:avLst/>
          </a:prstGeom>
        </p:spPr>
        <p:txBody>
          <a:bodyPr>
            <a:normAutofit/>
          </a:bodyPr>
          <a:lstStyle>
            <a:lvl1pPr marL="0" indent="0" algn="ctr">
              <a:buNone/>
              <a:defRPr sz="3000" b="1">
                <a:solidFill>
                  <a:schemeClr val="tx2"/>
                </a:solidFill>
              </a:defRPr>
            </a:lvl1pPr>
          </a:lstStyle>
          <a:p>
            <a:pPr lvl="0"/>
            <a:r>
              <a:rPr lang="en-US"/>
              <a:t>Arial Bold 40pt Title</a:t>
            </a:r>
          </a:p>
        </p:txBody>
      </p:sp>
      <p:sp>
        <p:nvSpPr>
          <p:cNvPr id="4" name="Content Placeholder 3">
            <a:extLst>
              <a:ext uri="{FF2B5EF4-FFF2-40B4-BE49-F238E27FC236}">
                <a16:creationId xmlns:a16="http://schemas.microsoft.com/office/drawing/2014/main" id="{22FD5643-6D86-514D-A0D6-655BE79E10B3}"/>
              </a:ext>
            </a:extLst>
          </p:cNvPr>
          <p:cNvSpPr>
            <a:spLocks noGrp="1"/>
          </p:cNvSpPr>
          <p:nvPr>
            <p:ph sz="quarter" idx="21"/>
          </p:nvPr>
        </p:nvSpPr>
        <p:spPr>
          <a:xfrm>
            <a:off x="706041" y="1228725"/>
            <a:ext cx="7809309" cy="3093244"/>
          </a:xfrm>
          <a:prstGeom prst="rect">
            <a:avLst/>
          </a:prstGeo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47562812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8EF7F-14B6-EC4A-A904-295B10E45FD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B50F564D-1D7A-ED4D-89F3-7BD9BE4B87E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DAAA44B9-C0F5-7441-8614-32949A189C9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30C391E-1EDF-4649-87D2-0E59B39060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96A993-0AB0-6548-9EBB-0B5A033CB804}"/>
              </a:ext>
            </a:extLst>
          </p:cNvPr>
          <p:cNvSpPr>
            <a:spLocks noGrp="1"/>
          </p:cNvSpPr>
          <p:nvPr>
            <p:ph type="sldNum" sz="quarter" idx="12"/>
          </p:nvPr>
        </p:nvSpPr>
        <p:spPr/>
        <p:txBody>
          <a:bodyPr/>
          <a:lstStyle/>
          <a:p>
            <a:fld id="{2F5B1386-8A95-F248-B54F-61C6127844B5}" type="slidenum">
              <a:rPr lang="en-US" smtClean="0"/>
              <a:t>‹#›</a:t>
            </a:fld>
            <a:endParaRPr lang="en-US"/>
          </a:p>
        </p:txBody>
      </p:sp>
    </p:spTree>
    <p:extLst>
      <p:ext uri="{BB962C8B-B14F-4D97-AF65-F5344CB8AC3E}">
        <p14:creationId xmlns:p14="http://schemas.microsoft.com/office/powerpoint/2010/main" val="199951053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774F4-E46F-A34A-9B3F-30E8AC5E74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2EA3E1-1E53-F747-8F64-88082CD42A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FC339B-A32D-4648-B5AD-50EBCFBD412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AC76813-669E-1946-812E-AA968127B0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E3896A-ADC5-6143-9C09-416FDB1C8C79}"/>
              </a:ext>
            </a:extLst>
          </p:cNvPr>
          <p:cNvSpPr>
            <a:spLocks noGrp="1"/>
          </p:cNvSpPr>
          <p:nvPr>
            <p:ph type="sldNum" sz="quarter" idx="12"/>
          </p:nvPr>
        </p:nvSpPr>
        <p:spPr/>
        <p:txBody>
          <a:bodyPr/>
          <a:lstStyle/>
          <a:p>
            <a:fld id="{2F5B1386-8A95-F248-B54F-61C6127844B5}" type="slidenum">
              <a:rPr lang="en-US" smtClean="0"/>
              <a:t>‹#›</a:t>
            </a:fld>
            <a:endParaRPr lang="en-US"/>
          </a:p>
        </p:txBody>
      </p:sp>
    </p:spTree>
    <p:extLst>
      <p:ext uri="{BB962C8B-B14F-4D97-AF65-F5344CB8AC3E}">
        <p14:creationId xmlns:p14="http://schemas.microsoft.com/office/powerpoint/2010/main" val="36470967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A7F38-E1DA-B04B-AC25-7E92412D689E}"/>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54234305-F5F1-0743-B56B-BA1AEBECBD74}"/>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6C30825-EAA9-244E-9A2C-80F827D18E2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100D89D-068B-EC49-A0E4-271DD8D13F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FE3C01-C39E-984F-95D5-391D570317DC}"/>
              </a:ext>
            </a:extLst>
          </p:cNvPr>
          <p:cNvSpPr>
            <a:spLocks noGrp="1"/>
          </p:cNvSpPr>
          <p:nvPr>
            <p:ph type="sldNum" sz="quarter" idx="12"/>
          </p:nvPr>
        </p:nvSpPr>
        <p:spPr/>
        <p:txBody>
          <a:bodyPr/>
          <a:lstStyle/>
          <a:p>
            <a:fld id="{2F5B1386-8A95-F248-B54F-61C6127844B5}" type="slidenum">
              <a:rPr lang="en-US" smtClean="0"/>
              <a:t>‹#›</a:t>
            </a:fld>
            <a:endParaRPr lang="en-US"/>
          </a:p>
        </p:txBody>
      </p:sp>
    </p:spTree>
    <p:extLst>
      <p:ext uri="{BB962C8B-B14F-4D97-AF65-F5344CB8AC3E}">
        <p14:creationId xmlns:p14="http://schemas.microsoft.com/office/powerpoint/2010/main" val="1980544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2992B-5991-B946-A0E4-1254C88A91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56A86F-BF8E-6045-BA62-54DD4A16F50D}"/>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F99F0BD-6621-B04D-A73B-A4151629DD61}"/>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3A2FA82-4495-C346-B8AC-4EFE96B1BCC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3996EF9-B4FD-AE42-9A86-CE39BC5FA3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7B6BC6-1700-2A4E-B36F-54711CE7E64C}"/>
              </a:ext>
            </a:extLst>
          </p:cNvPr>
          <p:cNvSpPr>
            <a:spLocks noGrp="1"/>
          </p:cNvSpPr>
          <p:nvPr>
            <p:ph type="sldNum" sz="quarter" idx="12"/>
          </p:nvPr>
        </p:nvSpPr>
        <p:spPr/>
        <p:txBody>
          <a:bodyPr/>
          <a:lstStyle/>
          <a:p>
            <a:fld id="{2F5B1386-8A95-F248-B54F-61C6127844B5}" type="slidenum">
              <a:rPr lang="en-US" smtClean="0"/>
              <a:t>‹#›</a:t>
            </a:fld>
            <a:endParaRPr lang="en-US"/>
          </a:p>
        </p:txBody>
      </p:sp>
    </p:spTree>
    <p:extLst>
      <p:ext uri="{BB962C8B-B14F-4D97-AF65-F5344CB8AC3E}">
        <p14:creationId xmlns:p14="http://schemas.microsoft.com/office/powerpoint/2010/main" val="2029567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9D134-D662-654C-863C-DF79B6163D96}"/>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70B5C431-0A04-9040-B860-1291371145A5}"/>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DEF99B6-91A6-E341-A766-20A8970A437F}"/>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BCE0A8A-5FE4-AE48-8F7E-2D984806FB6C}"/>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F40A905E-D6DD-9744-9081-A0E378DD7B0C}"/>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9E46EBE-4734-6D45-BE8C-CF20F371F6CF}"/>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64103DF-69F9-4741-BDEF-48CD69E69F3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58E56DD-3537-C74D-8E48-83E7C4583D14}"/>
              </a:ext>
            </a:extLst>
          </p:cNvPr>
          <p:cNvSpPr>
            <a:spLocks noGrp="1"/>
          </p:cNvSpPr>
          <p:nvPr>
            <p:ph type="sldNum" sz="quarter" idx="12"/>
          </p:nvPr>
        </p:nvSpPr>
        <p:spPr/>
        <p:txBody>
          <a:bodyPr/>
          <a:lstStyle/>
          <a:p>
            <a:fld id="{2F5B1386-8A95-F248-B54F-61C6127844B5}" type="slidenum">
              <a:rPr lang="en-US" smtClean="0"/>
              <a:t>‹#›</a:t>
            </a:fld>
            <a:endParaRPr lang="en-US"/>
          </a:p>
        </p:txBody>
      </p:sp>
    </p:spTree>
    <p:extLst>
      <p:ext uri="{BB962C8B-B14F-4D97-AF65-F5344CB8AC3E}">
        <p14:creationId xmlns:p14="http://schemas.microsoft.com/office/powerpoint/2010/main" val="22739701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E64E80-A28D-4B30-B660-E38126239B77}"/>
              </a:ext>
            </a:extLst>
          </p:cNvPr>
          <p:cNvSpPr>
            <a:spLocks noGrp="1"/>
          </p:cNvSpPr>
          <p:nvPr>
            <p:ph type="dt" sz="half" idx="10"/>
          </p:nvPr>
        </p:nvSpPr>
        <p:spPr/>
        <p:txBody>
          <a:bodyPr/>
          <a:lstStyle/>
          <a:p>
            <a:endParaRPr lang="el-GR"/>
          </a:p>
        </p:txBody>
      </p:sp>
      <p:sp>
        <p:nvSpPr>
          <p:cNvPr id="3" name="Footer Placeholder 2">
            <a:extLst>
              <a:ext uri="{FF2B5EF4-FFF2-40B4-BE49-F238E27FC236}">
                <a16:creationId xmlns:a16="http://schemas.microsoft.com/office/drawing/2014/main" id="{AEB7F044-CE81-4DD5-B3BC-172E58729276}"/>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id="{EF38DC15-D0F2-4638-8635-A0572359AE30}"/>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26834710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AF12D-0925-6D47-920A-29272800DE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5AEC4F3-C05F-E648-BEBA-643E2B6FB272}"/>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01FF781-A0E9-1548-A999-FF33C4A10C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4593CEB-306E-7646-9F58-9D7F94F1C400}"/>
              </a:ext>
            </a:extLst>
          </p:cNvPr>
          <p:cNvSpPr>
            <a:spLocks noGrp="1"/>
          </p:cNvSpPr>
          <p:nvPr>
            <p:ph type="sldNum" sz="quarter" idx="12"/>
          </p:nvPr>
        </p:nvSpPr>
        <p:spPr/>
        <p:txBody>
          <a:bodyPr/>
          <a:lstStyle/>
          <a:p>
            <a:fld id="{2F5B1386-8A95-F248-B54F-61C6127844B5}" type="slidenum">
              <a:rPr lang="en-US" smtClean="0"/>
              <a:t>‹#›</a:t>
            </a:fld>
            <a:endParaRPr lang="en-US"/>
          </a:p>
        </p:txBody>
      </p:sp>
    </p:spTree>
    <p:extLst>
      <p:ext uri="{BB962C8B-B14F-4D97-AF65-F5344CB8AC3E}">
        <p14:creationId xmlns:p14="http://schemas.microsoft.com/office/powerpoint/2010/main" val="23256588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FCB601-909E-FA4A-8D13-8883A088491B}"/>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3015B0C7-2FC1-BF4D-993C-3A032EF6910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49C5014-6E3B-E24D-B860-881F633D88B1}"/>
              </a:ext>
            </a:extLst>
          </p:cNvPr>
          <p:cNvSpPr>
            <a:spLocks noGrp="1"/>
          </p:cNvSpPr>
          <p:nvPr>
            <p:ph type="sldNum" sz="quarter" idx="12"/>
          </p:nvPr>
        </p:nvSpPr>
        <p:spPr/>
        <p:txBody>
          <a:bodyPr/>
          <a:lstStyle/>
          <a:p>
            <a:fld id="{2F5B1386-8A95-F248-B54F-61C6127844B5}" type="slidenum">
              <a:rPr lang="en-US" smtClean="0"/>
              <a:t>‹#›</a:t>
            </a:fld>
            <a:endParaRPr lang="en-US"/>
          </a:p>
        </p:txBody>
      </p:sp>
    </p:spTree>
    <p:extLst>
      <p:ext uri="{BB962C8B-B14F-4D97-AF65-F5344CB8AC3E}">
        <p14:creationId xmlns:p14="http://schemas.microsoft.com/office/powerpoint/2010/main" val="354593880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Basic Slide">
    <p:spTree>
      <p:nvGrpSpPr>
        <p:cNvPr id="1" name=""/>
        <p:cNvGrpSpPr/>
        <p:nvPr/>
      </p:nvGrpSpPr>
      <p:grpSpPr>
        <a:xfrm>
          <a:off x="0" y="0"/>
          <a:ext cx="0" cy="0"/>
          <a:chOff x="0" y="0"/>
          <a:chExt cx="0" cy="0"/>
        </a:xfrm>
      </p:grpSpPr>
      <p:pic>
        <p:nvPicPr>
          <p:cNvPr id="5" name="Picture 6" descr="A picture containing flower, drawing&#10;&#10;Description automatically generated">
            <a:extLst>
              <a:ext uri="{FF2B5EF4-FFF2-40B4-BE49-F238E27FC236}">
                <a16:creationId xmlns:a16="http://schemas.microsoft.com/office/drawing/2014/main" id="{28B29ADC-5F50-7C43-8A8A-3B9E109656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200900" y="4705350"/>
            <a:ext cx="1219200"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535133" y="225212"/>
            <a:ext cx="8115301" cy="741144"/>
          </a:xfrm>
          <a:prstGeom prst="rect">
            <a:avLst/>
          </a:prstGeom>
        </p:spPr>
        <p:txBody>
          <a:bodyPr anchor="b">
            <a:normAutofit/>
          </a:bodyPr>
          <a:lstStyle>
            <a:lvl1pPr algn="l">
              <a:defRPr sz="1800" b="0">
                <a:solidFill>
                  <a:schemeClr val="tx2"/>
                </a:solidFill>
              </a:defRPr>
            </a:lvl1pPr>
          </a:lstStyle>
          <a:p>
            <a:r>
              <a:rPr lang="en-US"/>
              <a:t>Click to edit Master title style</a:t>
            </a:r>
          </a:p>
        </p:txBody>
      </p:sp>
      <p:sp>
        <p:nvSpPr>
          <p:cNvPr id="4" name="Text Placeholder 3"/>
          <p:cNvSpPr>
            <a:spLocks noGrp="1"/>
          </p:cNvSpPr>
          <p:nvPr>
            <p:ph type="body" sz="quarter" idx="10"/>
          </p:nvPr>
        </p:nvSpPr>
        <p:spPr>
          <a:xfrm>
            <a:off x="534591" y="1200694"/>
            <a:ext cx="8115300" cy="3194447"/>
          </a:xfrm>
          <a:prstGeom prst="rect">
            <a:avLst/>
          </a:prstGeom>
        </p:spPr>
        <p:txBody>
          <a:bodyPr>
            <a:normAutofit/>
          </a:bodyPr>
          <a:lstStyle>
            <a:lvl1pPr marL="0" indent="0">
              <a:spcBef>
                <a:spcPts val="675"/>
              </a:spcBef>
              <a:buNone/>
              <a:defRPr sz="1013"/>
            </a:lvl1pPr>
            <a:lvl2pPr marL="417910" indent="-160735">
              <a:spcBef>
                <a:spcPts val="675"/>
              </a:spcBef>
              <a:buFont typeface="Arial" panose="020B0604020202020204" pitchFamily="34" charset="0"/>
              <a:buChar char="•"/>
              <a:defRPr sz="900"/>
            </a:lvl2pPr>
            <a:lvl3pPr marL="675085" indent="-160735">
              <a:spcBef>
                <a:spcPts val="675"/>
              </a:spcBef>
              <a:buFont typeface="Arial" panose="020B0604020202020204" pitchFamily="34" charset="0"/>
              <a:buChar char="•"/>
              <a:defRPr sz="788"/>
            </a:lvl3pPr>
            <a:lvl4pPr marL="771525" indent="0">
              <a:buNone/>
              <a:defRPr sz="900"/>
            </a:lvl4pPr>
            <a:lvl5pPr marL="1028700" indent="0">
              <a:buNone/>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590945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034637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274320" y="1635646"/>
            <a:ext cx="5657374" cy="1920240"/>
          </a:xfrm>
        </p:spPr>
        <p:txBody>
          <a:bodyPr anchor="t" anchorCtr="0"/>
          <a:lstStyle>
            <a:lvl1pPr algn="l">
              <a:defRPr sz="3797" b="0" spc="0" baseline="0"/>
            </a:lvl1pPr>
          </a:lstStyle>
          <a:p>
            <a:r>
              <a:rPr lang="en-US"/>
              <a:t>[Presentation title]</a:t>
            </a:r>
          </a:p>
        </p:txBody>
      </p:sp>
      <p:sp>
        <p:nvSpPr>
          <p:cNvPr id="5" name="Text Placeholder 4">
            <a:extLst>
              <a:ext uri="{FF2B5EF4-FFF2-40B4-BE49-F238E27FC236}">
                <a16:creationId xmlns:a16="http://schemas.microsoft.com/office/drawing/2014/main" id="{C7CE39BE-06F7-7349-BF12-45D065ED872B}"/>
              </a:ext>
            </a:extLst>
          </p:cNvPr>
          <p:cNvSpPr>
            <a:spLocks noGrp="1"/>
          </p:cNvSpPr>
          <p:nvPr>
            <p:ph type="body" sz="quarter" idx="11" hasCustomPrompt="1"/>
          </p:nvPr>
        </p:nvSpPr>
        <p:spPr>
          <a:xfrm>
            <a:off x="274319" y="3703320"/>
            <a:ext cx="5657375" cy="51435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a:t>[Presenter Name]</a:t>
            </a:r>
            <a:br>
              <a:rPr lang="en-US"/>
            </a:br>
            <a:r>
              <a:rPr lang="en-US"/>
              <a:t>[Title]</a:t>
            </a:r>
          </a:p>
        </p:txBody>
      </p:sp>
    </p:spTree>
    <p:extLst>
      <p:ext uri="{BB962C8B-B14F-4D97-AF65-F5344CB8AC3E}">
        <p14:creationId xmlns:p14="http://schemas.microsoft.com/office/powerpoint/2010/main" val="2359350014"/>
      </p:ext>
    </p:extLst>
  </p:cSld>
  <p:clrMapOvr>
    <a:masterClrMapping/>
  </p:clrMapOvr>
  <p:extLst>
    <p:ext uri="{DCECCB84-F9BA-43D5-87BE-67443E8EF086}">
      <p15:sldGuideLst xmlns:p15="http://schemas.microsoft.com/office/powerpoint/2012/main">
        <p15:guide id="1" pos="442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DB38AA5-2B64-4B5B-A11F-3ADF856814B0}"/>
              </a:ext>
            </a:extLst>
          </p:cNvPr>
          <p:cNvSpPr>
            <a:spLocks noGrp="1"/>
          </p:cNvSpPr>
          <p:nvPr>
            <p:ph type="body" sz="quarter" idx="13" hasCustomPrompt="1"/>
          </p:nvPr>
        </p:nvSpPr>
        <p:spPr>
          <a:xfrm>
            <a:off x="273368" y="4556239"/>
            <a:ext cx="8596313" cy="206454"/>
          </a:xfrm>
        </p:spPr>
        <p:txBody>
          <a:bodyPr bIns="108000" anchor="b">
            <a:spAutoFit/>
          </a:bodyPr>
          <a:lstStyle>
            <a:lvl1pPr marL="0" indent="0" algn="l">
              <a:spcBef>
                <a:spcPts val="0"/>
              </a:spcBef>
              <a:buNone/>
              <a:defRPr sz="633"/>
            </a:lvl1pPr>
          </a:lstStyle>
          <a:p>
            <a:pPr lvl="0"/>
            <a:r>
              <a:rPr lang="en-US" sz="633"/>
              <a:t>References and abbreviations here.</a:t>
            </a:r>
            <a:endParaRPr lang="en-GB"/>
          </a:p>
        </p:txBody>
      </p:sp>
    </p:spTree>
    <p:extLst>
      <p:ext uri="{BB962C8B-B14F-4D97-AF65-F5344CB8AC3E}">
        <p14:creationId xmlns:p14="http://schemas.microsoft.com/office/powerpoint/2010/main" val="2079965383"/>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4" name="Text Placeholder 4">
            <a:extLst>
              <a:ext uri="{FF2B5EF4-FFF2-40B4-BE49-F238E27FC236}">
                <a16:creationId xmlns:a16="http://schemas.microsoft.com/office/drawing/2014/main" id="{CCAB9906-18B6-4257-AA9B-21954B04945C}"/>
              </a:ext>
            </a:extLst>
          </p:cNvPr>
          <p:cNvSpPr>
            <a:spLocks noGrp="1"/>
          </p:cNvSpPr>
          <p:nvPr>
            <p:ph type="body" sz="quarter" idx="13" hasCustomPrompt="1"/>
          </p:nvPr>
        </p:nvSpPr>
        <p:spPr>
          <a:xfrm>
            <a:off x="273844" y="4562871"/>
            <a:ext cx="8596313" cy="206454"/>
          </a:xfrm>
        </p:spPr>
        <p:txBody>
          <a:bodyPr bIns="108000" anchor="b">
            <a:spAutoFit/>
          </a:bodyPr>
          <a:lstStyle>
            <a:lvl1pPr marL="0" indent="0" algn="l">
              <a:spcBef>
                <a:spcPts val="0"/>
              </a:spcBef>
              <a:buNone/>
              <a:defRPr sz="633"/>
            </a:lvl1pPr>
          </a:lstStyle>
          <a:p>
            <a:pPr lvl="0"/>
            <a:r>
              <a:rPr lang="en-US" sz="633"/>
              <a:t>References and abbreviations here.</a:t>
            </a:r>
            <a:endParaRPr lang="en-GB"/>
          </a:p>
        </p:txBody>
      </p:sp>
    </p:spTree>
    <p:extLst>
      <p:ext uri="{BB962C8B-B14F-4D97-AF65-F5344CB8AC3E}">
        <p14:creationId xmlns:p14="http://schemas.microsoft.com/office/powerpoint/2010/main" val="4005306052"/>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BCB61A76-3B85-4A3A-BFFA-776328CBD6EC}"/>
              </a:ext>
            </a:extLst>
          </p:cNvPr>
          <p:cNvSpPr>
            <a:spLocks noGrp="1"/>
          </p:cNvSpPr>
          <p:nvPr>
            <p:ph type="body" sz="quarter" idx="13" hasCustomPrompt="1"/>
          </p:nvPr>
        </p:nvSpPr>
        <p:spPr>
          <a:xfrm>
            <a:off x="273844" y="4562871"/>
            <a:ext cx="8596313" cy="206454"/>
          </a:xfrm>
        </p:spPr>
        <p:txBody>
          <a:bodyPr bIns="108000" anchor="b">
            <a:spAutoFit/>
          </a:bodyPr>
          <a:lstStyle>
            <a:lvl1pPr marL="0" indent="0" algn="l">
              <a:spcBef>
                <a:spcPts val="0"/>
              </a:spcBef>
              <a:buNone/>
              <a:defRPr sz="633"/>
            </a:lvl1pPr>
          </a:lstStyle>
          <a:p>
            <a:pPr lvl="0"/>
            <a:r>
              <a:rPr lang="en-US" sz="633"/>
              <a:t>References and abbreviations here.</a:t>
            </a:r>
            <a:endParaRPr lang="en-GB"/>
          </a:p>
        </p:txBody>
      </p:sp>
      <p:sp>
        <p:nvSpPr>
          <p:cNvPr id="2" name="CuadroTexto 1">
            <a:extLst>
              <a:ext uri="{FF2B5EF4-FFF2-40B4-BE49-F238E27FC236}">
                <a16:creationId xmlns:a16="http://schemas.microsoft.com/office/drawing/2014/main" id="{7DF813EA-EECD-744F-AE30-C0FD374A7C1F}"/>
              </a:ext>
            </a:extLst>
          </p:cNvPr>
          <p:cNvSpPr txBox="1"/>
          <p:nvPr userDrawn="1"/>
        </p:nvSpPr>
        <p:spPr>
          <a:xfrm>
            <a:off x="421419" y="4913906"/>
            <a:ext cx="0" cy="0"/>
          </a:xfrm>
          <a:prstGeom prst="rect">
            <a:avLst/>
          </a:prstGeom>
          <a:noFill/>
        </p:spPr>
        <p:txBody>
          <a:bodyPr wrap="none" lIns="0" tIns="0" rIns="0" bIns="0" rtlCol="0">
            <a:noAutofit/>
          </a:bodyPr>
          <a:lstStyle/>
          <a:p>
            <a:pPr marL="192881" indent="-192881">
              <a:lnSpc>
                <a:spcPct val="100000"/>
              </a:lnSpc>
              <a:spcBef>
                <a:spcPts val="1013"/>
              </a:spcBef>
              <a:buSzPct val="100000"/>
              <a:buFont typeface="Trebuchet MS"/>
              <a:buChar char="•"/>
            </a:pPr>
            <a:endParaRPr lang="es-ES" sz="1688"/>
          </a:p>
        </p:txBody>
      </p:sp>
    </p:spTree>
    <p:extLst>
      <p:ext uri="{BB962C8B-B14F-4D97-AF65-F5344CB8AC3E}">
        <p14:creationId xmlns:p14="http://schemas.microsoft.com/office/powerpoint/2010/main" val="34911910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727478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contenido 2"/>
          <p:cNvSpPr>
            <a:spLocks noGrp="1"/>
          </p:cNvSpPr>
          <p:nvPr>
            <p:ph idx="1"/>
          </p:nvPr>
        </p:nvSpPr>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Tree>
    <p:extLst>
      <p:ext uri="{BB962C8B-B14F-4D97-AF65-F5344CB8AC3E}">
        <p14:creationId xmlns:p14="http://schemas.microsoft.com/office/powerpoint/2010/main" val="10149466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913D9-DCFC-409B-A92D-9BEB18FC80DE}"/>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AC23827D-7116-45CD-8E78-8B888AA99D3A}"/>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CDADAF0E-81D2-431C-BA5F-6E8CD733481F}"/>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69E68AD-ECEE-4681-ACE3-35F84CF3F17E}"/>
              </a:ext>
            </a:extLst>
          </p:cNvPr>
          <p:cNvSpPr>
            <a:spLocks noGrp="1"/>
          </p:cNvSpPr>
          <p:nvPr>
            <p:ph type="dt" sz="half" idx="10"/>
          </p:nvPr>
        </p:nvSpPr>
        <p:spPr/>
        <p:txBody>
          <a:bodyPr/>
          <a:lstStyle/>
          <a:p>
            <a:endParaRPr lang="el-GR"/>
          </a:p>
        </p:txBody>
      </p:sp>
      <p:sp>
        <p:nvSpPr>
          <p:cNvPr id="6" name="Footer Placeholder 5">
            <a:extLst>
              <a:ext uri="{FF2B5EF4-FFF2-40B4-BE49-F238E27FC236}">
                <a16:creationId xmlns:a16="http://schemas.microsoft.com/office/drawing/2014/main" id="{2EEDAA89-56D9-4050-8053-2FBD5A41780E}"/>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740292B8-A572-4599-A807-96EAC54803A3}"/>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290951177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Tree>
    <p:extLst>
      <p:ext uri="{BB962C8B-B14F-4D97-AF65-F5344CB8AC3E}">
        <p14:creationId xmlns:p14="http://schemas.microsoft.com/office/powerpoint/2010/main" val="11111388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459000" y="127494"/>
            <a:ext cx="6820200" cy="623700"/>
          </a:xfrm>
        </p:spPr>
        <p:txBody>
          <a:bodyPr/>
          <a:lstStyle>
            <a:lvl1pPr>
              <a:defRPr>
                <a:solidFill>
                  <a:schemeClr val="accent3"/>
                </a:solidFill>
              </a:defRPr>
            </a:lvl1pPr>
          </a:lstStyle>
          <a:p>
            <a:r>
              <a:rPr lang="en-US"/>
              <a:t>Click to edit Master title style</a:t>
            </a:r>
            <a:endParaRPr lang="en-GB"/>
          </a:p>
        </p:txBody>
      </p:sp>
      <p:sp>
        <p:nvSpPr>
          <p:cNvPr id="3" name="Content Placeholder 2"/>
          <p:cNvSpPr>
            <a:spLocks noGrp="1"/>
          </p:cNvSpPr>
          <p:nvPr>
            <p:ph idx="1"/>
          </p:nvPr>
        </p:nvSpPr>
        <p:spPr>
          <a:xfrm>
            <a:off x="460073" y="1041377"/>
            <a:ext cx="8097300" cy="3815100"/>
          </a:xfrm>
        </p:spPr>
        <p:txBody>
          <a:bodyPr/>
          <a:lstStyle>
            <a:lvl1pPr marL="167767" indent="-167767">
              <a:buClr>
                <a:srgbClr val="E67225"/>
              </a:buClr>
              <a:buFont typeface="Calibri" panose="020F0502020204030204" pitchFamily="34" charset="0"/>
              <a:buChar char="•"/>
              <a:defRPr>
                <a:solidFill>
                  <a:srgbClr val="223341"/>
                </a:solidFill>
              </a:defRPr>
            </a:lvl1pPr>
            <a:lvl2pPr marL="395808" indent="-167767">
              <a:buClr>
                <a:srgbClr val="E67225"/>
              </a:buClr>
              <a:tabLst/>
              <a:defRPr>
                <a:solidFill>
                  <a:srgbClr val="223341"/>
                </a:solidFill>
              </a:defRPr>
            </a:lvl2pPr>
            <a:lvl3pPr marL="568598" indent="-116533">
              <a:buClr>
                <a:srgbClr val="E67225"/>
              </a:buClr>
              <a:defRPr>
                <a:solidFill>
                  <a:srgbClr val="223341"/>
                </a:solidFill>
              </a:defRPr>
            </a:lvl3pPr>
            <a:lvl4pPr>
              <a:buClr>
                <a:srgbClr val="E67225"/>
              </a:buClr>
              <a:defRPr>
                <a:solidFill>
                  <a:srgbClr val="22334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0" hasCustomPrompt="1"/>
          </p:nvPr>
        </p:nvSpPr>
        <p:spPr>
          <a:xfrm>
            <a:off x="462677" y="4811195"/>
            <a:ext cx="8382126" cy="164212"/>
          </a:xfrm>
        </p:spPr>
        <p:txBody>
          <a:bodyPr wrap="square" lIns="0" tIns="46800" rIns="90000" bIns="0" anchor="b">
            <a:spAutoFit/>
          </a:bodyPr>
          <a:lstStyle>
            <a:lvl1pPr marL="0" indent="0">
              <a:buFontTx/>
              <a:buNone/>
              <a:defRPr sz="760"/>
            </a:lvl1pPr>
            <a:lvl2pPr marL="115528" indent="0">
              <a:buFontTx/>
              <a:buNone/>
              <a:defRPr sz="886"/>
            </a:lvl2pPr>
            <a:lvl3pPr marL="226032" indent="0">
              <a:buFontTx/>
              <a:buNone/>
              <a:defRPr sz="886"/>
            </a:lvl3pPr>
            <a:lvl4pPr marL="339551" indent="0">
              <a:buFontTx/>
              <a:buNone/>
              <a:defRPr sz="886"/>
            </a:lvl4pPr>
            <a:lvl5pPr marL="451061" indent="0">
              <a:buFontTx/>
              <a:buNone/>
              <a:defRPr sz="886"/>
            </a:lvl5pPr>
          </a:lstStyle>
          <a:p>
            <a:pPr lvl="0"/>
            <a:r>
              <a:rPr lang="en-US"/>
              <a:t>[reference]</a:t>
            </a:r>
          </a:p>
        </p:txBody>
      </p:sp>
    </p:spTree>
    <p:extLst>
      <p:ext uri="{BB962C8B-B14F-4D97-AF65-F5344CB8AC3E}">
        <p14:creationId xmlns:p14="http://schemas.microsoft.com/office/powerpoint/2010/main" val="3804320027"/>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306552" y="139330"/>
            <a:ext cx="8530894" cy="272720"/>
          </a:xfrm>
        </p:spPr>
        <p:txBody>
          <a:bodyPr lIns="0" tIns="0" rIns="0" bIns="0"/>
          <a:lstStyle>
            <a:lvl1pPr>
              <a:defRPr sz="1772" b="1" i="0">
                <a:solidFill>
                  <a:srgbClr val="003479"/>
                </a:solidFill>
                <a:latin typeface="Open Sans"/>
                <a:cs typeface="Open Sans"/>
              </a:defRPr>
            </a:lvl1pPr>
          </a:lstStyle>
          <a:p>
            <a:endParaRPr/>
          </a:p>
        </p:txBody>
      </p:sp>
      <p:sp>
        <p:nvSpPr>
          <p:cNvPr id="3" name="Holder 3"/>
          <p:cNvSpPr>
            <a:spLocks noGrp="1"/>
          </p:cNvSpPr>
          <p:nvPr>
            <p:ph sz="half" idx="2"/>
          </p:nvPr>
        </p:nvSpPr>
        <p:spPr>
          <a:xfrm>
            <a:off x="457200" y="1183006"/>
            <a:ext cx="3977640" cy="19479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6"/>
            <a:ext cx="3977640" cy="194797"/>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239896353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7" name="Rechteck 1"/>
          <p:cNvSpPr>
            <a:spLocks noChangeArrowheads="1"/>
          </p:cNvSpPr>
          <p:nvPr userDrawn="1"/>
        </p:nvSpPr>
        <p:spPr bwMode="auto">
          <a:xfrm>
            <a:off x="0" y="1"/>
            <a:ext cx="9144000" cy="4225159"/>
          </a:xfrm>
          <a:prstGeom prst="rect">
            <a:avLst/>
          </a:prstGeom>
          <a:solidFill>
            <a:schemeClr val="accent5"/>
          </a:solidFill>
          <a:ln>
            <a:noFill/>
          </a:ln>
        </p:spPr>
        <p:txBody>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eaLnBrk="1" hangingPunct="1"/>
            <a:endParaRPr lang="de-DE" altLang="de-DE" sz="2100"/>
          </a:p>
        </p:txBody>
      </p:sp>
      <p:pic>
        <p:nvPicPr>
          <p:cNvPr id="17" name="Grafik 16"/>
          <p:cNvPicPr>
            <a:picLocks noChangeAspect="1"/>
          </p:cNvPicPr>
          <p:nvPr userDrawn="1"/>
        </p:nvPicPr>
        <p:blipFill rotWithShape="1">
          <a:blip r:embed="rId2" cstate="screen">
            <a:extLst>
              <a:ext uri="{28A0092B-C50C-407E-A947-70E740481C1C}">
                <a14:useLocalDpi xmlns:a14="http://schemas.microsoft.com/office/drawing/2010/main"/>
              </a:ext>
            </a:extLst>
          </a:blip>
          <a:srcRect r="4482"/>
          <a:stretch/>
        </p:blipFill>
        <p:spPr>
          <a:xfrm>
            <a:off x="4011173" y="149662"/>
            <a:ext cx="5128745" cy="5369396"/>
          </a:xfrm>
          <a:prstGeom prst="rect">
            <a:avLst/>
          </a:prstGeom>
        </p:spPr>
      </p:pic>
      <p:pic>
        <p:nvPicPr>
          <p:cNvPr id="11" name="Grafik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51172" y="263077"/>
            <a:ext cx="2307635" cy="672747"/>
          </a:xfrm>
          <a:prstGeom prst="rect">
            <a:avLst/>
          </a:prstGeom>
        </p:spPr>
      </p:pic>
      <p:pic>
        <p:nvPicPr>
          <p:cNvPr id="12" name="Grafik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7491" y="3868708"/>
            <a:ext cx="2284824" cy="514367"/>
          </a:xfrm>
          <a:prstGeom prst="rect">
            <a:avLst/>
          </a:prstGeom>
        </p:spPr>
      </p:pic>
      <p:sp>
        <p:nvSpPr>
          <p:cNvPr id="15" name="Rectangle 3"/>
          <p:cNvSpPr>
            <a:spLocks noGrp="1" noChangeArrowheads="1"/>
          </p:cNvSpPr>
          <p:nvPr>
            <p:ph type="ctrTitle" hasCustomPrompt="1"/>
          </p:nvPr>
        </p:nvSpPr>
        <p:spPr>
          <a:xfrm>
            <a:off x="465075" y="1743075"/>
            <a:ext cx="8064562" cy="1137792"/>
          </a:xfrm>
          <a:prstGeom prst="rect">
            <a:avLst/>
          </a:prstGeom>
          <a:extLst>
            <a:ext uri="{909E8E84-426E-40DD-AFC4-6F175D3DCCD1}">
              <a14:hiddenFill xmlns:a14="http://schemas.microsoft.com/office/drawing/2010/main">
                <a:solidFill>
                  <a:srgbClr val="004FA3"/>
                </a:solidFill>
              </a14:hiddenFill>
            </a:ext>
            <a:ext uri="{91240B29-F687-4F45-9708-019B960494DF}">
              <a14:hiddenLine xmlns:a14="http://schemas.microsoft.com/office/drawing/2010/main" w="38100">
                <a:solidFill>
                  <a:schemeClr val="tx1"/>
                </a:solidFill>
                <a:miter lim="800000"/>
                <a:headEnd/>
                <a:tailEnd/>
              </a14:hiddenLine>
            </a:ext>
          </a:extLst>
        </p:spPr>
        <p:txBody>
          <a:bodyPr wrap="square" lIns="0" tIns="0" bIns="45720" anchor="ctr" anchorCtr="0">
            <a:noAutofit/>
          </a:bodyPr>
          <a:lstStyle>
            <a:lvl1pPr>
              <a:defRPr sz="2700" b="0">
                <a:solidFill>
                  <a:srgbClr val="FFFFFF"/>
                </a:solidFill>
                <a:latin typeface="Arial" panose="020B0604020202020204" pitchFamily="34" charset="0"/>
              </a:defRPr>
            </a:lvl1pPr>
          </a:lstStyle>
          <a:p>
            <a:pPr lvl="0"/>
            <a:r>
              <a:rPr lang="de-DE" noProof="0"/>
              <a:t>Titel durch Klicken bearbeiten</a:t>
            </a:r>
          </a:p>
        </p:txBody>
      </p:sp>
      <p:sp>
        <p:nvSpPr>
          <p:cNvPr id="16" name="Rectangle 4"/>
          <p:cNvSpPr>
            <a:spLocks noGrp="1" noChangeArrowheads="1"/>
          </p:cNvSpPr>
          <p:nvPr>
            <p:ph type="subTitle" idx="1" hasCustomPrompt="1"/>
          </p:nvPr>
        </p:nvSpPr>
        <p:spPr>
          <a:xfrm>
            <a:off x="474430" y="2957288"/>
            <a:ext cx="8049085" cy="407195"/>
          </a:xfrm>
          <a:prstGeom prst="rect">
            <a:avLst/>
          </a:prstGeom>
          <a:extLst>
            <a:ext uri="{909E8E84-426E-40DD-AFC4-6F175D3DCCD1}">
              <a14:hiddenFill xmlns:a14="http://schemas.microsoft.com/office/drawing/2010/main">
                <a:solidFill>
                  <a:schemeClr val="accent1"/>
                </a:solidFill>
              </a14:hiddenFill>
            </a:ext>
          </a:extLst>
        </p:spPr>
        <p:txBody>
          <a:bodyPr wrap="none" lIns="0" tIns="0">
            <a:normAutofit/>
          </a:bodyPr>
          <a:lstStyle>
            <a:lvl1pPr marL="0" indent="0">
              <a:buFontTx/>
              <a:buNone/>
              <a:defRPr sz="1650" b="0">
                <a:solidFill>
                  <a:srgbClr val="FFFFFF"/>
                </a:solidFill>
                <a:latin typeface="Arial" panose="020B0604020202020204" pitchFamily="34" charset="0"/>
              </a:defRPr>
            </a:lvl1pPr>
          </a:lstStyle>
          <a:p>
            <a:pPr lvl="0"/>
            <a:r>
              <a:rPr lang="de-DE" noProof="0"/>
              <a:t>Untertitel</a:t>
            </a:r>
          </a:p>
        </p:txBody>
      </p:sp>
      <p:sp>
        <p:nvSpPr>
          <p:cNvPr id="3" name="Textplatzhalter 2"/>
          <p:cNvSpPr>
            <a:spLocks noGrp="1"/>
          </p:cNvSpPr>
          <p:nvPr>
            <p:ph type="body" sz="quarter" idx="10" hasCustomPrompt="1"/>
          </p:nvPr>
        </p:nvSpPr>
        <p:spPr>
          <a:xfrm>
            <a:off x="3137171" y="4481711"/>
            <a:ext cx="5646778" cy="541734"/>
          </a:xfrm>
          <a:prstGeom prst="rect">
            <a:avLst/>
          </a:prstGeom>
        </p:spPr>
        <p:txBody>
          <a:bodyPr/>
          <a:lstStyle>
            <a:lvl1pPr marL="0" indent="0" algn="r">
              <a:lnSpc>
                <a:spcPct val="100000"/>
              </a:lnSpc>
              <a:spcBef>
                <a:spcPts val="0"/>
              </a:spcBef>
              <a:buFontTx/>
              <a:buNone/>
              <a:defRPr sz="1050" b="1"/>
            </a:lvl1pPr>
            <a:lvl2pPr marL="342866" indent="0">
              <a:buFontTx/>
              <a:buNone/>
              <a:defRPr sz="1050"/>
            </a:lvl2pPr>
            <a:lvl3pPr marL="685732" indent="0">
              <a:buFontTx/>
              <a:buNone/>
              <a:defRPr sz="1050"/>
            </a:lvl3pPr>
            <a:lvl4pPr marL="1028597" indent="0">
              <a:buFontTx/>
              <a:buNone/>
              <a:defRPr sz="1050"/>
            </a:lvl4pPr>
            <a:lvl5pPr marL="1371463" indent="0">
              <a:buFontTx/>
              <a:buNone/>
              <a:defRPr sz="1050"/>
            </a:lvl5pPr>
          </a:lstStyle>
          <a:p>
            <a:pPr lvl="0"/>
            <a:r>
              <a:rPr lang="de-DE"/>
              <a:t>Einrichtung</a:t>
            </a:r>
          </a:p>
        </p:txBody>
      </p:sp>
    </p:spTree>
    <p:extLst>
      <p:ext uri="{BB962C8B-B14F-4D97-AF65-F5344CB8AC3E}">
        <p14:creationId xmlns:p14="http://schemas.microsoft.com/office/powerpoint/2010/main" val="13946961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el und Inhalt Standard">
    <p:spTree>
      <p:nvGrpSpPr>
        <p:cNvPr id="1" name=""/>
        <p:cNvGrpSpPr/>
        <p:nvPr/>
      </p:nvGrpSpPr>
      <p:grpSpPr>
        <a:xfrm>
          <a:off x="0" y="0"/>
          <a:ext cx="0" cy="0"/>
          <a:chOff x="0" y="0"/>
          <a:chExt cx="0" cy="0"/>
        </a:xfrm>
      </p:grpSpPr>
      <p:sp>
        <p:nvSpPr>
          <p:cNvPr id="12"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chemeClr val="tx2"/>
                </a:solidFill>
                <a:latin typeface="Arial" panose="020B0604020202020204" pitchFamily="34" charset="0"/>
              </a:defRPr>
            </a:lvl1pPr>
          </a:lstStyle>
          <a:p>
            <a:r>
              <a:rPr lang="de-DE"/>
              <a:t>Titelmasterformat durch Klicken bearbeiten</a:t>
            </a:r>
          </a:p>
        </p:txBody>
      </p:sp>
      <p:sp>
        <p:nvSpPr>
          <p:cNvPr id="13" name="Inhaltsplatzhalter 2"/>
          <p:cNvSpPr>
            <a:spLocks noGrp="1"/>
          </p:cNvSpPr>
          <p:nvPr>
            <p:ph idx="1"/>
          </p:nvPr>
        </p:nvSpPr>
        <p:spPr>
          <a:xfrm>
            <a:off x="259655" y="874643"/>
            <a:ext cx="8712895" cy="4130909"/>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64787" y="140732"/>
            <a:ext cx="1578085" cy="437912"/>
          </a:xfrm>
          <a:prstGeom prst="rect">
            <a:avLst/>
          </a:prstGeom>
        </p:spPr>
      </p:pic>
      <p:cxnSp>
        <p:nvCxnSpPr>
          <p:cNvPr id="8" name="Gerader Verbinder 7"/>
          <p:cNvCxnSpPr/>
          <p:nvPr userDrawn="1"/>
        </p:nvCxnSpPr>
        <p:spPr>
          <a:xfrm>
            <a:off x="0" y="719418"/>
            <a:ext cx="91440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04520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el und Inhalt Standard Farbfelder">
    <p:spTree>
      <p:nvGrpSpPr>
        <p:cNvPr id="1" name=""/>
        <p:cNvGrpSpPr/>
        <p:nvPr/>
      </p:nvGrpSpPr>
      <p:grpSpPr>
        <a:xfrm>
          <a:off x="0" y="0"/>
          <a:ext cx="0" cy="0"/>
          <a:chOff x="0" y="0"/>
          <a:chExt cx="0" cy="0"/>
        </a:xfrm>
      </p:grpSpPr>
      <p:sp>
        <p:nvSpPr>
          <p:cNvPr id="12"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chemeClr val="tx2"/>
                </a:solidFill>
                <a:latin typeface="Arial" panose="020B0604020202020204" pitchFamily="34" charset="0"/>
              </a:defRPr>
            </a:lvl1pPr>
          </a:lstStyle>
          <a:p>
            <a:r>
              <a:rPr lang="de-DE"/>
              <a:t>Titelmasterformat durch Klicken bearbeiten</a:t>
            </a:r>
          </a:p>
        </p:txBody>
      </p:sp>
      <p:sp>
        <p:nvSpPr>
          <p:cNvPr id="13" name="Inhaltsplatzhalter 2"/>
          <p:cNvSpPr>
            <a:spLocks noGrp="1"/>
          </p:cNvSpPr>
          <p:nvPr>
            <p:ph idx="1"/>
          </p:nvPr>
        </p:nvSpPr>
        <p:spPr>
          <a:xfrm>
            <a:off x="259655" y="874643"/>
            <a:ext cx="8712895" cy="4130909"/>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64787" y="140732"/>
            <a:ext cx="1578085" cy="437912"/>
          </a:xfrm>
          <a:prstGeom prst="rect">
            <a:avLst/>
          </a:prstGeom>
        </p:spPr>
      </p:pic>
      <p:cxnSp>
        <p:nvCxnSpPr>
          <p:cNvPr id="8" name="Gerader Verbinder 7"/>
          <p:cNvCxnSpPr/>
          <p:nvPr userDrawn="1"/>
        </p:nvCxnSpPr>
        <p:spPr>
          <a:xfrm>
            <a:off x="0" y="719418"/>
            <a:ext cx="9144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Textfeld 5"/>
          <p:cNvSpPr txBox="1"/>
          <p:nvPr userDrawn="1"/>
        </p:nvSpPr>
        <p:spPr>
          <a:xfrm>
            <a:off x="-1047573" y="0"/>
            <a:ext cx="953465" cy="553998"/>
          </a:xfrm>
          <a:prstGeom prst="rect">
            <a:avLst/>
          </a:prstGeom>
          <a:solidFill>
            <a:srgbClr val="004595"/>
          </a:solidFill>
        </p:spPr>
        <p:txBody>
          <a:bodyPr wrap="square" rtlCol="0">
            <a:spAutoFit/>
          </a:bodyPr>
          <a:lstStyle/>
          <a:p>
            <a:endParaRPr lang="de-DE" sz="750" b="1">
              <a:solidFill>
                <a:schemeClr val="bg1"/>
              </a:solidFill>
              <a:latin typeface="Arial" panose="020B0604020202020204" pitchFamily="34" charset="0"/>
            </a:endParaRPr>
          </a:p>
          <a:p>
            <a:r>
              <a:rPr lang="de-DE" sz="750" b="1">
                <a:solidFill>
                  <a:schemeClr val="bg1"/>
                </a:solidFill>
                <a:latin typeface="Arial" panose="020B0604020202020204" pitchFamily="34" charset="0"/>
              </a:rPr>
              <a:t>Blau 1</a:t>
            </a:r>
          </a:p>
          <a:p>
            <a:r>
              <a:rPr lang="de-DE" sz="750" b="1">
                <a:solidFill>
                  <a:schemeClr val="bg1"/>
                </a:solidFill>
                <a:latin typeface="Arial" panose="020B0604020202020204" pitchFamily="34" charset="0"/>
              </a:rPr>
              <a:t>RGB: 0-69-149</a:t>
            </a:r>
          </a:p>
          <a:p>
            <a:endParaRPr lang="de-DE" sz="750" b="1">
              <a:solidFill>
                <a:schemeClr val="bg1"/>
              </a:solidFill>
              <a:latin typeface="Arial" panose="020B0604020202020204" pitchFamily="34" charset="0"/>
            </a:endParaRPr>
          </a:p>
        </p:txBody>
      </p:sp>
      <p:sp>
        <p:nvSpPr>
          <p:cNvPr id="9" name="Textfeld 8"/>
          <p:cNvSpPr txBox="1"/>
          <p:nvPr userDrawn="1"/>
        </p:nvSpPr>
        <p:spPr>
          <a:xfrm>
            <a:off x="-1047573" y="599089"/>
            <a:ext cx="953465" cy="553998"/>
          </a:xfrm>
          <a:prstGeom prst="rect">
            <a:avLst/>
          </a:prstGeom>
          <a:solidFill>
            <a:srgbClr val="4D87C7"/>
          </a:solidFill>
        </p:spPr>
        <p:txBody>
          <a:bodyPr wrap="square" rtlCol="0">
            <a:spAutoFit/>
          </a:bodyPr>
          <a:lstStyle/>
          <a:p>
            <a:endParaRPr lang="de-DE" sz="750" b="1">
              <a:solidFill>
                <a:schemeClr val="bg1"/>
              </a:solidFill>
              <a:latin typeface="Arial" panose="020B0604020202020204" pitchFamily="34" charset="0"/>
            </a:endParaRPr>
          </a:p>
          <a:p>
            <a:r>
              <a:rPr lang="de-DE" sz="750" b="1">
                <a:solidFill>
                  <a:schemeClr val="bg1"/>
                </a:solidFill>
                <a:latin typeface="Arial" panose="020B0604020202020204" pitchFamily="34" charset="0"/>
              </a:rPr>
              <a:t>Blau 2</a:t>
            </a:r>
          </a:p>
          <a:p>
            <a:r>
              <a:rPr lang="de-DE" sz="750" b="1">
                <a:solidFill>
                  <a:schemeClr val="bg1"/>
                </a:solidFill>
                <a:latin typeface="Arial" panose="020B0604020202020204" pitchFamily="34" charset="0"/>
              </a:rPr>
              <a:t>RGB: 77-135-199</a:t>
            </a:r>
          </a:p>
          <a:p>
            <a:endParaRPr lang="de-DE" sz="750" b="1">
              <a:solidFill>
                <a:schemeClr val="bg1"/>
              </a:solidFill>
              <a:latin typeface="Arial" panose="020B0604020202020204" pitchFamily="34" charset="0"/>
            </a:endParaRPr>
          </a:p>
        </p:txBody>
      </p:sp>
      <p:sp>
        <p:nvSpPr>
          <p:cNvPr id="10" name="Textfeld 9"/>
          <p:cNvSpPr txBox="1"/>
          <p:nvPr userDrawn="1"/>
        </p:nvSpPr>
        <p:spPr>
          <a:xfrm>
            <a:off x="-1047573" y="2995444"/>
            <a:ext cx="953465" cy="553998"/>
          </a:xfrm>
          <a:prstGeom prst="rect">
            <a:avLst/>
          </a:prstGeom>
          <a:solidFill>
            <a:schemeClr val="accent2"/>
          </a:solidFill>
        </p:spPr>
        <p:txBody>
          <a:bodyPr wrap="square" rtlCol="0">
            <a:spAutoFit/>
          </a:bodyPr>
          <a:lstStyle/>
          <a:p>
            <a:endParaRPr lang="de-DE" sz="750" b="1">
              <a:solidFill>
                <a:schemeClr val="bg1"/>
              </a:solidFill>
              <a:latin typeface="Arial" panose="020B0604020202020204" pitchFamily="34" charset="0"/>
            </a:endParaRPr>
          </a:p>
          <a:p>
            <a:r>
              <a:rPr lang="de-DE" sz="750" b="1">
                <a:solidFill>
                  <a:schemeClr val="bg1"/>
                </a:solidFill>
                <a:latin typeface="Arial" panose="020B0604020202020204" pitchFamily="34" charset="0"/>
              </a:rPr>
              <a:t>Akzent Grün</a:t>
            </a:r>
          </a:p>
          <a:p>
            <a:r>
              <a:rPr lang="de-DE" sz="750" b="1">
                <a:solidFill>
                  <a:schemeClr val="bg1"/>
                </a:solidFill>
                <a:latin typeface="Arial" panose="020B0604020202020204" pitchFamily="34" charset="0"/>
              </a:rPr>
              <a:t>RGB: 94-174-147</a:t>
            </a:r>
          </a:p>
          <a:p>
            <a:endParaRPr lang="de-DE" sz="750" b="1">
              <a:solidFill>
                <a:schemeClr val="bg1"/>
              </a:solidFill>
              <a:latin typeface="Arial" panose="020B0604020202020204" pitchFamily="34" charset="0"/>
            </a:endParaRPr>
          </a:p>
        </p:txBody>
      </p:sp>
      <p:sp>
        <p:nvSpPr>
          <p:cNvPr id="11" name="Textfeld 10"/>
          <p:cNvSpPr txBox="1"/>
          <p:nvPr userDrawn="1"/>
        </p:nvSpPr>
        <p:spPr>
          <a:xfrm>
            <a:off x="-1047573" y="3594532"/>
            <a:ext cx="953465" cy="553998"/>
          </a:xfrm>
          <a:prstGeom prst="rect">
            <a:avLst/>
          </a:prstGeom>
          <a:solidFill>
            <a:schemeClr val="accent3"/>
          </a:solidFill>
        </p:spPr>
        <p:txBody>
          <a:bodyPr wrap="square" rtlCol="0">
            <a:spAutoFit/>
          </a:bodyPr>
          <a:lstStyle/>
          <a:p>
            <a:endParaRPr lang="de-DE" sz="750" b="1">
              <a:solidFill>
                <a:schemeClr val="bg1"/>
              </a:solidFill>
              <a:latin typeface="Arial" panose="020B0604020202020204" pitchFamily="34" charset="0"/>
            </a:endParaRPr>
          </a:p>
          <a:p>
            <a:r>
              <a:rPr lang="de-DE" sz="750" b="1">
                <a:solidFill>
                  <a:schemeClr val="bg1"/>
                </a:solidFill>
                <a:latin typeface="Arial" panose="020B0604020202020204" pitchFamily="34" charset="0"/>
              </a:rPr>
              <a:t>Akzent Orange</a:t>
            </a:r>
          </a:p>
          <a:p>
            <a:r>
              <a:rPr lang="de-DE" sz="750" b="1">
                <a:solidFill>
                  <a:schemeClr val="bg1"/>
                </a:solidFill>
                <a:latin typeface="Arial" panose="020B0604020202020204" pitchFamily="34" charset="0"/>
              </a:rPr>
              <a:t>RGB: 240-130-98</a:t>
            </a:r>
          </a:p>
          <a:p>
            <a:endParaRPr lang="de-DE" sz="750" b="1">
              <a:solidFill>
                <a:schemeClr val="bg1"/>
              </a:solidFill>
              <a:latin typeface="Arial" panose="020B0604020202020204" pitchFamily="34" charset="0"/>
            </a:endParaRPr>
          </a:p>
        </p:txBody>
      </p:sp>
      <p:sp>
        <p:nvSpPr>
          <p:cNvPr id="14" name="Textfeld 13"/>
          <p:cNvSpPr txBox="1"/>
          <p:nvPr userDrawn="1"/>
        </p:nvSpPr>
        <p:spPr>
          <a:xfrm>
            <a:off x="-1047573" y="4193621"/>
            <a:ext cx="953465" cy="784830"/>
          </a:xfrm>
          <a:prstGeom prst="rect">
            <a:avLst/>
          </a:prstGeom>
          <a:solidFill>
            <a:schemeClr val="accent4"/>
          </a:solidFill>
        </p:spPr>
        <p:txBody>
          <a:bodyPr wrap="square" rtlCol="0">
            <a:spAutoFit/>
          </a:bodyPr>
          <a:lstStyle/>
          <a:p>
            <a:endParaRPr lang="de-DE" sz="750" b="1">
              <a:solidFill>
                <a:schemeClr val="bg1"/>
              </a:solidFill>
              <a:latin typeface="Arial" panose="020B0604020202020204" pitchFamily="34" charset="0"/>
            </a:endParaRPr>
          </a:p>
          <a:p>
            <a:r>
              <a:rPr lang="de-DE" sz="750" b="1">
                <a:solidFill>
                  <a:schemeClr val="bg1"/>
                </a:solidFill>
                <a:latin typeface="Arial" panose="020B0604020202020204" pitchFamily="34" charset="0"/>
              </a:rPr>
              <a:t>Akzent Bordeaux</a:t>
            </a:r>
          </a:p>
          <a:p>
            <a:r>
              <a:rPr lang="de-DE" sz="750" b="1">
                <a:solidFill>
                  <a:schemeClr val="bg1"/>
                </a:solidFill>
                <a:latin typeface="Arial" panose="020B0604020202020204" pitchFamily="34" charset="0"/>
              </a:rPr>
              <a:t>RGB: 187-100-120</a:t>
            </a:r>
          </a:p>
          <a:p>
            <a:endParaRPr lang="de-DE" sz="750" b="1">
              <a:solidFill>
                <a:schemeClr val="bg1"/>
              </a:solidFill>
              <a:latin typeface="Arial" panose="020B0604020202020204" pitchFamily="34" charset="0"/>
            </a:endParaRPr>
          </a:p>
        </p:txBody>
      </p:sp>
      <p:sp>
        <p:nvSpPr>
          <p:cNvPr id="15" name="Textfeld 14"/>
          <p:cNvSpPr txBox="1"/>
          <p:nvPr userDrawn="1"/>
        </p:nvSpPr>
        <p:spPr>
          <a:xfrm>
            <a:off x="-1047573" y="1203665"/>
            <a:ext cx="953465" cy="669414"/>
          </a:xfrm>
          <a:prstGeom prst="rect">
            <a:avLst/>
          </a:prstGeom>
          <a:solidFill>
            <a:srgbClr val="EAEEF7"/>
          </a:solidFill>
        </p:spPr>
        <p:txBody>
          <a:bodyPr wrap="square" rtlCol="0">
            <a:spAutoFit/>
          </a:bodyPr>
          <a:lstStyle/>
          <a:p>
            <a:endParaRPr lang="de-DE" sz="750" b="1">
              <a:solidFill>
                <a:schemeClr val="bg1"/>
              </a:solidFill>
              <a:latin typeface="Arial" panose="020B0604020202020204" pitchFamily="34" charset="0"/>
            </a:endParaRPr>
          </a:p>
          <a:p>
            <a:r>
              <a:rPr lang="de-DE" sz="750">
                <a:solidFill>
                  <a:srgbClr val="000000"/>
                </a:solidFill>
                <a:latin typeface="Arial" panose="020B0604020202020204" pitchFamily="34" charset="0"/>
              </a:rPr>
              <a:t>Blau 3</a:t>
            </a:r>
          </a:p>
          <a:p>
            <a:r>
              <a:rPr lang="de-DE" sz="750">
                <a:solidFill>
                  <a:srgbClr val="000000"/>
                </a:solidFill>
                <a:latin typeface="Arial" panose="020B0604020202020204" pitchFamily="34" charset="0"/>
              </a:rPr>
              <a:t>RGB: 234-238-247</a:t>
            </a:r>
          </a:p>
          <a:p>
            <a:endParaRPr lang="de-DE" sz="750">
              <a:solidFill>
                <a:srgbClr val="000000"/>
              </a:solidFill>
              <a:latin typeface="Arial" panose="020B0604020202020204" pitchFamily="34" charset="0"/>
            </a:endParaRPr>
          </a:p>
        </p:txBody>
      </p:sp>
      <p:sp>
        <p:nvSpPr>
          <p:cNvPr id="16" name="Textfeld 15"/>
          <p:cNvSpPr txBox="1"/>
          <p:nvPr userDrawn="1"/>
        </p:nvSpPr>
        <p:spPr>
          <a:xfrm>
            <a:off x="-1047573" y="1800010"/>
            <a:ext cx="953465" cy="553998"/>
          </a:xfrm>
          <a:prstGeom prst="rect">
            <a:avLst/>
          </a:prstGeom>
          <a:solidFill>
            <a:srgbClr val="009148"/>
          </a:solidFill>
        </p:spPr>
        <p:txBody>
          <a:bodyPr wrap="square" rtlCol="0">
            <a:spAutoFit/>
          </a:bodyPr>
          <a:lstStyle/>
          <a:p>
            <a:endParaRPr lang="de-DE" sz="750" b="1">
              <a:solidFill>
                <a:schemeClr val="bg1"/>
              </a:solidFill>
              <a:latin typeface="Arial" panose="020B0604020202020204" pitchFamily="34" charset="0"/>
            </a:endParaRPr>
          </a:p>
          <a:p>
            <a:r>
              <a:rPr lang="de-DE" sz="750" b="1">
                <a:solidFill>
                  <a:schemeClr val="bg1"/>
                </a:solidFill>
                <a:latin typeface="Arial" panose="020B0604020202020204" pitchFamily="34" charset="0"/>
              </a:rPr>
              <a:t>Grün 1</a:t>
            </a:r>
          </a:p>
          <a:p>
            <a:r>
              <a:rPr lang="de-DE" sz="750" b="1">
                <a:solidFill>
                  <a:schemeClr val="bg1"/>
                </a:solidFill>
                <a:latin typeface="Arial" panose="020B0604020202020204" pitchFamily="34" charset="0"/>
              </a:rPr>
              <a:t>RGB: 0-145-72</a:t>
            </a:r>
          </a:p>
          <a:p>
            <a:endParaRPr lang="de-DE" sz="750" b="1">
              <a:solidFill>
                <a:schemeClr val="bg1"/>
              </a:solidFill>
              <a:latin typeface="Arial" panose="020B0604020202020204" pitchFamily="34" charset="0"/>
            </a:endParaRPr>
          </a:p>
        </p:txBody>
      </p:sp>
      <p:sp>
        <p:nvSpPr>
          <p:cNvPr id="17" name="Textfeld 16"/>
          <p:cNvSpPr txBox="1"/>
          <p:nvPr userDrawn="1"/>
        </p:nvSpPr>
        <p:spPr>
          <a:xfrm>
            <a:off x="-1047573" y="2396355"/>
            <a:ext cx="953465" cy="669414"/>
          </a:xfrm>
          <a:prstGeom prst="rect">
            <a:avLst/>
          </a:prstGeom>
          <a:solidFill>
            <a:srgbClr val="E9F4EE"/>
          </a:solidFill>
        </p:spPr>
        <p:txBody>
          <a:bodyPr wrap="square" rtlCol="0">
            <a:spAutoFit/>
          </a:bodyPr>
          <a:lstStyle/>
          <a:p>
            <a:endParaRPr lang="de-DE" sz="750" b="1">
              <a:solidFill>
                <a:schemeClr val="bg1"/>
              </a:solidFill>
              <a:latin typeface="Arial" panose="020B0604020202020204" pitchFamily="34" charset="0"/>
            </a:endParaRPr>
          </a:p>
          <a:p>
            <a:r>
              <a:rPr lang="de-DE" sz="750">
                <a:solidFill>
                  <a:srgbClr val="000000"/>
                </a:solidFill>
                <a:latin typeface="Arial" panose="020B0604020202020204" pitchFamily="34" charset="0"/>
              </a:rPr>
              <a:t>Grün 2</a:t>
            </a:r>
          </a:p>
          <a:p>
            <a:r>
              <a:rPr lang="de-DE" sz="750">
                <a:solidFill>
                  <a:srgbClr val="000000"/>
                </a:solidFill>
                <a:latin typeface="Arial" panose="020B0604020202020204" pitchFamily="34" charset="0"/>
              </a:rPr>
              <a:t>RGB: 233-244-238</a:t>
            </a:r>
          </a:p>
          <a:p>
            <a:endParaRPr lang="de-DE" sz="750">
              <a:solidFill>
                <a:srgbClr val="000000"/>
              </a:solidFill>
              <a:latin typeface="Arial" panose="020B0604020202020204" pitchFamily="34" charset="0"/>
            </a:endParaRPr>
          </a:p>
        </p:txBody>
      </p:sp>
    </p:spTree>
    <p:extLst>
      <p:ext uri="{BB962C8B-B14F-4D97-AF65-F5344CB8AC3E}">
        <p14:creationId xmlns:p14="http://schemas.microsoft.com/office/powerpoint/2010/main" val="107934473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el und Inhalt Standard Fußzeile">
    <p:spTree>
      <p:nvGrpSpPr>
        <p:cNvPr id="1" name=""/>
        <p:cNvGrpSpPr/>
        <p:nvPr/>
      </p:nvGrpSpPr>
      <p:grpSpPr>
        <a:xfrm>
          <a:off x="0" y="0"/>
          <a:ext cx="0" cy="0"/>
          <a:chOff x="0" y="0"/>
          <a:chExt cx="0" cy="0"/>
        </a:xfrm>
      </p:grpSpPr>
      <p:sp>
        <p:nvSpPr>
          <p:cNvPr id="12"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chemeClr val="tx2"/>
                </a:solidFill>
                <a:latin typeface="Arial" panose="020B0604020202020204" pitchFamily="34" charset="0"/>
              </a:defRPr>
            </a:lvl1pPr>
          </a:lstStyle>
          <a:p>
            <a:r>
              <a:rPr lang="de-DE"/>
              <a:t>Titelmasterformat durch Klicken bearbeiten</a:t>
            </a:r>
          </a:p>
        </p:txBody>
      </p:sp>
      <p:sp>
        <p:nvSpPr>
          <p:cNvPr id="13" name="Inhaltsplatzhalter 2"/>
          <p:cNvSpPr>
            <a:spLocks noGrp="1"/>
          </p:cNvSpPr>
          <p:nvPr>
            <p:ph idx="1"/>
          </p:nvPr>
        </p:nvSpPr>
        <p:spPr>
          <a:xfrm>
            <a:off x="259655" y="874643"/>
            <a:ext cx="8712895" cy="3919233"/>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64787" y="140732"/>
            <a:ext cx="1578085" cy="437912"/>
          </a:xfrm>
          <a:prstGeom prst="rect">
            <a:avLst/>
          </a:prstGeom>
        </p:spPr>
      </p:pic>
      <p:cxnSp>
        <p:nvCxnSpPr>
          <p:cNvPr id="8" name="Gerader Verbinder 7"/>
          <p:cNvCxnSpPr/>
          <p:nvPr userDrawn="1"/>
        </p:nvCxnSpPr>
        <p:spPr>
          <a:xfrm>
            <a:off x="0" y="719418"/>
            <a:ext cx="91440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Foliennummernplatzhalter 3"/>
          <p:cNvSpPr>
            <a:spLocks noGrp="1"/>
          </p:cNvSpPr>
          <p:nvPr>
            <p:ph type="sldNum" sz="quarter" idx="10"/>
          </p:nvPr>
        </p:nvSpPr>
        <p:spPr>
          <a:xfrm>
            <a:off x="8680079" y="4860628"/>
            <a:ext cx="376518" cy="182166"/>
          </a:xfrm>
          <a:prstGeom prst="rect">
            <a:avLst/>
          </a:prstGeom>
        </p:spPr>
        <p:txBody>
          <a:bodyPr lIns="0" rIns="0"/>
          <a:lstStyle>
            <a:lvl1pPr algn="l">
              <a:defRPr sz="900" b="1">
                <a:solidFill>
                  <a:schemeClr val="accent1"/>
                </a:solidFill>
              </a:defRPr>
            </a:lvl1pPr>
          </a:lstStyle>
          <a:p>
            <a:pPr>
              <a:defRPr/>
            </a:pPr>
            <a:fld id="{37A20298-986E-4734-B951-F2C952E09839}" type="slidenum">
              <a:rPr lang="de-DE" smtClean="0"/>
              <a:pPr>
                <a:defRPr/>
              </a:pPr>
              <a:t>‹#›</a:t>
            </a:fld>
            <a:endParaRPr lang="de-DE"/>
          </a:p>
        </p:txBody>
      </p:sp>
      <p:sp>
        <p:nvSpPr>
          <p:cNvPr id="9" name="Fußzeilenplatzhalter 4"/>
          <p:cNvSpPr>
            <a:spLocks noGrp="1"/>
          </p:cNvSpPr>
          <p:nvPr>
            <p:ph type="ftr" sz="quarter" idx="11"/>
          </p:nvPr>
        </p:nvSpPr>
        <p:spPr>
          <a:xfrm>
            <a:off x="262177" y="4855865"/>
            <a:ext cx="7012682" cy="186929"/>
          </a:xfrm>
          <a:prstGeom prst="rect">
            <a:avLst/>
          </a:prstGeom>
          <a:noFill/>
        </p:spPr>
        <p:txBody>
          <a:bodyPr lIns="0"/>
          <a:lstStyle>
            <a:lvl1pPr algn="l">
              <a:defRPr sz="900" b="1" smtClean="0">
                <a:solidFill>
                  <a:schemeClr val="accent1"/>
                </a:solidFill>
              </a:defRPr>
            </a:lvl1pPr>
          </a:lstStyle>
          <a:p>
            <a:pPr>
              <a:defRPr/>
            </a:pPr>
            <a:endParaRPr lang="de-DE"/>
          </a:p>
        </p:txBody>
      </p:sp>
      <p:sp>
        <p:nvSpPr>
          <p:cNvPr id="10" name="Datumsplatzhalter 5"/>
          <p:cNvSpPr>
            <a:spLocks noGrp="1"/>
          </p:cNvSpPr>
          <p:nvPr>
            <p:ph type="dt" sz="half" idx="12"/>
          </p:nvPr>
        </p:nvSpPr>
        <p:spPr>
          <a:xfrm>
            <a:off x="7848778" y="4858249"/>
            <a:ext cx="709613" cy="184547"/>
          </a:xfrm>
          <a:prstGeom prst="rect">
            <a:avLst/>
          </a:prstGeom>
        </p:spPr>
        <p:txBody>
          <a:bodyPr/>
          <a:lstStyle>
            <a:lvl1pPr>
              <a:defRPr sz="900" b="1" smtClean="0">
                <a:solidFill>
                  <a:schemeClr val="accent1"/>
                </a:solidFill>
              </a:defRPr>
            </a:lvl1pPr>
          </a:lstStyle>
          <a:p>
            <a:pPr>
              <a:defRPr/>
            </a:pPr>
            <a:endParaRPr lang="de-DE"/>
          </a:p>
        </p:txBody>
      </p:sp>
    </p:spTree>
    <p:extLst>
      <p:ext uri="{BB962C8B-B14F-4D97-AF65-F5344CB8AC3E}">
        <p14:creationId xmlns:p14="http://schemas.microsoft.com/office/powerpoint/2010/main" val="47311810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el und Inhalt Alternativ">
    <p:spTree>
      <p:nvGrpSpPr>
        <p:cNvPr id="1" name=""/>
        <p:cNvGrpSpPr/>
        <p:nvPr/>
      </p:nvGrpSpPr>
      <p:grpSpPr>
        <a:xfrm>
          <a:off x="0" y="0"/>
          <a:ext cx="0" cy="0"/>
          <a:chOff x="0" y="0"/>
          <a:chExt cx="0" cy="0"/>
        </a:xfrm>
      </p:grpSpPr>
      <p:sp>
        <p:nvSpPr>
          <p:cNvPr id="11" name="Rechteck 2"/>
          <p:cNvSpPr>
            <a:spLocks noChangeArrowheads="1"/>
          </p:cNvSpPr>
          <p:nvPr userDrawn="1"/>
        </p:nvSpPr>
        <p:spPr bwMode="auto">
          <a:xfrm>
            <a:off x="0" y="2"/>
            <a:ext cx="9144000" cy="734400"/>
          </a:xfrm>
          <a:prstGeom prst="rect">
            <a:avLst/>
          </a:prstGeom>
          <a:solidFill>
            <a:schemeClr val="accent1"/>
          </a:solidFill>
          <a:ln>
            <a:noFill/>
          </a:ln>
        </p:spPr>
        <p:txBody>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eaLnBrk="1" hangingPunct="1"/>
            <a:endParaRPr lang="de-DE" altLang="de-DE" sz="2100"/>
          </a:p>
        </p:txBody>
      </p:sp>
      <p:sp>
        <p:nvSpPr>
          <p:cNvPr id="12"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rgbClr val="FFFFFF"/>
                </a:solidFill>
                <a:latin typeface="Arial" panose="020B0604020202020204" pitchFamily="34" charset="0"/>
              </a:defRPr>
            </a:lvl1pPr>
          </a:lstStyle>
          <a:p>
            <a:r>
              <a:rPr lang="de-DE"/>
              <a:t>Titelmasterformat durch Klicken bearbeiten</a:t>
            </a:r>
          </a:p>
        </p:txBody>
      </p:sp>
      <p:sp>
        <p:nvSpPr>
          <p:cNvPr id="13" name="Inhaltsplatzhalter 2"/>
          <p:cNvSpPr>
            <a:spLocks noGrp="1"/>
          </p:cNvSpPr>
          <p:nvPr>
            <p:ph idx="1"/>
          </p:nvPr>
        </p:nvSpPr>
        <p:spPr>
          <a:xfrm>
            <a:off x="259655" y="874643"/>
            <a:ext cx="8712895" cy="4130909"/>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14" name="Grafik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65505" y="133950"/>
            <a:ext cx="1715111" cy="500009"/>
          </a:xfrm>
          <a:prstGeom prst="rect">
            <a:avLst/>
          </a:prstGeom>
        </p:spPr>
      </p:pic>
    </p:spTree>
    <p:extLst>
      <p:ext uri="{BB962C8B-B14F-4D97-AF65-F5344CB8AC3E}">
        <p14:creationId xmlns:p14="http://schemas.microsoft.com/office/powerpoint/2010/main" val="1143463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el und Inhalt Alternativ Fußzeile">
    <p:spTree>
      <p:nvGrpSpPr>
        <p:cNvPr id="1" name=""/>
        <p:cNvGrpSpPr/>
        <p:nvPr/>
      </p:nvGrpSpPr>
      <p:grpSpPr>
        <a:xfrm>
          <a:off x="0" y="0"/>
          <a:ext cx="0" cy="0"/>
          <a:chOff x="0" y="0"/>
          <a:chExt cx="0" cy="0"/>
        </a:xfrm>
      </p:grpSpPr>
      <p:sp>
        <p:nvSpPr>
          <p:cNvPr id="3" name="Rechteck 2"/>
          <p:cNvSpPr>
            <a:spLocks noChangeArrowheads="1"/>
          </p:cNvSpPr>
          <p:nvPr userDrawn="1"/>
        </p:nvSpPr>
        <p:spPr bwMode="auto">
          <a:xfrm>
            <a:off x="0" y="2"/>
            <a:ext cx="9144000" cy="734400"/>
          </a:xfrm>
          <a:prstGeom prst="rect">
            <a:avLst/>
          </a:prstGeom>
          <a:solidFill>
            <a:schemeClr val="accent1"/>
          </a:solidFill>
          <a:ln>
            <a:noFill/>
          </a:ln>
        </p:spPr>
        <p:txBody>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eaLnBrk="1" hangingPunct="1"/>
            <a:endParaRPr lang="de-DE" altLang="de-DE" sz="2100"/>
          </a:p>
        </p:txBody>
      </p:sp>
      <p:sp>
        <p:nvSpPr>
          <p:cNvPr id="4"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rgbClr val="FFFFFF"/>
                </a:solidFill>
                <a:latin typeface="Arial" panose="020B0604020202020204" pitchFamily="34" charset="0"/>
              </a:defRPr>
            </a:lvl1pPr>
          </a:lstStyle>
          <a:p>
            <a:r>
              <a:rPr lang="de-DE"/>
              <a:t>Titelmasterformat durch Klicken bearbeiten</a:t>
            </a:r>
          </a:p>
        </p:txBody>
      </p:sp>
      <p:sp>
        <p:nvSpPr>
          <p:cNvPr id="5" name="Inhaltsplatzhalter 2"/>
          <p:cNvSpPr>
            <a:spLocks noGrp="1"/>
          </p:cNvSpPr>
          <p:nvPr>
            <p:ph idx="1"/>
          </p:nvPr>
        </p:nvSpPr>
        <p:spPr>
          <a:xfrm>
            <a:off x="259655" y="874644"/>
            <a:ext cx="8712895" cy="3905786"/>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6" name="Grafik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65505" y="133950"/>
            <a:ext cx="1715111" cy="500009"/>
          </a:xfrm>
          <a:prstGeom prst="rect">
            <a:avLst/>
          </a:prstGeom>
        </p:spPr>
      </p:pic>
      <p:sp>
        <p:nvSpPr>
          <p:cNvPr id="7" name="Foliennummernplatzhalter 3"/>
          <p:cNvSpPr>
            <a:spLocks noGrp="1"/>
          </p:cNvSpPr>
          <p:nvPr>
            <p:ph type="sldNum" sz="quarter" idx="10"/>
          </p:nvPr>
        </p:nvSpPr>
        <p:spPr>
          <a:xfrm>
            <a:off x="8680079" y="4860628"/>
            <a:ext cx="376518" cy="182166"/>
          </a:xfrm>
          <a:prstGeom prst="rect">
            <a:avLst/>
          </a:prstGeom>
        </p:spPr>
        <p:txBody>
          <a:bodyPr lIns="0" rIns="0"/>
          <a:lstStyle>
            <a:lvl1pPr algn="l">
              <a:defRPr sz="900" b="1">
                <a:solidFill>
                  <a:schemeClr val="accent1"/>
                </a:solidFill>
              </a:defRPr>
            </a:lvl1pPr>
          </a:lstStyle>
          <a:p>
            <a:pPr>
              <a:defRPr/>
            </a:pPr>
            <a:fld id="{37A20298-986E-4734-B951-F2C952E09839}" type="slidenum">
              <a:rPr lang="de-DE" smtClean="0"/>
              <a:pPr>
                <a:defRPr/>
              </a:pPr>
              <a:t>‹#›</a:t>
            </a:fld>
            <a:endParaRPr lang="de-DE"/>
          </a:p>
        </p:txBody>
      </p:sp>
      <p:sp>
        <p:nvSpPr>
          <p:cNvPr id="8" name="Fußzeilenplatzhalter 4"/>
          <p:cNvSpPr>
            <a:spLocks noGrp="1"/>
          </p:cNvSpPr>
          <p:nvPr>
            <p:ph type="ftr" sz="quarter" idx="11"/>
          </p:nvPr>
        </p:nvSpPr>
        <p:spPr>
          <a:xfrm>
            <a:off x="262177" y="4855865"/>
            <a:ext cx="7012682" cy="186929"/>
          </a:xfrm>
          <a:prstGeom prst="rect">
            <a:avLst/>
          </a:prstGeom>
          <a:noFill/>
        </p:spPr>
        <p:txBody>
          <a:bodyPr lIns="0"/>
          <a:lstStyle>
            <a:lvl1pPr algn="l">
              <a:defRPr sz="900" b="1" smtClean="0">
                <a:solidFill>
                  <a:schemeClr val="accent1"/>
                </a:solidFill>
              </a:defRPr>
            </a:lvl1pPr>
          </a:lstStyle>
          <a:p>
            <a:pPr>
              <a:defRPr/>
            </a:pPr>
            <a:endParaRPr lang="de-DE"/>
          </a:p>
        </p:txBody>
      </p:sp>
      <p:sp>
        <p:nvSpPr>
          <p:cNvPr id="9" name="Datumsplatzhalter 5"/>
          <p:cNvSpPr>
            <a:spLocks noGrp="1"/>
          </p:cNvSpPr>
          <p:nvPr>
            <p:ph type="dt" sz="half" idx="12"/>
          </p:nvPr>
        </p:nvSpPr>
        <p:spPr>
          <a:xfrm>
            <a:off x="7848778" y="4858249"/>
            <a:ext cx="709613" cy="184547"/>
          </a:xfrm>
          <a:prstGeom prst="rect">
            <a:avLst/>
          </a:prstGeom>
        </p:spPr>
        <p:txBody>
          <a:bodyPr/>
          <a:lstStyle>
            <a:lvl1pPr>
              <a:defRPr sz="900" b="1" smtClean="0">
                <a:solidFill>
                  <a:schemeClr val="accent1"/>
                </a:solidFill>
              </a:defRPr>
            </a:lvl1pPr>
          </a:lstStyle>
          <a:p>
            <a:pPr>
              <a:defRPr/>
            </a:pPr>
            <a:endParaRPr lang="de-DE"/>
          </a:p>
        </p:txBody>
      </p:sp>
    </p:spTree>
    <p:extLst>
      <p:ext uri="{BB962C8B-B14F-4D97-AF65-F5344CB8AC3E}">
        <p14:creationId xmlns:p14="http://schemas.microsoft.com/office/powerpoint/2010/main" val="246088898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bschnitt Infrastruktur">
    <p:spTree>
      <p:nvGrpSpPr>
        <p:cNvPr id="1" name=""/>
        <p:cNvGrpSpPr/>
        <p:nvPr/>
      </p:nvGrpSpPr>
      <p:grpSpPr>
        <a:xfrm>
          <a:off x="0" y="0"/>
          <a:ext cx="0" cy="0"/>
          <a:chOff x="0" y="0"/>
          <a:chExt cx="0" cy="0"/>
        </a:xfrm>
      </p:grpSpPr>
      <p:sp>
        <p:nvSpPr>
          <p:cNvPr id="3" name="Rechteck 1"/>
          <p:cNvSpPr>
            <a:spLocks noChangeArrowheads="1"/>
          </p:cNvSpPr>
          <p:nvPr userDrawn="1"/>
        </p:nvSpPr>
        <p:spPr bwMode="auto">
          <a:xfrm>
            <a:off x="0" y="0"/>
            <a:ext cx="9144000" cy="5143500"/>
          </a:xfrm>
          <a:prstGeom prst="rect">
            <a:avLst/>
          </a:prstGeom>
          <a:solidFill>
            <a:schemeClr val="accent1"/>
          </a:solidFill>
          <a:ln>
            <a:noFill/>
          </a:ln>
        </p:spPr>
        <p:txBody>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eaLnBrk="1" hangingPunct="1"/>
            <a:endParaRPr lang="de-DE" altLang="de-DE" sz="2100"/>
          </a:p>
        </p:txBody>
      </p:sp>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73285" y="151783"/>
            <a:ext cx="5361027" cy="5361027"/>
          </a:xfrm>
          <a:prstGeom prst="rect">
            <a:avLst/>
          </a:prstGeom>
        </p:spPr>
      </p:pic>
      <p:pic>
        <p:nvPicPr>
          <p:cNvPr id="6" name="Grafik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65505" y="133950"/>
            <a:ext cx="1715111" cy="500009"/>
          </a:xfrm>
          <a:prstGeom prst="rect">
            <a:avLst/>
          </a:prstGeom>
        </p:spPr>
      </p:pic>
      <p:sp>
        <p:nvSpPr>
          <p:cNvPr id="8" name="Inhaltsplatzhalter 2"/>
          <p:cNvSpPr>
            <a:spLocks noGrp="1"/>
          </p:cNvSpPr>
          <p:nvPr>
            <p:ph idx="1"/>
          </p:nvPr>
        </p:nvSpPr>
        <p:spPr>
          <a:xfrm>
            <a:off x="259655" y="226244"/>
            <a:ext cx="8712895" cy="4729899"/>
          </a:xfrm>
          <a:prstGeom prst="rect">
            <a:avLst/>
          </a:prstGeom>
        </p:spPr>
        <p:txBody>
          <a:bodyPr lIns="0" anchor="ctr"/>
          <a:lstStyle>
            <a:lvl1pPr marL="257150" indent="-257150">
              <a:buClr>
                <a:schemeClr val="bg1"/>
              </a:buClr>
              <a:buSzPct val="80000"/>
              <a:buFont typeface="Wingdings 3" panose="05040102010807070707" pitchFamily="18" charset="2"/>
              <a:buChar char=""/>
              <a:defRPr sz="2100">
                <a:solidFill>
                  <a:schemeClr val="bg1"/>
                </a:solidFill>
                <a:latin typeface="Arial" panose="020B0604020202020204" pitchFamily="34" charset="0"/>
              </a:defRPr>
            </a:lvl1pPr>
            <a:lvl2pPr marL="557157" indent="-214291">
              <a:buClr>
                <a:schemeClr val="bg1"/>
              </a:buClr>
              <a:buFont typeface="Symbol" panose="05050102010706020507" pitchFamily="18" charset="2"/>
              <a:buChar char="-"/>
              <a:defRPr sz="1800" i="0">
                <a:solidFill>
                  <a:schemeClr val="bg1"/>
                </a:solidFill>
                <a:latin typeface="Arial" panose="020B0604020202020204" pitchFamily="34" charset="0"/>
              </a:defRPr>
            </a:lvl2pPr>
            <a:lvl3pPr marL="857165" indent="-171433">
              <a:buClr>
                <a:schemeClr val="bg1"/>
              </a:buClr>
              <a:buFont typeface="Arial" panose="020B0604020202020204" pitchFamily="34" charset="0"/>
              <a:buChar char="•"/>
              <a:defRPr sz="1650">
                <a:solidFill>
                  <a:schemeClr val="bg1"/>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p:txBody>
      </p:sp>
    </p:spTree>
    <p:extLst>
      <p:ext uri="{BB962C8B-B14F-4D97-AF65-F5344CB8AC3E}">
        <p14:creationId xmlns:p14="http://schemas.microsoft.com/office/powerpoint/2010/main" val="19384049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2D9FE-9EDA-4540-8D45-BF585B586B5A}"/>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52DEE38E-9CF9-491B-AF94-E06F1126B205}"/>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l-GR"/>
          </a:p>
        </p:txBody>
      </p:sp>
      <p:sp>
        <p:nvSpPr>
          <p:cNvPr id="4" name="Text Placeholder 3">
            <a:extLst>
              <a:ext uri="{FF2B5EF4-FFF2-40B4-BE49-F238E27FC236}">
                <a16:creationId xmlns:a16="http://schemas.microsoft.com/office/drawing/2014/main" id="{CBDE117A-486E-44C2-8EC2-695F2E824B9E}"/>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1E2646C-75B4-42DA-A2A2-51AC4EF33F37}"/>
              </a:ext>
            </a:extLst>
          </p:cNvPr>
          <p:cNvSpPr>
            <a:spLocks noGrp="1"/>
          </p:cNvSpPr>
          <p:nvPr>
            <p:ph type="dt" sz="half" idx="10"/>
          </p:nvPr>
        </p:nvSpPr>
        <p:spPr/>
        <p:txBody>
          <a:bodyPr/>
          <a:lstStyle/>
          <a:p>
            <a:endParaRPr lang="el-GR"/>
          </a:p>
        </p:txBody>
      </p:sp>
      <p:sp>
        <p:nvSpPr>
          <p:cNvPr id="6" name="Footer Placeholder 5">
            <a:extLst>
              <a:ext uri="{FF2B5EF4-FFF2-40B4-BE49-F238E27FC236}">
                <a16:creationId xmlns:a16="http://schemas.microsoft.com/office/drawing/2014/main" id="{BC25F69E-F42C-466F-8C51-817F04643BF3}"/>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B8435A0E-9E14-4CF6-BC8D-296E6E03953A}"/>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11134894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bschnitt Forschung">
    <p:spTree>
      <p:nvGrpSpPr>
        <p:cNvPr id="1" name=""/>
        <p:cNvGrpSpPr/>
        <p:nvPr/>
      </p:nvGrpSpPr>
      <p:grpSpPr>
        <a:xfrm>
          <a:off x="0" y="0"/>
          <a:ext cx="0" cy="0"/>
          <a:chOff x="0" y="0"/>
          <a:chExt cx="0" cy="0"/>
        </a:xfrm>
      </p:grpSpPr>
      <p:sp>
        <p:nvSpPr>
          <p:cNvPr id="3" name="Rechteck 1"/>
          <p:cNvSpPr>
            <a:spLocks noChangeArrowheads="1"/>
          </p:cNvSpPr>
          <p:nvPr userDrawn="1"/>
        </p:nvSpPr>
        <p:spPr bwMode="auto">
          <a:xfrm>
            <a:off x="0" y="0"/>
            <a:ext cx="9144000" cy="5143500"/>
          </a:xfrm>
          <a:prstGeom prst="rect">
            <a:avLst/>
          </a:prstGeom>
          <a:solidFill>
            <a:schemeClr val="accent4"/>
          </a:solidFill>
          <a:ln>
            <a:noFill/>
          </a:ln>
        </p:spPr>
        <p:txBody>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eaLnBrk="1" hangingPunct="1"/>
            <a:endParaRPr lang="de-DE" altLang="de-DE" sz="2100"/>
          </a:p>
        </p:txBody>
      </p:sp>
      <p:pic>
        <p:nvPicPr>
          <p:cNvPr id="4" name="Grafik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73285" y="151783"/>
            <a:ext cx="5361027" cy="5361027"/>
          </a:xfrm>
          <a:prstGeom prst="rect">
            <a:avLst/>
          </a:prstGeom>
        </p:spPr>
      </p:pic>
      <p:pic>
        <p:nvPicPr>
          <p:cNvPr id="6" name="Grafik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65505" y="133950"/>
            <a:ext cx="1715111" cy="500009"/>
          </a:xfrm>
          <a:prstGeom prst="rect">
            <a:avLst/>
          </a:prstGeom>
        </p:spPr>
      </p:pic>
      <p:sp>
        <p:nvSpPr>
          <p:cNvPr id="7" name="Inhaltsplatzhalter 2"/>
          <p:cNvSpPr>
            <a:spLocks noGrp="1"/>
          </p:cNvSpPr>
          <p:nvPr>
            <p:ph idx="1"/>
          </p:nvPr>
        </p:nvSpPr>
        <p:spPr>
          <a:xfrm>
            <a:off x="259655" y="226244"/>
            <a:ext cx="8712895" cy="4729899"/>
          </a:xfrm>
          <a:prstGeom prst="rect">
            <a:avLst/>
          </a:prstGeom>
        </p:spPr>
        <p:txBody>
          <a:bodyPr lIns="0" anchor="ctr"/>
          <a:lstStyle>
            <a:lvl1pPr marL="257150" indent="-257150">
              <a:buClr>
                <a:schemeClr val="bg1"/>
              </a:buClr>
              <a:buSzPct val="80000"/>
              <a:buFont typeface="Wingdings 3" panose="05040102010807070707" pitchFamily="18" charset="2"/>
              <a:buChar char=""/>
              <a:defRPr sz="2100">
                <a:solidFill>
                  <a:schemeClr val="bg1"/>
                </a:solidFill>
                <a:latin typeface="Arial" panose="020B0604020202020204" pitchFamily="34" charset="0"/>
              </a:defRPr>
            </a:lvl1pPr>
            <a:lvl2pPr marL="557157" indent="-214291">
              <a:buClr>
                <a:schemeClr val="bg1"/>
              </a:buClr>
              <a:buFont typeface="Symbol" panose="05050102010706020507" pitchFamily="18" charset="2"/>
              <a:buChar char="-"/>
              <a:defRPr sz="1800" i="0">
                <a:solidFill>
                  <a:schemeClr val="bg1"/>
                </a:solidFill>
                <a:latin typeface="Arial" panose="020B0604020202020204" pitchFamily="34" charset="0"/>
              </a:defRPr>
            </a:lvl2pPr>
            <a:lvl3pPr marL="857165" indent="-171433">
              <a:buClr>
                <a:schemeClr val="bg1"/>
              </a:buClr>
              <a:buFont typeface="Arial" panose="020B0604020202020204" pitchFamily="34" charset="0"/>
              <a:buChar char="•"/>
              <a:defRPr sz="1650">
                <a:solidFill>
                  <a:schemeClr val="bg1"/>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p:txBody>
      </p:sp>
    </p:spTree>
    <p:extLst>
      <p:ext uri="{BB962C8B-B14F-4D97-AF65-F5344CB8AC3E}">
        <p14:creationId xmlns:p14="http://schemas.microsoft.com/office/powerpoint/2010/main" val="129936324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bschnitt Klinisch">
    <p:spTree>
      <p:nvGrpSpPr>
        <p:cNvPr id="1" name=""/>
        <p:cNvGrpSpPr/>
        <p:nvPr/>
      </p:nvGrpSpPr>
      <p:grpSpPr>
        <a:xfrm>
          <a:off x="0" y="0"/>
          <a:ext cx="0" cy="0"/>
          <a:chOff x="0" y="0"/>
          <a:chExt cx="0" cy="0"/>
        </a:xfrm>
      </p:grpSpPr>
      <p:sp>
        <p:nvSpPr>
          <p:cNvPr id="6" name="Rechteck 1"/>
          <p:cNvSpPr>
            <a:spLocks noChangeArrowheads="1"/>
          </p:cNvSpPr>
          <p:nvPr userDrawn="1"/>
        </p:nvSpPr>
        <p:spPr bwMode="auto">
          <a:xfrm>
            <a:off x="0" y="0"/>
            <a:ext cx="9144000" cy="5143500"/>
          </a:xfrm>
          <a:prstGeom prst="rect">
            <a:avLst/>
          </a:prstGeom>
          <a:solidFill>
            <a:schemeClr val="accent3"/>
          </a:solidFill>
          <a:ln>
            <a:noFill/>
          </a:ln>
        </p:spPr>
        <p:txBody>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eaLnBrk="1" hangingPunct="1"/>
            <a:endParaRPr lang="de-DE" altLang="de-DE" sz="2100"/>
          </a:p>
        </p:txBody>
      </p:sp>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73285" y="151783"/>
            <a:ext cx="5361027" cy="5361027"/>
          </a:xfrm>
          <a:prstGeom prst="rect">
            <a:avLst/>
          </a:prstGeom>
        </p:spPr>
      </p:pic>
      <p:pic>
        <p:nvPicPr>
          <p:cNvPr id="5" name="Grafik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65505" y="133950"/>
            <a:ext cx="1715111" cy="500009"/>
          </a:xfrm>
          <a:prstGeom prst="rect">
            <a:avLst/>
          </a:prstGeom>
        </p:spPr>
      </p:pic>
      <p:sp>
        <p:nvSpPr>
          <p:cNvPr id="9" name="Inhaltsplatzhalter 2"/>
          <p:cNvSpPr>
            <a:spLocks noGrp="1"/>
          </p:cNvSpPr>
          <p:nvPr>
            <p:ph idx="1"/>
          </p:nvPr>
        </p:nvSpPr>
        <p:spPr>
          <a:xfrm>
            <a:off x="259655" y="226244"/>
            <a:ext cx="8712895" cy="4729899"/>
          </a:xfrm>
          <a:prstGeom prst="rect">
            <a:avLst/>
          </a:prstGeom>
        </p:spPr>
        <p:txBody>
          <a:bodyPr lIns="0" anchor="ctr"/>
          <a:lstStyle>
            <a:lvl1pPr marL="257150" indent="-257150">
              <a:buClr>
                <a:schemeClr val="bg1"/>
              </a:buClr>
              <a:buSzPct val="80000"/>
              <a:buFont typeface="Wingdings 3" panose="05040102010807070707" pitchFamily="18" charset="2"/>
              <a:buChar char=""/>
              <a:defRPr sz="2100">
                <a:solidFill>
                  <a:schemeClr val="bg1"/>
                </a:solidFill>
                <a:latin typeface="Arial" panose="020B0604020202020204" pitchFamily="34" charset="0"/>
              </a:defRPr>
            </a:lvl1pPr>
            <a:lvl2pPr marL="557157" indent="-214291">
              <a:buClr>
                <a:schemeClr val="bg1"/>
              </a:buClr>
              <a:buFont typeface="Symbol" panose="05050102010706020507" pitchFamily="18" charset="2"/>
              <a:buChar char="-"/>
              <a:defRPr sz="1800" i="0">
                <a:solidFill>
                  <a:schemeClr val="bg1"/>
                </a:solidFill>
                <a:latin typeface="Arial" panose="020B0604020202020204" pitchFamily="34" charset="0"/>
              </a:defRPr>
            </a:lvl2pPr>
            <a:lvl3pPr marL="857165" indent="-171433">
              <a:buClr>
                <a:schemeClr val="bg1"/>
              </a:buClr>
              <a:buFont typeface="Arial" panose="020B0604020202020204" pitchFamily="34" charset="0"/>
              <a:buChar char="•"/>
              <a:defRPr sz="1650">
                <a:solidFill>
                  <a:schemeClr val="bg1"/>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p:txBody>
      </p:sp>
    </p:spTree>
    <p:extLst>
      <p:ext uri="{BB962C8B-B14F-4D97-AF65-F5344CB8AC3E}">
        <p14:creationId xmlns:p14="http://schemas.microsoft.com/office/powerpoint/2010/main" val="21696838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bschnitt Netzwerk">
    <p:spTree>
      <p:nvGrpSpPr>
        <p:cNvPr id="1" name=""/>
        <p:cNvGrpSpPr/>
        <p:nvPr/>
      </p:nvGrpSpPr>
      <p:grpSpPr>
        <a:xfrm>
          <a:off x="0" y="0"/>
          <a:ext cx="0" cy="0"/>
          <a:chOff x="0" y="0"/>
          <a:chExt cx="0" cy="0"/>
        </a:xfrm>
      </p:grpSpPr>
      <p:sp>
        <p:nvSpPr>
          <p:cNvPr id="3" name="Rechteck 1"/>
          <p:cNvSpPr>
            <a:spLocks noChangeArrowheads="1"/>
          </p:cNvSpPr>
          <p:nvPr userDrawn="1"/>
        </p:nvSpPr>
        <p:spPr bwMode="auto">
          <a:xfrm>
            <a:off x="0" y="0"/>
            <a:ext cx="9144000" cy="5143500"/>
          </a:xfrm>
          <a:prstGeom prst="rect">
            <a:avLst/>
          </a:prstGeom>
          <a:solidFill>
            <a:schemeClr val="accent6"/>
          </a:solidFill>
          <a:ln>
            <a:noFill/>
          </a:ln>
        </p:spPr>
        <p:txBody>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eaLnBrk="1" hangingPunct="1"/>
            <a:endParaRPr lang="de-DE" altLang="de-DE" sz="2100"/>
          </a:p>
        </p:txBody>
      </p:sp>
      <p:pic>
        <p:nvPicPr>
          <p:cNvPr id="4" name="Grafik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73285" y="151783"/>
            <a:ext cx="5361027" cy="5361027"/>
          </a:xfrm>
          <a:prstGeom prst="rect">
            <a:avLst/>
          </a:prstGeom>
        </p:spPr>
      </p:pic>
      <p:pic>
        <p:nvPicPr>
          <p:cNvPr id="6" name="Grafik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65505" y="133950"/>
            <a:ext cx="1715111" cy="500009"/>
          </a:xfrm>
          <a:prstGeom prst="rect">
            <a:avLst/>
          </a:prstGeom>
        </p:spPr>
      </p:pic>
      <p:sp>
        <p:nvSpPr>
          <p:cNvPr id="7" name="Inhaltsplatzhalter 2"/>
          <p:cNvSpPr>
            <a:spLocks noGrp="1"/>
          </p:cNvSpPr>
          <p:nvPr>
            <p:ph idx="1"/>
          </p:nvPr>
        </p:nvSpPr>
        <p:spPr>
          <a:xfrm>
            <a:off x="259655" y="226244"/>
            <a:ext cx="8712895" cy="4729899"/>
          </a:xfrm>
          <a:prstGeom prst="rect">
            <a:avLst/>
          </a:prstGeom>
        </p:spPr>
        <p:txBody>
          <a:bodyPr lIns="0" anchor="ctr"/>
          <a:lstStyle>
            <a:lvl1pPr marL="257150" indent="-257150">
              <a:buClr>
                <a:schemeClr val="bg1"/>
              </a:buClr>
              <a:buSzPct val="80000"/>
              <a:buFont typeface="Wingdings 3" panose="05040102010807070707" pitchFamily="18" charset="2"/>
              <a:buChar char=""/>
              <a:defRPr sz="2100">
                <a:solidFill>
                  <a:schemeClr val="bg1"/>
                </a:solidFill>
                <a:latin typeface="Arial" panose="020B0604020202020204" pitchFamily="34" charset="0"/>
              </a:defRPr>
            </a:lvl1pPr>
            <a:lvl2pPr marL="557157" indent="-214291">
              <a:buClr>
                <a:schemeClr val="bg1"/>
              </a:buClr>
              <a:buFont typeface="Symbol" panose="05050102010706020507" pitchFamily="18" charset="2"/>
              <a:buChar char="-"/>
              <a:defRPr sz="1800" i="0">
                <a:solidFill>
                  <a:schemeClr val="bg1"/>
                </a:solidFill>
                <a:latin typeface="Arial" panose="020B0604020202020204" pitchFamily="34" charset="0"/>
              </a:defRPr>
            </a:lvl2pPr>
            <a:lvl3pPr marL="857165" indent="-171433">
              <a:buClr>
                <a:schemeClr val="bg1"/>
              </a:buClr>
              <a:buFont typeface="Arial" panose="020B0604020202020204" pitchFamily="34" charset="0"/>
              <a:buChar char="•"/>
              <a:defRPr sz="1650">
                <a:solidFill>
                  <a:schemeClr val="bg1"/>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p:txBody>
      </p:sp>
    </p:spTree>
    <p:extLst>
      <p:ext uri="{BB962C8B-B14F-4D97-AF65-F5344CB8AC3E}">
        <p14:creationId xmlns:p14="http://schemas.microsoft.com/office/powerpoint/2010/main" val="121003791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sp>
        <p:nvSpPr>
          <p:cNvPr id="7" name="Rechteck 1"/>
          <p:cNvSpPr>
            <a:spLocks noChangeArrowheads="1"/>
          </p:cNvSpPr>
          <p:nvPr userDrawn="1"/>
        </p:nvSpPr>
        <p:spPr bwMode="auto">
          <a:xfrm>
            <a:off x="0" y="0"/>
            <a:ext cx="9144000" cy="5143500"/>
          </a:xfrm>
          <a:prstGeom prst="rect">
            <a:avLst/>
          </a:prstGeom>
          <a:solidFill>
            <a:schemeClr val="accent1"/>
          </a:solidFill>
          <a:ln>
            <a:noFill/>
          </a:ln>
        </p:spPr>
        <p:txBody>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eaLnBrk="1" hangingPunct="1"/>
            <a:endParaRPr lang="de-DE" altLang="de-DE" sz="2100"/>
          </a:p>
        </p:txBody>
      </p:sp>
      <p:pic>
        <p:nvPicPr>
          <p:cNvPr id="10" name="Grafik 9"/>
          <p:cNvPicPr>
            <a:picLocks noChangeAspect="1"/>
          </p:cNvPicPr>
          <p:nvPr userDrawn="1"/>
        </p:nvPicPr>
        <p:blipFill rotWithShape="1">
          <a:blip r:embed="rId2" cstate="screen">
            <a:extLst>
              <a:ext uri="{28A0092B-C50C-407E-A947-70E740481C1C}">
                <a14:useLocalDpi xmlns:a14="http://schemas.microsoft.com/office/drawing/2010/main"/>
              </a:ext>
            </a:extLst>
          </a:blip>
          <a:srcRect r="4482"/>
          <a:stretch/>
        </p:blipFill>
        <p:spPr>
          <a:xfrm>
            <a:off x="4011173" y="149662"/>
            <a:ext cx="5128745" cy="5369396"/>
          </a:xfrm>
          <a:prstGeom prst="rect">
            <a:avLst/>
          </a:prstGeom>
        </p:spPr>
      </p:pic>
      <p:pic>
        <p:nvPicPr>
          <p:cNvPr id="5" name="Grafik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65505" y="133950"/>
            <a:ext cx="1715111" cy="500009"/>
          </a:xfrm>
          <a:prstGeom prst="rect">
            <a:avLst/>
          </a:prstGeom>
        </p:spPr>
      </p:pic>
      <p:sp>
        <p:nvSpPr>
          <p:cNvPr id="6" name="Inhaltsplatzhalter 2"/>
          <p:cNvSpPr>
            <a:spLocks noGrp="1"/>
          </p:cNvSpPr>
          <p:nvPr>
            <p:ph idx="1"/>
          </p:nvPr>
        </p:nvSpPr>
        <p:spPr>
          <a:xfrm>
            <a:off x="259655" y="226244"/>
            <a:ext cx="8712895" cy="4729899"/>
          </a:xfrm>
          <a:prstGeom prst="rect">
            <a:avLst/>
          </a:prstGeom>
        </p:spPr>
        <p:txBody>
          <a:bodyPr lIns="0" anchor="ctr"/>
          <a:lstStyle>
            <a:lvl1pPr marL="257150" indent="-257150">
              <a:buClr>
                <a:schemeClr val="bg1"/>
              </a:buClr>
              <a:buSzPct val="80000"/>
              <a:buFont typeface="Wingdings 3" panose="05040102010807070707" pitchFamily="18" charset="2"/>
              <a:buChar char=""/>
              <a:defRPr sz="2100">
                <a:solidFill>
                  <a:schemeClr val="bg1"/>
                </a:solidFill>
                <a:latin typeface="Arial" panose="020B0604020202020204" pitchFamily="34" charset="0"/>
              </a:defRPr>
            </a:lvl1pPr>
            <a:lvl2pPr marL="557157" indent="-214291">
              <a:buClr>
                <a:schemeClr val="bg1"/>
              </a:buClr>
              <a:buFont typeface="Symbol" panose="05050102010706020507" pitchFamily="18" charset="2"/>
              <a:buChar char="-"/>
              <a:defRPr sz="1800" i="0">
                <a:solidFill>
                  <a:schemeClr val="bg1"/>
                </a:solidFill>
                <a:latin typeface="Arial" panose="020B0604020202020204" pitchFamily="34" charset="0"/>
              </a:defRPr>
            </a:lvl2pPr>
            <a:lvl3pPr marL="857165" indent="-171433">
              <a:buClr>
                <a:schemeClr val="bg1"/>
              </a:buClr>
              <a:buFont typeface="Arial" panose="020B0604020202020204" pitchFamily="34" charset="0"/>
              <a:buChar char="•"/>
              <a:defRPr sz="1650">
                <a:solidFill>
                  <a:schemeClr val="bg1"/>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p:txBody>
      </p:sp>
    </p:spTree>
    <p:extLst>
      <p:ext uri="{BB962C8B-B14F-4D97-AF65-F5344CB8AC3E}">
        <p14:creationId xmlns:p14="http://schemas.microsoft.com/office/powerpoint/2010/main" val="202761325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Bild / Text: Bild oben">
    <p:spTree>
      <p:nvGrpSpPr>
        <p:cNvPr id="1" name=""/>
        <p:cNvGrpSpPr/>
        <p:nvPr/>
      </p:nvGrpSpPr>
      <p:grpSpPr>
        <a:xfrm>
          <a:off x="0" y="0"/>
          <a:ext cx="0" cy="0"/>
          <a:chOff x="0" y="0"/>
          <a:chExt cx="0" cy="0"/>
        </a:xfrm>
      </p:grpSpPr>
      <p:sp>
        <p:nvSpPr>
          <p:cNvPr id="3" name="Bildplatzhalter 8"/>
          <p:cNvSpPr>
            <a:spLocks noGrp="1"/>
          </p:cNvSpPr>
          <p:nvPr>
            <p:ph type="pic" sz="quarter" idx="13"/>
          </p:nvPr>
        </p:nvSpPr>
        <p:spPr>
          <a:xfrm>
            <a:off x="0" y="726142"/>
            <a:ext cx="9144000" cy="2193139"/>
          </a:xfrm>
          <a:prstGeom prst="rect">
            <a:avLst/>
          </a:prstGeom>
          <a:solidFill>
            <a:schemeClr val="bg2">
              <a:alpha val="50000"/>
            </a:schemeClr>
          </a:solidFill>
        </p:spPr>
        <p:txBody>
          <a:bodyPr vert="horz"/>
          <a:lstStyle>
            <a:lvl1pPr>
              <a:defRPr>
                <a:latin typeface="Lucida Sans Unicode"/>
              </a:defRPr>
            </a:lvl1pPr>
          </a:lstStyle>
          <a:p>
            <a:r>
              <a:rPr lang="de-DE"/>
              <a:t>Bild durch Klicken auf Symbol hinzufügen</a:t>
            </a:r>
          </a:p>
        </p:txBody>
      </p:sp>
      <p:sp>
        <p:nvSpPr>
          <p:cNvPr id="13" name="Inhaltsplatzhalter 2"/>
          <p:cNvSpPr>
            <a:spLocks noGrp="1"/>
          </p:cNvSpPr>
          <p:nvPr>
            <p:ph idx="1"/>
          </p:nvPr>
        </p:nvSpPr>
        <p:spPr>
          <a:xfrm>
            <a:off x="259655" y="3021496"/>
            <a:ext cx="8712895" cy="1984056"/>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chemeClr val="tx2"/>
                </a:solidFill>
                <a:latin typeface="Arial" panose="020B0604020202020204" pitchFamily="34" charset="0"/>
              </a:defRPr>
            </a:lvl1pPr>
          </a:lstStyle>
          <a:p>
            <a:r>
              <a:rPr lang="de-DE"/>
              <a:t>Titelmasterformat durch Klicken bearbeiten</a:t>
            </a:r>
          </a:p>
        </p:txBody>
      </p:sp>
      <p:pic>
        <p:nvPicPr>
          <p:cNvPr id="8" name="Grafik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64787" y="140732"/>
            <a:ext cx="1578085" cy="437912"/>
          </a:xfrm>
          <a:prstGeom prst="rect">
            <a:avLst/>
          </a:prstGeom>
        </p:spPr>
      </p:pic>
      <p:cxnSp>
        <p:nvCxnSpPr>
          <p:cNvPr id="9" name="Gerader Verbinder 8"/>
          <p:cNvCxnSpPr/>
          <p:nvPr userDrawn="1"/>
        </p:nvCxnSpPr>
        <p:spPr>
          <a:xfrm>
            <a:off x="0" y="719418"/>
            <a:ext cx="91440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353226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ild / Text: Bild links">
    <p:spTree>
      <p:nvGrpSpPr>
        <p:cNvPr id="1" name=""/>
        <p:cNvGrpSpPr/>
        <p:nvPr/>
      </p:nvGrpSpPr>
      <p:grpSpPr>
        <a:xfrm>
          <a:off x="0" y="0"/>
          <a:ext cx="0" cy="0"/>
          <a:chOff x="0" y="0"/>
          <a:chExt cx="0" cy="0"/>
        </a:xfrm>
      </p:grpSpPr>
      <p:sp>
        <p:nvSpPr>
          <p:cNvPr id="3" name="Bildplatzhalter 8"/>
          <p:cNvSpPr>
            <a:spLocks noGrp="1"/>
          </p:cNvSpPr>
          <p:nvPr>
            <p:ph type="pic" sz="quarter" idx="13"/>
          </p:nvPr>
        </p:nvSpPr>
        <p:spPr>
          <a:xfrm>
            <a:off x="0" y="725091"/>
            <a:ext cx="3520800" cy="4418411"/>
          </a:xfrm>
          <a:prstGeom prst="rect">
            <a:avLst/>
          </a:prstGeom>
          <a:solidFill>
            <a:schemeClr val="bg2">
              <a:alpha val="50000"/>
            </a:schemeClr>
          </a:solidFill>
        </p:spPr>
        <p:txBody>
          <a:bodyPr vert="horz"/>
          <a:lstStyle>
            <a:lvl1pPr>
              <a:defRPr>
                <a:latin typeface="Lucida Sans Unicode"/>
              </a:defRPr>
            </a:lvl1pPr>
          </a:lstStyle>
          <a:p>
            <a:r>
              <a:rPr lang="de-DE"/>
              <a:t>Bild durch Klicken auf Symbol hinzufügen</a:t>
            </a:r>
          </a:p>
        </p:txBody>
      </p:sp>
      <p:sp>
        <p:nvSpPr>
          <p:cNvPr id="13" name="Inhaltsplatzhalter 2"/>
          <p:cNvSpPr>
            <a:spLocks noGrp="1"/>
          </p:cNvSpPr>
          <p:nvPr>
            <p:ph idx="1"/>
          </p:nvPr>
        </p:nvSpPr>
        <p:spPr>
          <a:xfrm>
            <a:off x="3727174" y="874643"/>
            <a:ext cx="5245376" cy="4130909"/>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chemeClr val="tx2"/>
                </a:solidFill>
                <a:latin typeface="Arial" panose="020B0604020202020204" pitchFamily="34" charset="0"/>
              </a:defRPr>
            </a:lvl1pPr>
          </a:lstStyle>
          <a:p>
            <a:r>
              <a:rPr lang="de-DE"/>
              <a:t>Titelmasterformat durch Klicken bearbeiten</a:t>
            </a:r>
          </a:p>
        </p:txBody>
      </p:sp>
      <p:pic>
        <p:nvPicPr>
          <p:cNvPr id="8" name="Grafik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64787" y="140732"/>
            <a:ext cx="1578085" cy="437912"/>
          </a:xfrm>
          <a:prstGeom prst="rect">
            <a:avLst/>
          </a:prstGeom>
        </p:spPr>
      </p:pic>
      <p:cxnSp>
        <p:nvCxnSpPr>
          <p:cNvPr id="12" name="Gerader Verbinder 11"/>
          <p:cNvCxnSpPr/>
          <p:nvPr userDrawn="1"/>
        </p:nvCxnSpPr>
        <p:spPr>
          <a:xfrm>
            <a:off x="0" y="719418"/>
            <a:ext cx="91440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496577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ild / Text: Bild rechts">
    <p:spTree>
      <p:nvGrpSpPr>
        <p:cNvPr id="1" name=""/>
        <p:cNvGrpSpPr/>
        <p:nvPr/>
      </p:nvGrpSpPr>
      <p:grpSpPr>
        <a:xfrm>
          <a:off x="0" y="0"/>
          <a:ext cx="0" cy="0"/>
          <a:chOff x="0" y="0"/>
          <a:chExt cx="0" cy="0"/>
        </a:xfrm>
      </p:grpSpPr>
      <p:sp>
        <p:nvSpPr>
          <p:cNvPr id="13" name="Inhaltsplatzhalter 2"/>
          <p:cNvSpPr>
            <a:spLocks noGrp="1"/>
          </p:cNvSpPr>
          <p:nvPr>
            <p:ph idx="1"/>
          </p:nvPr>
        </p:nvSpPr>
        <p:spPr>
          <a:xfrm>
            <a:off x="268356" y="874643"/>
            <a:ext cx="5245376" cy="4130909"/>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4" name="Bildplatzhalter 8"/>
          <p:cNvSpPr>
            <a:spLocks noGrp="1"/>
          </p:cNvSpPr>
          <p:nvPr>
            <p:ph type="pic" sz="quarter" idx="13"/>
          </p:nvPr>
        </p:nvSpPr>
        <p:spPr>
          <a:xfrm>
            <a:off x="5616130" y="725557"/>
            <a:ext cx="3527870" cy="4417944"/>
          </a:xfrm>
          <a:prstGeom prst="rect">
            <a:avLst/>
          </a:prstGeom>
          <a:solidFill>
            <a:schemeClr val="bg2">
              <a:alpha val="50000"/>
            </a:schemeClr>
          </a:solidFill>
        </p:spPr>
        <p:txBody>
          <a:bodyPr vert="horz"/>
          <a:lstStyle>
            <a:lvl1pPr>
              <a:defRPr>
                <a:latin typeface="Lucida Sans Unicode"/>
              </a:defRPr>
            </a:lvl1pPr>
          </a:lstStyle>
          <a:p>
            <a:r>
              <a:rPr lang="de-DE"/>
              <a:t>Bild durch Klicken auf Symbol hinzufügen</a:t>
            </a:r>
          </a:p>
        </p:txBody>
      </p:sp>
      <p:sp>
        <p:nvSpPr>
          <p:cNvPr id="7"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chemeClr val="tx2"/>
                </a:solidFill>
                <a:latin typeface="Arial" panose="020B0604020202020204" pitchFamily="34" charset="0"/>
              </a:defRPr>
            </a:lvl1pPr>
          </a:lstStyle>
          <a:p>
            <a:r>
              <a:rPr lang="de-DE"/>
              <a:t>Titelmasterformat durch Klicken bearbeiten</a:t>
            </a:r>
          </a:p>
        </p:txBody>
      </p:sp>
      <p:pic>
        <p:nvPicPr>
          <p:cNvPr id="8" name="Grafik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64787" y="140732"/>
            <a:ext cx="1578085" cy="437912"/>
          </a:xfrm>
          <a:prstGeom prst="rect">
            <a:avLst/>
          </a:prstGeom>
        </p:spPr>
      </p:pic>
      <p:cxnSp>
        <p:nvCxnSpPr>
          <p:cNvPr id="9" name="Gerader Verbinder 8"/>
          <p:cNvCxnSpPr/>
          <p:nvPr userDrawn="1"/>
        </p:nvCxnSpPr>
        <p:spPr>
          <a:xfrm>
            <a:off x="0" y="719418"/>
            <a:ext cx="91440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80648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ld Vollfläche mit Überschrift">
    <p:spTree>
      <p:nvGrpSpPr>
        <p:cNvPr id="1" name=""/>
        <p:cNvGrpSpPr/>
        <p:nvPr/>
      </p:nvGrpSpPr>
      <p:grpSpPr>
        <a:xfrm>
          <a:off x="0" y="0"/>
          <a:ext cx="0" cy="0"/>
          <a:chOff x="0" y="0"/>
          <a:chExt cx="0" cy="0"/>
        </a:xfrm>
      </p:grpSpPr>
      <p:sp>
        <p:nvSpPr>
          <p:cNvPr id="3" name="Bildplatzhalter 8"/>
          <p:cNvSpPr>
            <a:spLocks noGrp="1"/>
          </p:cNvSpPr>
          <p:nvPr>
            <p:ph type="pic" sz="quarter" idx="13"/>
          </p:nvPr>
        </p:nvSpPr>
        <p:spPr>
          <a:xfrm>
            <a:off x="0" y="725557"/>
            <a:ext cx="9144000" cy="4417944"/>
          </a:xfrm>
          <a:prstGeom prst="rect">
            <a:avLst/>
          </a:prstGeom>
          <a:solidFill>
            <a:schemeClr val="bg2">
              <a:alpha val="50000"/>
            </a:schemeClr>
          </a:solidFill>
        </p:spPr>
        <p:txBody>
          <a:bodyPr vert="horz"/>
          <a:lstStyle>
            <a:lvl1pPr>
              <a:defRPr>
                <a:latin typeface="Lucida Sans Unicode"/>
              </a:defRPr>
            </a:lvl1pPr>
          </a:lstStyle>
          <a:p>
            <a:r>
              <a:rPr lang="de-DE"/>
              <a:t>Bild durch Klicken auf Symbol hinzufügen</a:t>
            </a:r>
          </a:p>
        </p:txBody>
      </p:sp>
      <p:sp>
        <p:nvSpPr>
          <p:cNvPr id="6"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chemeClr val="tx2"/>
                </a:solidFill>
                <a:latin typeface="Arial" panose="020B0604020202020204" pitchFamily="34" charset="0"/>
              </a:defRPr>
            </a:lvl1pPr>
          </a:lstStyle>
          <a:p>
            <a:r>
              <a:rPr lang="de-DE"/>
              <a:t>Titelmasterformat durch Klicken bearbeiten</a:t>
            </a:r>
          </a:p>
        </p:txBody>
      </p:sp>
      <p:pic>
        <p:nvPicPr>
          <p:cNvPr id="7" name="Grafik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64787" y="140732"/>
            <a:ext cx="1578085" cy="437912"/>
          </a:xfrm>
          <a:prstGeom prst="rect">
            <a:avLst/>
          </a:prstGeom>
        </p:spPr>
      </p:pic>
      <p:cxnSp>
        <p:nvCxnSpPr>
          <p:cNvPr id="11" name="Gerader Verbinder 10"/>
          <p:cNvCxnSpPr/>
          <p:nvPr userDrawn="1"/>
        </p:nvCxnSpPr>
        <p:spPr>
          <a:xfrm>
            <a:off x="0" y="719418"/>
            <a:ext cx="91440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314782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ild Vollfläche">
    <p:spTree>
      <p:nvGrpSpPr>
        <p:cNvPr id="1" name=""/>
        <p:cNvGrpSpPr/>
        <p:nvPr/>
      </p:nvGrpSpPr>
      <p:grpSpPr>
        <a:xfrm>
          <a:off x="0" y="0"/>
          <a:ext cx="0" cy="0"/>
          <a:chOff x="0" y="0"/>
          <a:chExt cx="0" cy="0"/>
        </a:xfrm>
      </p:grpSpPr>
      <p:sp>
        <p:nvSpPr>
          <p:cNvPr id="3" name="Bildplatzhalter 8"/>
          <p:cNvSpPr>
            <a:spLocks noGrp="1"/>
          </p:cNvSpPr>
          <p:nvPr>
            <p:ph type="pic" sz="quarter" idx="13"/>
          </p:nvPr>
        </p:nvSpPr>
        <p:spPr>
          <a:xfrm>
            <a:off x="0" y="1"/>
            <a:ext cx="9144000" cy="5143499"/>
          </a:xfrm>
          <a:prstGeom prst="rect">
            <a:avLst/>
          </a:prstGeom>
          <a:solidFill>
            <a:schemeClr val="bg2">
              <a:alpha val="50000"/>
            </a:schemeClr>
          </a:solidFill>
        </p:spPr>
        <p:txBody>
          <a:bodyPr vert="horz"/>
          <a:lstStyle>
            <a:lvl1pPr>
              <a:defRPr>
                <a:latin typeface="Lucida Sans Unicode"/>
              </a:defRPr>
            </a:lvl1pPr>
          </a:lstStyle>
          <a:p>
            <a:r>
              <a:rPr lang="de-DE"/>
              <a:t>Bild durch Klicken auf Symbol hinzufügen</a:t>
            </a:r>
          </a:p>
        </p:txBody>
      </p:sp>
    </p:spTree>
    <p:extLst>
      <p:ext uri="{BB962C8B-B14F-4D97-AF65-F5344CB8AC3E}">
        <p14:creationId xmlns:p14="http://schemas.microsoft.com/office/powerpoint/2010/main" val="301997035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5" name="Inhaltsplatzhalter 2"/>
          <p:cNvSpPr>
            <a:spLocks noGrp="1"/>
          </p:cNvSpPr>
          <p:nvPr>
            <p:ph idx="1"/>
          </p:nvPr>
        </p:nvSpPr>
        <p:spPr>
          <a:xfrm>
            <a:off x="268358" y="874643"/>
            <a:ext cx="4184374" cy="4130909"/>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2"/>
          <p:cNvSpPr>
            <a:spLocks noGrp="1"/>
          </p:cNvSpPr>
          <p:nvPr>
            <p:ph idx="10"/>
          </p:nvPr>
        </p:nvSpPr>
        <p:spPr>
          <a:xfrm>
            <a:off x="4760845" y="874643"/>
            <a:ext cx="4184374" cy="4130909"/>
          </a:xfrm>
          <a:prstGeom prst="rect">
            <a:avLst/>
          </a:prstGeom>
        </p:spPr>
        <p:txBody>
          <a:bodyPr lIns="0"/>
          <a:lstStyle>
            <a:lvl1pPr marL="257150" indent="-257150">
              <a:buClr>
                <a:schemeClr val="accent5"/>
              </a:buClr>
              <a:buSzPct val="80000"/>
              <a:buFont typeface="Wingdings 3" panose="05040102010807070707" pitchFamily="18" charset="2"/>
              <a:buChar char=""/>
              <a:defRPr sz="2100">
                <a:solidFill>
                  <a:srgbClr val="000000"/>
                </a:solidFill>
                <a:latin typeface="Arial" panose="020B0604020202020204" pitchFamily="34" charset="0"/>
              </a:defRPr>
            </a:lvl1pPr>
            <a:lvl2pPr marL="557157" indent="-214291">
              <a:buClr>
                <a:schemeClr val="accent1"/>
              </a:buClr>
              <a:buFont typeface="Symbol" panose="05050102010706020507" pitchFamily="18" charset="2"/>
              <a:buChar char="-"/>
              <a:defRPr sz="1800" i="0">
                <a:solidFill>
                  <a:srgbClr val="000000"/>
                </a:solidFill>
                <a:latin typeface="Arial" panose="020B0604020202020204" pitchFamily="34" charset="0"/>
              </a:defRPr>
            </a:lvl2pPr>
            <a:lvl3pPr marL="857165" indent="-171433">
              <a:buClr>
                <a:schemeClr val="tx2"/>
              </a:buClr>
              <a:buFont typeface="Symbol" panose="05050102010706020507" pitchFamily="18" charset="2"/>
              <a:buChar char="-"/>
              <a:defRPr sz="1650">
                <a:solidFill>
                  <a:srgbClr val="000000"/>
                </a:solidFill>
                <a:latin typeface="Arial" panose="020B0604020202020204" pitchFamily="34" charset="0"/>
              </a:defRPr>
            </a:lvl3pPr>
            <a:lvl4pPr marL="1200030" indent="-171433">
              <a:buClr>
                <a:srgbClr val="004593"/>
              </a:buClr>
              <a:buFont typeface="Symbol" panose="05050102010706020507" pitchFamily="18" charset="2"/>
              <a:buChar char="-"/>
              <a:defRPr sz="1500">
                <a:solidFill>
                  <a:srgbClr val="000000"/>
                </a:solidFill>
                <a:latin typeface="Arial" panose="020B0604020202020204" pitchFamily="34" charset="0"/>
              </a:defRPr>
            </a:lvl4pPr>
            <a:lvl5pPr marL="1542896" indent="-171433">
              <a:buClr>
                <a:srgbClr val="004593"/>
              </a:buClr>
              <a:buSzPct val="80000"/>
              <a:buFont typeface="Courier New" panose="02070309020205020404" pitchFamily="49" charset="0"/>
              <a:buChar char="o"/>
              <a:defRPr sz="1350">
                <a:solidFill>
                  <a:srgbClr val="000000"/>
                </a:solidFill>
                <a:latin typeface="Arial" panose="020B0604020202020204" pitchFamily="34" charset="0"/>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Titel 1"/>
          <p:cNvSpPr>
            <a:spLocks noGrp="1"/>
          </p:cNvSpPr>
          <p:nvPr>
            <p:ph type="title"/>
          </p:nvPr>
        </p:nvSpPr>
        <p:spPr>
          <a:xfrm>
            <a:off x="259655" y="3"/>
            <a:ext cx="7135059" cy="725555"/>
          </a:xfrm>
          <a:prstGeom prst="rect">
            <a:avLst/>
          </a:prstGeom>
        </p:spPr>
        <p:txBody>
          <a:bodyPr wrap="square" lIns="0" anchor="ctr" anchorCtr="0">
            <a:normAutofit/>
          </a:bodyPr>
          <a:lstStyle>
            <a:lvl1pPr>
              <a:defRPr sz="2400" b="1">
                <a:solidFill>
                  <a:schemeClr val="tx2"/>
                </a:solidFill>
                <a:latin typeface="Arial" panose="020B0604020202020204" pitchFamily="34" charset="0"/>
              </a:defRPr>
            </a:lvl1pPr>
          </a:lstStyle>
          <a:p>
            <a:r>
              <a:rPr lang="de-DE"/>
              <a:t>Titelmasterformat durch Klicken bearbeiten</a:t>
            </a:r>
          </a:p>
        </p:txBody>
      </p:sp>
      <p:pic>
        <p:nvPicPr>
          <p:cNvPr id="8" name="Grafik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64787" y="140732"/>
            <a:ext cx="1578085" cy="437912"/>
          </a:xfrm>
          <a:prstGeom prst="rect">
            <a:avLst/>
          </a:prstGeom>
        </p:spPr>
      </p:pic>
      <p:cxnSp>
        <p:nvCxnSpPr>
          <p:cNvPr id="9" name="Gerader Verbinder 8"/>
          <p:cNvCxnSpPr/>
          <p:nvPr userDrawn="1"/>
        </p:nvCxnSpPr>
        <p:spPr>
          <a:xfrm>
            <a:off x="0" y="719418"/>
            <a:ext cx="91440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72407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2539F-921D-4080-A6E1-2B1716114407}"/>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4E170E64-DDCB-4021-AB82-6D9F9F14AC1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018DBF93-12CA-4322-B037-AAE0E1B66DF7}"/>
              </a:ext>
            </a:extLst>
          </p:cNvPr>
          <p:cNvSpPr>
            <a:spLocks noGrp="1"/>
          </p:cNvSpPr>
          <p:nvPr>
            <p:ph type="dt" sz="half" idx="10"/>
          </p:nvPr>
        </p:nvSpPr>
        <p:spPr/>
        <p:txBody>
          <a:bodyPr/>
          <a:lstStyle/>
          <a:p>
            <a:endParaRPr lang="el-GR"/>
          </a:p>
        </p:txBody>
      </p:sp>
      <p:sp>
        <p:nvSpPr>
          <p:cNvPr id="5" name="Footer Placeholder 4">
            <a:extLst>
              <a:ext uri="{FF2B5EF4-FFF2-40B4-BE49-F238E27FC236}">
                <a16:creationId xmlns:a16="http://schemas.microsoft.com/office/drawing/2014/main" id="{538D9DEB-C7FA-4876-9D7F-582D8CE682FF}"/>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79D6D8E8-FA6C-4C58-AC53-933B7C0B11FF}"/>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364958308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26179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4"/>
          </p:nvPr>
        </p:nvSpPr>
        <p:spPr>
          <a:xfrm>
            <a:off x="8500832" y="4809843"/>
            <a:ext cx="497205" cy="273844"/>
          </a:xfrm>
          <a:prstGeom prst="rect">
            <a:avLst/>
          </a:prstGeom>
        </p:spPr>
        <p:txBody>
          <a:bodyPr vert="horz" lIns="91440" tIns="45720" rIns="91440" bIns="45720" rtlCol="0" anchor="ctr"/>
          <a:lstStyle>
            <a:lvl1pPr algn="r">
              <a:defRPr lang="en-US" sz="825" smtClean="0"/>
            </a:lvl1pPr>
          </a:lstStyle>
          <a:p>
            <a:pPr defTabSz="342866">
              <a:defRPr/>
            </a:pPr>
            <a:fld id="{AF1AFCDA-ABCC-4704-AB71-48FDE4F2FA4C}" type="slidenum">
              <a:rPr lang="de-DE" smtClean="0">
                <a:solidFill>
                  <a:prstClr val="black">
                    <a:tint val="75000"/>
                  </a:prstClr>
                </a:solidFill>
                <a:latin typeface="Calibri" panose="020F0502020204030204"/>
              </a:rPr>
              <a:pPr defTabSz="342866">
                <a:defRPr/>
              </a:pPr>
              <a:t>‹#›</a:t>
            </a:fld>
            <a:endParaRPr lang="de-DE">
              <a:solidFill>
                <a:prstClr val="black">
                  <a:tint val="75000"/>
                </a:prstClr>
              </a:solidFill>
              <a:latin typeface="Calibri" panose="020F0502020204030204"/>
            </a:endParaRPr>
          </a:p>
        </p:txBody>
      </p:sp>
      <p:sp>
        <p:nvSpPr>
          <p:cNvPr id="5" name="Text Placeholder 5">
            <a:extLst>
              <a:ext uri="{FF2B5EF4-FFF2-40B4-BE49-F238E27FC236}">
                <a16:creationId xmlns:a16="http://schemas.microsoft.com/office/drawing/2014/main" id="{21BF7C2D-2C19-4241-9CF3-26389255A655}"/>
              </a:ext>
            </a:extLst>
          </p:cNvPr>
          <p:cNvSpPr>
            <a:spLocks noGrp="1"/>
          </p:cNvSpPr>
          <p:nvPr>
            <p:ph type="body" sz="quarter" idx="13"/>
          </p:nvPr>
        </p:nvSpPr>
        <p:spPr>
          <a:xfrm>
            <a:off x="287337" y="4903923"/>
            <a:ext cx="8280000" cy="152350"/>
          </a:xfrm>
        </p:spPr>
        <p:txBody>
          <a:bodyPr anchor="b">
            <a:spAutoFit/>
          </a:bodyPr>
          <a:lstStyle>
            <a:lvl1pPr>
              <a:spcBef>
                <a:spcPts val="225"/>
              </a:spcBef>
              <a:spcAft>
                <a:spcPts val="0"/>
              </a:spcAft>
              <a:defRPr sz="600"/>
            </a:lvl1pPr>
          </a:lstStyle>
          <a:p>
            <a:pPr lvl="0"/>
            <a:r>
              <a:rPr lang="en-US"/>
              <a:t>Click to edit Master text styles</a:t>
            </a:r>
          </a:p>
        </p:txBody>
      </p:sp>
    </p:spTree>
    <p:custDataLst>
      <p:tags r:id="rId1"/>
    </p:custDataLst>
    <p:extLst>
      <p:ext uri="{BB962C8B-B14F-4D97-AF65-F5344CB8AC3E}">
        <p14:creationId xmlns:p14="http://schemas.microsoft.com/office/powerpoint/2010/main" val="262488893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539752" y="99388"/>
            <a:ext cx="8064500" cy="621506"/>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4934751"/>
            <a:ext cx="6606539" cy="208749"/>
          </a:xfrm>
          <a:noFill/>
        </p:spPr>
        <p:txBody>
          <a:bodyPr wrap="square" lIns="180000" tIns="36000" rIns="180000" bIns="72000" anchor="b" anchorCtr="0">
            <a:spAutoFit/>
          </a:bodyPr>
          <a:lstStyle>
            <a:lvl1pPr>
              <a:lnSpc>
                <a:spcPct val="100000"/>
              </a:lnSpc>
              <a:spcAft>
                <a:spcPts val="450"/>
              </a:spcAft>
              <a:defRPr sz="825" b="0" i="0"/>
            </a:lvl1pPr>
          </a:lstStyle>
          <a:p>
            <a:pPr lvl="0"/>
            <a:r>
              <a:rPr lang="en-US"/>
              <a:t>Reference</a:t>
            </a:r>
          </a:p>
        </p:txBody>
      </p:sp>
      <p:sp>
        <p:nvSpPr>
          <p:cNvPr id="6" name="Content Placeholder 4"/>
          <p:cNvSpPr>
            <a:spLocks noGrp="1"/>
          </p:cNvSpPr>
          <p:nvPr>
            <p:ph sz="quarter" idx="12"/>
          </p:nvPr>
        </p:nvSpPr>
        <p:spPr>
          <a:xfrm>
            <a:off x="539752" y="955963"/>
            <a:ext cx="5929629" cy="3966557"/>
          </a:xfrm>
          <a:prstGeom prst="rect">
            <a:avLst/>
          </a:prstGeom>
        </p:spPr>
        <p:txBody>
          <a:bodyPr/>
          <a:lstStyle>
            <a:lvl1pPr>
              <a:spcBef>
                <a:spcPts val="900"/>
              </a:spcBef>
              <a:spcAft>
                <a:spcPts val="900"/>
              </a:spcAft>
              <a:defRPr/>
            </a:lvl1pPr>
            <a:lvl2pPr marL="188981" indent="-188981">
              <a:defRPr/>
            </a:lvl2pPr>
            <a:lvl3pPr marL="377963" indent="-188981">
              <a:defRPr/>
            </a:lvl3pPr>
            <a:lvl4pPr marL="566943" indent="-188981">
              <a:defRPr/>
            </a:lvl4pPr>
            <a:lvl5pPr marL="755924" indent="-188981">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6606778" y="812007"/>
            <a:ext cx="2537222" cy="4331494"/>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1583932"/>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533828-ABF0-494A-9EAA-58BD69BA9D79}"/>
              </a:ext>
            </a:extLst>
          </p:cNvPr>
          <p:cNvSpPr>
            <a:spLocks noGrp="1"/>
          </p:cNvSpPr>
          <p:nvPr>
            <p:ph type="body" sz="quarter" idx="10"/>
          </p:nvPr>
        </p:nvSpPr>
        <p:spPr>
          <a:xfrm>
            <a:off x="1" y="4949601"/>
            <a:ext cx="3770313" cy="193899"/>
          </a:xfrm>
        </p:spPr>
        <p:txBody>
          <a:bodyPr anchor="b">
            <a:spAutoFit/>
          </a:bodyPr>
          <a:lstStyle>
            <a:lvl1pPr marL="0" indent="0">
              <a:spcBef>
                <a:spcPts val="0"/>
              </a:spcBef>
              <a:buNone/>
              <a:defRPr sz="900"/>
            </a:lvl1pPr>
          </a:lstStyle>
          <a:p>
            <a:pPr lvl="0"/>
            <a:r>
              <a:rPr lang="en-US"/>
              <a:t>Edit Master text styles</a:t>
            </a:r>
          </a:p>
        </p:txBody>
      </p:sp>
      <p:sp>
        <p:nvSpPr>
          <p:cNvPr id="9" name="Text Placeholder 4">
            <a:extLst>
              <a:ext uri="{FF2B5EF4-FFF2-40B4-BE49-F238E27FC236}">
                <a16:creationId xmlns:a16="http://schemas.microsoft.com/office/drawing/2014/main" id="{DEA2EB13-40B6-4B08-817B-48D15A509640}"/>
              </a:ext>
            </a:extLst>
          </p:cNvPr>
          <p:cNvSpPr>
            <a:spLocks noGrp="1"/>
          </p:cNvSpPr>
          <p:nvPr>
            <p:ph type="body" sz="quarter" idx="11"/>
          </p:nvPr>
        </p:nvSpPr>
        <p:spPr>
          <a:xfrm>
            <a:off x="5373688" y="4949601"/>
            <a:ext cx="3770313" cy="193899"/>
          </a:xfrm>
        </p:spPr>
        <p:txBody>
          <a:bodyPr anchor="b">
            <a:spAutoFit/>
          </a:bodyPr>
          <a:lstStyle>
            <a:lvl1pPr marL="0" indent="0" algn="r">
              <a:spcBef>
                <a:spcPts val="0"/>
              </a:spcBef>
              <a:buNone/>
              <a:defRPr sz="900"/>
            </a:lvl1pPr>
          </a:lstStyle>
          <a:p>
            <a:pPr lvl="0"/>
            <a:r>
              <a:rPr lang="en-US"/>
              <a:t>Edit Master text styles</a:t>
            </a:r>
          </a:p>
        </p:txBody>
      </p:sp>
    </p:spTree>
    <p:extLst>
      <p:ext uri="{BB962C8B-B14F-4D97-AF65-F5344CB8AC3E}">
        <p14:creationId xmlns:p14="http://schemas.microsoft.com/office/powerpoint/2010/main" val="10782322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Inhal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Textplatzhalter 4">
            <a:extLst>
              <a:ext uri="{FF2B5EF4-FFF2-40B4-BE49-F238E27FC236}">
                <a16:creationId xmlns:a16="http://schemas.microsoft.com/office/drawing/2014/main" id="{E0D1095A-CDFE-CE42-8229-9A065D6000E1}"/>
              </a:ext>
            </a:extLst>
          </p:cNvPr>
          <p:cNvSpPr>
            <a:spLocks noGrp="1"/>
          </p:cNvSpPr>
          <p:nvPr>
            <p:ph type="body" sz="quarter" idx="15"/>
          </p:nvPr>
        </p:nvSpPr>
        <p:spPr>
          <a:xfrm>
            <a:off x="575072" y="1485000"/>
            <a:ext cx="7993857" cy="3139388"/>
          </a:xfrm>
        </p:spPr>
        <p:txBody>
          <a:bodyPr lIns="0" tIns="0" rIns="0" bIns="0">
            <a:noAutofit/>
          </a:bodyPr>
          <a:lstStyle>
            <a:lvl1pPr>
              <a:buClr>
                <a:srgbClr val="55A49F"/>
              </a:buClr>
              <a:buSzPct val="115000"/>
              <a:defRPr sz="1050">
                <a:solidFill>
                  <a:srgbClr val="6C707A"/>
                </a:solidFill>
                <a:latin typeface="Arial" panose="020B0604020202020204" pitchFamily="34" charset="0"/>
                <a:cs typeface="Arial" panose="020B0604020202020204" pitchFamily="34" charset="0"/>
              </a:defRPr>
            </a:lvl1pPr>
            <a:lvl2pPr>
              <a:buClr>
                <a:srgbClr val="55A49F"/>
              </a:buClr>
              <a:buSzPct val="115000"/>
              <a:defRPr sz="1050">
                <a:solidFill>
                  <a:srgbClr val="6C707A"/>
                </a:solidFill>
                <a:latin typeface="Arial" panose="020B0604020202020204" pitchFamily="34" charset="0"/>
                <a:cs typeface="Arial" panose="020B0604020202020204" pitchFamily="34" charset="0"/>
              </a:defRPr>
            </a:lvl2pPr>
            <a:lvl3pPr>
              <a:buClr>
                <a:srgbClr val="55A49F"/>
              </a:buClr>
              <a:buSzPct val="115000"/>
              <a:defRPr sz="1050">
                <a:solidFill>
                  <a:srgbClr val="6C707A"/>
                </a:solidFill>
                <a:latin typeface="Arial" panose="020B0604020202020204" pitchFamily="34" charset="0"/>
                <a:cs typeface="Arial" panose="020B0604020202020204" pitchFamily="34" charset="0"/>
              </a:defRPr>
            </a:lvl3pPr>
            <a:lvl4pPr>
              <a:buClr>
                <a:srgbClr val="55A49F"/>
              </a:buClr>
              <a:buSzPct val="115000"/>
              <a:defRPr sz="1050">
                <a:solidFill>
                  <a:srgbClr val="6C707A"/>
                </a:solidFill>
                <a:latin typeface="Arial" panose="020B0604020202020204" pitchFamily="34" charset="0"/>
                <a:cs typeface="Arial" panose="020B0604020202020204" pitchFamily="34" charset="0"/>
              </a:defRPr>
            </a:lvl4pPr>
            <a:lvl5pPr>
              <a:buClr>
                <a:srgbClr val="55A49F"/>
              </a:buClr>
              <a:buSzPct val="115000"/>
              <a:defRPr sz="1050">
                <a:solidFill>
                  <a:srgbClr val="6C707A"/>
                </a:solidFill>
                <a:latin typeface="Arial" panose="020B0604020202020204" pitchFamily="34" charset="0"/>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7">
            <a:extLst>
              <a:ext uri="{FF2B5EF4-FFF2-40B4-BE49-F238E27FC236}">
                <a16:creationId xmlns:a16="http://schemas.microsoft.com/office/drawing/2014/main" id="{4EC2F90B-2E8F-4F70-B61E-18C295100442}"/>
              </a:ext>
            </a:extLst>
          </p:cNvPr>
          <p:cNvSpPr>
            <a:spLocks noGrp="1"/>
          </p:cNvSpPr>
          <p:nvPr>
            <p:ph type="body" sz="quarter" idx="18" hasCustomPrompt="1"/>
          </p:nvPr>
        </p:nvSpPr>
        <p:spPr>
          <a:xfrm>
            <a:off x="575072" y="1081129"/>
            <a:ext cx="7993857" cy="189153"/>
          </a:xfrm>
        </p:spPr>
        <p:txBody>
          <a:bodyPr lIns="0" tIns="0" rIns="0" bIns="0">
            <a:noAutofit/>
          </a:bodyPr>
          <a:lstStyle>
            <a:lvl1pPr marL="0" marR="0" indent="0" algn="l" defTabSz="685732" rtl="0" eaLnBrk="1" fontAlgn="auto" latinLnBrk="0" hangingPunct="1">
              <a:lnSpc>
                <a:spcPct val="90000"/>
              </a:lnSpc>
              <a:spcBef>
                <a:spcPts val="750"/>
              </a:spcBef>
              <a:spcAft>
                <a:spcPts val="0"/>
              </a:spcAft>
              <a:buClrTx/>
              <a:buSzTx/>
              <a:buFont typeface="Arial" panose="020B0604020202020204" pitchFamily="34" charset="0"/>
              <a:buNone/>
              <a:tabLst/>
              <a:defRPr sz="1350" b="1">
                <a:solidFill>
                  <a:srgbClr val="55A49F"/>
                </a:solidFill>
                <a:latin typeface="Arial" panose="020B0604020202020204" pitchFamily="34" charset="0"/>
                <a:cs typeface="Arial" panose="020B0604020202020204" pitchFamily="34" charset="0"/>
              </a:defRPr>
            </a:lvl1pPr>
            <a:lvl2pPr>
              <a:defRPr sz="1125"/>
            </a:lvl2pPr>
            <a:lvl3pPr>
              <a:defRPr sz="1125"/>
            </a:lvl3pPr>
            <a:lvl4pPr>
              <a:defRPr sz="1125"/>
            </a:lvl4pPr>
            <a:lvl5pPr>
              <a:defRPr sz="1125"/>
            </a:lvl5pPr>
          </a:lstStyle>
          <a:p>
            <a:pPr marL="0" marR="0" lvl="0" indent="0" algn="l" defTabSz="68573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ltLang="de-DE"/>
              <a:t>Text einfügen</a:t>
            </a:r>
          </a:p>
        </p:txBody>
      </p:sp>
      <p:sp>
        <p:nvSpPr>
          <p:cNvPr id="9" name="Foliennummernplatzhalter 5">
            <a:extLst>
              <a:ext uri="{FF2B5EF4-FFF2-40B4-BE49-F238E27FC236}">
                <a16:creationId xmlns:a16="http://schemas.microsoft.com/office/drawing/2014/main" id="{A0DCE1DB-1A0F-4B0A-B345-8CB601160511}"/>
              </a:ext>
            </a:extLst>
          </p:cNvPr>
          <p:cNvSpPr txBox="1">
            <a:spLocks/>
          </p:cNvSpPr>
          <p:nvPr userDrawn="1"/>
        </p:nvSpPr>
        <p:spPr>
          <a:xfrm>
            <a:off x="7392286" y="4859298"/>
            <a:ext cx="1176642" cy="92333"/>
          </a:xfrm>
          <a:prstGeom prst="rect">
            <a:avLst/>
          </a:prstGeom>
        </p:spPr>
        <p:txBody>
          <a:bodyPr vert="horz" wrap="square" lIns="0" tIns="0" rIns="0" bIns="0" rtlCol="0" anchor="t" anchorCtr="0">
            <a:spAutoFit/>
          </a:bodyP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sz="600" b="0" kern="1200">
                <a:solidFill>
                  <a:srgbClr val="C3C4C8"/>
                </a:solidFill>
                <a:latin typeface="Arial" panose="020B0604020202020204" pitchFamily="34" charset="0"/>
                <a:ea typeface="+mn-ea"/>
                <a:cs typeface="Arial" panose="020B0604020202020204" pitchFamily="34" charset="0"/>
              </a:rPr>
              <a:t>www.medtoday.de  |  </a:t>
            </a:r>
            <a:r>
              <a:rPr lang="de-DE" sz="600" b="0">
                <a:solidFill>
                  <a:srgbClr val="C3C4C8"/>
                </a:solidFill>
                <a:latin typeface="Arial" panose="020B0604020202020204" pitchFamily="34" charset="0"/>
                <a:cs typeface="Arial" panose="020B0604020202020204" pitchFamily="34" charset="0"/>
              </a:rPr>
              <a:t>Seite </a:t>
            </a:r>
            <a:fld id="{A62711C1-C751-8A45-9C5F-0A746BC8E3B3}" type="slidenum">
              <a:rPr lang="de-DE" sz="600" b="0" smtClean="0">
                <a:solidFill>
                  <a:srgbClr val="C3C4C8"/>
                </a:solidFill>
                <a:latin typeface="Arial" panose="020B0604020202020204" pitchFamily="34" charset="0"/>
                <a:cs typeface="Arial" panose="020B0604020202020204" pitchFamily="34" charset="0"/>
              </a:rPr>
              <a:pPr algn="r"/>
              <a:t>‹#›</a:t>
            </a:fld>
            <a:endParaRPr lang="de-DE" sz="600" b="0">
              <a:solidFill>
                <a:srgbClr val="C3C4C8"/>
              </a:solidFill>
              <a:latin typeface="Arial" panose="020B0604020202020204" pitchFamily="34" charset="0"/>
              <a:cs typeface="Arial" panose="020B0604020202020204" pitchFamily="34" charset="0"/>
            </a:endParaRPr>
          </a:p>
        </p:txBody>
      </p:sp>
      <p:sp>
        <p:nvSpPr>
          <p:cNvPr id="12" name="Textplatzhalter 2">
            <a:extLst>
              <a:ext uri="{FF2B5EF4-FFF2-40B4-BE49-F238E27FC236}">
                <a16:creationId xmlns:a16="http://schemas.microsoft.com/office/drawing/2014/main" id="{DF09756C-13A9-4848-B1EB-79EAC1FE40A9}"/>
              </a:ext>
            </a:extLst>
          </p:cNvPr>
          <p:cNvSpPr>
            <a:spLocks noGrp="1"/>
          </p:cNvSpPr>
          <p:nvPr>
            <p:ph type="body" idx="11" hasCustomPrompt="1"/>
          </p:nvPr>
        </p:nvSpPr>
        <p:spPr>
          <a:xfrm>
            <a:off x="575073" y="4784061"/>
            <a:ext cx="6681134" cy="242806"/>
          </a:xfrm>
          <a:prstGeom prst="rect">
            <a:avLst/>
          </a:prstGeom>
        </p:spPr>
        <p:txBody>
          <a:bodyPr lIns="0" tIns="0" rIns="0" bIns="0" anchor="ctr" anchorCtr="0">
            <a:noAutofit/>
          </a:bodyPr>
          <a:lstStyle>
            <a:lvl1pPr marL="0" indent="0">
              <a:spcBef>
                <a:spcPts val="0"/>
              </a:spcBef>
              <a:buNone/>
              <a:defRPr lang="de-DE" sz="675" kern="1200" dirty="0">
                <a:solidFill>
                  <a:srgbClr val="6C707A"/>
                </a:solidFill>
                <a:latin typeface="Arial" panose="020B0604020202020204" pitchFamily="34" charset="0"/>
                <a:ea typeface="+mn-ea"/>
                <a:cs typeface="Arial" panose="020B0604020202020204" pitchFamily="34" charset="0"/>
              </a:defRPr>
            </a:lvl1pPr>
            <a:lvl2pPr marL="342866" indent="0">
              <a:buNone/>
              <a:defRPr sz="1350"/>
            </a:lvl2pPr>
            <a:lvl3pPr marL="685732" indent="0">
              <a:buNone/>
              <a:defRPr sz="1200"/>
            </a:lvl3pPr>
            <a:lvl4pPr marL="1028597" indent="0">
              <a:buNone/>
              <a:defRPr sz="1050"/>
            </a:lvl4pPr>
            <a:lvl5pPr marL="1371463" indent="0">
              <a:buNone/>
              <a:defRPr sz="1050"/>
            </a:lvl5pPr>
            <a:lvl6pPr marL="1714328" indent="0">
              <a:buNone/>
              <a:defRPr sz="1050"/>
            </a:lvl6pPr>
            <a:lvl7pPr marL="2057195" indent="0">
              <a:buNone/>
              <a:defRPr sz="1050"/>
            </a:lvl7pPr>
            <a:lvl8pPr marL="2400060" indent="0">
              <a:buNone/>
              <a:defRPr sz="1050"/>
            </a:lvl8pPr>
            <a:lvl9pPr marL="2742926" indent="0">
              <a:buNone/>
              <a:defRPr sz="1050"/>
            </a:lvl9pPr>
          </a:lstStyle>
          <a:p>
            <a:pPr lvl="0"/>
            <a:r>
              <a:rPr lang="de-DE"/>
              <a:t>Textmasterformat bearbeiten</a:t>
            </a:r>
          </a:p>
        </p:txBody>
      </p:sp>
    </p:spTree>
    <p:extLst>
      <p:ext uri="{BB962C8B-B14F-4D97-AF65-F5344CB8AC3E}">
        <p14:creationId xmlns:p14="http://schemas.microsoft.com/office/powerpoint/2010/main" val="2449305476"/>
      </p:ext>
    </p:extLst>
  </p:cSld>
  <p:clrMapOvr>
    <a:masterClrMapping/>
  </p:clrMapOvr>
  <p:extLst>
    <p:ext uri="{DCECCB84-F9BA-43D5-87BE-67443E8EF086}">
      <p15:sldGuideLst xmlns:p15="http://schemas.microsoft.com/office/powerpoint/2012/main">
        <p15:guide id="1" pos="483">
          <p15:clr>
            <a:srgbClr val="FBAE40"/>
          </p15:clr>
        </p15:guide>
        <p15:guide id="2" orient="horz" pos="1253">
          <p15:clr>
            <a:srgbClr val="FBAE40"/>
          </p15:clr>
        </p15:guide>
        <p15:guide id="3" pos="7197">
          <p15:clr>
            <a:srgbClr val="FBAE40"/>
          </p15:clr>
        </p15:guide>
        <p15:guide id="4" pos="3772">
          <p15:clr>
            <a:srgbClr val="FBAE40"/>
          </p15:clr>
        </p15:guide>
        <p15:guide id="5" pos="3908">
          <p15:clr>
            <a:srgbClr val="FBAE40"/>
          </p15:clr>
        </p15:guide>
        <p15:guide id="6" orient="horz" pos="3884">
          <p15:clr>
            <a:srgbClr val="FBAE40"/>
          </p15:clr>
        </p15:guide>
        <p15:guide id="7" orient="horz" pos="1570">
          <p15:clr>
            <a:srgbClr val="FBAE40"/>
          </p15:clr>
        </p15:guide>
        <p15:guide id="8" orient="horz" pos="3407">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Neue Studi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Textplatzhalter 4">
            <a:extLst>
              <a:ext uri="{FF2B5EF4-FFF2-40B4-BE49-F238E27FC236}">
                <a16:creationId xmlns:a16="http://schemas.microsoft.com/office/drawing/2014/main" id="{E0D1095A-CDFE-CE42-8229-9A065D6000E1}"/>
              </a:ext>
            </a:extLst>
          </p:cNvPr>
          <p:cNvSpPr>
            <a:spLocks noGrp="1"/>
          </p:cNvSpPr>
          <p:nvPr>
            <p:ph type="body" sz="quarter" idx="15"/>
          </p:nvPr>
        </p:nvSpPr>
        <p:spPr>
          <a:xfrm>
            <a:off x="575072" y="1485000"/>
            <a:ext cx="7993857" cy="3139388"/>
          </a:xfrm>
        </p:spPr>
        <p:txBody>
          <a:bodyPr lIns="0" tIns="0" rIns="0" bIns="0">
            <a:noAutofit/>
          </a:bodyPr>
          <a:lstStyle>
            <a:lvl1pPr>
              <a:buClr>
                <a:srgbClr val="55A49F"/>
              </a:buClr>
              <a:buSzPct val="115000"/>
              <a:defRPr sz="1050">
                <a:solidFill>
                  <a:srgbClr val="6C707A"/>
                </a:solidFill>
                <a:latin typeface="Arial" panose="020B0604020202020204" pitchFamily="34" charset="0"/>
                <a:cs typeface="Arial" panose="020B0604020202020204" pitchFamily="34" charset="0"/>
              </a:defRPr>
            </a:lvl1pPr>
            <a:lvl2pPr>
              <a:buClr>
                <a:srgbClr val="55A49F"/>
              </a:buClr>
              <a:buSzPct val="115000"/>
              <a:defRPr sz="1050">
                <a:solidFill>
                  <a:srgbClr val="6C707A"/>
                </a:solidFill>
                <a:latin typeface="Arial" panose="020B0604020202020204" pitchFamily="34" charset="0"/>
                <a:cs typeface="Arial" panose="020B0604020202020204" pitchFamily="34" charset="0"/>
              </a:defRPr>
            </a:lvl2pPr>
            <a:lvl3pPr>
              <a:buClr>
                <a:srgbClr val="55A49F"/>
              </a:buClr>
              <a:buSzPct val="115000"/>
              <a:defRPr sz="1050">
                <a:solidFill>
                  <a:srgbClr val="6C707A"/>
                </a:solidFill>
                <a:latin typeface="Arial" panose="020B0604020202020204" pitchFamily="34" charset="0"/>
                <a:cs typeface="Arial" panose="020B0604020202020204" pitchFamily="34" charset="0"/>
              </a:defRPr>
            </a:lvl3pPr>
            <a:lvl4pPr>
              <a:buClr>
                <a:srgbClr val="55A49F"/>
              </a:buClr>
              <a:buSzPct val="115000"/>
              <a:defRPr sz="1050">
                <a:solidFill>
                  <a:srgbClr val="6C707A"/>
                </a:solidFill>
                <a:latin typeface="Arial" panose="020B0604020202020204" pitchFamily="34" charset="0"/>
                <a:cs typeface="Arial" panose="020B0604020202020204" pitchFamily="34" charset="0"/>
              </a:defRPr>
            </a:lvl4pPr>
            <a:lvl5pPr>
              <a:buClr>
                <a:srgbClr val="55A49F"/>
              </a:buClr>
              <a:buSzPct val="115000"/>
              <a:defRPr sz="1050">
                <a:solidFill>
                  <a:srgbClr val="6C707A"/>
                </a:solidFill>
                <a:latin typeface="Arial" panose="020B0604020202020204" pitchFamily="34" charset="0"/>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7">
            <a:extLst>
              <a:ext uri="{FF2B5EF4-FFF2-40B4-BE49-F238E27FC236}">
                <a16:creationId xmlns:a16="http://schemas.microsoft.com/office/drawing/2014/main" id="{4EC2F90B-2E8F-4F70-B61E-18C295100442}"/>
              </a:ext>
            </a:extLst>
          </p:cNvPr>
          <p:cNvSpPr>
            <a:spLocks noGrp="1"/>
          </p:cNvSpPr>
          <p:nvPr>
            <p:ph type="body" sz="quarter" idx="18" hasCustomPrompt="1"/>
          </p:nvPr>
        </p:nvSpPr>
        <p:spPr>
          <a:xfrm>
            <a:off x="575072" y="1081129"/>
            <a:ext cx="7993857" cy="189153"/>
          </a:xfrm>
        </p:spPr>
        <p:txBody>
          <a:bodyPr lIns="0" tIns="0" rIns="0" bIns="0">
            <a:noAutofit/>
          </a:bodyPr>
          <a:lstStyle>
            <a:lvl1pPr marL="0" marR="0" indent="0" algn="l" defTabSz="685732" rtl="0" eaLnBrk="1" fontAlgn="auto" latinLnBrk="0" hangingPunct="1">
              <a:lnSpc>
                <a:spcPct val="90000"/>
              </a:lnSpc>
              <a:spcBef>
                <a:spcPts val="750"/>
              </a:spcBef>
              <a:spcAft>
                <a:spcPts val="0"/>
              </a:spcAft>
              <a:buClrTx/>
              <a:buSzTx/>
              <a:buFont typeface="Arial" panose="020B0604020202020204" pitchFamily="34" charset="0"/>
              <a:buNone/>
              <a:tabLst/>
              <a:defRPr sz="1350" b="1">
                <a:solidFill>
                  <a:srgbClr val="55A49F"/>
                </a:solidFill>
                <a:latin typeface="Arial" panose="020B0604020202020204" pitchFamily="34" charset="0"/>
                <a:cs typeface="Arial" panose="020B0604020202020204" pitchFamily="34" charset="0"/>
              </a:defRPr>
            </a:lvl1pPr>
            <a:lvl2pPr>
              <a:defRPr sz="1125"/>
            </a:lvl2pPr>
            <a:lvl3pPr>
              <a:defRPr sz="1125"/>
            </a:lvl3pPr>
            <a:lvl4pPr>
              <a:defRPr sz="1125"/>
            </a:lvl4pPr>
            <a:lvl5pPr>
              <a:defRPr sz="1125"/>
            </a:lvl5pPr>
          </a:lstStyle>
          <a:p>
            <a:pPr marL="0" marR="0" lvl="0" indent="0" algn="l" defTabSz="68573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ltLang="de-DE"/>
              <a:t>Text einfügen</a:t>
            </a:r>
          </a:p>
        </p:txBody>
      </p:sp>
      <p:sp>
        <p:nvSpPr>
          <p:cNvPr id="9" name="Foliennummernplatzhalter 5">
            <a:extLst>
              <a:ext uri="{FF2B5EF4-FFF2-40B4-BE49-F238E27FC236}">
                <a16:creationId xmlns:a16="http://schemas.microsoft.com/office/drawing/2014/main" id="{A0DCE1DB-1A0F-4B0A-B345-8CB601160511}"/>
              </a:ext>
            </a:extLst>
          </p:cNvPr>
          <p:cNvSpPr txBox="1">
            <a:spLocks/>
          </p:cNvSpPr>
          <p:nvPr userDrawn="1"/>
        </p:nvSpPr>
        <p:spPr>
          <a:xfrm>
            <a:off x="7392286" y="4859298"/>
            <a:ext cx="1176642" cy="92333"/>
          </a:xfrm>
          <a:prstGeom prst="rect">
            <a:avLst/>
          </a:prstGeom>
        </p:spPr>
        <p:txBody>
          <a:bodyPr vert="horz" wrap="square" lIns="0" tIns="0" rIns="0" bIns="0" rtlCol="0" anchor="t" anchorCtr="0">
            <a:spAutoFit/>
          </a:bodyP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sz="600" b="0" kern="1200">
                <a:solidFill>
                  <a:srgbClr val="C3C4C8"/>
                </a:solidFill>
                <a:latin typeface="Arial" panose="020B0604020202020204" pitchFamily="34" charset="0"/>
                <a:ea typeface="+mn-ea"/>
                <a:cs typeface="Arial" panose="020B0604020202020204" pitchFamily="34" charset="0"/>
              </a:rPr>
              <a:t>www.medtoday.de  |  </a:t>
            </a:r>
            <a:r>
              <a:rPr lang="de-DE" sz="600" b="0">
                <a:solidFill>
                  <a:srgbClr val="C3C4C8"/>
                </a:solidFill>
                <a:latin typeface="Arial" panose="020B0604020202020204" pitchFamily="34" charset="0"/>
                <a:cs typeface="Arial" panose="020B0604020202020204" pitchFamily="34" charset="0"/>
              </a:rPr>
              <a:t>Seite </a:t>
            </a:r>
            <a:fld id="{A62711C1-C751-8A45-9C5F-0A746BC8E3B3}" type="slidenum">
              <a:rPr lang="de-DE" sz="600" b="0" smtClean="0">
                <a:solidFill>
                  <a:srgbClr val="C3C4C8"/>
                </a:solidFill>
                <a:latin typeface="Arial" panose="020B0604020202020204" pitchFamily="34" charset="0"/>
                <a:cs typeface="Arial" panose="020B0604020202020204" pitchFamily="34" charset="0"/>
              </a:rPr>
              <a:pPr algn="r"/>
              <a:t>‹#›</a:t>
            </a:fld>
            <a:endParaRPr lang="de-DE" sz="600" b="0">
              <a:solidFill>
                <a:srgbClr val="C3C4C8"/>
              </a:solidFill>
              <a:latin typeface="Arial" panose="020B0604020202020204" pitchFamily="34" charset="0"/>
              <a:cs typeface="Arial" panose="020B0604020202020204" pitchFamily="34" charset="0"/>
            </a:endParaRPr>
          </a:p>
        </p:txBody>
      </p:sp>
      <p:sp>
        <p:nvSpPr>
          <p:cNvPr id="12" name="Textplatzhalter 2">
            <a:extLst>
              <a:ext uri="{FF2B5EF4-FFF2-40B4-BE49-F238E27FC236}">
                <a16:creationId xmlns:a16="http://schemas.microsoft.com/office/drawing/2014/main" id="{DF09756C-13A9-4848-B1EB-79EAC1FE40A9}"/>
              </a:ext>
            </a:extLst>
          </p:cNvPr>
          <p:cNvSpPr>
            <a:spLocks noGrp="1"/>
          </p:cNvSpPr>
          <p:nvPr>
            <p:ph type="body" idx="11" hasCustomPrompt="1"/>
          </p:nvPr>
        </p:nvSpPr>
        <p:spPr>
          <a:xfrm>
            <a:off x="575073" y="4784061"/>
            <a:ext cx="6681134" cy="242806"/>
          </a:xfrm>
          <a:prstGeom prst="rect">
            <a:avLst/>
          </a:prstGeom>
        </p:spPr>
        <p:txBody>
          <a:bodyPr lIns="0" tIns="0" rIns="0" bIns="0" anchor="ctr" anchorCtr="0">
            <a:noAutofit/>
          </a:bodyPr>
          <a:lstStyle>
            <a:lvl1pPr marL="0" indent="0">
              <a:spcBef>
                <a:spcPts val="0"/>
              </a:spcBef>
              <a:buNone/>
              <a:defRPr lang="de-DE" sz="675" kern="1200" dirty="0">
                <a:solidFill>
                  <a:srgbClr val="6C707A"/>
                </a:solidFill>
                <a:latin typeface="Arial" panose="020B0604020202020204" pitchFamily="34" charset="0"/>
                <a:ea typeface="+mn-ea"/>
                <a:cs typeface="Arial" panose="020B0604020202020204" pitchFamily="34" charset="0"/>
              </a:defRPr>
            </a:lvl1pPr>
            <a:lvl2pPr marL="342866" indent="0">
              <a:buNone/>
              <a:defRPr sz="1350"/>
            </a:lvl2pPr>
            <a:lvl3pPr marL="685732" indent="0">
              <a:buNone/>
              <a:defRPr sz="1200"/>
            </a:lvl3pPr>
            <a:lvl4pPr marL="1028597" indent="0">
              <a:buNone/>
              <a:defRPr sz="1050"/>
            </a:lvl4pPr>
            <a:lvl5pPr marL="1371463" indent="0">
              <a:buNone/>
              <a:defRPr sz="1050"/>
            </a:lvl5pPr>
            <a:lvl6pPr marL="1714328" indent="0">
              <a:buNone/>
              <a:defRPr sz="1050"/>
            </a:lvl6pPr>
            <a:lvl7pPr marL="2057195" indent="0">
              <a:buNone/>
              <a:defRPr sz="1050"/>
            </a:lvl7pPr>
            <a:lvl8pPr marL="2400060" indent="0">
              <a:buNone/>
              <a:defRPr sz="1050"/>
            </a:lvl8pPr>
            <a:lvl9pPr marL="2742926" indent="0">
              <a:buNone/>
              <a:defRPr sz="1050"/>
            </a:lvl9pPr>
          </a:lstStyle>
          <a:p>
            <a:pPr lvl="0"/>
            <a:r>
              <a:rPr lang="de-DE"/>
              <a:t>Textmasterformat bearbeiten</a:t>
            </a:r>
          </a:p>
        </p:txBody>
      </p:sp>
    </p:spTree>
    <p:extLst>
      <p:ext uri="{BB962C8B-B14F-4D97-AF65-F5344CB8AC3E}">
        <p14:creationId xmlns:p14="http://schemas.microsoft.com/office/powerpoint/2010/main" val="622355122"/>
      </p:ext>
    </p:extLst>
  </p:cSld>
  <p:clrMapOvr>
    <a:masterClrMapping/>
  </p:clrMapOvr>
  <p:extLst>
    <p:ext uri="{DCECCB84-F9BA-43D5-87BE-67443E8EF086}">
      <p15:sldGuideLst xmlns:p15="http://schemas.microsoft.com/office/powerpoint/2012/main">
        <p15:guide id="1" pos="483">
          <p15:clr>
            <a:srgbClr val="FBAE40"/>
          </p15:clr>
        </p15:guide>
        <p15:guide id="2" orient="horz" pos="1253">
          <p15:clr>
            <a:srgbClr val="FBAE40"/>
          </p15:clr>
        </p15:guide>
        <p15:guide id="3" pos="7197">
          <p15:clr>
            <a:srgbClr val="FBAE40"/>
          </p15:clr>
        </p15:guide>
        <p15:guide id="4" pos="3772">
          <p15:clr>
            <a:srgbClr val="FBAE40"/>
          </p15:clr>
        </p15:guide>
        <p15:guide id="5" pos="3908">
          <p15:clr>
            <a:srgbClr val="FBAE40"/>
          </p15:clr>
        </p15:guide>
        <p15:guide id="6" orient="horz" pos="3884">
          <p15:clr>
            <a:srgbClr val="FBAE40"/>
          </p15:clr>
        </p15:guide>
        <p15:guide id="7" orient="horz" pos="1570">
          <p15:clr>
            <a:srgbClr val="FBAE40"/>
          </p15:clr>
        </p15:guide>
        <p15:guide id="8" orient="horz" pos="3407">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21" y="82356"/>
            <a:ext cx="8209284" cy="857250"/>
          </a:xfrm>
          <a:prstGeom prst="rect">
            <a:avLst/>
          </a:prstGeom>
        </p:spPr>
        <p:txBody>
          <a:bodyPr>
            <a:noAutofit/>
          </a:bodyPr>
          <a:lstStyle>
            <a:lvl1pPr>
              <a:defRPr sz="2400">
                <a:solidFill>
                  <a:schemeClr val="tx1"/>
                </a:solidFill>
              </a:defRPr>
            </a:lvl1pPr>
          </a:lstStyle>
          <a:p>
            <a:r>
              <a:rPr lang="en-US"/>
              <a:t>Click to edit Master title style</a:t>
            </a:r>
          </a:p>
        </p:txBody>
      </p:sp>
      <p:sp>
        <p:nvSpPr>
          <p:cNvPr id="3" name="Content Placeholder 2"/>
          <p:cNvSpPr>
            <a:spLocks noGrp="1"/>
          </p:cNvSpPr>
          <p:nvPr>
            <p:ph idx="1"/>
          </p:nvPr>
        </p:nvSpPr>
        <p:spPr>
          <a:xfrm>
            <a:off x="203222" y="1041470"/>
            <a:ext cx="8667509" cy="3677675"/>
          </a:xfrm>
          <a:prstGeom prst="rect">
            <a:avLst/>
          </a:prstGeom>
        </p:spPr>
        <p:txBody>
          <a:bodyPr/>
          <a:lstStyle>
            <a:lvl1pPr>
              <a:buClrTx/>
              <a:buFont typeface="Arial" panose="020B0604020202020204" pitchFamily="34" charset="0"/>
              <a:buChar char="•"/>
              <a:defRPr sz="2000">
                <a:solidFill>
                  <a:schemeClr val="tx1">
                    <a:lumMod val="85000"/>
                    <a:lumOff val="15000"/>
                  </a:schemeClr>
                </a:solidFill>
                <a:latin typeface="+mn-lt"/>
              </a:defRPr>
            </a:lvl1pPr>
            <a:lvl2pPr>
              <a:buClrTx/>
              <a:buFont typeface="Arial" panose="020B0604020202020204" pitchFamily="34" charset="0"/>
              <a:buChar char="•"/>
              <a:defRPr sz="1600" baseline="0">
                <a:solidFill>
                  <a:schemeClr val="tx1">
                    <a:lumMod val="85000"/>
                    <a:lumOff val="15000"/>
                  </a:schemeClr>
                </a:solidFill>
                <a:latin typeface="+mn-lt"/>
              </a:defRPr>
            </a:lvl2pPr>
            <a:lvl3pPr>
              <a:buClrTx/>
              <a:buFont typeface="Arial" panose="020B0604020202020204" pitchFamily="34" charset="0"/>
              <a:buChar char="•"/>
              <a:defRPr sz="1400" baseline="0">
                <a:solidFill>
                  <a:schemeClr val="tx1">
                    <a:lumMod val="85000"/>
                    <a:lumOff val="15000"/>
                  </a:schemeClr>
                </a:solidFill>
                <a:latin typeface="+mn-lt"/>
              </a:defRPr>
            </a:lvl3pPr>
            <a:lvl4pPr>
              <a:buClrTx/>
              <a:buFont typeface="Arial" panose="020B0604020202020204" pitchFamily="34" charset="0"/>
              <a:buChar char="•"/>
              <a:defRPr sz="1400" baseline="0">
                <a:solidFill>
                  <a:schemeClr val="tx1">
                    <a:lumMod val="85000"/>
                    <a:lumOff val="15000"/>
                  </a:schemeClr>
                </a:solidFill>
                <a:latin typeface="+mn-lt"/>
              </a:defRPr>
            </a:lvl4pPr>
            <a:lvl5pPr>
              <a:buClrTx/>
              <a:buFont typeface="Arial" panose="020B0604020202020204" pitchFamily="34" charset="0"/>
              <a:buChar char="•"/>
              <a:defRPr sz="1400" baseline="0">
                <a:solidFill>
                  <a:schemeClr val="tx1">
                    <a:lumMod val="85000"/>
                    <a:lumOff val="1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3"/>
          <p:cNvSpPr>
            <a:spLocks noGrp="1"/>
          </p:cNvSpPr>
          <p:nvPr>
            <p:ph type="body" sz="quarter" idx="11"/>
          </p:nvPr>
        </p:nvSpPr>
        <p:spPr>
          <a:xfrm>
            <a:off x="3187840" y="4912991"/>
            <a:ext cx="5875338" cy="230510"/>
          </a:xfrm>
          <a:prstGeom prst="rect">
            <a:avLst/>
          </a:prstGeom>
        </p:spPr>
        <p:txBody>
          <a:bodyPr vert="horz" anchor="b" anchorCtr="0"/>
          <a:lstStyle>
            <a:lvl1pPr marL="0" indent="0" algn="r">
              <a:buNone/>
              <a:defRPr sz="900" baseline="0">
                <a:solidFill>
                  <a:schemeClr val="tx1"/>
                </a:solidFill>
                <a:latin typeface="Arial" panose="020B0604020202020204" pitchFamily="34" charset="0"/>
                <a:cs typeface="Arial" panose="020B0604020202020204" pitchFamily="34" charset="0"/>
              </a:defRPr>
            </a:lvl1pPr>
            <a:lvl2pPr>
              <a:defRPr sz="1200">
                <a:solidFill>
                  <a:schemeClr val="accent4"/>
                </a:solidFill>
              </a:defRPr>
            </a:lvl2pPr>
            <a:lvl3pPr>
              <a:defRPr sz="1200">
                <a:solidFill>
                  <a:schemeClr val="accent4"/>
                </a:solidFill>
              </a:defRPr>
            </a:lvl3pPr>
            <a:lvl4pPr>
              <a:defRPr sz="1200">
                <a:solidFill>
                  <a:schemeClr val="accent4"/>
                </a:solidFill>
              </a:defRPr>
            </a:lvl4pPr>
            <a:lvl5pPr>
              <a:defRPr sz="1200">
                <a:solidFill>
                  <a:schemeClr val="accent4"/>
                </a:solidFill>
              </a:defRPr>
            </a:lvl5pPr>
          </a:lstStyle>
          <a:p>
            <a:pPr lvl="0"/>
            <a:r>
              <a:rPr lang="es-ES"/>
              <a:t>Haga clic para modificar el estilo de texto del patrón</a:t>
            </a:r>
          </a:p>
        </p:txBody>
      </p:sp>
    </p:spTree>
    <p:extLst>
      <p:ext uri="{BB962C8B-B14F-4D97-AF65-F5344CB8AC3E}">
        <p14:creationId xmlns:p14="http://schemas.microsoft.com/office/powerpoint/2010/main" val="23433135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21" y="82356"/>
            <a:ext cx="8667509" cy="857250"/>
          </a:xfrm>
          <a:prstGeom prst="rect">
            <a:avLst/>
          </a:prstGeom>
        </p:spPr>
        <p:txBody>
          <a:bodyPr>
            <a:noAutofit/>
          </a:bodyPr>
          <a:lstStyle>
            <a:lvl1pPr>
              <a:defRPr sz="2400">
                <a:solidFill>
                  <a:schemeClr val="tx1"/>
                </a:solidFill>
              </a:defRPr>
            </a:lvl1pPr>
          </a:lstStyle>
          <a:p>
            <a:r>
              <a:rPr lang="en-US"/>
              <a:t>Click to edit Master title style</a:t>
            </a:r>
          </a:p>
        </p:txBody>
      </p:sp>
      <p:sp>
        <p:nvSpPr>
          <p:cNvPr id="3" name="Content Placeholder 2"/>
          <p:cNvSpPr>
            <a:spLocks noGrp="1"/>
          </p:cNvSpPr>
          <p:nvPr>
            <p:ph idx="1"/>
          </p:nvPr>
        </p:nvSpPr>
        <p:spPr>
          <a:xfrm>
            <a:off x="203223" y="1041472"/>
            <a:ext cx="8667509" cy="3677675"/>
          </a:xfrm>
          <a:prstGeom prst="rect">
            <a:avLst/>
          </a:prstGeom>
        </p:spPr>
        <p:txBody>
          <a:bodyPr/>
          <a:lstStyle>
            <a:lvl1pPr>
              <a:buClr>
                <a:schemeClr val="accent3"/>
              </a:buClr>
              <a:defRPr sz="2000">
                <a:solidFill>
                  <a:schemeClr val="tx1">
                    <a:lumMod val="85000"/>
                    <a:lumOff val="15000"/>
                  </a:schemeClr>
                </a:solidFill>
                <a:latin typeface="+mn-lt"/>
              </a:defRPr>
            </a:lvl1pPr>
            <a:lvl2pPr>
              <a:buClr>
                <a:schemeClr val="accent1"/>
              </a:buClr>
              <a:defRPr sz="1600" baseline="0">
                <a:solidFill>
                  <a:schemeClr val="tx1">
                    <a:lumMod val="85000"/>
                    <a:lumOff val="15000"/>
                  </a:schemeClr>
                </a:solidFill>
                <a:latin typeface="+mn-lt"/>
              </a:defRPr>
            </a:lvl2pPr>
            <a:lvl3pPr>
              <a:buClr>
                <a:schemeClr val="accent2"/>
              </a:buClr>
              <a:defRPr sz="1400" baseline="0">
                <a:solidFill>
                  <a:schemeClr val="tx1">
                    <a:lumMod val="85000"/>
                    <a:lumOff val="15000"/>
                  </a:schemeClr>
                </a:solidFill>
                <a:latin typeface="+mn-lt"/>
              </a:defRPr>
            </a:lvl3pPr>
            <a:lvl4pPr>
              <a:defRPr sz="1400" baseline="0">
                <a:solidFill>
                  <a:schemeClr val="tx1">
                    <a:lumMod val="85000"/>
                    <a:lumOff val="15000"/>
                  </a:schemeClr>
                </a:solidFill>
                <a:latin typeface="+mn-lt"/>
              </a:defRPr>
            </a:lvl4pPr>
            <a:lvl5pPr>
              <a:defRPr sz="1400" baseline="0">
                <a:solidFill>
                  <a:schemeClr val="tx1">
                    <a:lumMod val="85000"/>
                    <a:lumOff val="15000"/>
                  </a:schemeClr>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3"/>
          <p:cNvSpPr>
            <a:spLocks noGrp="1"/>
          </p:cNvSpPr>
          <p:nvPr>
            <p:ph type="body" sz="quarter" idx="11"/>
          </p:nvPr>
        </p:nvSpPr>
        <p:spPr>
          <a:xfrm>
            <a:off x="3187840" y="4912991"/>
            <a:ext cx="5875338" cy="230510"/>
          </a:xfrm>
          <a:prstGeom prst="rect">
            <a:avLst/>
          </a:prstGeom>
        </p:spPr>
        <p:txBody>
          <a:bodyPr vert="horz" anchor="b" anchorCtr="0"/>
          <a:lstStyle>
            <a:lvl1pPr marL="0" indent="0" algn="r">
              <a:buNone/>
              <a:defRPr sz="900" baseline="0">
                <a:solidFill>
                  <a:schemeClr val="tx1"/>
                </a:solidFill>
                <a:latin typeface="Arial" panose="020B0604020202020204" pitchFamily="34" charset="0"/>
                <a:cs typeface="Arial" panose="020B0604020202020204" pitchFamily="34" charset="0"/>
              </a:defRPr>
            </a:lvl1pPr>
            <a:lvl2pPr>
              <a:defRPr sz="1200">
                <a:solidFill>
                  <a:schemeClr val="accent4"/>
                </a:solidFill>
              </a:defRPr>
            </a:lvl2pPr>
            <a:lvl3pPr>
              <a:defRPr sz="1200">
                <a:solidFill>
                  <a:schemeClr val="accent4"/>
                </a:solidFill>
              </a:defRPr>
            </a:lvl3pPr>
            <a:lvl4pPr>
              <a:defRPr sz="1200">
                <a:solidFill>
                  <a:schemeClr val="accent4"/>
                </a:solidFill>
              </a:defRPr>
            </a:lvl4pPr>
            <a:lvl5pPr>
              <a:defRPr sz="1200">
                <a:solidFill>
                  <a:schemeClr val="accent4"/>
                </a:solidFill>
              </a:defRPr>
            </a:lvl5pPr>
          </a:lstStyle>
          <a:p>
            <a:pPr lvl="0"/>
            <a:r>
              <a:rPr lang="en-US"/>
              <a:t>Click to edit Master text styles</a:t>
            </a:r>
          </a:p>
        </p:txBody>
      </p:sp>
    </p:spTree>
    <p:extLst>
      <p:ext uri="{BB962C8B-B14F-4D97-AF65-F5344CB8AC3E}">
        <p14:creationId xmlns:p14="http://schemas.microsoft.com/office/powerpoint/2010/main" val="380895593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Content with Subtitle – Bullet">
    <p:spTree>
      <p:nvGrpSpPr>
        <p:cNvPr id="1" name=""/>
        <p:cNvGrpSpPr/>
        <p:nvPr/>
      </p:nvGrpSpPr>
      <p:grpSpPr>
        <a:xfrm>
          <a:off x="0" y="0"/>
          <a:ext cx="0" cy="0"/>
          <a:chOff x="0" y="0"/>
          <a:chExt cx="0" cy="0"/>
        </a:xfrm>
      </p:grpSpPr>
      <p:sp>
        <p:nvSpPr>
          <p:cNvPr id="8" name="Content Placeholder 2"/>
          <p:cNvSpPr>
            <a:spLocks noGrp="1"/>
          </p:cNvSpPr>
          <p:nvPr>
            <p:ph idx="15" hasCustomPrompt="1"/>
          </p:nvPr>
        </p:nvSpPr>
        <p:spPr>
          <a:xfrm>
            <a:off x="316452" y="956937"/>
            <a:ext cx="8544916" cy="3213000"/>
          </a:xfrm>
          <a:prstGeom prst="rect">
            <a:avLst/>
          </a:prstGeom>
        </p:spPr>
        <p:txBody>
          <a:bodyPr lIns="0" tIns="0" rIns="0" bIns="0"/>
          <a:lstStyle>
            <a:lvl1pPr marL="134984" indent="-134984">
              <a:lnSpc>
                <a:spcPct val="100000"/>
              </a:lnSpc>
              <a:spcBef>
                <a:spcPts val="450"/>
              </a:spcBef>
              <a:buClr>
                <a:srgbClr val="830051"/>
              </a:buClr>
              <a:buFont typeface="Arial" pitchFamily="34" charset="0"/>
              <a:buChar char="•"/>
              <a:defRPr sz="1350">
                <a:solidFill>
                  <a:schemeClr val="tx1"/>
                </a:solidFill>
                <a:latin typeface="Arial" pitchFamily="34" charset="0"/>
                <a:cs typeface="Arial" pitchFamily="34" charset="0"/>
              </a:defRPr>
            </a:lvl1pPr>
            <a:lvl2pPr marL="404950" indent="-134984">
              <a:lnSpc>
                <a:spcPct val="100000"/>
              </a:lnSpc>
              <a:spcBef>
                <a:spcPts val="450"/>
              </a:spcBef>
              <a:buClr>
                <a:schemeClr val="tx2"/>
              </a:buClr>
              <a:defRPr sz="1350" baseline="0">
                <a:solidFill>
                  <a:schemeClr val="tx1"/>
                </a:solidFill>
                <a:latin typeface="Arial" pitchFamily="34" charset="0"/>
                <a:cs typeface="Arial" pitchFamily="34" charset="0"/>
              </a:defRPr>
            </a:lvl2pPr>
            <a:lvl3pPr>
              <a:buClr>
                <a:schemeClr val="accent1"/>
              </a:buClr>
              <a:defRPr sz="1050" baseline="0">
                <a:latin typeface="Arial" pitchFamily="34" charset="0"/>
                <a:cs typeface="Arial" pitchFamily="34" charset="0"/>
              </a:defRPr>
            </a:lvl3pPr>
            <a:lvl4pPr marL="467042" indent="-134984">
              <a:defRPr sz="1050">
                <a:latin typeface="Arial" pitchFamily="34" charset="0"/>
                <a:cs typeface="Arial" pitchFamily="34" charset="0"/>
              </a:defRPr>
            </a:lvl4pPr>
            <a:lvl5pPr marL="467042">
              <a:defRPr sz="1050">
                <a:latin typeface="Arial" pitchFamily="34" charset="0"/>
                <a:cs typeface="Arial" pitchFamily="34" charset="0"/>
              </a:defRPr>
            </a:lvl5pPr>
            <a:lvl6pPr>
              <a:defRPr>
                <a:latin typeface="Arial" pitchFamily="34" charset="0"/>
                <a:cs typeface="Arial" pitchFamily="34" charset="0"/>
              </a:defRPr>
            </a:lvl6pPr>
          </a:lstStyle>
          <a:p>
            <a:r>
              <a:rPr lang="de-DE" noProof="0"/>
              <a:t>First </a:t>
            </a:r>
            <a:r>
              <a:rPr lang="de-DE" noProof="0" err="1"/>
              <a:t>level</a:t>
            </a:r>
            <a:endParaRPr lang="de-DE" noProof="0"/>
          </a:p>
          <a:p>
            <a:pPr lvl="1"/>
            <a:r>
              <a:rPr lang="de-DE" noProof="0"/>
              <a:t>Second </a:t>
            </a:r>
            <a:r>
              <a:rPr lang="de-DE" noProof="0" err="1"/>
              <a:t>level</a:t>
            </a:r>
            <a:endParaRPr lang="de-DE" noProof="0"/>
          </a:p>
          <a:p>
            <a:pPr lvl="2"/>
            <a:r>
              <a:rPr lang="de-DE" noProof="0"/>
              <a:t>Third </a:t>
            </a:r>
            <a:r>
              <a:rPr lang="de-DE" noProof="0" err="1"/>
              <a:t>leve</a:t>
            </a:r>
            <a:endParaRPr lang="de-DE" noProof="0"/>
          </a:p>
        </p:txBody>
      </p:sp>
      <p:sp>
        <p:nvSpPr>
          <p:cNvPr id="5" name="Title 8"/>
          <p:cNvSpPr>
            <a:spLocks noGrp="1"/>
          </p:cNvSpPr>
          <p:nvPr>
            <p:ph type="title" hasCustomPrompt="1"/>
          </p:nvPr>
        </p:nvSpPr>
        <p:spPr>
          <a:xfrm>
            <a:off x="315914" y="187363"/>
            <a:ext cx="8765652" cy="310500"/>
          </a:xfrm>
          <a:prstGeom prst="rect">
            <a:avLst/>
          </a:prstGeom>
        </p:spPr>
        <p:txBody>
          <a:bodyPr vert="horz" lIns="0" tIns="0" rIns="0" bIns="0"/>
          <a:lstStyle>
            <a:lvl1pPr algn="l">
              <a:lnSpc>
                <a:spcPct val="100000"/>
              </a:lnSpc>
              <a:defRPr sz="1800" b="1" baseline="0">
                <a:solidFill>
                  <a:srgbClr val="830051"/>
                </a:solidFill>
                <a:latin typeface="Arial" pitchFamily="34" charset="0"/>
                <a:cs typeface="Arial" pitchFamily="34" charset="0"/>
              </a:defRPr>
            </a:lvl1pPr>
          </a:lstStyle>
          <a:p>
            <a:r>
              <a:rPr lang="de-DE" noProof="0"/>
              <a:t>Click to add title</a:t>
            </a:r>
          </a:p>
        </p:txBody>
      </p:sp>
      <p:sp>
        <p:nvSpPr>
          <p:cNvPr id="6" name="Subtitle 2"/>
          <p:cNvSpPr>
            <a:spLocks noGrp="1"/>
          </p:cNvSpPr>
          <p:nvPr>
            <p:ph type="subTitle" idx="10" hasCustomPrompt="1"/>
          </p:nvPr>
        </p:nvSpPr>
        <p:spPr>
          <a:xfrm>
            <a:off x="315912" y="507864"/>
            <a:ext cx="8765652" cy="324000"/>
          </a:xfrm>
          <a:prstGeom prst="rect">
            <a:avLst/>
          </a:prstGeom>
        </p:spPr>
        <p:txBody>
          <a:bodyPr lIns="0" tIns="0" rIns="0" bIns="0"/>
          <a:lstStyle>
            <a:lvl1pPr marL="0" indent="0" algn="l">
              <a:lnSpc>
                <a:spcPct val="100000"/>
              </a:lnSpc>
              <a:spcBef>
                <a:spcPts val="0"/>
              </a:spcBef>
              <a:buNone/>
              <a:defRPr sz="1800">
                <a:solidFill>
                  <a:schemeClr val="accent4"/>
                </a:solidFill>
                <a:latin typeface="Arial" pitchFamily="34" charset="0"/>
                <a:cs typeface="Arial" pitchFamily="34" charset="0"/>
              </a:defRPr>
            </a:lvl1pPr>
            <a:lvl2pPr marL="342857" indent="0" algn="ctr">
              <a:buNone/>
              <a:defRPr>
                <a:solidFill>
                  <a:schemeClr val="tx1">
                    <a:tint val="75000"/>
                  </a:schemeClr>
                </a:solidFill>
              </a:defRPr>
            </a:lvl2pPr>
            <a:lvl3pPr marL="685715" indent="0" algn="ctr">
              <a:buNone/>
              <a:defRPr>
                <a:solidFill>
                  <a:schemeClr val="tx1">
                    <a:tint val="75000"/>
                  </a:schemeClr>
                </a:solidFill>
              </a:defRPr>
            </a:lvl3pPr>
            <a:lvl4pPr marL="1028572" indent="0" algn="ctr">
              <a:buNone/>
              <a:defRPr>
                <a:solidFill>
                  <a:schemeClr val="tx1">
                    <a:tint val="75000"/>
                  </a:schemeClr>
                </a:solidFill>
              </a:defRPr>
            </a:lvl4pPr>
            <a:lvl5pPr marL="1371428" indent="0" algn="ctr">
              <a:buNone/>
              <a:defRPr>
                <a:solidFill>
                  <a:schemeClr val="tx1">
                    <a:tint val="75000"/>
                  </a:schemeClr>
                </a:solidFill>
              </a:defRPr>
            </a:lvl5pPr>
            <a:lvl6pPr marL="1714286" indent="0" algn="ctr">
              <a:buNone/>
              <a:defRPr>
                <a:solidFill>
                  <a:schemeClr val="tx1">
                    <a:tint val="75000"/>
                  </a:schemeClr>
                </a:solidFill>
              </a:defRPr>
            </a:lvl6pPr>
            <a:lvl7pPr marL="2057143" indent="0" algn="ctr">
              <a:buNone/>
              <a:defRPr>
                <a:solidFill>
                  <a:schemeClr val="tx1">
                    <a:tint val="75000"/>
                  </a:schemeClr>
                </a:solidFill>
              </a:defRPr>
            </a:lvl7pPr>
            <a:lvl8pPr marL="2400000" indent="0" algn="ctr">
              <a:buNone/>
              <a:defRPr>
                <a:solidFill>
                  <a:schemeClr val="tx1">
                    <a:tint val="75000"/>
                  </a:schemeClr>
                </a:solidFill>
              </a:defRPr>
            </a:lvl8pPr>
            <a:lvl9pPr marL="2742857" indent="0" algn="ctr">
              <a:buNone/>
              <a:defRPr>
                <a:solidFill>
                  <a:schemeClr val="tx1">
                    <a:tint val="75000"/>
                  </a:schemeClr>
                </a:solidFill>
              </a:defRPr>
            </a:lvl9pPr>
          </a:lstStyle>
          <a:p>
            <a:r>
              <a:rPr lang="de-DE" noProof="0"/>
              <a:t>Click to add subtitle</a:t>
            </a:r>
          </a:p>
        </p:txBody>
      </p:sp>
      <p:sp>
        <p:nvSpPr>
          <p:cNvPr id="10" name="Slide Number Placeholder 5">
            <a:extLst>
              <a:ext uri="{FF2B5EF4-FFF2-40B4-BE49-F238E27FC236}">
                <a16:creationId xmlns:a16="http://schemas.microsoft.com/office/drawing/2014/main" id="{8A9A204E-E210-B540-A71B-09B42AB4A9D6}"/>
              </a:ext>
            </a:extLst>
          </p:cNvPr>
          <p:cNvSpPr>
            <a:spLocks noGrp="1"/>
          </p:cNvSpPr>
          <p:nvPr>
            <p:ph type="sldNum" sz="quarter" idx="4"/>
          </p:nvPr>
        </p:nvSpPr>
        <p:spPr>
          <a:xfrm>
            <a:off x="315913" y="4920941"/>
            <a:ext cx="396000" cy="162000"/>
          </a:xfrm>
          <a:prstGeom prst="rect">
            <a:avLst/>
          </a:prstGeom>
        </p:spPr>
        <p:txBody>
          <a:bodyPr vert="horz" lIns="0" tIns="0" rIns="0" bIns="0" rtlCol="0" anchor="t" anchorCtr="0"/>
          <a:lstStyle>
            <a:lvl1pPr algn="l">
              <a:defRPr sz="600">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11" name="Fußzeilenplatzhalter 2">
            <a:extLst>
              <a:ext uri="{FF2B5EF4-FFF2-40B4-BE49-F238E27FC236}">
                <a16:creationId xmlns:a16="http://schemas.microsoft.com/office/drawing/2014/main" id="{EC174800-AD5A-FA44-A85D-7CA2E074DC33}"/>
              </a:ext>
            </a:extLst>
          </p:cNvPr>
          <p:cNvSpPr>
            <a:spLocks noGrp="1"/>
          </p:cNvSpPr>
          <p:nvPr>
            <p:ph type="ftr" sz="quarter" idx="3"/>
          </p:nvPr>
        </p:nvSpPr>
        <p:spPr>
          <a:xfrm>
            <a:off x="712403" y="4920941"/>
            <a:ext cx="5120518" cy="222560"/>
          </a:xfrm>
          <a:prstGeom prst="rect">
            <a:avLst/>
          </a:prstGeom>
        </p:spPr>
        <p:txBody>
          <a:bodyPr vert="horz" lIns="0" tIns="0" rIns="0" bIns="0" rtlCol="0" anchor="t" anchorCtr="0"/>
          <a:lstStyle>
            <a:lvl1pPr algn="l">
              <a:defRPr sz="600" b="1">
                <a:solidFill>
                  <a:schemeClr val="tx1"/>
                </a:solidFill>
              </a:defRPr>
            </a:lvl1pPr>
          </a:lstStyle>
          <a:p>
            <a:endParaRPr lang="en-GB"/>
          </a:p>
        </p:txBody>
      </p:sp>
      <p:sp>
        <p:nvSpPr>
          <p:cNvPr id="3" name="Textplatzhalter 2">
            <a:extLst>
              <a:ext uri="{FF2B5EF4-FFF2-40B4-BE49-F238E27FC236}">
                <a16:creationId xmlns:a16="http://schemas.microsoft.com/office/drawing/2014/main" id="{FBF76DA3-4C05-054F-ABE0-8A7463E02794}"/>
              </a:ext>
            </a:extLst>
          </p:cNvPr>
          <p:cNvSpPr>
            <a:spLocks noGrp="1"/>
          </p:cNvSpPr>
          <p:nvPr>
            <p:ph type="body" sz="quarter" idx="16" hasCustomPrompt="1"/>
          </p:nvPr>
        </p:nvSpPr>
        <p:spPr>
          <a:xfrm>
            <a:off x="323850" y="4501891"/>
            <a:ext cx="8496300" cy="222560"/>
          </a:xfrm>
          <a:prstGeom prst="rect">
            <a:avLst/>
          </a:prstGeom>
        </p:spPr>
        <p:txBody>
          <a:bodyPr lIns="0" tIns="0" rIns="0" bIns="0" anchor="b"/>
          <a:lstStyle>
            <a:lvl1pPr marL="0" indent="0">
              <a:buNone/>
              <a:defRPr sz="800" i="0">
                <a:solidFill>
                  <a:schemeClr val="tx1">
                    <a:lumMod val="50000"/>
                    <a:lumOff val="50000"/>
                  </a:schemeClr>
                </a:solidFill>
              </a:defRPr>
            </a:lvl1pPr>
            <a:lvl2pPr marL="342857" indent="0">
              <a:buNone/>
              <a:defRPr/>
            </a:lvl2pPr>
            <a:lvl3pPr marL="685715" indent="0">
              <a:buNone/>
              <a:defRPr/>
            </a:lvl3pPr>
            <a:lvl4pPr marL="1028572" indent="0">
              <a:buNone/>
              <a:defRPr/>
            </a:lvl4pPr>
            <a:lvl5pPr marL="1371428" indent="0">
              <a:buNone/>
              <a:defRPr/>
            </a:lvl5pPr>
          </a:lstStyle>
          <a:p>
            <a:pPr lvl="0"/>
            <a:r>
              <a:rPr lang="de-DE"/>
              <a:t>Fußnoten (optional)</a:t>
            </a:r>
          </a:p>
        </p:txBody>
      </p:sp>
    </p:spTree>
    <p:extLst>
      <p:ext uri="{BB962C8B-B14F-4D97-AF65-F5344CB8AC3E}">
        <p14:creationId xmlns:p14="http://schemas.microsoft.com/office/powerpoint/2010/main" val="378817140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4"/>
          </p:nvPr>
        </p:nvSpPr>
        <p:spPr>
          <a:xfrm>
            <a:off x="8500832" y="4809841"/>
            <a:ext cx="497205" cy="273844"/>
          </a:xfrm>
          <a:prstGeom prst="rect">
            <a:avLst/>
          </a:prstGeom>
        </p:spPr>
        <p:txBody>
          <a:bodyPr vert="horz" lIns="91440" tIns="45720" rIns="91440" bIns="45720" rtlCol="0" anchor="ctr"/>
          <a:lstStyle>
            <a:lvl1pPr algn="r">
              <a:defRPr lang="en-US" sz="1100" smtClean="0"/>
            </a:lvl1pPr>
          </a:lstStyle>
          <a:p>
            <a:fld id="{AF1AFCDA-ABCC-4704-AB71-48FDE4F2FA4C}" type="slidenum">
              <a:rPr lang="en-US" smtClean="0"/>
              <a:pPr/>
              <a:t>‹#›</a:t>
            </a:fld>
            <a:endParaRPr lang="en-US"/>
          </a:p>
        </p:txBody>
      </p:sp>
      <p:sp>
        <p:nvSpPr>
          <p:cNvPr id="5" name="Text Placeholder 5">
            <a:extLst>
              <a:ext uri="{FF2B5EF4-FFF2-40B4-BE49-F238E27FC236}">
                <a16:creationId xmlns:a16="http://schemas.microsoft.com/office/drawing/2014/main" id="{21BF7C2D-2C19-4241-9CF3-26389255A655}"/>
              </a:ext>
            </a:extLst>
          </p:cNvPr>
          <p:cNvSpPr>
            <a:spLocks noGrp="1"/>
          </p:cNvSpPr>
          <p:nvPr>
            <p:ph type="body" sz="quarter" idx="13"/>
          </p:nvPr>
        </p:nvSpPr>
        <p:spPr>
          <a:xfrm>
            <a:off x="287337" y="4869903"/>
            <a:ext cx="8280000" cy="186368"/>
          </a:xfrm>
        </p:spPr>
        <p:txBody>
          <a:bodyPr anchor="b">
            <a:spAutoFit/>
          </a:bodyPr>
          <a:lstStyle>
            <a:lvl1pPr>
              <a:spcBef>
                <a:spcPts val="300"/>
              </a:spcBef>
              <a:spcAft>
                <a:spcPts val="0"/>
              </a:spcAft>
              <a:defRPr sz="800"/>
            </a:lvl1pPr>
          </a:lstStyle>
          <a:p>
            <a:pPr lvl="0"/>
            <a:r>
              <a:rPr lang="en-US"/>
              <a:t>Click to edit Master text styles</a:t>
            </a:r>
          </a:p>
        </p:txBody>
      </p:sp>
    </p:spTree>
    <p:custDataLst>
      <p:tags r:id="rId1"/>
    </p:custDataLst>
    <p:extLst>
      <p:ext uri="{BB962C8B-B14F-4D97-AF65-F5344CB8AC3E}">
        <p14:creationId xmlns:p14="http://schemas.microsoft.com/office/powerpoint/2010/main" val="38432220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FC885D4-EA53-4457-8296-1FFA0361983D}"/>
              </a:ext>
            </a:extLst>
          </p:cNvPr>
          <p:cNvSpPr>
            <a:spLocks noGrp="1"/>
          </p:cNvSpPr>
          <p:nvPr>
            <p:ph type="title" orient="vert"/>
          </p:nvPr>
        </p:nvSpPr>
        <p:spPr>
          <a:xfrm>
            <a:off x="6543675" y="273844"/>
            <a:ext cx="1971675" cy="4358879"/>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B705892F-1942-48FA-B802-F0033FF77763}"/>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89692DFE-566C-40D1-B40A-2BEAF77F46F7}"/>
              </a:ext>
            </a:extLst>
          </p:cNvPr>
          <p:cNvSpPr>
            <a:spLocks noGrp="1"/>
          </p:cNvSpPr>
          <p:nvPr>
            <p:ph type="dt" sz="half" idx="10"/>
          </p:nvPr>
        </p:nvSpPr>
        <p:spPr/>
        <p:txBody>
          <a:bodyPr/>
          <a:lstStyle/>
          <a:p>
            <a:endParaRPr lang="el-GR"/>
          </a:p>
        </p:txBody>
      </p:sp>
      <p:sp>
        <p:nvSpPr>
          <p:cNvPr id="5" name="Footer Placeholder 4">
            <a:extLst>
              <a:ext uri="{FF2B5EF4-FFF2-40B4-BE49-F238E27FC236}">
                <a16:creationId xmlns:a16="http://schemas.microsoft.com/office/drawing/2014/main" id="{4EA38CF2-2A96-46CA-8E4A-D26A7ACEC8AF}"/>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6BFDED40-BFAF-4ED0-AEE7-BC09EDA25CDA}"/>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248957776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4A127F18-4292-4418-A408-A94177180F73}" type="slidenum">
              <a:rPr lang="de-DE" smtClean="0"/>
              <a:t>‹#›</a:t>
            </a:fld>
            <a:endParaRPr lang="de-DE"/>
          </a:p>
        </p:txBody>
      </p:sp>
    </p:spTree>
    <p:extLst>
      <p:ext uri="{BB962C8B-B14F-4D97-AF65-F5344CB8AC3E}">
        <p14:creationId xmlns:p14="http://schemas.microsoft.com/office/powerpoint/2010/main" val="116659700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96A00-E493-9848-B7C3-CEE283D6DE47}"/>
              </a:ext>
            </a:extLst>
          </p:cNvPr>
          <p:cNvSpPr>
            <a:spLocks noGrp="1"/>
          </p:cNvSpPr>
          <p:nvPr>
            <p:ph type="ctrTitle"/>
          </p:nvPr>
        </p:nvSpPr>
        <p:spPr>
          <a:xfrm>
            <a:off x="1143000" y="841772"/>
            <a:ext cx="6858000" cy="1790700"/>
          </a:xfrm>
        </p:spPr>
        <p:txBody>
          <a:bodyPr anchor="b"/>
          <a:lstStyle>
            <a:lvl1pPr algn="ctr">
              <a:defRPr sz="4500"/>
            </a:lvl1pPr>
          </a:lstStyle>
          <a:p>
            <a:r>
              <a:rPr lang="en-GB"/>
              <a:t>Click to edit Master title style</a:t>
            </a:r>
            <a:endParaRPr lang="en-FR"/>
          </a:p>
        </p:txBody>
      </p:sp>
      <p:sp>
        <p:nvSpPr>
          <p:cNvPr id="3" name="Subtitle 2">
            <a:extLst>
              <a:ext uri="{FF2B5EF4-FFF2-40B4-BE49-F238E27FC236}">
                <a16:creationId xmlns:a16="http://schemas.microsoft.com/office/drawing/2014/main" id="{AFBAA2AC-FC5B-1042-A810-5D893C966B9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FR"/>
          </a:p>
        </p:txBody>
      </p:sp>
      <p:sp>
        <p:nvSpPr>
          <p:cNvPr id="4" name="Date Placeholder 3">
            <a:extLst>
              <a:ext uri="{FF2B5EF4-FFF2-40B4-BE49-F238E27FC236}">
                <a16:creationId xmlns:a16="http://schemas.microsoft.com/office/drawing/2014/main" id="{A596A606-422A-FF4B-BE5B-EE7032AA5448}"/>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C0C3F4AF-CF19-2D48-999E-0F34B004D35E}"/>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229A36C9-AE81-9E4B-96D4-3BC5175A4358}"/>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238834411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1F9F8-B6A4-F447-8C8A-CD2CB81BA460}"/>
              </a:ext>
            </a:extLst>
          </p:cNvPr>
          <p:cNvSpPr>
            <a:spLocks noGrp="1"/>
          </p:cNvSpPr>
          <p:nvPr>
            <p:ph type="title"/>
          </p:nvPr>
        </p:nvSpPr>
        <p:spPr/>
        <p:txBody>
          <a:bodyPr/>
          <a:lstStyle/>
          <a:p>
            <a:r>
              <a:rPr lang="en-GB"/>
              <a:t>Click to edit Master title style</a:t>
            </a:r>
            <a:endParaRPr lang="en-FR"/>
          </a:p>
        </p:txBody>
      </p:sp>
      <p:sp>
        <p:nvSpPr>
          <p:cNvPr id="3" name="Content Placeholder 2">
            <a:extLst>
              <a:ext uri="{FF2B5EF4-FFF2-40B4-BE49-F238E27FC236}">
                <a16:creationId xmlns:a16="http://schemas.microsoft.com/office/drawing/2014/main" id="{F5F2422C-216D-2D43-8C1E-93105C65564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Date Placeholder 3">
            <a:extLst>
              <a:ext uri="{FF2B5EF4-FFF2-40B4-BE49-F238E27FC236}">
                <a16:creationId xmlns:a16="http://schemas.microsoft.com/office/drawing/2014/main" id="{259DA142-BC4E-0946-BEE5-15DF5DFD307D}"/>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B21CFF46-1A0E-6346-9C66-C35BE96E20C8}"/>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1B8F0319-B0A1-9345-99E0-CE651135E9A5}"/>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200277129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5E770-D7E3-2B49-ABE7-E33C34ED5D05}"/>
              </a:ext>
            </a:extLst>
          </p:cNvPr>
          <p:cNvSpPr>
            <a:spLocks noGrp="1"/>
          </p:cNvSpPr>
          <p:nvPr>
            <p:ph type="title"/>
          </p:nvPr>
        </p:nvSpPr>
        <p:spPr>
          <a:xfrm>
            <a:off x="623888" y="1282304"/>
            <a:ext cx="7886700" cy="2139553"/>
          </a:xfrm>
        </p:spPr>
        <p:txBody>
          <a:bodyPr anchor="b"/>
          <a:lstStyle>
            <a:lvl1pPr>
              <a:defRPr sz="4500"/>
            </a:lvl1pPr>
          </a:lstStyle>
          <a:p>
            <a:r>
              <a:rPr lang="en-GB"/>
              <a:t>Click to edit Master title style</a:t>
            </a:r>
            <a:endParaRPr lang="en-FR"/>
          </a:p>
        </p:txBody>
      </p:sp>
      <p:sp>
        <p:nvSpPr>
          <p:cNvPr id="3" name="Text Placeholder 2">
            <a:extLst>
              <a:ext uri="{FF2B5EF4-FFF2-40B4-BE49-F238E27FC236}">
                <a16:creationId xmlns:a16="http://schemas.microsoft.com/office/drawing/2014/main" id="{70AA89A0-654D-F543-AA72-C6737C9B2A5B}"/>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63F80C1-FD51-BE44-98AD-E4E679D27032}"/>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23DCEFB4-BA74-F849-83D2-7CC381C68E98}"/>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1E2C1DA1-E7B9-BA46-B9A3-273E323B2E53}"/>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19582140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C60F2-0D02-F042-9224-D757A33AF757}"/>
              </a:ext>
            </a:extLst>
          </p:cNvPr>
          <p:cNvSpPr>
            <a:spLocks noGrp="1"/>
          </p:cNvSpPr>
          <p:nvPr>
            <p:ph type="title"/>
          </p:nvPr>
        </p:nvSpPr>
        <p:spPr/>
        <p:txBody>
          <a:bodyPr/>
          <a:lstStyle/>
          <a:p>
            <a:r>
              <a:rPr lang="en-GB"/>
              <a:t>Click to edit Master title style</a:t>
            </a:r>
            <a:endParaRPr lang="en-FR"/>
          </a:p>
        </p:txBody>
      </p:sp>
      <p:sp>
        <p:nvSpPr>
          <p:cNvPr id="3" name="Content Placeholder 2">
            <a:extLst>
              <a:ext uri="{FF2B5EF4-FFF2-40B4-BE49-F238E27FC236}">
                <a16:creationId xmlns:a16="http://schemas.microsoft.com/office/drawing/2014/main" id="{DA077C3D-EDF8-1A4B-8A54-DA0814F9B7BA}"/>
              </a:ext>
            </a:extLst>
          </p:cNvPr>
          <p:cNvSpPr>
            <a:spLocks noGrp="1"/>
          </p:cNvSpPr>
          <p:nvPr>
            <p:ph sz="half" idx="1"/>
          </p:nvPr>
        </p:nvSpPr>
        <p:spPr>
          <a:xfrm>
            <a:off x="628650" y="1369219"/>
            <a:ext cx="3886200" cy="326350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Content Placeholder 3">
            <a:extLst>
              <a:ext uri="{FF2B5EF4-FFF2-40B4-BE49-F238E27FC236}">
                <a16:creationId xmlns:a16="http://schemas.microsoft.com/office/drawing/2014/main" id="{453B14AF-4BB4-F049-AE7B-06CEBC0717FD}"/>
              </a:ext>
            </a:extLst>
          </p:cNvPr>
          <p:cNvSpPr>
            <a:spLocks noGrp="1"/>
          </p:cNvSpPr>
          <p:nvPr>
            <p:ph sz="half" idx="2"/>
          </p:nvPr>
        </p:nvSpPr>
        <p:spPr>
          <a:xfrm>
            <a:off x="4629150" y="1369219"/>
            <a:ext cx="3886200" cy="326350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5" name="Date Placeholder 4">
            <a:extLst>
              <a:ext uri="{FF2B5EF4-FFF2-40B4-BE49-F238E27FC236}">
                <a16:creationId xmlns:a16="http://schemas.microsoft.com/office/drawing/2014/main" id="{53552895-3665-B845-8503-9C65455C1798}"/>
              </a:ext>
            </a:extLst>
          </p:cNvPr>
          <p:cNvSpPr>
            <a:spLocks noGrp="1"/>
          </p:cNvSpPr>
          <p:nvPr>
            <p:ph type="dt" sz="half" idx="10"/>
          </p:nvPr>
        </p:nvSpPr>
        <p:spPr/>
        <p:txBody>
          <a:bodyPr/>
          <a:lstStyle/>
          <a:p>
            <a:endParaRPr lang="en-FR"/>
          </a:p>
        </p:txBody>
      </p:sp>
      <p:sp>
        <p:nvSpPr>
          <p:cNvPr id="6" name="Footer Placeholder 5">
            <a:extLst>
              <a:ext uri="{FF2B5EF4-FFF2-40B4-BE49-F238E27FC236}">
                <a16:creationId xmlns:a16="http://schemas.microsoft.com/office/drawing/2014/main" id="{DAFA2C0F-E551-8E44-9541-DE74730A75D6}"/>
              </a:ext>
            </a:extLst>
          </p:cNvPr>
          <p:cNvSpPr>
            <a:spLocks noGrp="1"/>
          </p:cNvSpPr>
          <p:nvPr>
            <p:ph type="ftr" sz="quarter" idx="11"/>
          </p:nvPr>
        </p:nvSpPr>
        <p:spPr/>
        <p:txBody>
          <a:bodyPr/>
          <a:lstStyle/>
          <a:p>
            <a:endParaRPr lang="en-FR"/>
          </a:p>
        </p:txBody>
      </p:sp>
      <p:sp>
        <p:nvSpPr>
          <p:cNvPr id="7" name="Slide Number Placeholder 6">
            <a:extLst>
              <a:ext uri="{FF2B5EF4-FFF2-40B4-BE49-F238E27FC236}">
                <a16:creationId xmlns:a16="http://schemas.microsoft.com/office/drawing/2014/main" id="{3B424215-7FA9-454F-9DFC-C1F9188CB308}"/>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393734324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8096E-E407-ED40-9CE8-AF079920846D}"/>
              </a:ext>
            </a:extLst>
          </p:cNvPr>
          <p:cNvSpPr>
            <a:spLocks noGrp="1"/>
          </p:cNvSpPr>
          <p:nvPr>
            <p:ph type="title"/>
          </p:nvPr>
        </p:nvSpPr>
        <p:spPr>
          <a:xfrm>
            <a:off x="629841" y="273844"/>
            <a:ext cx="7886700" cy="994172"/>
          </a:xfrm>
        </p:spPr>
        <p:txBody>
          <a:bodyPr/>
          <a:lstStyle/>
          <a:p>
            <a:r>
              <a:rPr lang="en-GB"/>
              <a:t>Click to edit Master title style</a:t>
            </a:r>
            <a:endParaRPr lang="en-FR"/>
          </a:p>
        </p:txBody>
      </p:sp>
      <p:sp>
        <p:nvSpPr>
          <p:cNvPr id="3" name="Text Placeholder 2">
            <a:extLst>
              <a:ext uri="{FF2B5EF4-FFF2-40B4-BE49-F238E27FC236}">
                <a16:creationId xmlns:a16="http://schemas.microsoft.com/office/drawing/2014/main" id="{2CF0D141-A24F-D243-A776-D26E5C6CC1A4}"/>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a:extLst>
              <a:ext uri="{FF2B5EF4-FFF2-40B4-BE49-F238E27FC236}">
                <a16:creationId xmlns:a16="http://schemas.microsoft.com/office/drawing/2014/main" id="{C6173747-DC90-CD48-A53A-252B0359BC49}"/>
              </a:ext>
            </a:extLst>
          </p:cNvPr>
          <p:cNvSpPr>
            <a:spLocks noGrp="1"/>
          </p:cNvSpPr>
          <p:nvPr>
            <p:ph sz="half" idx="2"/>
          </p:nvPr>
        </p:nvSpPr>
        <p:spPr>
          <a:xfrm>
            <a:off x="629842" y="1878806"/>
            <a:ext cx="3868340"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5" name="Text Placeholder 4">
            <a:extLst>
              <a:ext uri="{FF2B5EF4-FFF2-40B4-BE49-F238E27FC236}">
                <a16:creationId xmlns:a16="http://schemas.microsoft.com/office/drawing/2014/main" id="{9BB142FB-2239-624F-B40B-6E183374C05B}"/>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a:extLst>
              <a:ext uri="{FF2B5EF4-FFF2-40B4-BE49-F238E27FC236}">
                <a16:creationId xmlns:a16="http://schemas.microsoft.com/office/drawing/2014/main" id="{16FBBBBB-3A29-5142-9D88-C230A2A7BDC4}"/>
              </a:ext>
            </a:extLst>
          </p:cNvPr>
          <p:cNvSpPr>
            <a:spLocks noGrp="1"/>
          </p:cNvSpPr>
          <p:nvPr>
            <p:ph sz="quarter" idx="4"/>
          </p:nvPr>
        </p:nvSpPr>
        <p:spPr>
          <a:xfrm>
            <a:off x="4629150" y="1878806"/>
            <a:ext cx="3887391"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7" name="Date Placeholder 6">
            <a:extLst>
              <a:ext uri="{FF2B5EF4-FFF2-40B4-BE49-F238E27FC236}">
                <a16:creationId xmlns:a16="http://schemas.microsoft.com/office/drawing/2014/main" id="{83C69EDB-CC8B-534E-8E6E-69349A2C0560}"/>
              </a:ext>
            </a:extLst>
          </p:cNvPr>
          <p:cNvSpPr>
            <a:spLocks noGrp="1"/>
          </p:cNvSpPr>
          <p:nvPr>
            <p:ph type="dt" sz="half" idx="10"/>
          </p:nvPr>
        </p:nvSpPr>
        <p:spPr/>
        <p:txBody>
          <a:bodyPr/>
          <a:lstStyle/>
          <a:p>
            <a:endParaRPr lang="en-FR"/>
          </a:p>
        </p:txBody>
      </p:sp>
      <p:sp>
        <p:nvSpPr>
          <p:cNvPr id="8" name="Footer Placeholder 7">
            <a:extLst>
              <a:ext uri="{FF2B5EF4-FFF2-40B4-BE49-F238E27FC236}">
                <a16:creationId xmlns:a16="http://schemas.microsoft.com/office/drawing/2014/main" id="{F3853C49-4FCA-DC45-8C77-CD1C59F5BE0A}"/>
              </a:ext>
            </a:extLst>
          </p:cNvPr>
          <p:cNvSpPr>
            <a:spLocks noGrp="1"/>
          </p:cNvSpPr>
          <p:nvPr>
            <p:ph type="ftr" sz="quarter" idx="11"/>
          </p:nvPr>
        </p:nvSpPr>
        <p:spPr/>
        <p:txBody>
          <a:bodyPr/>
          <a:lstStyle/>
          <a:p>
            <a:endParaRPr lang="en-FR"/>
          </a:p>
        </p:txBody>
      </p:sp>
      <p:sp>
        <p:nvSpPr>
          <p:cNvPr id="9" name="Slide Number Placeholder 8">
            <a:extLst>
              <a:ext uri="{FF2B5EF4-FFF2-40B4-BE49-F238E27FC236}">
                <a16:creationId xmlns:a16="http://schemas.microsoft.com/office/drawing/2014/main" id="{60FE7528-6B32-BF41-B70C-EE5B1B134536}"/>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12055722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FCA2F-51E3-B146-AD96-951D693D5915}"/>
              </a:ext>
            </a:extLst>
          </p:cNvPr>
          <p:cNvSpPr>
            <a:spLocks noGrp="1"/>
          </p:cNvSpPr>
          <p:nvPr>
            <p:ph type="title"/>
          </p:nvPr>
        </p:nvSpPr>
        <p:spPr/>
        <p:txBody>
          <a:bodyPr/>
          <a:lstStyle/>
          <a:p>
            <a:r>
              <a:rPr lang="en-GB"/>
              <a:t>Click to edit Master title style</a:t>
            </a:r>
            <a:endParaRPr lang="en-FR"/>
          </a:p>
        </p:txBody>
      </p:sp>
      <p:sp>
        <p:nvSpPr>
          <p:cNvPr id="3" name="Date Placeholder 2">
            <a:extLst>
              <a:ext uri="{FF2B5EF4-FFF2-40B4-BE49-F238E27FC236}">
                <a16:creationId xmlns:a16="http://schemas.microsoft.com/office/drawing/2014/main" id="{D05FA08E-59AC-8149-942D-28AB4666C894}"/>
              </a:ext>
            </a:extLst>
          </p:cNvPr>
          <p:cNvSpPr>
            <a:spLocks noGrp="1"/>
          </p:cNvSpPr>
          <p:nvPr>
            <p:ph type="dt" sz="half" idx="10"/>
          </p:nvPr>
        </p:nvSpPr>
        <p:spPr/>
        <p:txBody>
          <a:bodyPr/>
          <a:lstStyle/>
          <a:p>
            <a:endParaRPr lang="en-FR"/>
          </a:p>
        </p:txBody>
      </p:sp>
      <p:sp>
        <p:nvSpPr>
          <p:cNvPr id="4" name="Footer Placeholder 3">
            <a:extLst>
              <a:ext uri="{FF2B5EF4-FFF2-40B4-BE49-F238E27FC236}">
                <a16:creationId xmlns:a16="http://schemas.microsoft.com/office/drawing/2014/main" id="{A3009929-B346-0942-9EC3-659B3B2655F7}"/>
              </a:ext>
            </a:extLst>
          </p:cNvPr>
          <p:cNvSpPr>
            <a:spLocks noGrp="1"/>
          </p:cNvSpPr>
          <p:nvPr>
            <p:ph type="ftr" sz="quarter" idx="11"/>
          </p:nvPr>
        </p:nvSpPr>
        <p:spPr/>
        <p:txBody>
          <a:bodyPr/>
          <a:lstStyle/>
          <a:p>
            <a:endParaRPr lang="en-FR"/>
          </a:p>
        </p:txBody>
      </p:sp>
      <p:sp>
        <p:nvSpPr>
          <p:cNvPr id="5" name="Slide Number Placeholder 4">
            <a:extLst>
              <a:ext uri="{FF2B5EF4-FFF2-40B4-BE49-F238E27FC236}">
                <a16:creationId xmlns:a16="http://schemas.microsoft.com/office/drawing/2014/main" id="{B5EF87FF-D4FE-A74C-95B7-F0EA85BBBDA6}"/>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297767800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1D92A1-DA6B-2642-B8FE-B09F8C6F33DF}"/>
              </a:ext>
            </a:extLst>
          </p:cNvPr>
          <p:cNvSpPr>
            <a:spLocks noGrp="1"/>
          </p:cNvSpPr>
          <p:nvPr>
            <p:ph type="dt" sz="half" idx="10"/>
          </p:nvPr>
        </p:nvSpPr>
        <p:spPr/>
        <p:txBody>
          <a:bodyPr/>
          <a:lstStyle/>
          <a:p>
            <a:endParaRPr lang="en-FR"/>
          </a:p>
        </p:txBody>
      </p:sp>
      <p:sp>
        <p:nvSpPr>
          <p:cNvPr id="3" name="Footer Placeholder 2">
            <a:extLst>
              <a:ext uri="{FF2B5EF4-FFF2-40B4-BE49-F238E27FC236}">
                <a16:creationId xmlns:a16="http://schemas.microsoft.com/office/drawing/2014/main" id="{C1AED8B5-6BCC-FF44-8923-3F54A6E98BA0}"/>
              </a:ext>
            </a:extLst>
          </p:cNvPr>
          <p:cNvSpPr>
            <a:spLocks noGrp="1"/>
          </p:cNvSpPr>
          <p:nvPr>
            <p:ph type="ftr" sz="quarter" idx="11"/>
          </p:nvPr>
        </p:nvSpPr>
        <p:spPr/>
        <p:txBody>
          <a:bodyPr/>
          <a:lstStyle/>
          <a:p>
            <a:endParaRPr lang="en-FR"/>
          </a:p>
        </p:txBody>
      </p:sp>
      <p:sp>
        <p:nvSpPr>
          <p:cNvPr id="4" name="Slide Number Placeholder 3">
            <a:extLst>
              <a:ext uri="{FF2B5EF4-FFF2-40B4-BE49-F238E27FC236}">
                <a16:creationId xmlns:a16="http://schemas.microsoft.com/office/drawing/2014/main" id="{8C4AB4A8-DF73-F847-92EE-04291BF6935B}"/>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43893465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68785-97FA-8E42-A28C-59A3D94C77D2}"/>
              </a:ext>
            </a:extLst>
          </p:cNvPr>
          <p:cNvSpPr>
            <a:spLocks noGrp="1"/>
          </p:cNvSpPr>
          <p:nvPr>
            <p:ph type="title"/>
          </p:nvPr>
        </p:nvSpPr>
        <p:spPr>
          <a:xfrm>
            <a:off x="629841" y="342900"/>
            <a:ext cx="2949178" cy="1200150"/>
          </a:xfrm>
        </p:spPr>
        <p:txBody>
          <a:bodyPr anchor="b"/>
          <a:lstStyle>
            <a:lvl1pPr>
              <a:defRPr sz="2400"/>
            </a:lvl1pPr>
          </a:lstStyle>
          <a:p>
            <a:r>
              <a:rPr lang="en-GB"/>
              <a:t>Click to edit Master title style</a:t>
            </a:r>
            <a:endParaRPr lang="en-FR"/>
          </a:p>
        </p:txBody>
      </p:sp>
      <p:sp>
        <p:nvSpPr>
          <p:cNvPr id="3" name="Content Placeholder 2">
            <a:extLst>
              <a:ext uri="{FF2B5EF4-FFF2-40B4-BE49-F238E27FC236}">
                <a16:creationId xmlns:a16="http://schemas.microsoft.com/office/drawing/2014/main" id="{C9771577-F91C-634E-B06A-16AD1475F850}"/>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Text Placeholder 3">
            <a:extLst>
              <a:ext uri="{FF2B5EF4-FFF2-40B4-BE49-F238E27FC236}">
                <a16:creationId xmlns:a16="http://schemas.microsoft.com/office/drawing/2014/main" id="{E1B80F17-FD21-4949-AB3C-975323A90212}"/>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666098DF-23AB-9C4A-8151-38BA477FE7A3}"/>
              </a:ext>
            </a:extLst>
          </p:cNvPr>
          <p:cNvSpPr>
            <a:spLocks noGrp="1"/>
          </p:cNvSpPr>
          <p:nvPr>
            <p:ph type="dt" sz="half" idx="10"/>
          </p:nvPr>
        </p:nvSpPr>
        <p:spPr/>
        <p:txBody>
          <a:bodyPr/>
          <a:lstStyle/>
          <a:p>
            <a:endParaRPr lang="en-FR"/>
          </a:p>
        </p:txBody>
      </p:sp>
      <p:sp>
        <p:nvSpPr>
          <p:cNvPr id="6" name="Footer Placeholder 5">
            <a:extLst>
              <a:ext uri="{FF2B5EF4-FFF2-40B4-BE49-F238E27FC236}">
                <a16:creationId xmlns:a16="http://schemas.microsoft.com/office/drawing/2014/main" id="{1E1241E7-1A5B-9741-9120-FF51362FA714}"/>
              </a:ext>
            </a:extLst>
          </p:cNvPr>
          <p:cNvSpPr>
            <a:spLocks noGrp="1"/>
          </p:cNvSpPr>
          <p:nvPr>
            <p:ph type="ftr" sz="quarter" idx="11"/>
          </p:nvPr>
        </p:nvSpPr>
        <p:spPr/>
        <p:txBody>
          <a:bodyPr/>
          <a:lstStyle/>
          <a:p>
            <a:endParaRPr lang="en-FR"/>
          </a:p>
        </p:txBody>
      </p:sp>
      <p:sp>
        <p:nvSpPr>
          <p:cNvPr id="7" name="Slide Number Placeholder 6">
            <a:extLst>
              <a:ext uri="{FF2B5EF4-FFF2-40B4-BE49-F238E27FC236}">
                <a16:creationId xmlns:a16="http://schemas.microsoft.com/office/drawing/2014/main" id="{8C6AEEF1-03E1-C54A-98D6-813A6308B293}"/>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251707068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2D3C8-ABF8-0E4B-82E1-D699484E27A9}"/>
              </a:ext>
            </a:extLst>
          </p:cNvPr>
          <p:cNvSpPr>
            <a:spLocks noGrp="1"/>
          </p:cNvSpPr>
          <p:nvPr>
            <p:ph type="title"/>
          </p:nvPr>
        </p:nvSpPr>
        <p:spPr>
          <a:xfrm>
            <a:off x="629841" y="342900"/>
            <a:ext cx="2949178" cy="1200150"/>
          </a:xfrm>
        </p:spPr>
        <p:txBody>
          <a:bodyPr anchor="b"/>
          <a:lstStyle>
            <a:lvl1pPr>
              <a:defRPr sz="2400"/>
            </a:lvl1pPr>
          </a:lstStyle>
          <a:p>
            <a:r>
              <a:rPr lang="en-GB"/>
              <a:t>Click to edit Master title style</a:t>
            </a:r>
            <a:endParaRPr lang="en-FR"/>
          </a:p>
        </p:txBody>
      </p:sp>
      <p:sp>
        <p:nvSpPr>
          <p:cNvPr id="3" name="Picture Placeholder 2">
            <a:extLst>
              <a:ext uri="{FF2B5EF4-FFF2-40B4-BE49-F238E27FC236}">
                <a16:creationId xmlns:a16="http://schemas.microsoft.com/office/drawing/2014/main" id="{3B718ED5-DA28-1C41-A588-7D8FE28FA74D}"/>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FR"/>
          </a:p>
        </p:txBody>
      </p:sp>
      <p:sp>
        <p:nvSpPr>
          <p:cNvPr id="4" name="Text Placeholder 3">
            <a:extLst>
              <a:ext uri="{FF2B5EF4-FFF2-40B4-BE49-F238E27FC236}">
                <a16:creationId xmlns:a16="http://schemas.microsoft.com/office/drawing/2014/main" id="{F20BA496-1EC5-D643-A1D7-80B561AFD70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6AE55C2A-9581-5E46-B42F-75B68DD6D3E3}"/>
              </a:ext>
            </a:extLst>
          </p:cNvPr>
          <p:cNvSpPr>
            <a:spLocks noGrp="1"/>
          </p:cNvSpPr>
          <p:nvPr>
            <p:ph type="dt" sz="half" idx="10"/>
          </p:nvPr>
        </p:nvSpPr>
        <p:spPr/>
        <p:txBody>
          <a:bodyPr/>
          <a:lstStyle/>
          <a:p>
            <a:endParaRPr lang="en-FR"/>
          </a:p>
        </p:txBody>
      </p:sp>
      <p:sp>
        <p:nvSpPr>
          <p:cNvPr id="6" name="Footer Placeholder 5">
            <a:extLst>
              <a:ext uri="{FF2B5EF4-FFF2-40B4-BE49-F238E27FC236}">
                <a16:creationId xmlns:a16="http://schemas.microsoft.com/office/drawing/2014/main" id="{38A5D947-35DB-CA4E-B7A2-761C539C1CC5}"/>
              </a:ext>
            </a:extLst>
          </p:cNvPr>
          <p:cNvSpPr>
            <a:spLocks noGrp="1"/>
          </p:cNvSpPr>
          <p:nvPr>
            <p:ph type="ftr" sz="quarter" idx="11"/>
          </p:nvPr>
        </p:nvSpPr>
        <p:spPr/>
        <p:txBody>
          <a:bodyPr/>
          <a:lstStyle/>
          <a:p>
            <a:endParaRPr lang="en-FR"/>
          </a:p>
        </p:txBody>
      </p:sp>
      <p:sp>
        <p:nvSpPr>
          <p:cNvPr id="7" name="Slide Number Placeholder 6">
            <a:extLst>
              <a:ext uri="{FF2B5EF4-FFF2-40B4-BE49-F238E27FC236}">
                <a16:creationId xmlns:a16="http://schemas.microsoft.com/office/drawing/2014/main" id="{AB32EB4B-4451-594C-A15E-F35643D4CA49}"/>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13539429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p:cNvSpPr>
            <a:spLocks noChangeArrowheads="1"/>
          </p:cNvSpPr>
          <p:nvPr/>
        </p:nvSpPr>
        <p:spPr bwMode="auto">
          <a:xfrm>
            <a:off x="0" y="1"/>
            <a:ext cx="9144000" cy="160735"/>
          </a:xfrm>
          <a:prstGeom prst="rect">
            <a:avLst/>
          </a:prstGeom>
          <a:solidFill>
            <a:srgbClr val="2727B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i="1">
              <a:solidFill>
                <a:srgbClr val="000000"/>
              </a:solidFill>
              <a:ea typeface="ＭＳ Ｐゴシック" charset="0"/>
              <a:cs typeface="ＭＳ Ｐゴシック" charset="0"/>
            </a:endParaRPr>
          </a:p>
        </p:txBody>
      </p:sp>
      <p:pic>
        <p:nvPicPr>
          <p:cNvPr id="5" name="Picture 8" descr="MC-Bu-Bk 150"/>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9509" y="222102"/>
            <a:ext cx="1347491" cy="345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58" name="Rectangle 2"/>
          <p:cNvSpPr>
            <a:spLocks noGrp="1" noChangeArrowheads="1"/>
          </p:cNvSpPr>
          <p:nvPr>
            <p:ph type="ctrTitle"/>
          </p:nvPr>
        </p:nvSpPr>
        <p:spPr>
          <a:xfrm>
            <a:off x="685803" y="2000250"/>
            <a:ext cx="7769225" cy="857250"/>
          </a:xfrm>
        </p:spPr>
        <p:txBody>
          <a:bodyPr/>
          <a:lstStyle>
            <a:lvl1pPr>
              <a:defRPr sz="2700"/>
            </a:lvl1pPr>
          </a:lstStyle>
          <a:p>
            <a:r>
              <a:rPr lang="en-US"/>
              <a:t>Click to edit Master title style</a:t>
            </a:r>
          </a:p>
        </p:txBody>
      </p:sp>
      <p:sp>
        <p:nvSpPr>
          <p:cNvPr id="45059" name="Rectangle 3"/>
          <p:cNvSpPr>
            <a:spLocks noGrp="1" noChangeArrowheads="1"/>
          </p:cNvSpPr>
          <p:nvPr>
            <p:ph type="subTitle" idx="1"/>
          </p:nvPr>
        </p:nvSpPr>
        <p:spPr>
          <a:xfrm>
            <a:off x="685803" y="3486150"/>
            <a:ext cx="7769225" cy="1028700"/>
          </a:xfrm>
        </p:spPr>
        <p:txBody>
          <a:bodyPr/>
          <a:lstStyle>
            <a:lvl1pPr marL="0" indent="0" algn="ctr">
              <a:buFontTx/>
              <a:buNone/>
              <a:defRPr/>
            </a:lvl1pPr>
          </a:lstStyle>
          <a:p>
            <a:r>
              <a:rPr lang="en-US"/>
              <a:t>Click to edit Master subtitle style</a:t>
            </a:r>
          </a:p>
        </p:txBody>
      </p:sp>
      <p:sp>
        <p:nvSpPr>
          <p:cNvPr id="6" name="Rectangle 4"/>
          <p:cNvSpPr>
            <a:spLocks noGrp="1" noChangeArrowheads="1"/>
          </p:cNvSpPr>
          <p:nvPr>
            <p:ph type="dt" sz="half" idx="10"/>
          </p:nvPr>
        </p:nvSpPr>
        <p:spPr>
          <a:xfrm>
            <a:off x="228600" y="4914900"/>
            <a:ext cx="1905000" cy="114300"/>
          </a:xfrm>
          <a:prstGeom prst="rect">
            <a:avLst/>
          </a:prstGeom>
        </p:spPr>
        <p:txBody>
          <a:bodyPr/>
          <a:lstStyle>
            <a:lvl1pPr>
              <a:defRPr/>
            </a:lvl1pPr>
          </a:lstStyle>
          <a:p>
            <a:pPr>
              <a:defRPr/>
            </a:pPr>
            <a:endParaRPr lang="en-US">
              <a:solidFill>
                <a:srgbClr val="777777"/>
              </a:solidFill>
            </a:endParaRPr>
          </a:p>
        </p:txBody>
      </p:sp>
      <p:sp>
        <p:nvSpPr>
          <p:cNvPr id="7" name="Rectangle 5"/>
          <p:cNvSpPr>
            <a:spLocks noGrp="1" noChangeArrowheads="1"/>
          </p:cNvSpPr>
          <p:nvPr>
            <p:ph type="ftr" sz="quarter" idx="11"/>
          </p:nvPr>
        </p:nvSpPr>
        <p:spPr/>
        <p:txBody>
          <a:bodyPr/>
          <a:lstStyle>
            <a:lvl1pPr>
              <a:defRPr/>
            </a:lvl1pPr>
          </a:lstStyle>
          <a:p>
            <a:pPr>
              <a:defRPr/>
            </a:pPr>
            <a:endParaRPr lang="en-US">
              <a:solidFill>
                <a:srgbClr val="777777"/>
              </a:solidFill>
            </a:endParaRPr>
          </a:p>
        </p:txBody>
      </p:sp>
      <p:sp>
        <p:nvSpPr>
          <p:cNvPr id="8" name="Rectangle 6"/>
          <p:cNvSpPr>
            <a:spLocks noGrp="1" noChangeArrowheads="1"/>
          </p:cNvSpPr>
          <p:nvPr>
            <p:ph type="sldNum" sz="quarter" idx="12"/>
          </p:nvPr>
        </p:nvSpPr>
        <p:spPr/>
        <p:txBody>
          <a:bodyPr/>
          <a:lstStyle>
            <a:lvl1pPr>
              <a:defRPr/>
            </a:lvl1pPr>
          </a:lstStyle>
          <a:p>
            <a:pPr>
              <a:defRPr/>
            </a:pPr>
            <a:fld id="{922A301D-92A9-6B4D-9414-D85332CE24C0}"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347687879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AB538-EF79-3F4F-8556-2DE023FD54F4}"/>
              </a:ext>
            </a:extLst>
          </p:cNvPr>
          <p:cNvSpPr>
            <a:spLocks noGrp="1"/>
          </p:cNvSpPr>
          <p:nvPr>
            <p:ph type="title"/>
          </p:nvPr>
        </p:nvSpPr>
        <p:spPr/>
        <p:txBody>
          <a:bodyPr/>
          <a:lstStyle/>
          <a:p>
            <a:r>
              <a:rPr lang="en-GB"/>
              <a:t>Click to edit Master title style</a:t>
            </a:r>
            <a:endParaRPr lang="en-FR"/>
          </a:p>
        </p:txBody>
      </p:sp>
      <p:sp>
        <p:nvSpPr>
          <p:cNvPr id="3" name="Vertical Text Placeholder 2">
            <a:extLst>
              <a:ext uri="{FF2B5EF4-FFF2-40B4-BE49-F238E27FC236}">
                <a16:creationId xmlns:a16="http://schemas.microsoft.com/office/drawing/2014/main" id="{B0B489E7-742B-7441-80BE-2C9DDFD7881F}"/>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Date Placeholder 3">
            <a:extLst>
              <a:ext uri="{FF2B5EF4-FFF2-40B4-BE49-F238E27FC236}">
                <a16:creationId xmlns:a16="http://schemas.microsoft.com/office/drawing/2014/main" id="{15E9A1B2-234A-BF45-9BD1-567348BD5282}"/>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5B481A27-E200-BD41-A9E5-37E75C600D7F}"/>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48B76C2D-44EB-1A4A-97B6-5DD755C46C94}"/>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28025554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590D7-3DA5-4348-9E11-75012444088E}"/>
              </a:ext>
            </a:extLst>
          </p:cNvPr>
          <p:cNvSpPr>
            <a:spLocks noGrp="1"/>
          </p:cNvSpPr>
          <p:nvPr>
            <p:ph type="title" orient="vert"/>
          </p:nvPr>
        </p:nvSpPr>
        <p:spPr>
          <a:xfrm>
            <a:off x="6543675" y="273844"/>
            <a:ext cx="1971675" cy="4358879"/>
          </a:xfrm>
        </p:spPr>
        <p:txBody>
          <a:bodyPr vert="eaVert"/>
          <a:lstStyle/>
          <a:p>
            <a:r>
              <a:rPr lang="en-GB"/>
              <a:t>Click to edit Master title style</a:t>
            </a:r>
            <a:endParaRPr lang="en-FR"/>
          </a:p>
        </p:txBody>
      </p:sp>
      <p:sp>
        <p:nvSpPr>
          <p:cNvPr id="3" name="Vertical Text Placeholder 2">
            <a:extLst>
              <a:ext uri="{FF2B5EF4-FFF2-40B4-BE49-F238E27FC236}">
                <a16:creationId xmlns:a16="http://schemas.microsoft.com/office/drawing/2014/main" id="{6FBEC0C7-D621-574B-A549-1E7BBF11D683}"/>
              </a:ext>
            </a:extLst>
          </p:cNvPr>
          <p:cNvSpPr>
            <a:spLocks noGrp="1"/>
          </p:cNvSpPr>
          <p:nvPr>
            <p:ph type="body" orient="vert" idx="1"/>
          </p:nvPr>
        </p:nvSpPr>
        <p:spPr>
          <a:xfrm>
            <a:off x="628650" y="273844"/>
            <a:ext cx="5800725" cy="435887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Date Placeholder 3">
            <a:extLst>
              <a:ext uri="{FF2B5EF4-FFF2-40B4-BE49-F238E27FC236}">
                <a16:creationId xmlns:a16="http://schemas.microsoft.com/office/drawing/2014/main" id="{6BC3EBE9-A75B-B142-840C-8E06FCDE4FAD}"/>
              </a:ext>
            </a:extLst>
          </p:cNvPr>
          <p:cNvSpPr>
            <a:spLocks noGrp="1"/>
          </p:cNvSpPr>
          <p:nvPr>
            <p:ph type="dt" sz="half" idx="10"/>
          </p:nvPr>
        </p:nvSpPr>
        <p:spPr/>
        <p:txBody>
          <a:bodyPr/>
          <a:lstStyle/>
          <a:p>
            <a:endParaRPr lang="en-FR"/>
          </a:p>
        </p:txBody>
      </p:sp>
      <p:sp>
        <p:nvSpPr>
          <p:cNvPr id="5" name="Footer Placeholder 4">
            <a:extLst>
              <a:ext uri="{FF2B5EF4-FFF2-40B4-BE49-F238E27FC236}">
                <a16:creationId xmlns:a16="http://schemas.microsoft.com/office/drawing/2014/main" id="{42240BFC-4FE2-7241-9B77-B041BD20F784}"/>
              </a:ext>
            </a:extLst>
          </p:cNvPr>
          <p:cNvSpPr>
            <a:spLocks noGrp="1"/>
          </p:cNvSpPr>
          <p:nvPr>
            <p:ph type="ftr" sz="quarter" idx="11"/>
          </p:nvPr>
        </p:nvSpPr>
        <p:spPr/>
        <p:txBody>
          <a:bodyPr/>
          <a:lstStyle/>
          <a:p>
            <a:endParaRPr lang="en-FR"/>
          </a:p>
        </p:txBody>
      </p:sp>
      <p:sp>
        <p:nvSpPr>
          <p:cNvPr id="6" name="Slide Number Placeholder 5">
            <a:extLst>
              <a:ext uri="{FF2B5EF4-FFF2-40B4-BE49-F238E27FC236}">
                <a16:creationId xmlns:a16="http://schemas.microsoft.com/office/drawing/2014/main" id="{A717B552-75BD-A340-81E0-B544D34FA30B}"/>
              </a:ext>
            </a:extLst>
          </p:cNvPr>
          <p:cNvSpPr>
            <a:spLocks noGrp="1"/>
          </p:cNvSpPr>
          <p:nvPr>
            <p:ph type="sldNum" sz="quarter" idx="12"/>
          </p:nvPr>
        </p:nvSpPr>
        <p:spPr/>
        <p:txBody>
          <a:bodyPr/>
          <a:lstStyle/>
          <a:p>
            <a:fld id="{BDC56D66-F312-1C49-897B-D453E804C6C2}" type="slidenum">
              <a:rPr lang="en-FR" smtClean="0"/>
              <a:t>‹#›</a:t>
            </a:fld>
            <a:endParaRPr lang="en-FR"/>
          </a:p>
        </p:txBody>
      </p:sp>
    </p:spTree>
    <p:extLst>
      <p:ext uri="{BB962C8B-B14F-4D97-AF65-F5344CB8AC3E}">
        <p14:creationId xmlns:p14="http://schemas.microsoft.com/office/powerpoint/2010/main" val="248711654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9437" y="0"/>
            <a:ext cx="7095582" cy="944724"/>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8">
            <a:extLst>
              <a:ext uri="{FF2B5EF4-FFF2-40B4-BE49-F238E27FC236}">
                <a16:creationId xmlns:a16="http://schemas.microsoft.com/office/drawing/2014/main" id="{0C092B37-4CFA-4748-A566-0622AE2BC194}"/>
              </a:ext>
            </a:extLst>
          </p:cNvPr>
          <p:cNvSpPr>
            <a:spLocks noGrp="1"/>
          </p:cNvSpPr>
          <p:nvPr>
            <p:ph type="body" sz="quarter" idx="10"/>
          </p:nvPr>
        </p:nvSpPr>
        <p:spPr>
          <a:xfrm>
            <a:off x="4" y="4948018"/>
            <a:ext cx="3851275" cy="189533"/>
          </a:xfrm>
          <a:ln>
            <a:noFill/>
          </a:ln>
        </p:spPr>
        <p:txBody>
          <a:bodyPr anchor="b">
            <a:noAutofit/>
          </a:bodyPr>
          <a:lstStyle>
            <a:lvl1pPr marL="0" indent="0">
              <a:spcBef>
                <a:spcPts val="0"/>
              </a:spcBef>
              <a:spcAft>
                <a:spcPts val="0"/>
              </a:spcAft>
              <a:buNone/>
              <a:defRPr sz="45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8">
            <a:extLst>
              <a:ext uri="{FF2B5EF4-FFF2-40B4-BE49-F238E27FC236}">
                <a16:creationId xmlns:a16="http://schemas.microsoft.com/office/drawing/2014/main" id="{88827C3F-9101-4414-BAD5-FDA553E66B68}"/>
              </a:ext>
            </a:extLst>
          </p:cNvPr>
          <p:cNvSpPr>
            <a:spLocks noGrp="1"/>
          </p:cNvSpPr>
          <p:nvPr>
            <p:ph type="body" sz="quarter" idx="11"/>
          </p:nvPr>
        </p:nvSpPr>
        <p:spPr>
          <a:xfrm>
            <a:off x="4490835" y="4953971"/>
            <a:ext cx="4653166" cy="189533"/>
          </a:xfrm>
          <a:ln>
            <a:noFill/>
          </a:ln>
        </p:spPr>
        <p:txBody>
          <a:bodyPr anchor="b">
            <a:noAutofit/>
          </a:bodyPr>
          <a:lstStyle>
            <a:lvl1pPr marL="0" indent="0" algn="r">
              <a:spcBef>
                <a:spcPts val="0"/>
              </a:spcBef>
              <a:spcAft>
                <a:spcPts val="0"/>
              </a:spcAft>
              <a:buNone/>
              <a:defRPr sz="45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5866882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6" name="Rectangle 7"/>
          <p:cNvSpPr>
            <a:spLocks noGrp="1" noChangeArrowheads="1"/>
          </p:cNvSpPr>
          <p:nvPr>
            <p:ph type="sldNum" sz="quarter" idx="12"/>
          </p:nvPr>
        </p:nvSpPr>
        <p:spPr>
          <a:ln/>
        </p:spPr>
        <p:txBody>
          <a:bodyPr/>
          <a:lstStyle>
            <a:lvl1pPr>
              <a:defRPr/>
            </a:lvl1pPr>
          </a:lstStyle>
          <a:p>
            <a:pPr>
              <a:defRPr/>
            </a:pPr>
            <a:fld id="{C7CA850C-00E1-C947-B548-8A261A71EE95}"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23438854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5"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6" name="Rectangle 7"/>
          <p:cNvSpPr>
            <a:spLocks noGrp="1" noChangeArrowheads="1"/>
          </p:cNvSpPr>
          <p:nvPr>
            <p:ph type="sldNum" sz="quarter" idx="12"/>
          </p:nvPr>
        </p:nvSpPr>
        <p:spPr>
          <a:ln/>
        </p:spPr>
        <p:txBody>
          <a:bodyPr/>
          <a:lstStyle>
            <a:lvl1pPr>
              <a:defRPr/>
            </a:lvl1pPr>
          </a:lstStyle>
          <a:p>
            <a:pPr>
              <a:defRPr/>
            </a:pPr>
            <a:fld id="{EF80CD00-0735-0D4B-9F0E-D0BF6E9769D2}"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3053537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70617" y="1282044"/>
            <a:ext cx="4534294" cy="1548390"/>
          </a:xfrm>
        </p:spPr>
        <p:txBody>
          <a:bodyPr anchor="b">
            <a:normAutofit/>
          </a:bodyPr>
          <a:lstStyle>
            <a:lvl1pPr algn="l">
              <a:defRPr sz="36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4270617" y="2992114"/>
            <a:ext cx="4534294" cy="1073784"/>
          </a:xfrm>
        </p:spPr>
        <p:txBody>
          <a:bodyPr/>
          <a:lstStyle>
            <a:lvl1pPr marL="0" indent="0" algn="l">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8" name="Picture 7">
            <a:extLst>
              <a:ext uri="{FF2B5EF4-FFF2-40B4-BE49-F238E27FC236}">
                <a16:creationId xmlns:a16="http://schemas.microsoft.com/office/drawing/2014/main" id="{53E8C575-98EC-2C4D-9F09-28E0E061E7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351205" y="4730633"/>
            <a:ext cx="1549400" cy="225954"/>
          </a:xfrm>
          <a:prstGeom prst="rect">
            <a:avLst/>
          </a:prstGeom>
        </p:spPr>
      </p:pic>
      <p:pic>
        <p:nvPicPr>
          <p:cNvPr id="9" name="Picture 8">
            <a:extLst>
              <a:ext uri="{FF2B5EF4-FFF2-40B4-BE49-F238E27FC236}">
                <a16:creationId xmlns:a16="http://schemas.microsoft.com/office/drawing/2014/main" id="{1C64DF9C-34C9-FE43-9C64-AB68D933DD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38944" y="290366"/>
            <a:ext cx="2123445" cy="306534"/>
          </a:xfrm>
          <a:prstGeom prst="rect">
            <a:avLst/>
          </a:prstGeom>
        </p:spPr>
      </p:pic>
    </p:spTree>
    <p:extLst>
      <p:ext uri="{BB962C8B-B14F-4D97-AF65-F5344CB8AC3E}">
        <p14:creationId xmlns:p14="http://schemas.microsoft.com/office/powerpoint/2010/main" val="15959583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372792"/>
            <a:ext cx="3810000" cy="342780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72792"/>
            <a:ext cx="3810000" cy="342780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6"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7" name="Rectangle 7"/>
          <p:cNvSpPr>
            <a:spLocks noGrp="1" noChangeArrowheads="1"/>
          </p:cNvSpPr>
          <p:nvPr>
            <p:ph type="sldNum" sz="quarter" idx="12"/>
          </p:nvPr>
        </p:nvSpPr>
        <p:spPr>
          <a:ln/>
        </p:spPr>
        <p:txBody>
          <a:bodyPr/>
          <a:lstStyle>
            <a:lvl1pPr>
              <a:defRPr/>
            </a:lvl1pPr>
          </a:lstStyle>
          <a:p>
            <a:pPr>
              <a:defRPr/>
            </a:pPr>
            <a:fld id="{C24EDD4B-D1C7-A24C-BAF5-DEF5B07D9851}"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38003816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8"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9" name="Rectangle 7"/>
          <p:cNvSpPr>
            <a:spLocks noGrp="1" noChangeArrowheads="1"/>
          </p:cNvSpPr>
          <p:nvPr>
            <p:ph type="sldNum" sz="quarter" idx="12"/>
          </p:nvPr>
        </p:nvSpPr>
        <p:spPr>
          <a:ln/>
        </p:spPr>
        <p:txBody>
          <a:bodyPr/>
          <a:lstStyle>
            <a:lvl1pPr>
              <a:defRPr/>
            </a:lvl1pPr>
          </a:lstStyle>
          <a:p>
            <a:pPr>
              <a:defRPr/>
            </a:pPr>
            <a:fld id="{38EE6979-4ADE-3042-B2FE-9A87F36947E7}"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11075655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4"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5" name="Rectangle 7"/>
          <p:cNvSpPr>
            <a:spLocks noGrp="1" noChangeArrowheads="1"/>
          </p:cNvSpPr>
          <p:nvPr>
            <p:ph type="sldNum" sz="quarter" idx="12"/>
          </p:nvPr>
        </p:nvSpPr>
        <p:spPr>
          <a:ln/>
        </p:spPr>
        <p:txBody>
          <a:bodyPr/>
          <a:lstStyle>
            <a:lvl1pPr>
              <a:defRPr/>
            </a:lvl1pPr>
          </a:lstStyle>
          <a:p>
            <a:pPr>
              <a:defRPr/>
            </a:pPr>
            <a:fld id="{1C56D1E9-82EF-BA4B-96F4-21E033FDBBEF}"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1667619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3"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4" name="Rectangle 7"/>
          <p:cNvSpPr>
            <a:spLocks noGrp="1" noChangeArrowheads="1"/>
          </p:cNvSpPr>
          <p:nvPr>
            <p:ph type="sldNum" sz="quarter" idx="12"/>
          </p:nvPr>
        </p:nvSpPr>
        <p:spPr>
          <a:ln/>
        </p:spPr>
        <p:txBody>
          <a:bodyPr/>
          <a:lstStyle>
            <a:lvl1pPr>
              <a:defRPr/>
            </a:lvl1pPr>
          </a:lstStyle>
          <a:p>
            <a:pPr>
              <a:defRPr/>
            </a:pPr>
            <a:fld id="{9B57B3C9-DF32-9F44-AECE-16BFBC6E6E57}"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2427815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3" y="1076327"/>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6"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7" name="Rectangle 7"/>
          <p:cNvSpPr>
            <a:spLocks noGrp="1" noChangeArrowheads="1"/>
          </p:cNvSpPr>
          <p:nvPr>
            <p:ph type="sldNum" sz="quarter" idx="12"/>
          </p:nvPr>
        </p:nvSpPr>
        <p:spPr>
          <a:ln/>
        </p:spPr>
        <p:txBody>
          <a:bodyPr/>
          <a:lstStyle>
            <a:lvl1pPr>
              <a:defRPr/>
            </a:lvl1pPr>
          </a:lstStyle>
          <a:p>
            <a:pPr>
              <a:defRPr/>
            </a:pPr>
            <a:fld id="{4C5E8D7F-9140-A546-AA4C-D488970350D2}"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41622985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6"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7" name="Rectangle 7"/>
          <p:cNvSpPr>
            <a:spLocks noGrp="1" noChangeArrowheads="1"/>
          </p:cNvSpPr>
          <p:nvPr>
            <p:ph type="sldNum" sz="quarter" idx="12"/>
          </p:nvPr>
        </p:nvSpPr>
        <p:spPr>
          <a:ln/>
        </p:spPr>
        <p:txBody>
          <a:bodyPr/>
          <a:lstStyle>
            <a:lvl1pPr>
              <a:defRPr/>
            </a:lvl1pPr>
          </a:lstStyle>
          <a:p>
            <a:pPr>
              <a:defRPr/>
            </a:pPr>
            <a:fld id="{B519289E-A9AB-A949-9592-78A20F916583}"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8298232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5"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6" name="Rectangle 7"/>
          <p:cNvSpPr>
            <a:spLocks noGrp="1" noChangeArrowheads="1"/>
          </p:cNvSpPr>
          <p:nvPr>
            <p:ph type="sldNum" sz="quarter" idx="12"/>
          </p:nvPr>
        </p:nvSpPr>
        <p:spPr>
          <a:ln/>
        </p:spPr>
        <p:txBody>
          <a:bodyPr/>
          <a:lstStyle>
            <a:lvl1pPr>
              <a:defRPr/>
            </a:lvl1pPr>
          </a:lstStyle>
          <a:p>
            <a:pPr>
              <a:defRPr/>
            </a:pPr>
            <a:fld id="{CFADA332-919B-924E-ABD2-DC36B294B5F4}"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41095497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542926"/>
            <a:ext cx="1943100" cy="42576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0" y="542926"/>
            <a:ext cx="5676900" cy="42576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5"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6" name="Rectangle 7"/>
          <p:cNvSpPr>
            <a:spLocks noGrp="1" noChangeArrowheads="1"/>
          </p:cNvSpPr>
          <p:nvPr>
            <p:ph type="sldNum" sz="quarter" idx="12"/>
          </p:nvPr>
        </p:nvSpPr>
        <p:spPr>
          <a:ln/>
        </p:spPr>
        <p:txBody>
          <a:bodyPr/>
          <a:lstStyle>
            <a:lvl1pPr>
              <a:defRPr/>
            </a:lvl1pPr>
          </a:lstStyle>
          <a:p>
            <a:pPr>
              <a:defRPr/>
            </a:pPr>
            <a:fld id="{95D86490-2931-EB4E-BFCD-2D43C075D24E}"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5020801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542926"/>
            <a:ext cx="7772400" cy="862013"/>
          </a:xfrm>
        </p:spPr>
        <p:txBody>
          <a:bodyPr/>
          <a:lstStyle/>
          <a:p>
            <a:r>
              <a:rPr lang="en-US"/>
              <a:t>Click to edit Master title style</a:t>
            </a:r>
          </a:p>
        </p:txBody>
      </p:sp>
      <p:sp>
        <p:nvSpPr>
          <p:cNvPr id="3" name="Table Placeholder 2"/>
          <p:cNvSpPr>
            <a:spLocks noGrp="1"/>
          </p:cNvSpPr>
          <p:nvPr>
            <p:ph type="tbl" idx="1"/>
          </p:nvPr>
        </p:nvSpPr>
        <p:spPr>
          <a:xfrm>
            <a:off x="685800" y="1372792"/>
            <a:ext cx="7772400" cy="3427809"/>
          </a:xfrm>
        </p:spPr>
        <p:txBody>
          <a:bodyPr/>
          <a:lstStyle/>
          <a:p>
            <a:pPr lvl="0"/>
            <a:endParaRPr lang="en-US" noProof="0"/>
          </a:p>
        </p:txBody>
      </p:sp>
      <p:sp>
        <p:nvSpPr>
          <p:cNvPr id="4"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5"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6" name="Rectangle 7"/>
          <p:cNvSpPr>
            <a:spLocks noGrp="1" noChangeArrowheads="1"/>
          </p:cNvSpPr>
          <p:nvPr>
            <p:ph type="sldNum" sz="quarter" idx="12"/>
          </p:nvPr>
        </p:nvSpPr>
        <p:spPr>
          <a:ln/>
        </p:spPr>
        <p:txBody>
          <a:bodyPr/>
          <a:lstStyle>
            <a:lvl1pPr>
              <a:defRPr/>
            </a:lvl1pPr>
          </a:lstStyle>
          <a:p>
            <a:pPr>
              <a:defRPr/>
            </a:pPr>
            <a:fld id="{FBFCEE14-87D3-AE44-97F9-4DA651527DA2}"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41528928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542926"/>
            <a:ext cx="7772400" cy="862013"/>
          </a:xfrm>
        </p:spPr>
        <p:txBody>
          <a:bodyPr/>
          <a:lstStyle/>
          <a:p>
            <a:r>
              <a:rPr lang="en-US"/>
              <a:t>Click to edit Master title style</a:t>
            </a:r>
          </a:p>
        </p:txBody>
      </p:sp>
      <p:sp>
        <p:nvSpPr>
          <p:cNvPr id="3" name="SmartArt Placeholder 2"/>
          <p:cNvSpPr>
            <a:spLocks noGrp="1"/>
          </p:cNvSpPr>
          <p:nvPr>
            <p:ph type="dgm" idx="1"/>
          </p:nvPr>
        </p:nvSpPr>
        <p:spPr>
          <a:xfrm>
            <a:off x="685800" y="1372792"/>
            <a:ext cx="7772400" cy="3427809"/>
          </a:xfrm>
        </p:spPr>
        <p:txBody>
          <a:bodyPr/>
          <a:lstStyle/>
          <a:p>
            <a:pPr lvl="0"/>
            <a:endParaRPr lang="en-US" noProof="0"/>
          </a:p>
        </p:txBody>
      </p:sp>
      <p:sp>
        <p:nvSpPr>
          <p:cNvPr id="4" name="Rectangle 5"/>
          <p:cNvSpPr>
            <a:spLocks noGrp="1" noChangeArrowheads="1"/>
          </p:cNvSpPr>
          <p:nvPr>
            <p:ph type="dt" sz="half" idx="10"/>
          </p:nvPr>
        </p:nvSpPr>
        <p:spPr>
          <a:xfrm>
            <a:off x="228600" y="4914900"/>
            <a:ext cx="1905000" cy="114300"/>
          </a:xfrm>
          <a:prstGeom prst="rect">
            <a:avLst/>
          </a:prstGeom>
          <a:ln/>
        </p:spPr>
        <p:txBody>
          <a:bodyPr/>
          <a:lstStyle>
            <a:lvl1pPr>
              <a:defRPr/>
            </a:lvl1pPr>
          </a:lstStyle>
          <a:p>
            <a:pPr>
              <a:defRPr/>
            </a:pPr>
            <a:endParaRPr lang="en-US">
              <a:solidFill>
                <a:srgbClr val="777777"/>
              </a:solidFill>
            </a:endParaRPr>
          </a:p>
        </p:txBody>
      </p:sp>
      <p:sp>
        <p:nvSpPr>
          <p:cNvPr id="5" name="Rectangle 6"/>
          <p:cNvSpPr>
            <a:spLocks noGrp="1" noChangeArrowheads="1"/>
          </p:cNvSpPr>
          <p:nvPr>
            <p:ph type="ftr" sz="quarter" idx="11"/>
          </p:nvPr>
        </p:nvSpPr>
        <p:spPr>
          <a:ln/>
        </p:spPr>
        <p:txBody>
          <a:bodyPr/>
          <a:lstStyle>
            <a:lvl1pPr>
              <a:defRPr/>
            </a:lvl1pPr>
          </a:lstStyle>
          <a:p>
            <a:pPr>
              <a:defRPr/>
            </a:pPr>
            <a:endParaRPr lang="en-US">
              <a:solidFill>
                <a:srgbClr val="777777"/>
              </a:solidFill>
            </a:endParaRPr>
          </a:p>
        </p:txBody>
      </p:sp>
      <p:sp>
        <p:nvSpPr>
          <p:cNvPr id="6" name="Rectangle 7"/>
          <p:cNvSpPr>
            <a:spLocks noGrp="1" noChangeArrowheads="1"/>
          </p:cNvSpPr>
          <p:nvPr>
            <p:ph type="sldNum" sz="quarter" idx="12"/>
          </p:nvPr>
        </p:nvSpPr>
        <p:spPr>
          <a:ln/>
        </p:spPr>
        <p:txBody>
          <a:bodyPr/>
          <a:lstStyle>
            <a:lvl1pPr>
              <a:defRPr/>
            </a:lvl1pPr>
          </a:lstStyle>
          <a:p>
            <a:pPr>
              <a:defRPr/>
            </a:pPr>
            <a:fld id="{555A1BB1-694D-3F4B-8282-0BCBEA05B08E}" type="slidenum">
              <a:rPr lang="en-US">
                <a:solidFill>
                  <a:srgbClr val="777777"/>
                </a:solidFill>
              </a:rPr>
              <a:pPr>
                <a:defRPr/>
              </a:pPr>
              <a:t>‹#›</a:t>
            </a:fld>
            <a:endParaRPr lang="en-US">
              <a:solidFill>
                <a:srgbClr val="777777"/>
              </a:solidFill>
            </a:endParaRPr>
          </a:p>
        </p:txBody>
      </p:sp>
    </p:spTree>
    <p:extLst>
      <p:ext uri="{BB962C8B-B14F-4D97-AF65-F5344CB8AC3E}">
        <p14:creationId xmlns:p14="http://schemas.microsoft.com/office/powerpoint/2010/main" val="2123542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lvl1pPr>
              <a:defRPr sz="24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08519" y="4767263"/>
            <a:ext cx="351738" cy="273844"/>
          </a:xfrm>
        </p:spPr>
        <p:txBody>
          <a:bodyPr/>
          <a:lstStyle/>
          <a:p>
            <a:fld id="{D5E650E5-99CE-3C4F-B736-C5B09A3DA174}" type="slidenum">
              <a:rPr lang="en-US" smtClean="0"/>
              <a:t>‹#›</a:t>
            </a:fld>
            <a:endParaRPr lang="en-US"/>
          </a:p>
        </p:txBody>
      </p:sp>
    </p:spTree>
    <p:extLst>
      <p:ext uri="{BB962C8B-B14F-4D97-AF65-F5344CB8AC3E}">
        <p14:creationId xmlns:p14="http://schemas.microsoft.com/office/powerpoint/2010/main" val="20996505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p:cNvSpPr>
            <a:spLocks noGrp="1"/>
          </p:cNvSpPr>
          <p:nvPr>
            <p:ph type="body" sz="quarter" idx="14" hasCustomPrompt="1"/>
          </p:nvPr>
        </p:nvSpPr>
        <p:spPr>
          <a:xfrm>
            <a:off x="3761910" y="4840522"/>
            <a:ext cx="5292588" cy="215504"/>
          </a:xfrm>
        </p:spPr>
        <p:txBody>
          <a:bodyPr anchor="b">
            <a:noAutofit/>
          </a:bodyPr>
          <a:lstStyle>
            <a:lvl1pPr marL="0" indent="0" algn="r">
              <a:spcBef>
                <a:spcPts val="0"/>
              </a:spcBef>
              <a:buNone/>
              <a:defRPr sz="825" baseline="0"/>
            </a:lvl1pPr>
          </a:lstStyle>
          <a:p>
            <a:pPr lvl="0"/>
            <a:r>
              <a:rPr lang="en-GB"/>
              <a:t>Footnotes to go here</a:t>
            </a:r>
          </a:p>
        </p:txBody>
      </p:sp>
      <p:sp>
        <p:nvSpPr>
          <p:cNvPr id="8" name="Text Placeholder 7"/>
          <p:cNvSpPr>
            <a:spLocks noGrp="1"/>
          </p:cNvSpPr>
          <p:nvPr>
            <p:ph type="body" sz="quarter" idx="13" hasCustomPrompt="1"/>
          </p:nvPr>
        </p:nvSpPr>
        <p:spPr>
          <a:xfrm>
            <a:off x="89502" y="4840522"/>
            <a:ext cx="5292588" cy="215504"/>
          </a:xfrm>
        </p:spPr>
        <p:txBody>
          <a:bodyPr anchor="b">
            <a:noAutofit/>
          </a:bodyPr>
          <a:lstStyle>
            <a:lvl1pPr marL="0" indent="0">
              <a:spcBef>
                <a:spcPts val="0"/>
              </a:spcBef>
              <a:buNone/>
              <a:defRPr sz="825" baseline="0"/>
            </a:lvl1pPr>
          </a:lstStyle>
          <a:p>
            <a:pPr lvl="0"/>
            <a:r>
              <a:rPr lang="en-GB"/>
              <a:t>References to go here</a:t>
            </a:r>
          </a:p>
        </p:txBody>
      </p:sp>
    </p:spTree>
    <p:extLst>
      <p:ext uri="{BB962C8B-B14F-4D97-AF65-F5344CB8AC3E}">
        <p14:creationId xmlns:p14="http://schemas.microsoft.com/office/powerpoint/2010/main" val="33339977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ítulo y objetos">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3952446C-6341-EA4A-A8F0-856078C4576A}"/>
              </a:ext>
            </a:extLst>
          </p:cNvPr>
          <p:cNvSpPr>
            <a:spLocks noGrp="1"/>
          </p:cNvSpPr>
          <p:nvPr>
            <p:ph idx="1"/>
          </p:nvPr>
        </p:nvSpPr>
        <p:spPr>
          <a:xfrm>
            <a:off x="413950" y="778328"/>
            <a:ext cx="8316098" cy="3672000"/>
          </a:xfrm>
        </p:spPr>
        <p:txBody>
          <a:bodyPr lIns="36000" tIns="36000" rIns="36000" bIns="36000">
            <a:normAutofit/>
          </a:bodyPr>
          <a:lstStyle>
            <a:lvl1pPr>
              <a:defRPr sz="1500"/>
            </a:lvl1pPr>
            <a:lvl2pPr>
              <a:defRPr sz="1350"/>
            </a:lvl2pPr>
            <a:lvl3pPr>
              <a:defRPr sz="1200"/>
            </a:lvl3pPr>
            <a:lvl4pPr>
              <a:defRPr sz="1050"/>
            </a:lvl4pPr>
            <a:lvl5pPr>
              <a:defRPr sz="1050"/>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2" name="Título 1">
            <a:extLst>
              <a:ext uri="{FF2B5EF4-FFF2-40B4-BE49-F238E27FC236}">
                <a16:creationId xmlns:a16="http://schemas.microsoft.com/office/drawing/2014/main" id="{0283B271-9632-9A49-8B69-E5B78ABAE020}"/>
              </a:ext>
            </a:extLst>
          </p:cNvPr>
          <p:cNvSpPr>
            <a:spLocks noGrp="1"/>
          </p:cNvSpPr>
          <p:nvPr>
            <p:ph type="title"/>
          </p:nvPr>
        </p:nvSpPr>
        <p:spPr>
          <a:xfrm>
            <a:off x="413951" y="273844"/>
            <a:ext cx="8316098" cy="422987"/>
          </a:xfrm>
        </p:spPr>
        <p:txBody>
          <a:bodyPr lIns="36000" tIns="36000" rIns="36000" bIns="36000" anchor="ctr">
            <a:normAutofit/>
          </a:bodyPr>
          <a:lstStyle>
            <a:lvl1pPr>
              <a:defRPr sz="2400" b="1" i="0">
                <a:solidFill>
                  <a:srgbClr val="0070C0"/>
                </a:solidFill>
              </a:defRPr>
            </a:lvl1pPr>
          </a:lstStyle>
          <a:p>
            <a:r>
              <a:rPr lang="es-ES"/>
              <a:t>Haga clic para modificar el estilo de título del patrón</a:t>
            </a:r>
            <a:endParaRPr lang="es-CO"/>
          </a:p>
        </p:txBody>
      </p:sp>
    </p:spTree>
    <p:extLst>
      <p:ext uri="{BB962C8B-B14F-4D97-AF65-F5344CB8AC3E}">
        <p14:creationId xmlns:p14="http://schemas.microsoft.com/office/powerpoint/2010/main" val="709323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20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743C1-D66C-3B47-A3B7-917945FB05A9}"/>
              </a:ext>
            </a:extLst>
          </p:cNvPr>
          <p:cNvSpPr>
            <a:spLocks noGrp="1"/>
          </p:cNvSpPr>
          <p:nvPr>
            <p:ph type="title"/>
          </p:nvPr>
        </p:nvSpPr>
        <p:spPr>
          <a:xfrm>
            <a:off x="335186" y="97199"/>
            <a:ext cx="8471835" cy="713232"/>
          </a:xfrm>
          <a:prstGeom prst="rect">
            <a:avLst/>
          </a:prstGeom>
        </p:spPr>
        <p:txBody>
          <a:bodyPr anchor="b"/>
          <a:lstStyle>
            <a:lvl1pPr algn="ctr">
              <a:defRPr>
                <a:solidFill>
                  <a:schemeClr val="accent4">
                    <a:lumMod val="75000"/>
                  </a:schemeClr>
                </a:solidFill>
              </a:defRPr>
            </a:lvl1pPr>
          </a:lstStyle>
          <a:p>
            <a:r>
              <a:rPr lang="en-US"/>
              <a:t>Click to edit Master title style</a:t>
            </a:r>
          </a:p>
        </p:txBody>
      </p:sp>
      <p:sp>
        <p:nvSpPr>
          <p:cNvPr id="7" name="TextBox 6">
            <a:extLst>
              <a:ext uri="{FF2B5EF4-FFF2-40B4-BE49-F238E27FC236}">
                <a16:creationId xmlns:a16="http://schemas.microsoft.com/office/drawing/2014/main" id="{10A6555B-20AD-A443-AD53-3D01446175FC}"/>
              </a:ext>
            </a:extLst>
          </p:cNvPr>
          <p:cNvSpPr txBox="1"/>
          <p:nvPr userDrawn="1"/>
        </p:nvSpPr>
        <p:spPr>
          <a:xfrm>
            <a:off x="1" y="4685453"/>
            <a:ext cx="493905" cy="314325"/>
          </a:xfrm>
          <a:prstGeom prst="rect">
            <a:avLst/>
          </a:prstGeom>
          <a:noFill/>
        </p:spPr>
        <p:txBody>
          <a:bodyPr wrap="square" rtlCol="0" anchor="ctr">
            <a:noAutofit/>
          </a:bodyPr>
          <a:lstStyle/>
          <a:p>
            <a:pPr marL="0" algn="r" defTabSz="685800" rtl="0" eaLnBrk="1" latinLnBrk="0" hangingPunct="1"/>
            <a:fld id="{CDB1A658-7F1F-3240-AD75-7B7D0B745ECE}" type="slidenum">
              <a:rPr lang="en-US" sz="825" b="0" kern="1200" spc="75" baseline="0" smtClean="0">
                <a:solidFill>
                  <a:schemeClr val="bg1"/>
                </a:solidFill>
                <a:latin typeface="Arial" charset="0"/>
                <a:ea typeface="Arial" charset="0"/>
                <a:cs typeface="Arial" charset="0"/>
              </a:rPr>
              <a:pPr marL="0" algn="r" defTabSz="685800" rtl="0" eaLnBrk="1" latinLnBrk="0" hangingPunct="1"/>
              <a:t>‹#›</a:t>
            </a:fld>
            <a:endParaRPr lang="en-US" sz="825" b="0" kern="1200" spc="75" baseline="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41198682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9FC46-E4FA-8D40-AA08-8234794C9424}"/>
              </a:ext>
            </a:extLst>
          </p:cNvPr>
          <p:cNvSpPr>
            <a:spLocks noGrp="1"/>
          </p:cNvSpPr>
          <p:nvPr>
            <p:ph type="ctrTitle"/>
          </p:nvPr>
        </p:nvSpPr>
        <p:spPr>
          <a:xfrm>
            <a:off x="1143000" y="841772"/>
            <a:ext cx="6858000" cy="1790700"/>
          </a:xfrm>
        </p:spPr>
        <p:txBody>
          <a:bodyPr anchor="b"/>
          <a:lstStyle>
            <a:lvl1pPr algn="ctr">
              <a:defRPr sz="4500"/>
            </a:lvl1pPr>
          </a:lstStyle>
          <a:p>
            <a:r>
              <a:rPr lang="en-GB"/>
              <a:t>Click to edit Master title style</a:t>
            </a:r>
            <a:endParaRPr lang="en-US"/>
          </a:p>
        </p:txBody>
      </p:sp>
      <p:sp>
        <p:nvSpPr>
          <p:cNvPr id="3" name="Subtitle 2">
            <a:extLst>
              <a:ext uri="{FF2B5EF4-FFF2-40B4-BE49-F238E27FC236}">
                <a16:creationId xmlns:a16="http://schemas.microsoft.com/office/drawing/2014/main" id="{3EFDAE22-9A85-2848-9FCC-E30465660C68}"/>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EFD48903-1F28-B649-98A7-C9B0E1C7768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E53D9DD-6DC0-D64D-AE32-AF439CA222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7BF339-5E3D-EB4D-AC80-1142942144E1}"/>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35300413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EF552-DDFF-3941-9A8B-C4E5110ECDD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4FB95EC-159B-304B-8115-FFAAA194939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C9E3A27-684C-9648-9E55-971EAD1BAB1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EB2A0FA-2110-4B4F-9985-39EC8EE40F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9A0CDC-A610-4E47-AA6E-7A80C97212CB}"/>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12233309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801E97-9CDA-474B-B47D-A82A967AB7DB}"/>
              </a:ext>
            </a:extLst>
          </p:cNvPr>
          <p:cNvSpPr>
            <a:spLocks noGrp="1"/>
          </p:cNvSpPr>
          <p:nvPr>
            <p:ph type="title"/>
          </p:nvPr>
        </p:nvSpPr>
        <p:spPr>
          <a:xfrm>
            <a:off x="623888" y="1282304"/>
            <a:ext cx="7886700" cy="2139553"/>
          </a:xfrm>
        </p:spPr>
        <p:txBody>
          <a:bodyPr anchor="b"/>
          <a:lstStyle>
            <a:lvl1pPr>
              <a:defRPr sz="45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0505C3C-DFDC-8942-A83A-FE731A12B312}"/>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45F4838-D0E9-664F-9E4E-C62CBDE718E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DDB443A-B2D0-C542-99EC-8595A0B689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406890-DC59-EC48-AE6F-D23F521254E1}"/>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8292840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A9EA2-31F0-314B-9F01-D75604A90F9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452902B9-744E-2B47-B48B-B3D6249B3D2B}"/>
              </a:ext>
            </a:extLst>
          </p:cNvPr>
          <p:cNvSpPr>
            <a:spLocks noGrp="1"/>
          </p:cNvSpPr>
          <p:nvPr>
            <p:ph sz="half" idx="1"/>
          </p:nvPr>
        </p:nvSpPr>
        <p:spPr>
          <a:xfrm>
            <a:off x="628650" y="1369219"/>
            <a:ext cx="3886200" cy="326350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9D7E3647-8951-4646-B23A-F2492369C935}"/>
              </a:ext>
            </a:extLst>
          </p:cNvPr>
          <p:cNvSpPr>
            <a:spLocks noGrp="1"/>
          </p:cNvSpPr>
          <p:nvPr>
            <p:ph sz="half" idx="2"/>
          </p:nvPr>
        </p:nvSpPr>
        <p:spPr>
          <a:xfrm>
            <a:off x="4629150" y="1369219"/>
            <a:ext cx="3886200" cy="326350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B6AA7117-A5C2-0C48-B0DE-83912ECB646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616D865-166A-0D45-BC3A-BA7FBC84DF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5FE4C8-D953-814D-82E1-9B17B9C3DACD}"/>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15359408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B4640-1D65-2A4E-BF22-4537C593BD04}"/>
              </a:ext>
            </a:extLst>
          </p:cNvPr>
          <p:cNvSpPr>
            <a:spLocks noGrp="1"/>
          </p:cNvSpPr>
          <p:nvPr>
            <p:ph type="title"/>
          </p:nvPr>
        </p:nvSpPr>
        <p:spPr>
          <a:xfrm>
            <a:off x="629841" y="273844"/>
            <a:ext cx="7886700" cy="994172"/>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7F7CF3D-463F-6F4E-AA16-C03DC64E153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a:extLst>
              <a:ext uri="{FF2B5EF4-FFF2-40B4-BE49-F238E27FC236}">
                <a16:creationId xmlns:a16="http://schemas.microsoft.com/office/drawing/2014/main" id="{49491F92-26D4-6141-803F-4101B7D3670C}"/>
              </a:ext>
            </a:extLst>
          </p:cNvPr>
          <p:cNvSpPr>
            <a:spLocks noGrp="1"/>
          </p:cNvSpPr>
          <p:nvPr>
            <p:ph sz="half" idx="2"/>
          </p:nvPr>
        </p:nvSpPr>
        <p:spPr>
          <a:xfrm>
            <a:off x="629842" y="1878806"/>
            <a:ext cx="3868340"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4FF9B661-C028-CD47-B86C-4D2225D525B1}"/>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a:extLst>
              <a:ext uri="{FF2B5EF4-FFF2-40B4-BE49-F238E27FC236}">
                <a16:creationId xmlns:a16="http://schemas.microsoft.com/office/drawing/2014/main" id="{2930F293-532F-A04C-9555-3F2C49E932AE}"/>
              </a:ext>
            </a:extLst>
          </p:cNvPr>
          <p:cNvSpPr>
            <a:spLocks noGrp="1"/>
          </p:cNvSpPr>
          <p:nvPr>
            <p:ph sz="quarter" idx="4"/>
          </p:nvPr>
        </p:nvSpPr>
        <p:spPr>
          <a:xfrm>
            <a:off x="4629150" y="1878806"/>
            <a:ext cx="3887391"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81ED9186-AD47-3E43-92B6-C488797149D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CC39027-EA56-754A-9884-8E479040CE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9275657-6B86-3B4D-8602-4AB77FA9FEB6}"/>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1906980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84333-9E95-F642-B401-5BAB86F5CFD4}"/>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D8E86DEB-18B6-8B47-ADE6-20677CA1682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D7233502-2BD3-B046-B408-BB2594D8B5A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9B05F9-0793-BF49-9587-37807604DE56}"/>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26479416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42EB14-6351-C148-8C05-8AB5BF5F649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6F0CEA27-0D3A-704A-B951-69C0317C130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42A5F73-4DFE-CD41-B39E-956E780F7625}"/>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2940308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166737" y="4767263"/>
            <a:ext cx="2057400" cy="273844"/>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E650E5-99CE-3C4F-B736-C5B09A3DA174}" type="slidenum">
              <a:rPr lang="en-US" smtClean="0"/>
              <a:t>‹#›</a:t>
            </a:fld>
            <a:endParaRPr lang="en-US"/>
          </a:p>
        </p:txBody>
      </p:sp>
    </p:spTree>
    <p:extLst>
      <p:ext uri="{BB962C8B-B14F-4D97-AF65-F5344CB8AC3E}">
        <p14:creationId xmlns:p14="http://schemas.microsoft.com/office/powerpoint/2010/main" val="14246897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55946-89F0-F04B-B4B1-ACC96396A6C2}"/>
              </a:ext>
            </a:extLst>
          </p:cNvPr>
          <p:cNvSpPr>
            <a:spLocks noGrp="1"/>
          </p:cNvSpPr>
          <p:nvPr>
            <p:ph type="title"/>
          </p:nvPr>
        </p:nvSpPr>
        <p:spPr>
          <a:xfrm>
            <a:off x="629841" y="342900"/>
            <a:ext cx="2949178" cy="1200150"/>
          </a:xfrm>
        </p:spPr>
        <p:txBody>
          <a:bodyPr anchor="b"/>
          <a:lstStyle>
            <a:lvl1pPr>
              <a:defRPr sz="24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08FCA227-3B01-E949-9E93-C07A88101BE3}"/>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DD1B2FCD-771F-864F-AC2D-6CA2ED4FA037}"/>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1122DA10-5BB7-EC45-A55C-883447FCB5B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259E721-1E5F-FD49-A3BA-193181E847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BEFE2A-7EE6-FD41-93FB-04835AD9A762}"/>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12755685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236B6-4EE4-C24A-9BC8-84D740B7D885}"/>
              </a:ext>
            </a:extLst>
          </p:cNvPr>
          <p:cNvSpPr>
            <a:spLocks noGrp="1"/>
          </p:cNvSpPr>
          <p:nvPr>
            <p:ph type="title"/>
          </p:nvPr>
        </p:nvSpPr>
        <p:spPr>
          <a:xfrm>
            <a:off x="629841" y="342900"/>
            <a:ext cx="2949178" cy="1200150"/>
          </a:xfrm>
        </p:spPr>
        <p:txBody>
          <a:bodyPr anchor="b"/>
          <a:lstStyle>
            <a:lvl1pPr>
              <a:defRPr sz="24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3910B61B-719B-A34B-BDEE-8BBD32046C31}"/>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3E95E933-4C4C-C744-A6F8-F0E81C06D88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16DDEE70-1925-E241-A999-6A08C8DE74B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73E12CC-B254-6E4D-8F23-971E1B9001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1DB46F-BDD6-F042-BBD9-098751CD78DD}"/>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29931069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3BB97-A08A-EF4B-A576-E7F87349E93F}"/>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98BCFA2-744F-B242-8D0A-584EE98681C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BA72C7F-E952-784C-9B13-27531C1EAD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1258251-7315-7441-902F-EAB8D3CACA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7453E6-FC79-5C45-A4DC-1D0D67F6DFC7}"/>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9916077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75BD24B-9BB1-574A-8545-E04F6773C61F}"/>
              </a:ext>
            </a:extLst>
          </p:cNvPr>
          <p:cNvSpPr>
            <a:spLocks noGrp="1"/>
          </p:cNvSpPr>
          <p:nvPr>
            <p:ph type="title" orient="vert"/>
          </p:nvPr>
        </p:nvSpPr>
        <p:spPr>
          <a:xfrm>
            <a:off x="6543675" y="273844"/>
            <a:ext cx="1971675" cy="4358879"/>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FA4CD485-4F26-404F-900E-E021BF28F824}"/>
              </a:ext>
            </a:extLst>
          </p:cNvPr>
          <p:cNvSpPr>
            <a:spLocks noGrp="1"/>
          </p:cNvSpPr>
          <p:nvPr>
            <p:ph type="body" orient="vert" idx="1"/>
          </p:nvPr>
        </p:nvSpPr>
        <p:spPr>
          <a:xfrm>
            <a:off x="628650" y="273844"/>
            <a:ext cx="5800725" cy="435887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D4D8CFC-BA68-5448-8E87-9D9FEFA7C39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D7EEE5E-5C48-3647-8EAE-801109862C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2900E9-0363-A24E-BA54-0E8D2416DAA0}"/>
              </a:ext>
            </a:extLst>
          </p:cNvPr>
          <p:cNvSpPr>
            <a:spLocks noGrp="1"/>
          </p:cNvSpPr>
          <p:nvPr>
            <p:ph type="sldNum" sz="quarter" idx="12"/>
          </p:nvPr>
        </p:nvSpPr>
        <p:spPr/>
        <p:txBody>
          <a:bodyPr/>
          <a:lstStyle/>
          <a:p>
            <a:fld id="{6DADDCB9-5E36-0D42-ACC2-ADF0380F3C88}" type="slidenum">
              <a:rPr lang="en-US" smtClean="0"/>
              <a:t>‹#›</a:t>
            </a:fld>
            <a:endParaRPr lang="en-US"/>
          </a:p>
        </p:txBody>
      </p:sp>
    </p:spTree>
    <p:extLst>
      <p:ext uri="{BB962C8B-B14F-4D97-AF65-F5344CB8AC3E}">
        <p14:creationId xmlns:p14="http://schemas.microsoft.com/office/powerpoint/2010/main" val="36108993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14042F-3AA6-4404-A128-6AEA29C5F73A}"/>
              </a:ext>
            </a:extLst>
          </p:cNvPr>
          <p:cNvSpPr>
            <a:spLocks noGrp="1"/>
          </p:cNvSpPr>
          <p:nvPr>
            <p:ph type="dt" sz="half" idx="10"/>
          </p:nvPr>
        </p:nvSpPr>
        <p:spPr/>
        <p:txBody>
          <a:bodyPr/>
          <a:lstStyle>
            <a:lvl1pPr>
              <a:defRPr/>
            </a:lvl1pPr>
          </a:lstStyle>
          <a:p>
            <a:pPr>
              <a:defRPr/>
            </a:pPr>
            <a:endParaRPr lang="en-US" altLang="en-US"/>
          </a:p>
        </p:txBody>
      </p:sp>
      <p:sp>
        <p:nvSpPr>
          <p:cNvPr id="5" name="Footer Placeholder 4">
            <a:extLst>
              <a:ext uri="{FF2B5EF4-FFF2-40B4-BE49-F238E27FC236}">
                <a16:creationId xmlns:a16="http://schemas.microsoft.com/office/drawing/2014/main" id="{6EA47B47-C198-4364-8473-9C865A8E5812}"/>
              </a:ext>
            </a:extLst>
          </p:cNvPr>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76E3902C-A235-483D-9BFC-63C598B8F658}"/>
              </a:ext>
            </a:extLst>
          </p:cNvPr>
          <p:cNvSpPr>
            <a:spLocks noGrp="1"/>
          </p:cNvSpPr>
          <p:nvPr>
            <p:ph type="sldNum" sz="quarter" idx="12"/>
          </p:nvPr>
        </p:nvSpPr>
        <p:spPr/>
        <p:txBody>
          <a:bodyPr/>
          <a:lstStyle>
            <a:lvl1pPr>
              <a:defRPr/>
            </a:lvl1pPr>
          </a:lstStyle>
          <a:p>
            <a:fld id="{1673472C-715D-4551-9357-52C3746BEF7B}" type="slidenum">
              <a:rPr lang="en-US" altLang="en-US"/>
              <a:pPr/>
              <a:t>‹#›</a:t>
            </a:fld>
            <a:endParaRPr lang="en-US" altLang="en-US"/>
          </a:p>
        </p:txBody>
      </p:sp>
    </p:spTree>
    <p:extLst>
      <p:ext uri="{BB962C8B-B14F-4D97-AF65-F5344CB8AC3E}">
        <p14:creationId xmlns:p14="http://schemas.microsoft.com/office/powerpoint/2010/main" val="16341243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25860FB5-8C76-4891-824D-D469B8A0ED79}"/>
              </a:ext>
            </a:extLst>
          </p:cNvPr>
          <p:cNvSpPr>
            <a:spLocks noGrp="1"/>
          </p:cNvSpPr>
          <p:nvPr>
            <p:ph type="dt" sz="half" idx="10"/>
          </p:nvPr>
        </p:nvSpPr>
        <p:spPr/>
        <p:txBody>
          <a:bodyPr/>
          <a:lstStyle>
            <a:lvl1pPr>
              <a:defRPr/>
            </a:lvl1pPr>
          </a:lstStyle>
          <a:p>
            <a:pPr>
              <a:defRPr/>
            </a:pPr>
            <a:endParaRPr lang="en-US" altLang="en-US"/>
          </a:p>
        </p:txBody>
      </p:sp>
      <p:sp>
        <p:nvSpPr>
          <p:cNvPr id="4" name="Footer Placeholder 4">
            <a:extLst>
              <a:ext uri="{FF2B5EF4-FFF2-40B4-BE49-F238E27FC236}">
                <a16:creationId xmlns:a16="http://schemas.microsoft.com/office/drawing/2014/main" id="{E6354C8B-85E9-428C-B0CB-17B60392BD25}"/>
              </a:ext>
            </a:extLst>
          </p:cNvPr>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5" name="Slide Number Placeholder 5">
            <a:extLst>
              <a:ext uri="{FF2B5EF4-FFF2-40B4-BE49-F238E27FC236}">
                <a16:creationId xmlns:a16="http://schemas.microsoft.com/office/drawing/2014/main" id="{F411E6F3-1DCA-4931-818D-5F802137A93C}"/>
              </a:ext>
            </a:extLst>
          </p:cNvPr>
          <p:cNvSpPr>
            <a:spLocks noGrp="1"/>
          </p:cNvSpPr>
          <p:nvPr>
            <p:ph type="sldNum" sz="quarter" idx="12"/>
          </p:nvPr>
        </p:nvSpPr>
        <p:spPr/>
        <p:txBody>
          <a:bodyPr/>
          <a:lstStyle>
            <a:lvl1pPr>
              <a:defRPr/>
            </a:lvl1pPr>
          </a:lstStyle>
          <a:p>
            <a:fld id="{3AFD32A7-D0C3-4517-BF9B-FF5ABF75E864}" type="slidenum">
              <a:rPr lang="en-US" altLang="en-US"/>
              <a:pPr/>
              <a:t>‹#›</a:t>
            </a:fld>
            <a:endParaRPr lang="en-US" altLang="en-US"/>
          </a:p>
        </p:txBody>
      </p:sp>
    </p:spTree>
    <p:extLst>
      <p:ext uri="{BB962C8B-B14F-4D97-AF65-F5344CB8AC3E}">
        <p14:creationId xmlns:p14="http://schemas.microsoft.com/office/powerpoint/2010/main" val="11120179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1-Column">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9234C522-B44D-4F41-B0C6-2045066BA38E}"/>
              </a:ext>
            </a:extLst>
          </p:cNvPr>
          <p:cNvSpPr/>
          <p:nvPr userDrawn="1"/>
        </p:nvSpPr>
        <p:spPr>
          <a:xfrm>
            <a:off x="8668941" y="4694635"/>
            <a:ext cx="336947" cy="33813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anchor="ctr"/>
          <a:lstStyle/>
          <a:p>
            <a:pPr algn="ctr">
              <a:defRPr/>
            </a:pPr>
            <a:endParaRPr lang="en-US" sz="1350">
              <a:solidFill>
                <a:prstClr val="white"/>
              </a:solidFill>
              <a:latin typeface="Calibri"/>
            </a:endParaRPr>
          </a:p>
        </p:txBody>
      </p:sp>
      <p:sp>
        <p:nvSpPr>
          <p:cNvPr id="7" name="TextBox 6">
            <a:extLst>
              <a:ext uri="{FF2B5EF4-FFF2-40B4-BE49-F238E27FC236}">
                <a16:creationId xmlns:a16="http://schemas.microsoft.com/office/drawing/2014/main" id="{0C74671A-E844-4C87-9D38-9259D6DCCF1B}"/>
              </a:ext>
            </a:extLst>
          </p:cNvPr>
          <p:cNvSpPr txBox="1"/>
          <p:nvPr userDrawn="1"/>
        </p:nvSpPr>
        <p:spPr>
          <a:xfrm>
            <a:off x="497681" y="4981575"/>
            <a:ext cx="8148638" cy="173122"/>
          </a:xfrm>
          <a:prstGeom prst="rect">
            <a:avLst/>
          </a:prstGeom>
          <a:noFill/>
        </p:spPr>
        <p:txBody>
          <a:bodyPr lIns="68579" tIns="34289" rIns="68579" bIns="34289">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a:defRPr/>
            </a:pPr>
            <a:r>
              <a:rPr lang="en-US" altLang="en-US" sz="675">
                <a:solidFill>
                  <a:srgbClr val="5C5C5C"/>
                </a:solidFill>
                <a:latin typeface="Calibri Light"/>
                <a:ea typeface="ＭＳ Ｐゴシック" panose="020B0600070205080204" pitchFamily="34" charset="-128"/>
              </a:rPr>
              <a:t>These materials are provided to you solely as an educational resource for your personal use. Any commercial use or distribution of these materials or any portion thereof is strictly prohibited.</a:t>
            </a:r>
          </a:p>
        </p:txBody>
      </p:sp>
      <p:sp>
        <p:nvSpPr>
          <p:cNvPr id="3" name="Content Placeholder 2"/>
          <p:cNvSpPr>
            <a:spLocks noGrp="1"/>
          </p:cNvSpPr>
          <p:nvPr>
            <p:ph idx="1"/>
          </p:nvPr>
        </p:nvSpPr>
        <p:spPr>
          <a:xfrm>
            <a:off x="192024" y="994411"/>
            <a:ext cx="8709660" cy="3493371"/>
          </a:xfrm>
          <a:prstGeom prst="rect">
            <a:avLst/>
          </a:prstGeom>
        </p:spPr>
        <p:txBody>
          <a:bodyPr lIns="91438" tIns="45719" rIns="91438" bIns="45719"/>
          <a:lstStyle>
            <a:lvl1pPr>
              <a:defRPr>
                <a:solidFill>
                  <a:srgbClr val="141414"/>
                </a:solidFill>
                <a:latin typeface="+mj-lt"/>
              </a:defRPr>
            </a:lvl1pPr>
            <a:lvl2pPr>
              <a:defRPr>
                <a:solidFill>
                  <a:srgbClr val="141414"/>
                </a:solidFill>
                <a:latin typeface="Franklin Gothic Book" panose="020B0503020102020204" pitchFamily="34" charset="0"/>
              </a:defRPr>
            </a:lvl2pPr>
            <a:lvl3pPr>
              <a:defRPr>
                <a:solidFill>
                  <a:srgbClr val="141414"/>
                </a:solidFill>
                <a:latin typeface="Franklin Gothic Book" panose="020B0503020102020204" pitchFamily="34" charset="0"/>
              </a:defRPr>
            </a:lvl3pPr>
            <a:lvl4pPr>
              <a:defRPr>
                <a:solidFill>
                  <a:srgbClr val="141414"/>
                </a:solidFill>
                <a:latin typeface="Franklin Gothic Book" panose="020B05030201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p:cNvSpPr>
            <a:spLocks noGrp="1"/>
          </p:cNvSpPr>
          <p:nvPr>
            <p:ph type="body" sz="quarter" idx="10"/>
          </p:nvPr>
        </p:nvSpPr>
        <p:spPr>
          <a:xfrm>
            <a:off x="192025" y="4622292"/>
            <a:ext cx="8313779" cy="356616"/>
          </a:xfrm>
          <a:prstGeom prst="rect">
            <a:avLst/>
          </a:prstGeom>
        </p:spPr>
        <p:txBody>
          <a:bodyPr lIns="91438" tIns="45719" rIns="91438" bIns="45719" anchor="b"/>
          <a:lstStyle>
            <a:lvl1pPr>
              <a:spcBef>
                <a:spcPts val="0"/>
              </a:spcBef>
              <a:defRPr sz="1125" b="0">
                <a:latin typeface="Franklin Gothic Book" panose="020B0503020102020204" pitchFamily="34" charset="0"/>
              </a:defRPr>
            </a:lvl1pPr>
          </a:lstStyle>
          <a:p>
            <a:pPr lvl="0"/>
            <a:r>
              <a:rPr lang="en-US"/>
              <a:t>Edit Master text styles</a:t>
            </a:r>
          </a:p>
        </p:txBody>
      </p:sp>
      <p:sp>
        <p:nvSpPr>
          <p:cNvPr id="5" name="Title 4"/>
          <p:cNvSpPr>
            <a:spLocks noGrp="1"/>
          </p:cNvSpPr>
          <p:nvPr>
            <p:ph type="title"/>
          </p:nvPr>
        </p:nvSpPr>
        <p:spPr>
          <a:xfrm>
            <a:off x="192025" y="103596"/>
            <a:ext cx="6752786" cy="695113"/>
          </a:xfrm>
          <a:prstGeom prst="rect">
            <a:avLst/>
          </a:prstGeom>
        </p:spPr>
        <p:txBody>
          <a:bodyPr lIns="91438" tIns="45719" rIns="91438" bIns="45719"/>
          <a:lstStyle/>
          <a:p>
            <a:r>
              <a:rPr lang="en-US"/>
              <a:t>Click to edit Master title style</a:t>
            </a:r>
          </a:p>
        </p:txBody>
      </p:sp>
      <p:sp>
        <p:nvSpPr>
          <p:cNvPr id="8" name="Slide Number Placeholder 5">
            <a:extLst>
              <a:ext uri="{FF2B5EF4-FFF2-40B4-BE49-F238E27FC236}">
                <a16:creationId xmlns:a16="http://schemas.microsoft.com/office/drawing/2014/main" id="{90B13518-740A-4132-8649-D67D01E0097E}"/>
              </a:ext>
            </a:extLst>
          </p:cNvPr>
          <p:cNvSpPr>
            <a:spLocks noGrp="1"/>
          </p:cNvSpPr>
          <p:nvPr>
            <p:ph type="sldNum" sz="quarter" idx="11"/>
          </p:nvPr>
        </p:nvSpPr>
        <p:spPr>
          <a:xfrm>
            <a:off x="8586787" y="4758929"/>
            <a:ext cx="500063" cy="205978"/>
          </a:xfrm>
        </p:spPr>
        <p:txBody>
          <a:bodyPr lIns="91438" tIns="45719" rIns="91438" bIns="45719" anchor="t"/>
          <a:lstStyle>
            <a:lvl1pPr algn="ctr">
              <a:defRPr>
                <a:solidFill>
                  <a:schemeClr val="tx1"/>
                </a:solidFill>
                <a:latin typeface="Franklin Gothic Medium Cond" panose="020B0606030402020204" pitchFamily="34" charset="0"/>
              </a:defRPr>
            </a:lvl1pPr>
          </a:lstStyle>
          <a:p>
            <a:fld id="{140DA110-C647-446F-836E-2DA6C1CE523F}" type="slidenum">
              <a:rPr lang="en-US" altLang="en-US">
                <a:solidFill>
                  <a:prstClr val="black"/>
                </a:solidFill>
              </a:rPr>
              <a:pPr/>
              <a:t>‹#›</a:t>
            </a:fld>
            <a:endParaRPr lang="en-US" altLang="en-US">
              <a:solidFill>
                <a:prstClr val="black"/>
              </a:solidFill>
            </a:endParaRPr>
          </a:p>
        </p:txBody>
      </p:sp>
    </p:spTree>
    <p:extLst>
      <p:ext uri="{BB962C8B-B14F-4D97-AF65-F5344CB8AC3E}">
        <p14:creationId xmlns:p14="http://schemas.microsoft.com/office/powerpoint/2010/main" val="4216672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270617" y="1282044"/>
            <a:ext cx="4534294" cy="1548390"/>
          </a:xfrm>
        </p:spPr>
        <p:txBody>
          <a:bodyPr anchor="b">
            <a:normAutofit/>
          </a:bodyPr>
          <a:lstStyle>
            <a:lvl1pPr algn="l">
              <a:defRPr sz="36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4270617" y="2992114"/>
            <a:ext cx="4534294" cy="1073784"/>
          </a:xfrm>
        </p:spPr>
        <p:txBody>
          <a:bodyPr/>
          <a:lstStyle>
            <a:lvl1pPr marL="0" indent="0" algn="l">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8" name="Picture 7">
            <a:extLst>
              <a:ext uri="{FF2B5EF4-FFF2-40B4-BE49-F238E27FC236}">
                <a16:creationId xmlns:a16="http://schemas.microsoft.com/office/drawing/2014/main" id="{53E8C575-98EC-2C4D-9F09-28E0E061E7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351205" y="4730633"/>
            <a:ext cx="1549400" cy="225954"/>
          </a:xfrm>
          <a:prstGeom prst="rect">
            <a:avLst/>
          </a:prstGeom>
        </p:spPr>
      </p:pic>
      <p:pic>
        <p:nvPicPr>
          <p:cNvPr id="9" name="Picture 8">
            <a:extLst>
              <a:ext uri="{FF2B5EF4-FFF2-40B4-BE49-F238E27FC236}">
                <a16:creationId xmlns:a16="http://schemas.microsoft.com/office/drawing/2014/main" id="{1C64DF9C-34C9-FE43-9C64-AB68D933DD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738944" y="290366"/>
            <a:ext cx="2123445" cy="306534"/>
          </a:xfrm>
          <a:prstGeom prst="rect">
            <a:avLst/>
          </a:prstGeom>
        </p:spPr>
      </p:pic>
    </p:spTree>
    <p:extLst>
      <p:ext uri="{BB962C8B-B14F-4D97-AF65-F5344CB8AC3E}">
        <p14:creationId xmlns:p14="http://schemas.microsoft.com/office/powerpoint/2010/main" val="14246423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457200" y="367840"/>
            <a:ext cx="8229600" cy="369332"/>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457200" y="1026691"/>
            <a:ext cx="8229600" cy="1261980"/>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1353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egular Title Scree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8AE92EA-6B8E-4B74-9C97-41E8E337271C}"/>
              </a:ext>
            </a:extLst>
          </p:cNvPr>
          <p:cNvSpPr>
            <a:spLocks noGrp="1"/>
          </p:cNvSpPr>
          <p:nvPr>
            <p:ph type="ctrTitle"/>
          </p:nvPr>
        </p:nvSpPr>
        <p:spPr>
          <a:xfrm>
            <a:off x="685800" y="2579380"/>
            <a:ext cx="7772400" cy="668948"/>
          </a:xfrm>
          <a:prstGeom prst="rect">
            <a:avLst/>
          </a:prstGeom>
        </p:spPr>
        <p:txBody>
          <a:bodyPr>
            <a:normAutofit/>
          </a:bodyPr>
          <a:lstStyle>
            <a:lvl1pPr algn="ctr">
              <a:defRPr sz="2400" b="0" i="0">
                <a:solidFill>
                  <a:srgbClr val="CD113B"/>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Subtitle 2">
            <a:extLst>
              <a:ext uri="{FF2B5EF4-FFF2-40B4-BE49-F238E27FC236}">
                <a16:creationId xmlns:a16="http://schemas.microsoft.com/office/drawing/2014/main" id="{BE2E163B-8FB5-4D66-9B5D-47FA76CFDB59}"/>
              </a:ext>
            </a:extLst>
          </p:cNvPr>
          <p:cNvSpPr>
            <a:spLocks noGrp="1"/>
          </p:cNvSpPr>
          <p:nvPr>
            <p:ph type="subTitle" idx="1"/>
          </p:nvPr>
        </p:nvSpPr>
        <p:spPr>
          <a:xfrm>
            <a:off x="1372241" y="3928607"/>
            <a:ext cx="6400800" cy="805327"/>
          </a:xfrm>
          <a:prstGeom prst="rect">
            <a:avLst/>
          </a:prstGeom>
        </p:spPr>
        <p:txBody>
          <a:bodyPr>
            <a:normAutofit/>
          </a:bodyPr>
          <a:lstStyle>
            <a:lvl1pPr marL="0" indent="0" algn="ctr">
              <a:buNone/>
              <a:defRPr sz="1600" b="0">
                <a:solidFill>
                  <a:schemeClr val="tx1"/>
                </a:solidFill>
                <a:latin typeface="Arial" panose="020B0604020202020204" pitchFamily="34" charset="0"/>
                <a:cs typeface="Arial" panose="020B0604020202020204"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0" name="Slide Number Placeholder 5">
            <a:extLst>
              <a:ext uri="{FF2B5EF4-FFF2-40B4-BE49-F238E27FC236}">
                <a16:creationId xmlns:a16="http://schemas.microsoft.com/office/drawing/2014/main" id="{5E65C5C4-140B-4056-8D62-E67C00350E9B}"/>
              </a:ext>
            </a:extLst>
          </p:cNvPr>
          <p:cNvSpPr>
            <a:spLocks noGrp="1"/>
          </p:cNvSpPr>
          <p:nvPr>
            <p:ph type="sldNum" sz="quarter" idx="12"/>
          </p:nvPr>
        </p:nvSpPr>
        <p:spPr>
          <a:xfrm>
            <a:off x="8686800" y="4815066"/>
            <a:ext cx="388961" cy="273844"/>
          </a:xfrm>
        </p:spPr>
        <p:txBody>
          <a:bodyPr/>
          <a:lstStyle>
            <a:lvl1pPr>
              <a:defRPr b="0"/>
            </a:lvl1pPr>
          </a:lstStyle>
          <a:p>
            <a:fld id="{D8009FEC-A01C-EB4F-9AED-98C23E3BD7AC}" type="slidenum">
              <a:rPr lang="en-US" smtClean="0"/>
              <a:pPr/>
              <a:t>‹#›</a:t>
            </a:fld>
            <a:endParaRPr lang="en-US"/>
          </a:p>
        </p:txBody>
      </p:sp>
      <p:sp>
        <p:nvSpPr>
          <p:cNvPr id="11" name="Rectangle 10">
            <a:extLst>
              <a:ext uri="{FF2B5EF4-FFF2-40B4-BE49-F238E27FC236}">
                <a16:creationId xmlns:a16="http://schemas.microsoft.com/office/drawing/2014/main" id="{76240845-2064-4ECE-9D11-7F3627CC8900}"/>
              </a:ext>
            </a:extLst>
          </p:cNvPr>
          <p:cNvSpPr/>
          <p:nvPr userDrawn="1"/>
        </p:nvSpPr>
        <p:spPr>
          <a:xfrm>
            <a:off x="457196" y="4798449"/>
            <a:ext cx="8229603" cy="415498"/>
          </a:xfrm>
          <a:prstGeom prst="rect">
            <a:avLst/>
          </a:prstGeom>
        </p:spPr>
        <p:txBody>
          <a:bodyPr wrap="square">
            <a:spAutoFit/>
          </a:bodyPr>
          <a:lstStyle/>
          <a:p>
            <a:pPr algn="ctr"/>
            <a:r>
              <a:rPr lang="en-GB" sz="700" b="1">
                <a:latin typeface="Arial" panose="020B0604020202020204" pitchFamily="34" charset="0"/>
                <a:cs typeface="Arial" panose="020B0604020202020204" pitchFamily="34" charset="0"/>
              </a:rPr>
              <a:t>Electronic poster presentation at the virtual 62nd Annual Meeting of the American Society of </a:t>
            </a:r>
            <a:r>
              <a:rPr lang="en-US" sz="700" b="1">
                <a:latin typeface="Arial" panose="020B0604020202020204" pitchFamily="34" charset="0"/>
                <a:cs typeface="Arial" panose="020B0604020202020204" pitchFamily="34" charset="0"/>
              </a:rPr>
              <a:t>Hematology</a:t>
            </a:r>
            <a:r>
              <a:rPr lang="en-GB" sz="700" b="1">
                <a:latin typeface="Arial" panose="020B0604020202020204" pitchFamily="34" charset="0"/>
                <a:cs typeface="Arial" panose="020B0604020202020204" pitchFamily="34" charset="0"/>
              </a:rPr>
              <a:t> (ASH), December 5–8, 2020.</a:t>
            </a:r>
          </a:p>
          <a:p>
            <a:pPr marL="0" marR="0" lvl="0" indent="0" algn="ctr" defTabSz="457189" rtl="0" eaLnBrk="1" fontAlgn="base" latinLnBrk="0" hangingPunct="1">
              <a:lnSpc>
                <a:spcPct val="100000"/>
              </a:lnSpc>
              <a:spcBef>
                <a:spcPct val="0"/>
              </a:spcBef>
              <a:spcAft>
                <a:spcPct val="0"/>
              </a:spcAft>
              <a:buClrTx/>
              <a:buSzTx/>
              <a:buFontTx/>
              <a:buNone/>
              <a:tabLst/>
              <a:defRPr/>
            </a:pPr>
            <a:r>
              <a:rPr lang="en-GB" sz="700" b="1">
                <a:latin typeface="Arial" panose="020B0604020202020204" pitchFamily="34" charset="0"/>
                <a:cs typeface="Arial" panose="020B0604020202020204" pitchFamily="34" charset="0"/>
              </a:rPr>
              <a:t>For questions or comments please contact Professor Thierry Facon</a:t>
            </a:r>
            <a:r>
              <a:rPr lang="en-GB" sz="700" b="1" kern="1200">
                <a:solidFill>
                  <a:schemeClr val="tx1"/>
                </a:solidFill>
                <a:latin typeface="Arial" panose="020B0604020202020204" pitchFamily="34" charset="0"/>
                <a:ea typeface="Geneva" charset="0"/>
                <a:cs typeface="Arial" panose="020B0604020202020204" pitchFamily="34" charset="0"/>
              </a:rPr>
              <a:t>: </a:t>
            </a:r>
            <a:r>
              <a:rPr lang="fr-FR" sz="700" b="1" kern="1200">
                <a:solidFill>
                  <a:schemeClr val="tx1"/>
                </a:solidFill>
                <a:latin typeface="Arial" panose="020B0604020202020204" pitchFamily="34" charset="0"/>
                <a:ea typeface="Geneva" charset="0"/>
                <a:cs typeface="Arial" panose="020B0604020202020204" pitchFamily="34" charset="0"/>
              </a:rPr>
              <a:t>Thierry.FACON@CHRU-LILLE.FR.</a:t>
            </a:r>
            <a:endParaRPr lang="en-GB" sz="700" b="1" kern="1200">
              <a:solidFill>
                <a:schemeClr val="tx1"/>
              </a:solidFill>
              <a:latin typeface="Arial" panose="020B0604020202020204" pitchFamily="34" charset="0"/>
              <a:ea typeface="Geneva" charset="0"/>
              <a:cs typeface="Arial" panose="020B0604020202020204" pitchFamily="34" charset="0"/>
            </a:endParaRPr>
          </a:p>
          <a:p>
            <a:pPr algn="ctr"/>
            <a:endParaRPr lang="en-US" sz="700" b="1">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034438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166737" y="4767263"/>
            <a:ext cx="2057400" cy="273844"/>
          </a:xfrm>
          <a:prstGeom prst="rect">
            <a:avLst/>
          </a:prstGeom>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E650E5-99CE-3C4F-B736-C5B09A3DA174}" type="slidenum">
              <a:rPr lang="en-US" smtClean="0"/>
              <a:t>‹#›</a:t>
            </a:fld>
            <a:endParaRPr lang="en-US"/>
          </a:p>
        </p:txBody>
      </p:sp>
    </p:spTree>
    <p:extLst>
      <p:ext uri="{BB962C8B-B14F-4D97-AF65-F5344CB8AC3E}">
        <p14:creationId xmlns:p14="http://schemas.microsoft.com/office/powerpoint/2010/main" val="3345463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creen with vide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685800" y="2579380"/>
            <a:ext cx="7772400" cy="668948"/>
          </a:xfrm>
          <a:prstGeom prst="rect">
            <a:avLst/>
          </a:prstGeom>
        </p:spPr>
        <p:txBody>
          <a:bodyPr>
            <a:normAutofit/>
          </a:bodyPr>
          <a:lstStyle>
            <a:lvl1pPr algn="ctr">
              <a:defRPr sz="2400" b="0" i="0">
                <a:solidFill>
                  <a:srgbClr val="CD113B"/>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Subtitle 2"/>
          <p:cNvSpPr>
            <a:spLocks noGrp="1"/>
          </p:cNvSpPr>
          <p:nvPr>
            <p:ph type="subTitle" idx="1"/>
          </p:nvPr>
        </p:nvSpPr>
        <p:spPr>
          <a:xfrm>
            <a:off x="1372241" y="3928607"/>
            <a:ext cx="6400800" cy="805327"/>
          </a:xfrm>
          <a:prstGeom prst="rect">
            <a:avLst/>
          </a:prstGeom>
        </p:spPr>
        <p:txBody>
          <a:bodyPr>
            <a:normAutofit/>
          </a:bodyPr>
          <a:lstStyle>
            <a:lvl1pPr marL="0" indent="0" algn="ctr">
              <a:buNone/>
              <a:defRPr sz="1600" b="0">
                <a:solidFill>
                  <a:schemeClr val="tx1"/>
                </a:solidFill>
                <a:latin typeface="Arial" panose="020B0604020202020204" pitchFamily="34" charset="0"/>
                <a:cs typeface="Arial" panose="020B0604020202020204"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2" name="Slide Number Placeholder 5"/>
          <p:cNvSpPr>
            <a:spLocks noGrp="1"/>
          </p:cNvSpPr>
          <p:nvPr>
            <p:ph type="sldNum" sz="quarter" idx="12"/>
          </p:nvPr>
        </p:nvSpPr>
        <p:spPr>
          <a:xfrm>
            <a:off x="8686800" y="4815066"/>
            <a:ext cx="388961" cy="273844"/>
          </a:xfrm>
        </p:spPr>
        <p:txBody>
          <a:bodyPr/>
          <a:lstStyle>
            <a:lvl1pPr>
              <a:defRPr b="0"/>
            </a:lvl1pPr>
          </a:lstStyle>
          <a:p>
            <a:fld id="{D8009FEC-A01C-EB4F-9AED-98C23E3BD7AC}" type="slidenum">
              <a:rPr lang="en-US" smtClean="0"/>
              <a:pPr/>
              <a:t>‹#›</a:t>
            </a:fld>
            <a:endParaRPr lang="en-US"/>
          </a:p>
        </p:txBody>
      </p:sp>
      <p:sp>
        <p:nvSpPr>
          <p:cNvPr id="13" name="Rectangle 12">
            <a:extLst>
              <a:ext uri="{FF2B5EF4-FFF2-40B4-BE49-F238E27FC236}">
                <a16:creationId xmlns:a16="http://schemas.microsoft.com/office/drawing/2014/main" id="{17B44F85-F357-4E49-8690-DF818A757C86}"/>
              </a:ext>
            </a:extLst>
          </p:cNvPr>
          <p:cNvSpPr/>
          <p:nvPr userDrawn="1"/>
        </p:nvSpPr>
        <p:spPr>
          <a:xfrm>
            <a:off x="457196" y="4798449"/>
            <a:ext cx="8229603" cy="415498"/>
          </a:xfrm>
          <a:prstGeom prst="rect">
            <a:avLst/>
          </a:prstGeom>
        </p:spPr>
        <p:txBody>
          <a:bodyPr wrap="square">
            <a:spAutoFit/>
          </a:bodyPr>
          <a:lstStyle/>
          <a:p>
            <a:pPr algn="ctr"/>
            <a:r>
              <a:rPr lang="en-GB" sz="700" b="1">
                <a:latin typeface="Arial" panose="020B0604020202020204" pitchFamily="34" charset="0"/>
                <a:cs typeface="Arial" panose="020B0604020202020204" pitchFamily="34" charset="0"/>
              </a:rPr>
              <a:t>Electronic poster presentation at the virtual 62nd Annual Meeting of the American Society of </a:t>
            </a:r>
            <a:r>
              <a:rPr lang="en-US" sz="700" b="1">
                <a:latin typeface="Arial" panose="020B0604020202020204" pitchFamily="34" charset="0"/>
                <a:cs typeface="Arial" panose="020B0604020202020204" pitchFamily="34" charset="0"/>
              </a:rPr>
              <a:t>Hematology</a:t>
            </a:r>
            <a:r>
              <a:rPr lang="en-GB" sz="700" b="1">
                <a:latin typeface="Arial" panose="020B0604020202020204" pitchFamily="34" charset="0"/>
                <a:cs typeface="Arial" panose="020B0604020202020204" pitchFamily="34" charset="0"/>
              </a:rPr>
              <a:t> (ASH), December 5–8, 2020.</a:t>
            </a:r>
          </a:p>
          <a:p>
            <a:pPr marL="0" marR="0" lvl="0" indent="0" algn="ctr" defTabSz="457189" rtl="0" eaLnBrk="1" fontAlgn="base" latinLnBrk="0" hangingPunct="1">
              <a:lnSpc>
                <a:spcPct val="100000"/>
              </a:lnSpc>
              <a:spcBef>
                <a:spcPct val="0"/>
              </a:spcBef>
              <a:spcAft>
                <a:spcPct val="0"/>
              </a:spcAft>
              <a:buClrTx/>
              <a:buSzTx/>
              <a:buFontTx/>
              <a:buNone/>
              <a:tabLst/>
              <a:defRPr/>
            </a:pPr>
            <a:r>
              <a:rPr lang="en-GB" sz="700" b="1">
                <a:latin typeface="Arial" panose="020B0604020202020204" pitchFamily="34" charset="0"/>
                <a:cs typeface="Arial" panose="020B0604020202020204" pitchFamily="34" charset="0"/>
              </a:rPr>
              <a:t>For questions or comments please contact Professor Thierry Facon</a:t>
            </a:r>
            <a:r>
              <a:rPr lang="en-GB" sz="700" b="1" kern="1200">
                <a:solidFill>
                  <a:schemeClr val="tx1"/>
                </a:solidFill>
                <a:latin typeface="Arial" panose="020B0604020202020204" pitchFamily="34" charset="0"/>
                <a:ea typeface="Geneva" charset="0"/>
                <a:cs typeface="Arial" panose="020B0604020202020204" pitchFamily="34" charset="0"/>
              </a:rPr>
              <a:t>: </a:t>
            </a:r>
            <a:r>
              <a:rPr lang="fr-FR" sz="700" b="1" kern="1200">
                <a:solidFill>
                  <a:schemeClr val="tx1"/>
                </a:solidFill>
                <a:latin typeface="Arial" panose="020B0604020202020204" pitchFamily="34" charset="0"/>
                <a:ea typeface="Geneva" charset="0"/>
                <a:cs typeface="Arial" panose="020B0604020202020204" pitchFamily="34" charset="0"/>
              </a:rPr>
              <a:t>Thierry.FACON@CHRU-LILLE.FR.</a:t>
            </a:r>
            <a:endParaRPr lang="en-GB" sz="700" b="1" kern="1200">
              <a:solidFill>
                <a:schemeClr val="tx1"/>
              </a:solidFill>
              <a:latin typeface="Arial" panose="020B0604020202020204" pitchFamily="34" charset="0"/>
              <a:ea typeface="Geneva" charset="0"/>
              <a:cs typeface="Arial" panose="020B0604020202020204" pitchFamily="34" charset="0"/>
            </a:endParaRPr>
          </a:p>
          <a:p>
            <a:pPr algn="ctr"/>
            <a:endParaRPr lang="en-US" sz="700" b="1">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37196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vide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457200" y="367840"/>
            <a:ext cx="6096000" cy="535154"/>
          </a:xfrm>
          <a:prstGeom prst="rect">
            <a:avLst/>
          </a:prstGeom>
        </p:spPr>
        <p:txBody>
          <a:bodyPr anchor="b"/>
          <a:lstStyle>
            <a:lvl1pPr>
              <a:defRPr sz="2400">
                <a:solidFill>
                  <a:srgbClr val="CD113B"/>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Content Placeholder 2"/>
          <p:cNvSpPr>
            <a:spLocks noGrp="1"/>
          </p:cNvSpPr>
          <p:nvPr>
            <p:ph idx="1"/>
          </p:nvPr>
        </p:nvSpPr>
        <p:spPr>
          <a:xfrm>
            <a:off x="457200" y="1026692"/>
            <a:ext cx="8229600" cy="3385283"/>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600">
                <a:solidFill>
                  <a:schemeClr val="tx1"/>
                </a:solidFill>
                <a:latin typeface="Arial" panose="020B0604020202020204" pitchFamily="34" charset="0"/>
                <a:cs typeface="Arial" panose="020B0604020202020204" pitchFamily="34" charset="0"/>
              </a:defRPr>
            </a:lvl2pPr>
            <a:lvl3pPr>
              <a:defRPr sz="1400">
                <a:solidFill>
                  <a:schemeClr val="tx1"/>
                </a:solidFill>
                <a:latin typeface="Arial" panose="020B0604020202020204" pitchFamily="34" charset="0"/>
                <a:cs typeface="Arial" panose="020B0604020202020204" pitchFamily="34" charset="0"/>
              </a:defRPr>
            </a:lvl3pPr>
            <a:lvl4pPr>
              <a:defRPr sz="1200">
                <a:solidFill>
                  <a:schemeClr val="tx1"/>
                </a:solidFill>
                <a:latin typeface="Arial" panose="020B0604020202020204" pitchFamily="34" charset="0"/>
                <a:cs typeface="Arial" panose="020B0604020202020204" pitchFamily="34" charset="0"/>
              </a:defRPr>
            </a:lvl4pPr>
            <a:lvl5pPr>
              <a:defRPr sz="11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30CB4685-B433-48FF-AE43-428CB330063C}"/>
              </a:ext>
            </a:extLst>
          </p:cNvPr>
          <p:cNvSpPr>
            <a:spLocks noGrp="1"/>
          </p:cNvSpPr>
          <p:nvPr>
            <p:ph type="body" sz="quarter" idx="13" hasCustomPrompt="1"/>
          </p:nvPr>
        </p:nvSpPr>
        <p:spPr>
          <a:xfrm>
            <a:off x="457201" y="4558230"/>
            <a:ext cx="4017264" cy="180425"/>
          </a:xfrm>
          <a:prstGeom prst="rect">
            <a:avLst/>
          </a:prstGeom>
        </p:spPr>
        <p:txBody>
          <a:bodyPr wrap="square" tIns="36000" bIns="36000" anchor="b">
            <a:spAutoFit/>
          </a:bodyPr>
          <a:lstStyle>
            <a:lvl1pPr marL="0" indent="0">
              <a:spcBef>
                <a:spcPts val="300"/>
              </a:spcBef>
              <a:buNone/>
              <a:defRPr sz="700">
                <a:latin typeface="Arial" panose="020B0604020202020204" pitchFamily="34" charset="0"/>
                <a:cs typeface="Arial" panose="020B0604020202020204" pitchFamily="34" charset="0"/>
              </a:defRPr>
            </a:lvl1pPr>
          </a:lstStyle>
          <a:p>
            <a:pPr lvl="0"/>
            <a:r>
              <a:rPr lang="en-US"/>
              <a:t>Click to add footnotes</a:t>
            </a:r>
          </a:p>
        </p:txBody>
      </p:sp>
      <p:sp>
        <p:nvSpPr>
          <p:cNvPr id="10" name="Text Placeholder 11">
            <a:extLst>
              <a:ext uri="{FF2B5EF4-FFF2-40B4-BE49-F238E27FC236}">
                <a16:creationId xmlns:a16="http://schemas.microsoft.com/office/drawing/2014/main" id="{B9660AC6-B11A-4D39-B0FE-D05D7C4EFBA6}"/>
              </a:ext>
            </a:extLst>
          </p:cNvPr>
          <p:cNvSpPr>
            <a:spLocks noGrp="1"/>
          </p:cNvSpPr>
          <p:nvPr>
            <p:ph type="body" sz="quarter" idx="14" hasCustomPrompt="1"/>
          </p:nvPr>
        </p:nvSpPr>
        <p:spPr>
          <a:xfrm>
            <a:off x="4675632" y="4558230"/>
            <a:ext cx="4400128" cy="180425"/>
          </a:xfrm>
          <a:prstGeom prst="rect">
            <a:avLst/>
          </a:prstGeom>
        </p:spPr>
        <p:txBody>
          <a:bodyPr wrap="square" tIns="36000" bIns="36000" anchor="b">
            <a:spAutoFit/>
          </a:bodyPr>
          <a:lstStyle>
            <a:lvl1pPr marL="0" indent="0" algn="r">
              <a:spcBef>
                <a:spcPts val="0"/>
              </a:spcBef>
              <a:buNone/>
              <a:defRPr sz="700">
                <a:latin typeface="Arial" panose="020B0604020202020204" pitchFamily="34" charset="0"/>
                <a:cs typeface="Arial" panose="020B0604020202020204" pitchFamily="34" charset="0"/>
              </a:defRPr>
            </a:lvl1pPr>
            <a:lvl2pPr marL="457189" indent="0" algn="r">
              <a:buNone/>
              <a:defRPr/>
            </a:lvl2pPr>
            <a:lvl3pPr marL="914378" indent="0" algn="r">
              <a:buNone/>
              <a:defRPr/>
            </a:lvl3pPr>
            <a:lvl4pPr marL="1371566" indent="0" algn="r">
              <a:buNone/>
              <a:defRPr/>
            </a:lvl4pPr>
            <a:lvl5pPr marL="1828754" indent="0" algn="r">
              <a:buNone/>
              <a:defRPr/>
            </a:lvl5pPr>
          </a:lstStyle>
          <a:p>
            <a:pPr lvl="0"/>
            <a:r>
              <a:rPr lang="en-US"/>
              <a:t>Click to add references</a:t>
            </a:r>
          </a:p>
        </p:txBody>
      </p:sp>
    </p:spTree>
    <p:extLst>
      <p:ext uri="{BB962C8B-B14F-4D97-AF65-F5344CB8AC3E}">
        <p14:creationId xmlns:p14="http://schemas.microsoft.com/office/powerpoint/2010/main" val="1168495670"/>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p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457200" y="367840"/>
            <a:ext cx="8229600" cy="535154"/>
          </a:xfrm>
          <a:prstGeom prst="rect">
            <a:avLst/>
          </a:prstGeom>
        </p:spPr>
        <p:txBody>
          <a:bodyPr anchor="b"/>
          <a:lstStyle>
            <a:lvl1pPr>
              <a:defRPr sz="2400">
                <a:solidFill>
                  <a:srgbClr val="CD113B"/>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Content Placeholder 2"/>
          <p:cNvSpPr>
            <a:spLocks noGrp="1"/>
          </p:cNvSpPr>
          <p:nvPr>
            <p:ph idx="1"/>
          </p:nvPr>
        </p:nvSpPr>
        <p:spPr>
          <a:xfrm>
            <a:off x="457200" y="1026692"/>
            <a:ext cx="8229600" cy="3374712"/>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600">
                <a:solidFill>
                  <a:schemeClr val="tx1"/>
                </a:solidFill>
                <a:latin typeface="Arial" panose="020B0604020202020204" pitchFamily="34" charset="0"/>
                <a:cs typeface="Arial" panose="020B0604020202020204" pitchFamily="34" charset="0"/>
              </a:defRPr>
            </a:lvl2pPr>
            <a:lvl3pPr>
              <a:defRPr sz="1400">
                <a:solidFill>
                  <a:schemeClr val="tx1"/>
                </a:solidFill>
                <a:latin typeface="Arial" panose="020B0604020202020204" pitchFamily="34" charset="0"/>
                <a:cs typeface="Arial" panose="020B0604020202020204" pitchFamily="34" charset="0"/>
              </a:defRPr>
            </a:lvl3pPr>
            <a:lvl4pPr>
              <a:defRPr sz="1200">
                <a:solidFill>
                  <a:schemeClr val="tx1"/>
                </a:solidFill>
                <a:latin typeface="Arial" panose="020B0604020202020204" pitchFamily="34" charset="0"/>
                <a:cs typeface="Arial" panose="020B0604020202020204" pitchFamily="34" charset="0"/>
              </a:defRPr>
            </a:lvl4pPr>
            <a:lvl5pPr>
              <a:defRPr sz="11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30CB4685-B433-48FF-AE43-428CB330063C}"/>
              </a:ext>
            </a:extLst>
          </p:cNvPr>
          <p:cNvSpPr>
            <a:spLocks noGrp="1"/>
          </p:cNvSpPr>
          <p:nvPr>
            <p:ph type="body" sz="quarter" idx="13" hasCustomPrompt="1"/>
          </p:nvPr>
        </p:nvSpPr>
        <p:spPr>
          <a:xfrm>
            <a:off x="457201" y="4558230"/>
            <a:ext cx="4017264" cy="180425"/>
          </a:xfrm>
          <a:prstGeom prst="rect">
            <a:avLst/>
          </a:prstGeom>
        </p:spPr>
        <p:txBody>
          <a:bodyPr wrap="square" tIns="36000" bIns="36000" anchor="b">
            <a:spAutoFit/>
          </a:bodyPr>
          <a:lstStyle>
            <a:lvl1pPr marL="0" indent="0">
              <a:spcBef>
                <a:spcPts val="300"/>
              </a:spcBef>
              <a:buNone/>
              <a:defRPr sz="700">
                <a:latin typeface="Arial" panose="020B0604020202020204" pitchFamily="34" charset="0"/>
                <a:cs typeface="Arial" panose="020B0604020202020204" pitchFamily="34" charset="0"/>
              </a:defRPr>
            </a:lvl1pPr>
          </a:lstStyle>
          <a:p>
            <a:pPr lvl="0"/>
            <a:r>
              <a:rPr lang="en-US"/>
              <a:t>Click to add footnotes</a:t>
            </a:r>
          </a:p>
        </p:txBody>
      </p:sp>
      <p:sp>
        <p:nvSpPr>
          <p:cNvPr id="10" name="Text Placeholder 11">
            <a:extLst>
              <a:ext uri="{FF2B5EF4-FFF2-40B4-BE49-F238E27FC236}">
                <a16:creationId xmlns:a16="http://schemas.microsoft.com/office/drawing/2014/main" id="{B9660AC6-B11A-4D39-B0FE-D05D7C4EFBA6}"/>
              </a:ext>
            </a:extLst>
          </p:cNvPr>
          <p:cNvSpPr>
            <a:spLocks noGrp="1"/>
          </p:cNvSpPr>
          <p:nvPr>
            <p:ph type="body" sz="quarter" idx="14" hasCustomPrompt="1"/>
          </p:nvPr>
        </p:nvSpPr>
        <p:spPr>
          <a:xfrm>
            <a:off x="4675632" y="4558230"/>
            <a:ext cx="4400128" cy="180425"/>
          </a:xfrm>
          <a:prstGeom prst="rect">
            <a:avLst/>
          </a:prstGeom>
        </p:spPr>
        <p:txBody>
          <a:bodyPr wrap="square" tIns="36000" bIns="36000" anchor="b">
            <a:spAutoFit/>
          </a:bodyPr>
          <a:lstStyle>
            <a:lvl1pPr marL="0" indent="0" algn="r">
              <a:spcBef>
                <a:spcPts val="0"/>
              </a:spcBef>
              <a:buNone/>
              <a:defRPr sz="700">
                <a:latin typeface="Arial" panose="020B0604020202020204" pitchFamily="34" charset="0"/>
                <a:cs typeface="Arial" panose="020B0604020202020204" pitchFamily="34" charset="0"/>
              </a:defRPr>
            </a:lvl1pPr>
            <a:lvl2pPr marL="457189" indent="0" algn="r">
              <a:buNone/>
              <a:defRPr/>
            </a:lvl2pPr>
            <a:lvl3pPr marL="914378" indent="0" algn="r">
              <a:buNone/>
              <a:defRPr/>
            </a:lvl3pPr>
            <a:lvl4pPr marL="1371566" indent="0" algn="r">
              <a:buNone/>
              <a:defRPr/>
            </a:lvl4pPr>
            <a:lvl5pPr marL="1828754" indent="0" algn="r">
              <a:buNone/>
              <a:defRPr/>
            </a:lvl5pPr>
          </a:lstStyle>
          <a:p>
            <a:pPr lvl="0"/>
            <a:r>
              <a:rPr lang="en-US"/>
              <a:t>Click to add references</a:t>
            </a:r>
          </a:p>
        </p:txBody>
      </p:sp>
    </p:spTree>
    <p:extLst>
      <p:ext uri="{BB962C8B-B14F-4D97-AF65-F5344CB8AC3E}">
        <p14:creationId xmlns:p14="http://schemas.microsoft.com/office/powerpoint/2010/main" val="310291414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26692"/>
            <a:ext cx="4038600" cy="3394497"/>
          </a:xfrm>
          <a:prstGeom prst="rect">
            <a:avLst/>
          </a:prstGeom>
        </p:spPr>
        <p:txBody>
          <a:bodyPr/>
          <a:lstStyle>
            <a:lvl1pPr>
              <a:defRPr sz="18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1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026692"/>
            <a:ext cx="4038600" cy="3394497"/>
          </a:xfrm>
          <a:prstGeom prst="rect">
            <a:avLst/>
          </a:prstGeom>
        </p:spPr>
        <p:txBody>
          <a:bodyPr/>
          <a:lstStyle>
            <a:lvl1pPr>
              <a:defRPr sz="18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1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
        <p:nvSpPr>
          <p:cNvPr id="8" name="Title 1"/>
          <p:cNvSpPr>
            <a:spLocks noGrp="1"/>
          </p:cNvSpPr>
          <p:nvPr>
            <p:ph type="title"/>
          </p:nvPr>
        </p:nvSpPr>
        <p:spPr>
          <a:xfrm>
            <a:off x="457200" y="367840"/>
            <a:ext cx="8229600" cy="535154"/>
          </a:xfrm>
          <a:prstGeom prst="rect">
            <a:avLst/>
          </a:prstGeom>
        </p:spPr>
        <p:txBody>
          <a:bodyPr anchor="b"/>
          <a:lstStyle>
            <a:lvl1pPr>
              <a:defRPr sz="2400">
                <a:solidFill>
                  <a:srgbClr val="CD113B"/>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Text Placeholder 7">
            <a:extLst>
              <a:ext uri="{FF2B5EF4-FFF2-40B4-BE49-F238E27FC236}">
                <a16:creationId xmlns:a16="http://schemas.microsoft.com/office/drawing/2014/main" id="{30CB4685-B433-48FF-AE43-428CB330063C}"/>
              </a:ext>
            </a:extLst>
          </p:cNvPr>
          <p:cNvSpPr>
            <a:spLocks noGrp="1"/>
          </p:cNvSpPr>
          <p:nvPr>
            <p:ph type="body" sz="quarter" idx="13" hasCustomPrompt="1"/>
          </p:nvPr>
        </p:nvSpPr>
        <p:spPr>
          <a:xfrm>
            <a:off x="457201" y="4558230"/>
            <a:ext cx="4017264" cy="180425"/>
          </a:xfrm>
          <a:prstGeom prst="rect">
            <a:avLst/>
          </a:prstGeom>
        </p:spPr>
        <p:txBody>
          <a:bodyPr wrap="square" tIns="36000" bIns="36000" anchor="b">
            <a:spAutoFit/>
          </a:bodyPr>
          <a:lstStyle>
            <a:lvl1pPr marL="0" indent="0">
              <a:spcBef>
                <a:spcPts val="300"/>
              </a:spcBef>
              <a:buNone/>
              <a:defRPr sz="700">
                <a:latin typeface="Arial" panose="020B0604020202020204" pitchFamily="34" charset="0"/>
                <a:cs typeface="Arial" panose="020B0604020202020204" pitchFamily="34" charset="0"/>
              </a:defRPr>
            </a:lvl1pPr>
          </a:lstStyle>
          <a:p>
            <a:pPr lvl="0"/>
            <a:r>
              <a:rPr lang="en-US"/>
              <a:t>Click to add footnotes</a:t>
            </a:r>
          </a:p>
        </p:txBody>
      </p:sp>
      <p:sp>
        <p:nvSpPr>
          <p:cNvPr id="10" name="Text Placeholder 11">
            <a:extLst>
              <a:ext uri="{FF2B5EF4-FFF2-40B4-BE49-F238E27FC236}">
                <a16:creationId xmlns:a16="http://schemas.microsoft.com/office/drawing/2014/main" id="{B9660AC6-B11A-4D39-B0FE-D05D7C4EFBA6}"/>
              </a:ext>
            </a:extLst>
          </p:cNvPr>
          <p:cNvSpPr>
            <a:spLocks noGrp="1"/>
          </p:cNvSpPr>
          <p:nvPr>
            <p:ph type="body" sz="quarter" idx="14" hasCustomPrompt="1"/>
          </p:nvPr>
        </p:nvSpPr>
        <p:spPr>
          <a:xfrm>
            <a:off x="4675632" y="4558230"/>
            <a:ext cx="4400128" cy="180425"/>
          </a:xfrm>
          <a:prstGeom prst="rect">
            <a:avLst/>
          </a:prstGeom>
        </p:spPr>
        <p:txBody>
          <a:bodyPr wrap="square" tIns="36000" bIns="36000" anchor="b">
            <a:spAutoFit/>
          </a:bodyPr>
          <a:lstStyle>
            <a:lvl1pPr marL="0" indent="0" algn="r">
              <a:spcBef>
                <a:spcPts val="0"/>
              </a:spcBef>
              <a:buNone/>
              <a:defRPr sz="700">
                <a:latin typeface="Arial" panose="020B0604020202020204" pitchFamily="34" charset="0"/>
                <a:cs typeface="Arial" panose="020B0604020202020204" pitchFamily="34" charset="0"/>
              </a:defRPr>
            </a:lvl1pPr>
            <a:lvl2pPr marL="457189" indent="0" algn="r">
              <a:buNone/>
              <a:defRPr/>
            </a:lvl2pPr>
            <a:lvl3pPr marL="914378" indent="0" algn="r">
              <a:buNone/>
              <a:defRPr/>
            </a:lvl3pPr>
            <a:lvl4pPr marL="1371566" indent="0" algn="r">
              <a:buNone/>
              <a:defRPr/>
            </a:lvl4pPr>
            <a:lvl5pPr marL="1828754" indent="0" algn="r">
              <a:buNone/>
              <a:defRPr/>
            </a:lvl5pPr>
          </a:lstStyle>
          <a:p>
            <a:pPr lvl="0"/>
            <a:r>
              <a:rPr lang="en-US"/>
              <a:t>Click to add references</a:t>
            </a:r>
          </a:p>
        </p:txBody>
      </p:sp>
    </p:spTree>
    <p:extLst>
      <p:ext uri="{BB962C8B-B14F-4D97-AF65-F5344CB8AC3E}">
        <p14:creationId xmlns:p14="http://schemas.microsoft.com/office/powerpoint/2010/main" val="233618053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a:prstGeom prst="rect">
            <a:avLst/>
          </a:prstGeom>
        </p:spPr>
        <p:txBody>
          <a:bodyPr anchor="t"/>
          <a:lstStyle>
            <a:lvl1pPr algn="l">
              <a:defRPr sz="2400" b="0"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180035"/>
            <a:ext cx="7772400" cy="1125140"/>
          </a:xfrm>
          <a:prstGeom prst="rect">
            <a:avLst/>
          </a:prstGeom>
        </p:spPr>
        <p:txBody>
          <a:bodyPr anchor="b"/>
          <a:lstStyle>
            <a:lvl1pPr marL="0" indent="0">
              <a:buNone/>
              <a:defRPr sz="1600">
                <a:solidFill>
                  <a:schemeClr val="tx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1110446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Rectangle 4"/>
          <p:cNvSpPr/>
          <p:nvPr userDrawn="1"/>
        </p:nvSpPr>
        <p:spPr>
          <a:xfrm>
            <a:off x="1731678" y="4373513"/>
            <a:ext cx="7412322" cy="93417"/>
          </a:xfrm>
          <a:prstGeom prst="rect">
            <a:avLst/>
          </a:prstGeom>
          <a:solidFill>
            <a:srgbClr val="8180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72"/>
          </a:p>
        </p:txBody>
      </p:sp>
      <p:sp>
        <p:nvSpPr>
          <p:cNvPr id="9" name="Rectangle 8"/>
          <p:cNvSpPr/>
          <p:nvPr userDrawn="1"/>
        </p:nvSpPr>
        <p:spPr>
          <a:xfrm>
            <a:off x="0" y="4373515"/>
            <a:ext cx="1731678" cy="93416"/>
          </a:xfrm>
          <a:prstGeom prst="rect">
            <a:avLst/>
          </a:prstGeom>
          <a:solidFill>
            <a:srgbClr val="6867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72"/>
          </a:p>
        </p:txBody>
      </p:sp>
      <p:sp>
        <p:nvSpPr>
          <p:cNvPr id="10" name="Rectangle 9"/>
          <p:cNvSpPr/>
          <p:nvPr userDrawn="1"/>
        </p:nvSpPr>
        <p:spPr>
          <a:xfrm>
            <a:off x="0" y="708286"/>
            <a:ext cx="9144000" cy="347204"/>
          </a:xfrm>
          <a:prstGeom prst="rect">
            <a:avLst/>
          </a:prstGeom>
          <a:gradFill flip="none" rotWithShape="1">
            <a:gsLst>
              <a:gs pos="31000">
                <a:srgbClr val="E60004"/>
              </a:gs>
              <a:gs pos="97000">
                <a:srgbClr val="F0937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72"/>
          </a:p>
        </p:txBody>
      </p:sp>
      <p:sp>
        <p:nvSpPr>
          <p:cNvPr id="18" name="Title 1"/>
          <p:cNvSpPr>
            <a:spLocks noGrp="1"/>
          </p:cNvSpPr>
          <p:nvPr userDrawn="1">
            <p:ph type="ctrTitle"/>
          </p:nvPr>
        </p:nvSpPr>
        <p:spPr>
          <a:xfrm>
            <a:off x="374752" y="1452600"/>
            <a:ext cx="8460000" cy="1320300"/>
          </a:xfrm>
          <a:prstGeom prst="rect">
            <a:avLst/>
          </a:prstGeom>
        </p:spPr>
        <p:txBody>
          <a:bodyPr anchor="b">
            <a:noAutofit/>
          </a:bodyPr>
          <a:lstStyle>
            <a:lvl1pPr algn="l">
              <a:defRPr sz="3000">
                <a:solidFill>
                  <a:schemeClr val="accent1"/>
                </a:solidFill>
              </a:defRPr>
            </a:lvl1pPr>
          </a:lstStyle>
          <a:p>
            <a:r>
              <a:rPr lang="en-US"/>
              <a:t>Click to edit Master title style</a:t>
            </a:r>
            <a:endParaRPr lang="en-GB"/>
          </a:p>
        </p:txBody>
      </p:sp>
      <p:sp>
        <p:nvSpPr>
          <p:cNvPr id="19" name="Subtitle 2"/>
          <p:cNvSpPr>
            <a:spLocks noGrp="1"/>
          </p:cNvSpPr>
          <p:nvPr userDrawn="1">
            <p:ph type="subTitle" idx="1"/>
          </p:nvPr>
        </p:nvSpPr>
        <p:spPr>
          <a:xfrm>
            <a:off x="374752" y="2919582"/>
            <a:ext cx="8460000" cy="1241822"/>
          </a:xfrm>
          <a:prstGeom prst="rect">
            <a:avLst/>
          </a:prstGeom>
        </p:spPr>
        <p:txBody>
          <a:bodyPr>
            <a:noAutofit/>
          </a:bodyPr>
          <a:lstStyle>
            <a:lvl1pPr marL="0" indent="0" algn="l">
              <a:buNone/>
              <a:defRPr sz="1800">
                <a:solidFill>
                  <a:schemeClr val="tx2"/>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endParaRPr lang="en-GB"/>
          </a:p>
        </p:txBody>
      </p:sp>
      <p:sp>
        <p:nvSpPr>
          <p:cNvPr id="11" name="Rectangle 10"/>
          <p:cNvSpPr/>
          <p:nvPr userDrawn="1"/>
        </p:nvSpPr>
        <p:spPr>
          <a:xfrm>
            <a:off x="0" y="708286"/>
            <a:ext cx="1731678" cy="3472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72"/>
          </a:p>
        </p:txBody>
      </p:sp>
      <p:sp>
        <p:nvSpPr>
          <p:cNvPr id="8" name="スライド番号プレースホルダ 5"/>
          <p:cNvSpPr>
            <a:spLocks noGrp="1"/>
          </p:cNvSpPr>
          <p:nvPr>
            <p:ph type="sldNum" sz="quarter" idx="10"/>
          </p:nvPr>
        </p:nvSpPr>
        <p:spPr>
          <a:xfrm>
            <a:off x="8528288" y="4924426"/>
            <a:ext cx="442913" cy="147638"/>
          </a:xfrm>
          <a:prstGeom prst="rect">
            <a:avLst/>
          </a:prstGeom>
        </p:spPr>
        <p:txBody>
          <a:bodyPr/>
          <a:lstStyle>
            <a:lvl1pPr algn="r">
              <a:defRPr sz="675">
                <a:solidFill>
                  <a:srgbClr val="898989"/>
                </a:solidFill>
                <a:latin typeface="+mn-lt"/>
              </a:defRPr>
            </a:lvl1pPr>
          </a:lstStyle>
          <a:p>
            <a:pPr>
              <a:defRPr/>
            </a:pPr>
            <a:fld id="{BE3FFC03-EBAB-4E25-8444-F18ED2A97FF4}" type="slidenum">
              <a:rPr lang="ja-JP" altLang="en-US"/>
              <a:pPr>
                <a:defRPr/>
              </a:pPr>
              <a:t>‹#›</a:t>
            </a:fld>
            <a:endParaRPr lang="ja-JP" altLang="en-US"/>
          </a:p>
        </p:txBody>
      </p:sp>
    </p:spTree>
    <p:extLst>
      <p:ext uri="{BB962C8B-B14F-4D97-AF65-F5344CB8AC3E}">
        <p14:creationId xmlns:p14="http://schemas.microsoft.com/office/powerpoint/2010/main" val="3720407879"/>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7" name="Rectangle 6"/>
          <p:cNvSpPr/>
          <p:nvPr userDrawn="1"/>
        </p:nvSpPr>
        <p:spPr>
          <a:xfrm>
            <a:off x="1361872" y="949105"/>
            <a:ext cx="7782128" cy="75973"/>
          </a:xfrm>
          <a:prstGeom prst="rect">
            <a:avLst/>
          </a:prstGeom>
          <a:gradFill>
            <a:gsLst>
              <a:gs pos="31000">
                <a:srgbClr val="E60004"/>
              </a:gs>
              <a:gs pos="97000">
                <a:srgbClr val="F0937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72"/>
          </a:p>
        </p:txBody>
      </p:sp>
      <p:sp>
        <p:nvSpPr>
          <p:cNvPr id="8" name="Rectangle 7"/>
          <p:cNvSpPr/>
          <p:nvPr userDrawn="1"/>
        </p:nvSpPr>
        <p:spPr>
          <a:xfrm>
            <a:off x="0" y="949105"/>
            <a:ext cx="1361872" cy="7597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72"/>
          </a:p>
        </p:txBody>
      </p:sp>
      <p:sp>
        <p:nvSpPr>
          <p:cNvPr id="6" name="Title 5"/>
          <p:cNvSpPr>
            <a:spLocks noGrp="1"/>
          </p:cNvSpPr>
          <p:nvPr>
            <p:ph type="title"/>
          </p:nvPr>
        </p:nvSpPr>
        <p:spPr/>
        <p:txBody>
          <a:bodyPr/>
          <a:lstStyle/>
          <a:p>
            <a:r>
              <a:rPr lang="en-US"/>
              <a:t>Click to edit Master title style</a:t>
            </a:r>
            <a:endParaRPr lang="en-GB"/>
          </a:p>
        </p:txBody>
      </p:sp>
      <p:sp>
        <p:nvSpPr>
          <p:cNvPr id="10" name="Content Placeholder 9"/>
          <p:cNvSpPr>
            <a:spLocks noGrp="1"/>
          </p:cNvSpPr>
          <p:nvPr>
            <p:ph sz="quarter" idx="10"/>
          </p:nvPr>
        </p:nvSpPr>
        <p:spPr>
          <a:xfrm>
            <a:off x="176400" y="1320300"/>
            <a:ext cx="8794800" cy="33129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2"/>
          <p:cNvSpPr>
            <a:spLocks noGrp="1"/>
          </p:cNvSpPr>
          <p:nvPr>
            <p:ph type="body" sz="quarter" idx="11" hasCustomPrompt="1"/>
          </p:nvPr>
        </p:nvSpPr>
        <p:spPr>
          <a:xfrm>
            <a:off x="176400" y="4738941"/>
            <a:ext cx="4395600" cy="185484"/>
          </a:xfrm>
        </p:spPr>
        <p:txBody>
          <a:bodyPr lIns="90000" tIns="46800" rIns="90000" anchor="b">
            <a:spAutoFit/>
          </a:bodyPr>
          <a:lstStyle>
            <a:lvl1pPr marL="0" indent="0">
              <a:spcBef>
                <a:spcPts val="0"/>
              </a:spcBef>
              <a:spcAft>
                <a:spcPts val="0"/>
              </a:spcAft>
              <a:buNone/>
              <a:defRPr sz="750"/>
            </a:lvl1pPr>
          </a:lstStyle>
          <a:p>
            <a:pPr lvl="0"/>
            <a:r>
              <a:rPr lang="en-US"/>
              <a:t>Abbreviations</a:t>
            </a:r>
            <a:endParaRPr lang="en-GB"/>
          </a:p>
        </p:txBody>
      </p:sp>
      <p:sp>
        <p:nvSpPr>
          <p:cNvPr id="14" name="Text Placeholder 12"/>
          <p:cNvSpPr>
            <a:spLocks noGrp="1"/>
          </p:cNvSpPr>
          <p:nvPr>
            <p:ph type="body" sz="quarter" idx="12" hasCustomPrompt="1"/>
          </p:nvPr>
        </p:nvSpPr>
        <p:spPr>
          <a:xfrm>
            <a:off x="4575600" y="4738941"/>
            <a:ext cx="4395600" cy="185484"/>
          </a:xfrm>
        </p:spPr>
        <p:txBody>
          <a:bodyPr lIns="90000" tIns="46800" rIns="90000" anchor="b">
            <a:spAutoFit/>
          </a:bodyPr>
          <a:lstStyle>
            <a:lvl1pPr marL="0" indent="0" algn="r">
              <a:spcBef>
                <a:spcPts val="0"/>
              </a:spcBef>
              <a:spcAft>
                <a:spcPts val="0"/>
              </a:spcAft>
              <a:buNone/>
              <a:defRPr sz="750"/>
            </a:lvl1pPr>
          </a:lstStyle>
          <a:p>
            <a:pPr lvl="0"/>
            <a:r>
              <a:rPr lang="en-US"/>
              <a:t>References</a:t>
            </a:r>
            <a:endParaRPr lang="en-GB"/>
          </a:p>
        </p:txBody>
      </p:sp>
      <p:sp>
        <p:nvSpPr>
          <p:cNvPr id="9" name="スライド番号プレースホルダ 5"/>
          <p:cNvSpPr>
            <a:spLocks noGrp="1"/>
          </p:cNvSpPr>
          <p:nvPr>
            <p:ph type="sldNum" sz="quarter" idx="13"/>
          </p:nvPr>
        </p:nvSpPr>
        <p:spPr>
          <a:xfrm>
            <a:off x="8528288" y="4924426"/>
            <a:ext cx="442913" cy="147638"/>
          </a:xfrm>
          <a:prstGeom prst="rect">
            <a:avLst/>
          </a:prstGeom>
        </p:spPr>
        <p:txBody>
          <a:bodyPr/>
          <a:lstStyle>
            <a:lvl1pPr algn="r">
              <a:defRPr sz="675">
                <a:solidFill>
                  <a:srgbClr val="898989"/>
                </a:solidFill>
                <a:latin typeface="+mn-lt"/>
              </a:defRPr>
            </a:lvl1pPr>
          </a:lstStyle>
          <a:p>
            <a:pPr>
              <a:defRPr/>
            </a:pPr>
            <a:fld id="{BE3FFC03-EBAB-4E25-8444-F18ED2A97FF4}" type="slidenum">
              <a:rPr lang="ja-JP" altLang="en-US"/>
              <a:pPr>
                <a:defRPr/>
              </a:pPr>
              <a:t>‹#›</a:t>
            </a:fld>
            <a:endParaRPr lang="ja-JP" altLang="en-US"/>
          </a:p>
        </p:txBody>
      </p:sp>
    </p:spTree>
    <p:extLst>
      <p:ext uri="{BB962C8B-B14F-4D97-AF65-F5344CB8AC3E}">
        <p14:creationId xmlns:p14="http://schemas.microsoft.com/office/powerpoint/2010/main" val="26655682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382896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62468" y="1200151"/>
            <a:ext cx="8627533" cy="3378599"/>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261939" y="4813697"/>
            <a:ext cx="8628062" cy="228600"/>
          </a:xfrm>
        </p:spPr>
        <p:txBody>
          <a:bodyPr anchor="b">
            <a:noAutofit/>
          </a:bodyPr>
          <a:lstStyle>
            <a:lvl1pPr marL="0" indent="0" algn="r">
              <a:spcBef>
                <a:spcPts val="0"/>
              </a:spcBef>
              <a:buNone/>
              <a:defRPr sz="900"/>
            </a:lvl1pPr>
            <a:lvl2pPr marL="342900" indent="0" algn="r">
              <a:buNone/>
              <a:defRPr sz="900"/>
            </a:lvl2pPr>
            <a:lvl3pPr marL="685800" indent="0" algn="r">
              <a:buNone/>
              <a:defRPr sz="900"/>
            </a:lvl3pPr>
            <a:lvl4pPr marL="1028700" indent="0" algn="r">
              <a:buNone/>
              <a:defRPr sz="900"/>
            </a:lvl4pPr>
            <a:lvl5pPr marL="1371600" indent="0" algn="r">
              <a:buNone/>
              <a:defRPr sz="900"/>
            </a:lvl5pPr>
          </a:lstStyle>
          <a:p>
            <a:pPr lvl="0"/>
            <a:r>
              <a:rPr lang="en-US"/>
              <a:t>Insert reference here</a:t>
            </a:r>
            <a:endParaRPr lang="en-GB"/>
          </a:p>
        </p:txBody>
      </p:sp>
      <p:sp>
        <p:nvSpPr>
          <p:cNvPr id="6" name="Text Placeholder 4"/>
          <p:cNvSpPr>
            <a:spLocks noGrp="1"/>
          </p:cNvSpPr>
          <p:nvPr>
            <p:ph type="body" sz="quarter" idx="11" hasCustomPrompt="1"/>
          </p:nvPr>
        </p:nvSpPr>
        <p:spPr>
          <a:xfrm>
            <a:off x="261939" y="4578749"/>
            <a:ext cx="8628062" cy="228600"/>
          </a:xfrm>
        </p:spPr>
        <p:txBody>
          <a:bodyPr anchor="b">
            <a:noAutofit/>
          </a:bodyPr>
          <a:lstStyle>
            <a:lvl1pPr marL="0" indent="0" algn="l">
              <a:spcBef>
                <a:spcPts val="0"/>
              </a:spcBef>
              <a:buNone/>
              <a:defRPr sz="900"/>
            </a:lvl1pPr>
            <a:lvl2pPr marL="342900" indent="0" algn="r">
              <a:buNone/>
              <a:defRPr sz="900"/>
            </a:lvl2pPr>
            <a:lvl3pPr marL="685800" indent="0" algn="r">
              <a:buNone/>
              <a:defRPr sz="900"/>
            </a:lvl3pPr>
            <a:lvl4pPr marL="1028700" indent="0" algn="r">
              <a:buNone/>
              <a:defRPr sz="900"/>
            </a:lvl4pPr>
            <a:lvl5pPr marL="1371600" indent="0" algn="r">
              <a:buNone/>
              <a:defRPr sz="900"/>
            </a:lvl5pPr>
          </a:lstStyle>
          <a:p>
            <a:pPr lvl="0"/>
            <a:r>
              <a:rPr lang="en-US"/>
              <a:t>Insert footnote here</a:t>
            </a:r>
            <a:endParaRPr lang="en-GB"/>
          </a:p>
        </p:txBody>
      </p:sp>
    </p:spTree>
    <p:extLst>
      <p:ext uri="{BB962C8B-B14F-4D97-AF65-F5344CB8AC3E}">
        <p14:creationId xmlns:p14="http://schemas.microsoft.com/office/powerpoint/2010/main" val="20540763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pPr defTabSz="685800">
              <a:defRPr/>
            </a:pPr>
            <a:endParaRPr lang="en-US" sz="1350">
              <a:solidFill>
                <a:prstClr val="black">
                  <a:tint val="75000"/>
                </a:prstClr>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pPr defTabSz="685800">
              <a:defRPr/>
            </a:pPr>
            <a:endParaRPr lang="en-US" sz="1350">
              <a:solidFill>
                <a:prstClr val="black">
                  <a:tint val="75000"/>
                </a:prstClr>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pPr defTabSz="685800">
              <a:defRPr/>
            </a:pPr>
            <a:fld id="{99929032-F572-4478-A0C8-FA6949E68968}" type="slidenum">
              <a:rPr lang="en-US" sz="1350" smtClean="0">
                <a:solidFill>
                  <a:prstClr val="black">
                    <a:tint val="75000"/>
                  </a:prstClr>
                </a:solidFill>
              </a:rPr>
              <a:pPr defTabSz="685800">
                <a:defRPr/>
              </a:pPr>
              <a:t>‹#›</a:t>
            </a:fld>
            <a:endParaRPr lang="en-US" sz="1350">
              <a:solidFill>
                <a:prstClr val="black">
                  <a:tint val="75000"/>
                </a:prstClr>
              </a:solidFill>
            </a:endParaRPr>
          </a:p>
        </p:txBody>
      </p:sp>
    </p:spTree>
    <p:extLst>
      <p:ext uri="{BB962C8B-B14F-4D97-AF65-F5344CB8AC3E}">
        <p14:creationId xmlns:p14="http://schemas.microsoft.com/office/powerpoint/2010/main" val="4675002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303D7-2E08-4284-AD25-A149B90F65C5}"/>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l-GR"/>
          </a:p>
        </p:txBody>
      </p:sp>
      <p:sp>
        <p:nvSpPr>
          <p:cNvPr id="3" name="Subtitle 2">
            <a:extLst>
              <a:ext uri="{FF2B5EF4-FFF2-40B4-BE49-F238E27FC236}">
                <a16:creationId xmlns:a16="http://schemas.microsoft.com/office/drawing/2014/main" id="{6903E75A-64DD-469C-967F-AE5E58CC99ED}"/>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57818E39-8B78-4F7E-92E9-877361FC5D3F}"/>
              </a:ext>
            </a:extLst>
          </p:cNvPr>
          <p:cNvSpPr>
            <a:spLocks noGrp="1"/>
          </p:cNvSpPr>
          <p:nvPr>
            <p:ph type="dt" sz="half" idx="10"/>
          </p:nvPr>
        </p:nvSpPr>
        <p:spPr/>
        <p:txBody>
          <a:bodyPr/>
          <a:lstStyle/>
          <a:p>
            <a:endParaRPr lang="el-GR"/>
          </a:p>
        </p:txBody>
      </p:sp>
      <p:sp>
        <p:nvSpPr>
          <p:cNvPr id="5" name="Footer Placeholder 4">
            <a:extLst>
              <a:ext uri="{FF2B5EF4-FFF2-40B4-BE49-F238E27FC236}">
                <a16:creationId xmlns:a16="http://schemas.microsoft.com/office/drawing/2014/main" id="{75AA50E8-6E68-48FB-9D0A-6F35DA7E0D3D}"/>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73AB5895-0D75-4E3C-BB4C-FBBF08D6D8EE}"/>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4784430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62468" y="1200150"/>
            <a:ext cx="4233333" cy="3524250"/>
          </a:xfrm>
        </p:spPr>
        <p:txBody>
          <a:bodyPr>
            <a:normAutofit/>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0"/>
            <a:ext cx="4241800" cy="3524250"/>
          </a:xfrm>
        </p:spPr>
        <p:txBody>
          <a:bodyPr>
            <a:normAutofit/>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10" hasCustomPrompt="1"/>
          </p:nvPr>
        </p:nvSpPr>
        <p:spPr>
          <a:xfrm>
            <a:off x="261939" y="4813697"/>
            <a:ext cx="8628062" cy="228600"/>
          </a:xfrm>
        </p:spPr>
        <p:txBody>
          <a:bodyPr anchor="b">
            <a:noAutofit/>
          </a:bodyPr>
          <a:lstStyle>
            <a:lvl1pPr marL="0" indent="0" algn="r">
              <a:spcBef>
                <a:spcPts val="0"/>
              </a:spcBef>
              <a:buNone/>
              <a:defRPr sz="900"/>
            </a:lvl1pPr>
            <a:lvl2pPr marL="342900" indent="0" algn="r">
              <a:buNone/>
              <a:defRPr sz="900"/>
            </a:lvl2pPr>
            <a:lvl3pPr marL="685800" indent="0" algn="r">
              <a:buNone/>
              <a:defRPr sz="900"/>
            </a:lvl3pPr>
            <a:lvl4pPr marL="1028700" indent="0" algn="r">
              <a:buNone/>
              <a:defRPr sz="900"/>
            </a:lvl4pPr>
            <a:lvl5pPr marL="1371600" indent="0" algn="r">
              <a:buNone/>
              <a:defRPr sz="900"/>
            </a:lvl5pPr>
          </a:lstStyle>
          <a:p>
            <a:pPr lvl="0"/>
            <a:r>
              <a:rPr lang="en-US"/>
              <a:t>Insert reference here</a:t>
            </a:r>
            <a:endParaRPr lang="en-GB"/>
          </a:p>
        </p:txBody>
      </p:sp>
      <p:sp>
        <p:nvSpPr>
          <p:cNvPr id="7" name="Text Placeholder 4"/>
          <p:cNvSpPr>
            <a:spLocks noGrp="1"/>
          </p:cNvSpPr>
          <p:nvPr>
            <p:ph type="body" sz="quarter" idx="11" hasCustomPrompt="1"/>
          </p:nvPr>
        </p:nvSpPr>
        <p:spPr>
          <a:xfrm>
            <a:off x="261939" y="4578749"/>
            <a:ext cx="8628062" cy="228600"/>
          </a:xfrm>
        </p:spPr>
        <p:txBody>
          <a:bodyPr anchor="b">
            <a:noAutofit/>
          </a:bodyPr>
          <a:lstStyle>
            <a:lvl1pPr marL="0" indent="0" algn="l">
              <a:spcBef>
                <a:spcPts val="0"/>
              </a:spcBef>
              <a:buNone/>
              <a:defRPr sz="900"/>
            </a:lvl1pPr>
            <a:lvl2pPr marL="342900" indent="0" algn="r">
              <a:buNone/>
              <a:defRPr sz="900"/>
            </a:lvl2pPr>
            <a:lvl3pPr marL="685800" indent="0" algn="r">
              <a:buNone/>
              <a:defRPr sz="900"/>
            </a:lvl3pPr>
            <a:lvl4pPr marL="1028700" indent="0" algn="r">
              <a:buNone/>
              <a:defRPr sz="900"/>
            </a:lvl4pPr>
            <a:lvl5pPr marL="1371600" indent="0" algn="r">
              <a:buNone/>
              <a:defRPr sz="900"/>
            </a:lvl5pPr>
          </a:lstStyle>
          <a:p>
            <a:pPr lvl="0"/>
            <a:r>
              <a:rPr lang="en-US"/>
              <a:t>Insert footnote here</a:t>
            </a:r>
            <a:endParaRPr lang="en-GB"/>
          </a:p>
        </p:txBody>
      </p:sp>
    </p:spTree>
    <p:extLst>
      <p:ext uri="{BB962C8B-B14F-4D97-AF65-F5344CB8AC3E}">
        <p14:creationId xmlns:p14="http://schemas.microsoft.com/office/powerpoint/2010/main" val="10648725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4767264"/>
            <a:ext cx="2133600" cy="273844"/>
          </a:xfrm>
          <a:prstGeom prst="rect">
            <a:avLst/>
          </a:prstGeom>
        </p:spPr>
        <p:txBody>
          <a:bodyPr/>
          <a:lstStyle/>
          <a:p>
            <a:pPr defTabSz="685800">
              <a:defRPr/>
            </a:pPr>
            <a:endParaRPr lang="en-US" sz="1350">
              <a:solidFill>
                <a:prstClr val="black">
                  <a:tint val="75000"/>
                </a:prstClr>
              </a:solidFill>
            </a:endParaRPr>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pPr defTabSz="685800">
              <a:defRPr/>
            </a:pPr>
            <a:endParaRPr lang="en-US" sz="1350">
              <a:solidFill>
                <a:prstClr val="black">
                  <a:tint val="75000"/>
                </a:prstClr>
              </a:solidFill>
            </a:endParaRPr>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pPr defTabSz="685800">
              <a:defRPr/>
            </a:pPr>
            <a:fld id="{99929032-F572-4478-A0C8-FA6949E68968}" type="slidenum">
              <a:rPr lang="en-US" sz="1350" smtClean="0">
                <a:solidFill>
                  <a:prstClr val="black">
                    <a:tint val="75000"/>
                  </a:prstClr>
                </a:solidFill>
              </a:rPr>
              <a:pPr defTabSz="685800">
                <a:defRPr/>
              </a:pPr>
              <a:t>‹#›</a:t>
            </a:fld>
            <a:endParaRPr lang="en-US" sz="1350">
              <a:solidFill>
                <a:prstClr val="black">
                  <a:tint val="75000"/>
                </a:prstClr>
              </a:solidFill>
            </a:endParaRPr>
          </a:p>
        </p:txBody>
      </p:sp>
    </p:spTree>
    <p:extLst>
      <p:ext uri="{BB962C8B-B14F-4D97-AF65-F5344CB8AC3E}">
        <p14:creationId xmlns:p14="http://schemas.microsoft.com/office/powerpoint/2010/main" val="25217728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0" hasCustomPrompt="1"/>
          </p:nvPr>
        </p:nvSpPr>
        <p:spPr>
          <a:xfrm>
            <a:off x="261939" y="4813697"/>
            <a:ext cx="8628062" cy="228600"/>
          </a:xfrm>
        </p:spPr>
        <p:txBody>
          <a:bodyPr anchor="b">
            <a:noAutofit/>
          </a:bodyPr>
          <a:lstStyle>
            <a:lvl1pPr marL="0" indent="0" algn="r">
              <a:spcBef>
                <a:spcPts val="0"/>
              </a:spcBef>
              <a:buNone/>
              <a:defRPr sz="900"/>
            </a:lvl1pPr>
            <a:lvl2pPr marL="342900" indent="0" algn="r">
              <a:buNone/>
              <a:defRPr sz="900"/>
            </a:lvl2pPr>
            <a:lvl3pPr marL="685800" indent="0" algn="r">
              <a:buNone/>
              <a:defRPr sz="900"/>
            </a:lvl3pPr>
            <a:lvl4pPr marL="1028700" indent="0" algn="r">
              <a:buNone/>
              <a:defRPr sz="900"/>
            </a:lvl4pPr>
            <a:lvl5pPr marL="1371600" indent="0" algn="r">
              <a:buNone/>
              <a:defRPr sz="900"/>
            </a:lvl5pPr>
          </a:lstStyle>
          <a:p>
            <a:pPr lvl="0"/>
            <a:r>
              <a:rPr lang="en-US"/>
              <a:t>Insert reference here</a:t>
            </a:r>
            <a:endParaRPr lang="en-GB"/>
          </a:p>
        </p:txBody>
      </p:sp>
      <p:sp>
        <p:nvSpPr>
          <p:cNvPr id="5" name="Text Placeholder 4"/>
          <p:cNvSpPr>
            <a:spLocks noGrp="1"/>
          </p:cNvSpPr>
          <p:nvPr>
            <p:ph type="body" sz="quarter" idx="11" hasCustomPrompt="1"/>
          </p:nvPr>
        </p:nvSpPr>
        <p:spPr>
          <a:xfrm>
            <a:off x="261939" y="4578749"/>
            <a:ext cx="8628062" cy="228600"/>
          </a:xfrm>
        </p:spPr>
        <p:txBody>
          <a:bodyPr anchor="b">
            <a:noAutofit/>
          </a:bodyPr>
          <a:lstStyle>
            <a:lvl1pPr marL="0" indent="0" algn="l">
              <a:spcBef>
                <a:spcPts val="0"/>
              </a:spcBef>
              <a:buNone/>
              <a:defRPr sz="900"/>
            </a:lvl1pPr>
            <a:lvl2pPr marL="342900" indent="0" algn="r">
              <a:buNone/>
              <a:defRPr sz="900"/>
            </a:lvl2pPr>
            <a:lvl3pPr marL="685800" indent="0" algn="r">
              <a:buNone/>
              <a:defRPr sz="900"/>
            </a:lvl3pPr>
            <a:lvl4pPr marL="1028700" indent="0" algn="r">
              <a:buNone/>
              <a:defRPr sz="900"/>
            </a:lvl4pPr>
            <a:lvl5pPr marL="1371600" indent="0" algn="r">
              <a:buNone/>
              <a:defRPr sz="900"/>
            </a:lvl5pPr>
          </a:lstStyle>
          <a:p>
            <a:pPr lvl="0"/>
            <a:r>
              <a:rPr lang="en-US"/>
              <a:t>Insert footnote here</a:t>
            </a:r>
            <a:endParaRPr lang="en-GB"/>
          </a:p>
        </p:txBody>
      </p:sp>
    </p:spTree>
    <p:extLst>
      <p:ext uri="{BB962C8B-B14F-4D97-AF65-F5344CB8AC3E}">
        <p14:creationId xmlns:p14="http://schemas.microsoft.com/office/powerpoint/2010/main" val="20196329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a:xfrm>
            <a:off x="261939" y="4813697"/>
            <a:ext cx="8628062" cy="228600"/>
          </a:xfrm>
        </p:spPr>
        <p:txBody>
          <a:bodyPr anchor="b">
            <a:noAutofit/>
          </a:bodyPr>
          <a:lstStyle>
            <a:lvl1pPr marL="0" indent="0" algn="r">
              <a:spcBef>
                <a:spcPts val="0"/>
              </a:spcBef>
              <a:buNone/>
              <a:defRPr sz="900"/>
            </a:lvl1pPr>
            <a:lvl2pPr marL="342900" indent="0" algn="r">
              <a:buNone/>
              <a:defRPr sz="900"/>
            </a:lvl2pPr>
            <a:lvl3pPr marL="685800" indent="0" algn="r">
              <a:buNone/>
              <a:defRPr sz="900"/>
            </a:lvl3pPr>
            <a:lvl4pPr marL="1028700" indent="0" algn="r">
              <a:buNone/>
              <a:defRPr sz="900"/>
            </a:lvl4pPr>
            <a:lvl5pPr marL="1371600" indent="0" algn="r">
              <a:buNone/>
              <a:defRPr sz="900"/>
            </a:lvl5pPr>
          </a:lstStyle>
          <a:p>
            <a:pPr lvl="0"/>
            <a:r>
              <a:rPr lang="en-US"/>
              <a:t>Insert reference here</a:t>
            </a:r>
            <a:endParaRPr lang="en-GB"/>
          </a:p>
        </p:txBody>
      </p:sp>
      <p:sp>
        <p:nvSpPr>
          <p:cNvPr id="4" name="Text Placeholder 4"/>
          <p:cNvSpPr>
            <a:spLocks noGrp="1"/>
          </p:cNvSpPr>
          <p:nvPr>
            <p:ph type="body" sz="quarter" idx="11" hasCustomPrompt="1"/>
          </p:nvPr>
        </p:nvSpPr>
        <p:spPr>
          <a:xfrm>
            <a:off x="261939" y="4578749"/>
            <a:ext cx="8628062" cy="228600"/>
          </a:xfrm>
        </p:spPr>
        <p:txBody>
          <a:bodyPr anchor="b">
            <a:noAutofit/>
          </a:bodyPr>
          <a:lstStyle>
            <a:lvl1pPr marL="0" indent="0" algn="l">
              <a:spcBef>
                <a:spcPts val="0"/>
              </a:spcBef>
              <a:buNone/>
              <a:defRPr sz="900"/>
            </a:lvl1pPr>
            <a:lvl2pPr marL="342900" indent="0" algn="r">
              <a:buNone/>
              <a:defRPr sz="900"/>
            </a:lvl2pPr>
            <a:lvl3pPr marL="685800" indent="0" algn="r">
              <a:buNone/>
              <a:defRPr sz="900"/>
            </a:lvl3pPr>
            <a:lvl4pPr marL="1028700" indent="0" algn="r">
              <a:buNone/>
              <a:defRPr sz="900"/>
            </a:lvl4pPr>
            <a:lvl5pPr marL="1371600" indent="0" algn="r">
              <a:buNone/>
              <a:defRPr sz="900"/>
            </a:lvl5pPr>
          </a:lstStyle>
          <a:p>
            <a:pPr lvl="0"/>
            <a:r>
              <a:rPr lang="en-US"/>
              <a:t>Insert footnote here</a:t>
            </a:r>
            <a:endParaRPr lang="en-GB"/>
          </a:p>
        </p:txBody>
      </p:sp>
    </p:spTree>
    <p:extLst>
      <p:ext uri="{BB962C8B-B14F-4D97-AF65-F5344CB8AC3E}">
        <p14:creationId xmlns:p14="http://schemas.microsoft.com/office/powerpoint/2010/main" val="193519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pPr defTabSz="685800">
              <a:defRPr/>
            </a:pPr>
            <a:endParaRPr lang="en-US" sz="1350">
              <a:solidFill>
                <a:prstClr val="black">
                  <a:tint val="75000"/>
                </a:prstClr>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pPr defTabSz="685800">
              <a:defRPr/>
            </a:pPr>
            <a:endParaRPr lang="en-US" sz="1350">
              <a:solidFill>
                <a:prstClr val="black">
                  <a:tint val="75000"/>
                </a:prstClr>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pPr defTabSz="685800">
              <a:defRPr/>
            </a:pPr>
            <a:fld id="{99929032-F572-4478-A0C8-FA6949E68968}" type="slidenum">
              <a:rPr lang="en-US" sz="1350" smtClean="0">
                <a:solidFill>
                  <a:prstClr val="black">
                    <a:tint val="75000"/>
                  </a:prstClr>
                </a:solidFill>
              </a:rPr>
              <a:pPr defTabSz="685800">
                <a:defRPr/>
              </a:pPr>
              <a:t>‹#›</a:t>
            </a:fld>
            <a:endParaRPr lang="en-US" sz="1350">
              <a:solidFill>
                <a:prstClr val="black">
                  <a:tint val="75000"/>
                </a:prstClr>
              </a:solidFill>
            </a:endParaRPr>
          </a:p>
        </p:txBody>
      </p:sp>
    </p:spTree>
    <p:extLst>
      <p:ext uri="{BB962C8B-B14F-4D97-AF65-F5344CB8AC3E}">
        <p14:creationId xmlns:p14="http://schemas.microsoft.com/office/powerpoint/2010/main" val="21366093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pPr defTabSz="685800">
              <a:defRPr/>
            </a:pPr>
            <a:endParaRPr lang="en-US" sz="1350">
              <a:solidFill>
                <a:prstClr val="black">
                  <a:tint val="75000"/>
                </a:prstClr>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pPr defTabSz="685800">
              <a:defRPr/>
            </a:pPr>
            <a:endParaRPr lang="en-US" sz="1350">
              <a:solidFill>
                <a:prstClr val="black">
                  <a:tint val="75000"/>
                </a:prstClr>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pPr defTabSz="685800">
              <a:defRPr/>
            </a:pPr>
            <a:fld id="{99929032-F572-4478-A0C8-FA6949E68968}" type="slidenum">
              <a:rPr lang="en-US" sz="1350" smtClean="0">
                <a:solidFill>
                  <a:prstClr val="black">
                    <a:tint val="75000"/>
                  </a:prstClr>
                </a:solidFill>
              </a:rPr>
              <a:pPr defTabSz="685800">
                <a:defRPr/>
              </a:pPr>
              <a:t>‹#›</a:t>
            </a:fld>
            <a:endParaRPr lang="en-US" sz="1350">
              <a:solidFill>
                <a:prstClr val="black">
                  <a:tint val="75000"/>
                </a:prstClr>
              </a:solidFill>
            </a:endParaRPr>
          </a:p>
        </p:txBody>
      </p:sp>
    </p:spTree>
    <p:extLst>
      <p:ext uri="{BB962C8B-B14F-4D97-AF65-F5344CB8AC3E}">
        <p14:creationId xmlns:p14="http://schemas.microsoft.com/office/powerpoint/2010/main" val="26802546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pPr defTabSz="685800">
              <a:defRPr/>
            </a:pPr>
            <a:endParaRPr lang="en-US" sz="1350">
              <a:solidFill>
                <a:prstClr val="black">
                  <a:tint val="75000"/>
                </a:prstClr>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pPr defTabSz="685800">
              <a:defRPr/>
            </a:pPr>
            <a:endParaRPr lang="en-US" sz="1350">
              <a:solidFill>
                <a:prstClr val="black">
                  <a:tint val="75000"/>
                </a:prstClr>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pPr defTabSz="685800">
              <a:defRPr/>
            </a:pPr>
            <a:fld id="{99929032-F572-4478-A0C8-FA6949E68968}" type="slidenum">
              <a:rPr lang="en-US" sz="1350" smtClean="0">
                <a:solidFill>
                  <a:prstClr val="black">
                    <a:tint val="75000"/>
                  </a:prstClr>
                </a:solidFill>
              </a:rPr>
              <a:pPr defTabSz="685800">
                <a:defRPr/>
              </a:pPr>
              <a:t>‹#›</a:t>
            </a:fld>
            <a:endParaRPr lang="en-US" sz="1350">
              <a:solidFill>
                <a:prstClr val="black">
                  <a:tint val="75000"/>
                </a:prstClr>
              </a:solidFill>
            </a:endParaRPr>
          </a:p>
        </p:txBody>
      </p:sp>
    </p:spTree>
    <p:extLst>
      <p:ext uri="{BB962C8B-B14F-4D97-AF65-F5344CB8AC3E}">
        <p14:creationId xmlns:p14="http://schemas.microsoft.com/office/powerpoint/2010/main" val="29934652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pPr defTabSz="685800">
              <a:defRPr/>
            </a:pPr>
            <a:endParaRPr lang="en-US" sz="1350">
              <a:solidFill>
                <a:prstClr val="black">
                  <a:tint val="75000"/>
                </a:prstClr>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pPr defTabSz="685800">
              <a:defRPr/>
            </a:pPr>
            <a:endParaRPr lang="en-US" sz="1350">
              <a:solidFill>
                <a:prstClr val="black">
                  <a:tint val="75000"/>
                </a:prstClr>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pPr defTabSz="685800">
              <a:defRPr/>
            </a:pPr>
            <a:fld id="{99929032-F572-4478-A0C8-FA6949E68968}" type="slidenum">
              <a:rPr lang="en-US" sz="1350" smtClean="0">
                <a:solidFill>
                  <a:prstClr val="black">
                    <a:tint val="75000"/>
                  </a:prstClr>
                </a:solidFill>
              </a:rPr>
              <a:pPr defTabSz="685800">
                <a:defRPr/>
              </a:pPr>
              <a:t>‹#›</a:t>
            </a:fld>
            <a:endParaRPr lang="en-US" sz="1350">
              <a:solidFill>
                <a:prstClr val="black">
                  <a:tint val="75000"/>
                </a:prstClr>
              </a:solidFill>
            </a:endParaRPr>
          </a:p>
        </p:txBody>
      </p:sp>
    </p:spTree>
    <p:extLst>
      <p:ext uri="{BB962C8B-B14F-4D97-AF65-F5344CB8AC3E}">
        <p14:creationId xmlns:p14="http://schemas.microsoft.com/office/powerpoint/2010/main" val="10483540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pPr defTabSz="685800">
              <a:defRPr/>
            </a:pPr>
            <a:endParaRPr lang="en-US" sz="1350">
              <a:solidFill>
                <a:prstClr val="black">
                  <a:tint val="75000"/>
                </a:prstClr>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pPr defTabSz="685800">
              <a:defRPr/>
            </a:pPr>
            <a:endParaRPr lang="en-US" sz="1350">
              <a:solidFill>
                <a:prstClr val="black">
                  <a:tint val="75000"/>
                </a:prstClr>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pPr defTabSz="685800">
              <a:defRPr/>
            </a:pPr>
            <a:fld id="{99929032-F572-4478-A0C8-FA6949E68968}" type="slidenum">
              <a:rPr lang="en-US" sz="1350" smtClean="0">
                <a:solidFill>
                  <a:prstClr val="black">
                    <a:tint val="75000"/>
                  </a:prstClr>
                </a:solidFill>
              </a:rPr>
              <a:pPr defTabSz="685800">
                <a:defRPr/>
              </a:pPr>
              <a:t>‹#›</a:t>
            </a:fld>
            <a:endParaRPr lang="en-US" sz="1350">
              <a:solidFill>
                <a:prstClr val="black">
                  <a:tint val="75000"/>
                </a:prstClr>
              </a:solidFill>
            </a:endParaRPr>
          </a:p>
        </p:txBody>
      </p:sp>
    </p:spTree>
    <p:extLst>
      <p:ext uri="{BB962C8B-B14F-4D97-AF65-F5344CB8AC3E}">
        <p14:creationId xmlns:p14="http://schemas.microsoft.com/office/powerpoint/2010/main" val="32455173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685800">
              <a:defRPr/>
            </a:pPr>
            <a:endParaRPr lang="en-US" sz="1350">
              <a:solidFill>
                <a:prstClr val="black">
                  <a:tint val="75000"/>
                </a:prstClr>
              </a:solidFill>
            </a:endParaRPr>
          </a:p>
        </p:txBody>
      </p:sp>
      <p:sp>
        <p:nvSpPr>
          <p:cNvPr id="4" name="Footer Placeholder 3"/>
          <p:cNvSpPr>
            <a:spLocks noGrp="1"/>
          </p:cNvSpPr>
          <p:nvPr>
            <p:ph type="ftr" sz="quarter" idx="11"/>
          </p:nvPr>
        </p:nvSpPr>
        <p:spPr/>
        <p:txBody>
          <a:bodyPr/>
          <a:lstStyle/>
          <a:p>
            <a:pPr defTabSz="685800">
              <a:defRPr/>
            </a:pPr>
            <a:endParaRPr lang="en-US" sz="1350">
              <a:solidFill>
                <a:prstClr val="black">
                  <a:tint val="75000"/>
                </a:prstClr>
              </a:solidFill>
            </a:endParaRPr>
          </a:p>
        </p:txBody>
      </p:sp>
      <p:sp>
        <p:nvSpPr>
          <p:cNvPr id="5" name="Slide Number Placeholder 4"/>
          <p:cNvSpPr>
            <a:spLocks noGrp="1"/>
          </p:cNvSpPr>
          <p:nvPr>
            <p:ph type="sldNum" sz="quarter" idx="12"/>
          </p:nvPr>
        </p:nvSpPr>
        <p:spPr/>
        <p:txBody>
          <a:bodyPr/>
          <a:lstStyle/>
          <a:p>
            <a:pPr defTabSz="685800">
              <a:defRPr/>
            </a:pPr>
            <a:fld id="{99929032-F572-4478-A0C8-FA6949E68968}" type="slidenum">
              <a:rPr lang="en-US" sz="1350" smtClean="0">
                <a:solidFill>
                  <a:prstClr val="black">
                    <a:tint val="75000"/>
                  </a:prstClr>
                </a:solidFill>
              </a:rPr>
              <a:pPr defTabSz="685800">
                <a:defRPr/>
              </a:pPr>
              <a:t>‹#›</a:t>
            </a:fld>
            <a:endParaRPr lang="en-US" sz="1350">
              <a:solidFill>
                <a:prstClr val="black">
                  <a:tint val="75000"/>
                </a:prstClr>
              </a:solidFill>
            </a:endParaRPr>
          </a:p>
        </p:txBody>
      </p:sp>
    </p:spTree>
    <p:extLst>
      <p:ext uri="{BB962C8B-B14F-4D97-AF65-F5344CB8AC3E}">
        <p14:creationId xmlns:p14="http://schemas.microsoft.com/office/powerpoint/2010/main" val="15848261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B156E-8A8A-4189-875E-9F72208C927C}"/>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E4ED3A73-D02B-4531-935B-F40DA8AAF60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F7B82046-32CE-44F4-B3E3-3B45824115DC}"/>
              </a:ext>
            </a:extLst>
          </p:cNvPr>
          <p:cNvSpPr>
            <a:spLocks noGrp="1"/>
          </p:cNvSpPr>
          <p:nvPr>
            <p:ph type="dt" sz="half" idx="10"/>
          </p:nvPr>
        </p:nvSpPr>
        <p:spPr/>
        <p:txBody>
          <a:bodyPr/>
          <a:lstStyle/>
          <a:p>
            <a:endParaRPr lang="el-GR"/>
          </a:p>
        </p:txBody>
      </p:sp>
      <p:sp>
        <p:nvSpPr>
          <p:cNvPr id="5" name="Footer Placeholder 4">
            <a:extLst>
              <a:ext uri="{FF2B5EF4-FFF2-40B4-BE49-F238E27FC236}">
                <a16:creationId xmlns:a16="http://schemas.microsoft.com/office/drawing/2014/main" id="{782DDC78-5FAF-4948-8924-E71B9935F39D}"/>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4681C9F7-274A-4646-B279-66F031D6FCE5}"/>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7046418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85800">
              <a:defRPr/>
            </a:pPr>
            <a:endParaRPr lang="en-US" sz="900">
              <a:solidFill>
                <a:prstClr val="black">
                  <a:tint val="75000"/>
                </a:prstClr>
              </a:solidFill>
            </a:endParaRPr>
          </a:p>
        </p:txBody>
      </p:sp>
      <p:sp>
        <p:nvSpPr>
          <p:cNvPr id="3" name="Footer Placeholder 2"/>
          <p:cNvSpPr>
            <a:spLocks noGrp="1"/>
          </p:cNvSpPr>
          <p:nvPr>
            <p:ph type="ftr" sz="quarter" idx="11"/>
          </p:nvPr>
        </p:nvSpPr>
        <p:spPr/>
        <p:txBody>
          <a:bodyPr/>
          <a:lstStyle/>
          <a:p>
            <a:pPr algn="ctr" defTabSz="685800">
              <a:defRPr/>
            </a:pPr>
            <a:endParaRPr lang="en-US" sz="900">
              <a:solidFill>
                <a:prstClr val="black">
                  <a:tint val="75000"/>
                </a:prstClr>
              </a:solidFill>
            </a:endParaRPr>
          </a:p>
        </p:txBody>
      </p:sp>
      <p:sp>
        <p:nvSpPr>
          <p:cNvPr id="4" name="Slide Number Placeholder 3"/>
          <p:cNvSpPr>
            <a:spLocks noGrp="1"/>
          </p:cNvSpPr>
          <p:nvPr>
            <p:ph type="sldNum" sz="quarter" idx="12"/>
          </p:nvPr>
        </p:nvSpPr>
        <p:spPr/>
        <p:txBody>
          <a:bodyPr/>
          <a:lstStyle/>
          <a:p>
            <a:pPr algn="r" defTabSz="685800">
              <a:defRPr/>
            </a:pPr>
            <a:fld id="{26EB2297-5AA8-48AE-A3A1-46B3D0603B3E}" type="slidenum">
              <a:rPr lang="en-US" sz="900" smtClean="0">
                <a:solidFill>
                  <a:prstClr val="black">
                    <a:tint val="75000"/>
                  </a:prstClr>
                </a:solidFill>
              </a:rPr>
              <a:pPr algn="r" defTabSz="685800">
                <a:defRPr/>
              </a:pPr>
              <a:t>‹#›</a:t>
            </a:fld>
            <a:endParaRPr lang="en-US" sz="900">
              <a:solidFill>
                <a:prstClr val="black">
                  <a:tint val="75000"/>
                </a:prstClr>
              </a:solidFill>
            </a:endParaRPr>
          </a:p>
        </p:txBody>
      </p:sp>
    </p:spTree>
    <p:extLst>
      <p:ext uri="{BB962C8B-B14F-4D97-AF65-F5344CB8AC3E}">
        <p14:creationId xmlns:p14="http://schemas.microsoft.com/office/powerpoint/2010/main" val="18665661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s-ES"/>
              <a:t>Haga clic para modificar el estilo de título del patrón</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a:t>Haga clic para modificar el estilo de subtítulo del patrón</a:t>
            </a:r>
            <a:endParaRPr lang="en-US"/>
          </a:p>
        </p:txBody>
      </p:sp>
      <p:sp>
        <p:nvSpPr>
          <p:cNvPr id="4" name="Date Placeholder 3"/>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23026744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Content Placeholder 2"/>
          <p:cNvSpPr>
            <a:spLocks noGrp="1"/>
          </p:cNvSpPr>
          <p:nvPr>
            <p:ph idx="1"/>
          </p:nvPr>
        </p:nvSpPr>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1566348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s-ES"/>
              <a:t>Haga clic para modificar el estilo de título del patrón</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s-ES"/>
              <a:t>Editar los estilos de texto del patrón</a:t>
            </a:r>
          </a:p>
        </p:txBody>
      </p:sp>
      <p:sp>
        <p:nvSpPr>
          <p:cNvPr id="4" name="Date Placeholder 3"/>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35104349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Date Placeholder 4"/>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9928314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s-ES"/>
              <a:t>Haga clic para modificar el estilo de título del patrón</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Editar los estilos de texto del patrón</a:t>
            </a:r>
          </a:p>
        </p:txBody>
      </p:sp>
      <p:sp>
        <p:nvSpPr>
          <p:cNvPr id="4" name="Content Placeholder 3"/>
          <p:cNvSpPr>
            <a:spLocks noGrp="1"/>
          </p:cNvSpPr>
          <p:nvPr>
            <p:ph sz="half" idx="2"/>
          </p:nvPr>
        </p:nvSpPr>
        <p:spPr>
          <a:xfrm>
            <a:off x="629842" y="1878806"/>
            <a:ext cx="3868340" cy="2763441"/>
          </a:xfrm>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Editar los estilos de texto del patrón</a:t>
            </a:r>
          </a:p>
        </p:txBody>
      </p:sp>
      <p:sp>
        <p:nvSpPr>
          <p:cNvPr id="6" name="Content Placeholder 5"/>
          <p:cNvSpPr>
            <a:spLocks noGrp="1"/>
          </p:cNvSpPr>
          <p:nvPr>
            <p:ph sz="quarter" idx="4"/>
          </p:nvPr>
        </p:nvSpPr>
        <p:spPr>
          <a:xfrm>
            <a:off x="4629150" y="1878806"/>
            <a:ext cx="3887391" cy="2763441"/>
          </a:xfrm>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Date Placeholder 6"/>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31303584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Date Placeholder 2"/>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16397381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18413754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Editar los estilos de texto del patrón</a:t>
            </a:r>
          </a:p>
        </p:txBody>
      </p:sp>
      <p:sp>
        <p:nvSpPr>
          <p:cNvPr id="5" name="Date Placeholder 4"/>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7612711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endParaRPr lang="en-US"/>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s-ES"/>
              <a:t>Haga clic en el icono para agregar una imagen</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Editar los estilos de texto del patrón</a:t>
            </a:r>
          </a:p>
        </p:txBody>
      </p:sp>
      <p:sp>
        <p:nvSpPr>
          <p:cNvPr id="5" name="Date Placeholder 4"/>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2331846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B8880-9348-4621-A175-3E2EB198FC45}"/>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6121E760-FF26-471D-BDEB-7C359A7E36A1}"/>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CF7603-A0E7-4D11-8580-FF05DFF135F5}"/>
              </a:ext>
            </a:extLst>
          </p:cNvPr>
          <p:cNvSpPr>
            <a:spLocks noGrp="1"/>
          </p:cNvSpPr>
          <p:nvPr>
            <p:ph type="dt" sz="half" idx="10"/>
          </p:nvPr>
        </p:nvSpPr>
        <p:spPr/>
        <p:txBody>
          <a:bodyPr/>
          <a:lstStyle/>
          <a:p>
            <a:endParaRPr lang="el-GR"/>
          </a:p>
        </p:txBody>
      </p:sp>
      <p:sp>
        <p:nvSpPr>
          <p:cNvPr id="5" name="Footer Placeholder 4">
            <a:extLst>
              <a:ext uri="{FF2B5EF4-FFF2-40B4-BE49-F238E27FC236}">
                <a16:creationId xmlns:a16="http://schemas.microsoft.com/office/drawing/2014/main" id="{72C8F48B-E327-4676-85E9-D51C82190122}"/>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5F280F9B-3132-47ED-B638-9B5CA6C5FBB5}"/>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29197099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Vertical Text Placeholder 2"/>
          <p:cNvSpPr>
            <a:spLocks noGrp="1"/>
          </p:cNvSpPr>
          <p:nvPr>
            <p:ph type="body" orient="vert" idx="1"/>
          </p:nvPr>
        </p:nvSpPr>
        <p:spPr/>
        <p:txBody>
          <a:bodyPr vert="eaVert"/>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19556312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s-ES"/>
              <a:t>Haga clic para modificar el estilo de título del patrón</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pPr defTabSz="6858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68580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685800">
              <a:defRPr/>
            </a:pPr>
            <a:fld id="{26EB2297-5AA8-48AE-A3A1-46B3D0603B3E}" type="slidenum">
              <a:rPr lang="en-US" smtClean="0">
                <a:solidFill>
                  <a:prstClr val="black">
                    <a:tint val="75000"/>
                  </a:prstClr>
                </a:solidFill>
              </a:rPr>
              <a:pPr defTabSz="685800">
                <a:defRPr/>
              </a:pPr>
              <a:t>‹#›</a:t>
            </a:fld>
            <a:endParaRPr lang="en-US">
              <a:solidFill>
                <a:prstClr val="black">
                  <a:tint val="75000"/>
                </a:prstClr>
              </a:solidFill>
            </a:endParaRPr>
          </a:p>
        </p:txBody>
      </p:sp>
    </p:spTree>
    <p:extLst>
      <p:ext uri="{BB962C8B-B14F-4D97-AF65-F5344CB8AC3E}">
        <p14:creationId xmlns:p14="http://schemas.microsoft.com/office/powerpoint/2010/main" val="33816068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E2FC15A-CEAE-4BB9-85ED-BE69AB12BEE5}"/>
              </a:ext>
            </a:extLst>
          </p:cNvPr>
          <p:cNvSpPr>
            <a:spLocks noGrp="1"/>
          </p:cNvSpPr>
          <p:nvPr>
            <p:ph type="ctrTitle"/>
          </p:nvPr>
        </p:nvSpPr>
        <p:spPr>
          <a:xfrm>
            <a:off x="1143000" y="841772"/>
            <a:ext cx="6858000" cy="1790700"/>
          </a:xfrm>
        </p:spPr>
        <p:txBody>
          <a:bodyPr anchor="b"/>
          <a:lstStyle>
            <a:lvl1pPr algn="ctr">
              <a:defRPr sz="4500" b="1">
                <a:solidFill>
                  <a:srgbClr val="0070C0"/>
                </a:solidFill>
              </a:defRPr>
            </a:lvl1pPr>
          </a:lstStyle>
          <a:p>
            <a:r>
              <a:rPr lang="es-ES"/>
              <a:t>Haga clic para modificar el estilo de título del patrón</a:t>
            </a:r>
          </a:p>
        </p:txBody>
      </p:sp>
      <p:sp>
        <p:nvSpPr>
          <p:cNvPr id="3" name="Subtítulo 2">
            <a:extLst>
              <a:ext uri="{FF2B5EF4-FFF2-40B4-BE49-F238E27FC236}">
                <a16:creationId xmlns:a16="http://schemas.microsoft.com/office/drawing/2014/main" id="{53E39BBB-988C-46B7-8CB4-688EF49600E2}"/>
              </a:ext>
            </a:extLst>
          </p:cNvPr>
          <p:cNvSpPr>
            <a:spLocks noGrp="1"/>
          </p:cNvSpPr>
          <p:nvPr>
            <p:ph type="subTitle" idx="1"/>
          </p:nvPr>
        </p:nvSpPr>
        <p:spPr>
          <a:xfrm>
            <a:off x="1143000" y="2701528"/>
            <a:ext cx="6858000" cy="1241822"/>
          </a:xfrm>
        </p:spPr>
        <p:txBody>
          <a:bodyPr/>
          <a:lstStyle>
            <a:lvl1pPr marL="0" indent="0" algn="ctr">
              <a:buNone/>
              <a:defRPr sz="1800" b="1">
                <a:solidFill>
                  <a:srgbClr val="00206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CCEE9666-72F4-4FF7-A1B0-104E1C6E1A62}"/>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5" name="Marcador de pie de página 4">
            <a:extLst>
              <a:ext uri="{FF2B5EF4-FFF2-40B4-BE49-F238E27FC236}">
                <a16:creationId xmlns:a16="http://schemas.microsoft.com/office/drawing/2014/main" id="{FB4D265F-E387-4998-A050-DDC39E7C355F}"/>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6" name="Marcador de número de diapositiva 5">
            <a:extLst>
              <a:ext uri="{FF2B5EF4-FFF2-40B4-BE49-F238E27FC236}">
                <a16:creationId xmlns:a16="http://schemas.microsoft.com/office/drawing/2014/main" id="{2E2516E2-DED2-4D52-BD69-DCFC7501E485}"/>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132661119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4CBE573-139E-4A59-88A1-2FE27F106536}"/>
              </a:ext>
            </a:extLst>
          </p:cNvPr>
          <p:cNvSpPr>
            <a:spLocks noGrp="1"/>
          </p:cNvSpPr>
          <p:nvPr>
            <p:ph type="title"/>
          </p:nvPr>
        </p:nvSpPr>
        <p:spPr>
          <a:xfrm>
            <a:off x="402269" y="102394"/>
            <a:ext cx="7886700" cy="824768"/>
          </a:xfrm>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F5E0C8FA-8A28-4CB5-81A8-979678650271}"/>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ADB28C23-1C72-4D26-A6FC-A261DF4D546E}"/>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5" name="Marcador de pie de página 4">
            <a:extLst>
              <a:ext uri="{FF2B5EF4-FFF2-40B4-BE49-F238E27FC236}">
                <a16:creationId xmlns:a16="http://schemas.microsoft.com/office/drawing/2014/main" id="{DF0FC3D9-E372-41C1-BDE4-C3CC7F749CCE}"/>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6" name="Marcador de número de diapositiva 5">
            <a:extLst>
              <a:ext uri="{FF2B5EF4-FFF2-40B4-BE49-F238E27FC236}">
                <a16:creationId xmlns:a16="http://schemas.microsoft.com/office/drawing/2014/main" id="{D628C4CB-4ADD-4E16-835B-BE760B96C0AE}"/>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1944582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56A8461-6CAE-43F1-A556-3F6C3DF5E68C}"/>
              </a:ext>
            </a:extLst>
          </p:cNvPr>
          <p:cNvSpPr>
            <a:spLocks noGrp="1"/>
          </p:cNvSpPr>
          <p:nvPr>
            <p:ph type="title"/>
          </p:nvPr>
        </p:nvSpPr>
        <p:spPr>
          <a:xfrm>
            <a:off x="623888" y="1282304"/>
            <a:ext cx="7886700" cy="2139553"/>
          </a:xfrm>
        </p:spPr>
        <p:txBody>
          <a:bodyPr anchor="b"/>
          <a:lstStyle>
            <a:lvl1pPr>
              <a:defRPr sz="45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0A09F31D-04E6-426A-9EAC-17A9E3C4D767}"/>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E5AF1166-38A3-45D0-B803-935A272E97BA}"/>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5" name="Marcador de pie de página 4">
            <a:extLst>
              <a:ext uri="{FF2B5EF4-FFF2-40B4-BE49-F238E27FC236}">
                <a16:creationId xmlns:a16="http://schemas.microsoft.com/office/drawing/2014/main" id="{CDBC7813-FEF3-4F63-8C1F-8834CBA7885D}"/>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6" name="Marcador de número de diapositiva 5">
            <a:extLst>
              <a:ext uri="{FF2B5EF4-FFF2-40B4-BE49-F238E27FC236}">
                <a16:creationId xmlns:a16="http://schemas.microsoft.com/office/drawing/2014/main" id="{99936CAC-4677-4358-B7EB-F620FC025620}"/>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1187534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BAD3858-D6F5-41C2-8168-FEFCA879EA77}"/>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3B923F51-1F23-41E7-9659-A2277D9B19B4}"/>
              </a:ext>
            </a:extLst>
          </p:cNvPr>
          <p:cNvSpPr>
            <a:spLocks noGrp="1"/>
          </p:cNvSpPr>
          <p:nvPr>
            <p:ph sz="half" idx="1"/>
          </p:nvPr>
        </p:nvSpPr>
        <p:spPr>
          <a:xfrm>
            <a:off x="628650" y="1369219"/>
            <a:ext cx="3886200" cy="326350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D62B2603-6DAD-4E0D-9D08-2A0663FB43E9}"/>
              </a:ext>
            </a:extLst>
          </p:cNvPr>
          <p:cNvSpPr>
            <a:spLocks noGrp="1"/>
          </p:cNvSpPr>
          <p:nvPr>
            <p:ph sz="half" idx="2"/>
          </p:nvPr>
        </p:nvSpPr>
        <p:spPr>
          <a:xfrm>
            <a:off x="4629150" y="1369219"/>
            <a:ext cx="3886200" cy="326350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CF156A6B-548A-4654-B7AC-1161339DC4F8}"/>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6" name="Marcador de pie de página 5">
            <a:extLst>
              <a:ext uri="{FF2B5EF4-FFF2-40B4-BE49-F238E27FC236}">
                <a16:creationId xmlns:a16="http://schemas.microsoft.com/office/drawing/2014/main" id="{80F31FBE-B240-4BB6-8967-895BBE3EF53F}"/>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7" name="Marcador de número de diapositiva 6">
            <a:extLst>
              <a:ext uri="{FF2B5EF4-FFF2-40B4-BE49-F238E27FC236}">
                <a16:creationId xmlns:a16="http://schemas.microsoft.com/office/drawing/2014/main" id="{D51097E8-6CE6-46F3-9E6F-705E96DD29DE}"/>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10919193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CCA298C-F635-4C9B-9844-00D794504E9B}"/>
              </a:ext>
            </a:extLst>
          </p:cNvPr>
          <p:cNvSpPr>
            <a:spLocks noGrp="1"/>
          </p:cNvSpPr>
          <p:nvPr>
            <p:ph type="title"/>
          </p:nvPr>
        </p:nvSpPr>
        <p:spPr>
          <a:xfrm>
            <a:off x="629841" y="273844"/>
            <a:ext cx="7886700" cy="994172"/>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1CEC2F19-02E5-4288-9B58-D61BB534DC13}"/>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4B4543E1-D25A-4A87-81E8-4E675C51FB98}"/>
              </a:ext>
            </a:extLst>
          </p:cNvPr>
          <p:cNvSpPr>
            <a:spLocks noGrp="1"/>
          </p:cNvSpPr>
          <p:nvPr>
            <p:ph sz="half" idx="2"/>
          </p:nvPr>
        </p:nvSpPr>
        <p:spPr>
          <a:xfrm>
            <a:off x="629842" y="1878806"/>
            <a:ext cx="3868340" cy="2763441"/>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1ED0182F-51DB-48A8-AF85-F36E5829A6E2}"/>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63DCEEF7-68A9-4D1B-8BA8-78928A0A9835}"/>
              </a:ext>
            </a:extLst>
          </p:cNvPr>
          <p:cNvSpPr>
            <a:spLocks noGrp="1"/>
          </p:cNvSpPr>
          <p:nvPr>
            <p:ph sz="quarter" idx="4"/>
          </p:nvPr>
        </p:nvSpPr>
        <p:spPr>
          <a:xfrm>
            <a:off x="4629150" y="1878806"/>
            <a:ext cx="3887391" cy="2763441"/>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BB8B66DE-760C-4702-BCF5-21FB27F40F16}"/>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8" name="Marcador de pie de página 7">
            <a:extLst>
              <a:ext uri="{FF2B5EF4-FFF2-40B4-BE49-F238E27FC236}">
                <a16:creationId xmlns:a16="http://schemas.microsoft.com/office/drawing/2014/main" id="{22DB1D9B-ECEA-44D1-B18E-B48EFCE0B4A4}"/>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9" name="Marcador de número de diapositiva 8">
            <a:extLst>
              <a:ext uri="{FF2B5EF4-FFF2-40B4-BE49-F238E27FC236}">
                <a16:creationId xmlns:a16="http://schemas.microsoft.com/office/drawing/2014/main" id="{80DD5847-2261-4172-80CC-4812F1CB1902}"/>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21999178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91D5DCF-1174-48B1-B4EB-EACAD94CDE9B}"/>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EE3CDBD8-9D2F-47E1-A59F-50B1277E885D}"/>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4" name="Marcador de pie de página 3">
            <a:extLst>
              <a:ext uri="{FF2B5EF4-FFF2-40B4-BE49-F238E27FC236}">
                <a16:creationId xmlns:a16="http://schemas.microsoft.com/office/drawing/2014/main" id="{5081A904-EDF2-4D62-90DF-F6008A1489C4}"/>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5" name="Marcador de número de diapositiva 4">
            <a:extLst>
              <a:ext uri="{FF2B5EF4-FFF2-40B4-BE49-F238E27FC236}">
                <a16:creationId xmlns:a16="http://schemas.microsoft.com/office/drawing/2014/main" id="{BD94F669-3BA7-4CCF-AF84-D1E88BB21462}"/>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14265463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31F6E8E9-C77F-411F-8305-8932EBD09C9F}"/>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3" name="Marcador de pie de página 2">
            <a:extLst>
              <a:ext uri="{FF2B5EF4-FFF2-40B4-BE49-F238E27FC236}">
                <a16:creationId xmlns:a16="http://schemas.microsoft.com/office/drawing/2014/main" id="{A922E712-3E3F-4151-B409-0E5809CA9D85}"/>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4" name="Marcador de número de diapositiva 3">
            <a:extLst>
              <a:ext uri="{FF2B5EF4-FFF2-40B4-BE49-F238E27FC236}">
                <a16:creationId xmlns:a16="http://schemas.microsoft.com/office/drawing/2014/main" id="{5A88E745-F7B8-4F23-9C49-637D6C2EBCF5}"/>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3406114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E0C3E37-2F62-4F34-81C2-9A606A319A8C}"/>
              </a:ext>
            </a:extLst>
          </p:cNvPr>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44656797-96EF-4EAF-9F1F-F3A6C6B012E6}"/>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2F90A514-B6D5-4FCA-A7FD-E7C564EC9926}"/>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5A32F898-17A9-46B2-90B5-F37E01A5A62E}"/>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6" name="Marcador de pie de página 5">
            <a:extLst>
              <a:ext uri="{FF2B5EF4-FFF2-40B4-BE49-F238E27FC236}">
                <a16:creationId xmlns:a16="http://schemas.microsoft.com/office/drawing/2014/main" id="{9FC45BAF-DE15-4386-A2A3-AA6F24546F67}"/>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7" name="Marcador de número de diapositiva 6">
            <a:extLst>
              <a:ext uri="{FF2B5EF4-FFF2-40B4-BE49-F238E27FC236}">
                <a16:creationId xmlns:a16="http://schemas.microsoft.com/office/drawing/2014/main" id="{D6F48297-B796-4AEA-A3FB-BA03917333AB}"/>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24907265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F8777-1225-4AC3-B880-49CDE24C4A1A}"/>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8FA5F360-BA40-43CD-A75E-FB31B7F7BD5E}"/>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87CBE6A3-7F71-4D62-8D27-06CA15DEB496}"/>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8111C52E-BD1B-49B1-9D18-9E268765DE0A}"/>
              </a:ext>
            </a:extLst>
          </p:cNvPr>
          <p:cNvSpPr>
            <a:spLocks noGrp="1"/>
          </p:cNvSpPr>
          <p:nvPr>
            <p:ph type="dt" sz="half" idx="10"/>
          </p:nvPr>
        </p:nvSpPr>
        <p:spPr/>
        <p:txBody>
          <a:bodyPr/>
          <a:lstStyle/>
          <a:p>
            <a:endParaRPr lang="el-GR"/>
          </a:p>
        </p:txBody>
      </p:sp>
      <p:sp>
        <p:nvSpPr>
          <p:cNvPr id="6" name="Footer Placeholder 5">
            <a:extLst>
              <a:ext uri="{FF2B5EF4-FFF2-40B4-BE49-F238E27FC236}">
                <a16:creationId xmlns:a16="http://schemas.microsoft.com/office/drawing/2014/main" id="{E5F4AFFD-C175-4155-BA0D-F3814F4F8279}"/>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AADBC89D-8451-4615-9C0F-86CEE9E518D4}"/>
              </a:ext>
            </a:extLst>
          </p:cNvPr>
          <p:cNvSpPr>
            <a:spLocks noGrp="1"/>
          </p:cNvSpPr>
          <p:nvPr>
            <p:ph type="sldNum" sz="quarter" idx="12"/>
          </p:nvPr>
        </p:nvSpPr>
        <p:spPr/>
        <p:txBody>
          <a:bodyPr/>
          <a:lstStyle/>
          <a:p>
            <a:fld id="{236F10FD-8D49-4FC3-9D9F-B2E9EE5E5049}" type="slidenum">
              <a:rPr lang="el-GR" smtClean="0"/>
              <a:t>‹#›</a:t>
            </a:fld>
            <a:endParaRPr lang="el-GR"/>
          </a:p>
        </p:txBody>
      </p:sp>
    </p:spTree>
    <p:extLst>
      <p:ext uri="{BB962C8B-B14F-4D97-AF65-F5344CB8AC3E}">
        <p14:creationId xmlns:p14="http://schemas.microsoft.com/office/powerpoint/2010/main" val="13177440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F6F38CF-8FD1-4453-BC25-D8A2B71E1F35}"/>
              </a:ext>
            </a:extLst>
          </p:cNvPr>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5E11A0E3-E6FA-4DDF-B51B-A22AE1D12205}"/>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s-ES"/>
          </a:p>
        </p:txBody>
      </p:sp>
      <p:sp>
        <p:nvSpPr>
          <p:cNvPr id="4" name="Marcador de texto 3">
            <a:extLst>
              <a:ext uri="{FF2B5EF4-FFF2-40B4-BE49-F238E27FC236}">
                <a16:creationId xmlns:a16="http://schemas.microsoft.com/office/drawing/2014/main" id="{299B0792-896F-4A82-A3F4-3A4D6ED4E266}"/>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7D74A1A1-E94B-44F9-A3BA-F9928B060089}"/>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6" name="Marcador de pie de página 5">
            <a:extLst>
              <a:ext uri="{FF2B5EF4-FFF2-40B4-BE49-F238E27FC236}">
                <a16:creationId xmlns:a16="http://schemas.microsoft.com/office/drawing/2014/main" id="{447D7BA6-90B4-4D31-997B-B5964A16DC17}"/>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7" name="Marcador de número de diapositiva 6">
            <a:extLst>
              <a:ext uri="{FF2B5EF4-FFF2-40B4-BE49-F238E27FC236}">
                <a16:creationId xmlns:a16="http://schemas.microsoft.com/office/drawing/2014/main" id="{70B48E0B-87C6-4AA0-9683-A73306E1D33E}"/>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38867434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41734A-B3AD-4D3B-934B-CA3FB2D38EAF}"/>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C0BBC611-C814-4225-86BE-1B4BBB73A51C}"/>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717185DD-9FE8-42CD-9274-EFB0979E0AD4}"/>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5" name="Marcador de pie de página 4">
            <a:extLst>
              <a:ext uri="{FF2B5EF4-FFF2-40B4-BE49-F238E27FC236}">
                <a16:creationId xmlns:a16="http://schemas.microsoft.com/office/drawing/2014/main" id="{49544C7F-D3B0-4A10-A3D6-1B1AEEE31D9A}"/>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6" name="Marcador de número de diapositiva 5">
            <a:extLst>
              <a:ext uri="{FF2B5EF4-FFF2-40B4-BE49-F238E27FC236}">
                <a16:creationId xmlns:a16="http://schemas.microsoft.com/office/drawing/2014/main" id="{CE3E77BD-6748-46FE-899A-1EC71048000F}"/>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9468234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F00CA051-DCC7-45A2-AAE0-151933F9A3A9}"/>
              </a:ext>
            </a:extLst>
          </p:cNvPr>
          <p:cNvSpPr>
            <a:spLocks noGrp="1"/>
          </p:cNvSpPr>
          <p:nvPr>
            <p:ph type="title" orient="vert"/>
          </p:nvPr>
        </p:nvSpPr>
        <p:spPr>
          <a:xfrm>
            <a:off x="6543675" y="273844"/>
            <a:ext cx="1971675" cy="4358879"/>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67ABFD93-D82A-4E47-86F5-512647B5B5F6}"/>
              </a:ext>
            </a:extLst>
          </p:cNvPr>
          <p:cNvSpPr>
            <a:spLocks noGrp="1"/>
          </p:cNvSpPr>
          <p:nvPr>
            <p:ph type="body" orient="vert" idx="1"/>
          </p:nvPr>
        </p:nvSpPr>
        <p:spPr>
          <a:xfrm>
            <a:off x="628650" y="273844"/>
            <a:ext cx="5800725" cy="4358879"/>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CE9DEAF6-416D-4464-B138-2B69A9EE02D6}"/>
              </a:ext>
            </a:extLst>
          </p:cNvPr>
          <p:cNvSpPr>
            <a:spLocks noGrp="1"/>
          </p:cNvSpPr>
          <p:nvPr>
            <p:ph type="dt" sz="half" idx="10"/>
          </p:nvPr>
        </p:nvSpPr>
        <p:spPr>
          <a:xfrm>
            <a:off x="628650" y="4767263"/>
            <a:ext cx="2057400" cy="273844"/>
          </a:xfrm>
          <a:prstGeom prst="rect">
            <a:avLst/>
          </a:prstGeom>
        </p:spPr>
        <p:txBody>
          <a:bodyPr/>
          <a:lstStyle/>
          <a:p>
            <a:pPr defTabSz="685800">
              <a:defRPr/>
            </a:pPr>
            <a:endParaRPr lang="es-ES" sz="1350">
              <a:solidFill>
                <a:prstClr val="black"/>
              </a:solidFill>
            </a:endParaRPr>
          </a:p>
        </p:txBody>
      </p:sp>
      <p:sp>
        <p:nvSpPr>
          <p:cNvPr id="5" name="Marcador de pie de página 4">
            <a:extLst>
              <a:ext uri="{FF2B5EF4-FFF2-40B4-BE49-F238E27FC236}">
                <a16:creationId xmlns:a16="http://schemas.microsoft.com/office/drawing/2014/main" id="{754475E4-4DD9-4DB4-B891-9625F946B21D}"/>
              </a:ext>
            </a:extLst>
          </p:cNvPr>
          <p:cNvSpPr>
            <a:spLocks noGrp="1"/>
          </p:cNvSpPr>
          <p:nvPr>
            <p:ph type="ftr" sz="quarter" idx="11"/>
          </p:nvPr>
        </p:nvSpPr>
        <p:spPr>
          <a:xfrm>
            <a:off x="3028950" y="4767263"/>
            <a:ext cx="3086100" cy="273844"/>
          </a:xfrm>
          <a:prstGeom prst="rect">
            <a:avLst/>
          </a:prstGeom>
        </p:spPr>
        <p:txBody>
          <a:bodyPr/>
          <a:lstStyle/>
          <a:p>
            <a:pPr defTabSz="685800">
              <a:defRPr/>
            </a:pPr>
            <a:endParaRPr lang="es-ES" sz="1350">
              <a:solidFill>
                <a:prstClr val="black"/>
              </a:solidFill>
            </a:endParaRPr>
          </a:p>
        </p:txBody>
      </p:sp>
      <p:sp>
        <p:nvSpPr>
          <p:cNvPr id="6" name="Marcador de número de diapositiva 5">
            <a:extLst>
              <a:ext uri="{FF2B5EF4-FFF2-40B4-BE49-F238E27FC236}">
                <a16:creationId xmlns:a16="http://schemas.microsoft.com/office/drawing/2014/main" id="{1C91295A-D1F3-441B-90E3-34FBBC36EB49}"/>
              </a:ext>
            </a:extLst>
          </p:cNvPr>
          <p:cNvSpPr>
            <a:spLocks noGrp="1"/>
          </p:cNvSpPr>
          <p:nvPr>
            <p:ph type="sldNum" sz="quarter" idx="12"/>
          </p:nvPr>
        </p:nvSpPr>
        <p:spPr>
          <a:xfrm>
            <a:off x="6457950" y="4767263"/>
            <a:ext cx="2057400" cy="273844"/>
          </a:xfrm>
          <a:prstGeom prst="rect">
            <a:avLst/>
          </a:prstGeom>
        </p:spPr>
        <p:txBody>
          <a:bodyPr/>
          <a:lstStyle/>
          <a:p>
            <a:pPr defTabSz="685800">
              <a:defRPr/>
            </a:pPr>
            <a:fld id="{E0E1E516-EB75-4BB0-B858-A7DEDB510B41}" type="slidenum">
              <a:rPr lang="es-ES" sz="1350" smtClean="0">
                <a:solidFill>
                  <a:prstClr val="black"/>
                </a:solidFill>
              </a:rPr>
              <a:pPr defTabSz="685800">
                <a:defRPr/>
              </a:pPr>
              <a:t>‹#›</a:t>
            </a:fld>
            <a:endParaRPr lang="es-ES" sz="1350">
              <a:solidFill>
                <a:prstClr val="black"/>
              </a:solidFill>
            </a:endParaRPr>
          </a:p>
        </p:txBody>
      </p:sp>
    </p:spTree>
    <p:extLst>
      <p:ext uri="{BB962C8B-B14F-4D97-AF65-F5344CB8AC3E}">
        <p14:creationId xmlns:p14="http://schemas.microsoft.com/office/powerpoint/2010/main" val="25158888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pic>
        <p:nvPicPr>
          <p:cNvPr id="7" name="Picture 6" descr="http://cris.aacr.org/srga/Private/SRGA_ADMIN/New%20Logo%20Graphics/2014%20New%20Logo.jpg"/>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726622" y="4686301"/>
            <a:ext cx="2117090" cy="307181"/>
          </a:xfrm>
          <a:prstGeom prst="rect">
            <a:avLst/>
          </a:prstGeom>
          <a:noFill/>
          <a:ln>
            <a:noFill/>
          </a:ln>
        </p:spPr>
      </p:pic>
      <p:pic>
        <p:nvPicPr>
          <p:cNvPr id="8" name="Picture 7"/>
          <p:cNvPicPr/>
          <p:nvPr userDrawn="1"/>
        </p:nvPicPr>
        <p:blipFill>
          <a:blip r:embed="rId3" cstate="screen">
            <a:extLst>
              <a:ext uri="{28A0092B-C50C-407E-A947-70E740481C1C}">
                <a14:useLocalDpi xmlns:a14="http://schemas.microsoft.com/office/drawing/2010/main"/>
              </a:ext>
            </a:extLst>
          </a:blip>
          <a:stretch>
            <a:fillRect/>
          </a:stretch>
        </p:blipFill>
        <p:spPr>
          <a:xfrm>
            <a:off x="533400" y="4314825"/>
            <a:ext cx="1794510" cy="742950"/>
          </a:xfrm>
          <a:prstGeom prst="rect">
            <a:avLst/>
          </a:prstGeom>
        </p:spPr>
      </p:pic>
    </p:spTree>
    <p:extLst>
      <p:ext uri="{BB962C8B-B14F-4D97-AF65-F5344CB8AC3E}">
        <p14:creationId xmlns:p14="http://schemas.microsoft.com/office/powerpoint/2010/main" val="41386973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http://cris.aacr.org/srga/Private/SRGA_ADMIN/New%20Logo%20Graphics/2014%20New%20Logo.jpg"/>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315201" y="4658743"/>
            <a:ext cx="1680911" cy="235743"/>
          </a:xfrm>
          <a:prstGeom prst="rect">
            <a:avLst/>
          </a:prstGeom>
          <a:noFill/>
          <a:ln>
            <a:noFill/>
          </a:ln>
        </p:spPr>
      </p:pic>
      <p:pic>
        <p:nvPicPr>
          <p:cNvPr id="8" name="Picture 7"/>
          <p:cNvPicPr/>
          <p:nvPr userDrawn="1"/>
        </p:nvPicPr>
        <p:blipFill>
          <a:blip r:embed="rId3" cstate="screen">
            <a:extLst>
              <a:ext uri="{28A0092B-C50C-407E-A947-70E740481C1C}">
                <a14:useLocalDpi xmlns:a14="http://schemas.microsoft.com/office/drawing/2010/main"/>
              </a:ext>
            </a:extLst>
          </a:blip>
          <a:stretch>
            <a:fillRect/>
          </a:stretch>
        </p:blipFill>
        <p:spPr>
          <a:xfrm>
            <a:off x="304800" y="4457700"/>
            <a:ext cx="1447800" cy="600075"/>
          </a:xfrm>
          <a:prstGeom prst="rect">
            <a:avLst/>
          </a:prstGeom>
        </p:spPr>
      </p:pic>
    </p:spTree>
    <p:extLst>
      <p:ext uri="{BB962C8B-B14F-4D97-AF65-F5344CB8AC3E}">
        <p14:creationId xmlns:p14="http://schemas.microsoft.com/office/powerpoint/2010/main" val="12070864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01D0B8-DA81-497B-86C3-4F7A309DFF94}" type="slidenum">
              <a:rPr lang="en-US" smtClean="0"/>
              <a:t>‹#›</a:t>
            </a:fld>
            <a:endParaRPr lang="en-US"/>
          </a:p>
        </p:txBody>
      </p:sp>
    </p:spTree>
    <p:extLst>
      <p:ext uri="{BB962C8B-B14F-4D97-AF65-F5344CB8AC3E}">
        <p14:creationId xmlns:p14="http://schemas.microsoft.com/office/powerpoint/2010/main" val="22428349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01D0B8-DA81-497B-86C3-4F7A309DFF94}" type="slidenum">
              <a:rPr lang="en-US" smtClean="0"/>
              <a:t>‹#›</a:t>
            </a:fld>
            <a:endParaRPr lang="en-US"/>
          </a:p>
        </p:txBody>
      </p:sp>
    </p:spTree>
    <p:extLst>
      <p:ext uri="{BB962C8B-B14F-4D97-AF65-F5344CB8AC3E}">
        <p14:creationId xmlns:p14="http://schemas.microsoft.com/office/powerpoint/2010/main" val="34422108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201D0B8-DA81-497B-86C3-4F7A309DFF94}" type="slidenum">
              <a:rPr lang="en-US" smtClean="0"/>
              <a:t>‹#›</a:t>
            </a:fld>
            <a:endParaRPr lang="en-US"/>
          </a:p>
        </p:txBody>
      </p:sp>
    </p:spTree>
    <p:extLst>
      <p:ext uri="{BB962C8B-B14F-4D97-AF65-F5344CB8AC3E}">
        <p14:creationId xmlns:p14="http://schemas.microsoft.com/office/powerpoint/2010/main" val="19710353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201D0B8-DA81-497B-86C3-4F7A309DFF94}" type="slidenum">
              <a:rPr lang="en-US" smtClean="0"/>
              <a:t>‹#›</a:t>
            </a:fld>
            <a:endParaRPr lang="en-US"/>
          </a:p>
        </p:txBody>
      </p:sp>
    </p:spTree>
    <p:extLst>
      <p:ext uri="{BB962C8B-B14F-4D97-AF65-F5344CB8AC3E}">
        <p14:creationId xmlns:p14="http://schemas.microsoft.com/office/powerpoint/2010/main" val="5765659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201D0B8-DA81-497B-86C3-4F7A309DFF94}" type="slidenum">
              <a:rPr lang="en-US" smtClean="0"/>
              <a:t>‹#›</a:t>
            </a:fld>
            <a:endParaRPr lang="en-US"/>
          </a:p>
        </p:txBody>
      </p:sp>
    </p:spTree>
    <p:extLst>
      <p:ext uri="{BB962C8B-B14F-4D97-AF65-F5344CB8AC3E}">
        <p14:creationId xmlns:p14="http://schemas.microsoft.com/office/powerpoint/2010/main" val="20627647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heme" Target="../theme/theme10.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5" Type="http://schemas.openxmlformats.org/officeDocument/2006/relationships/slideLayout" Target="../slideLayouts/slideLayout119.xml"/><Relationship Id="rId10" Type="http://schemas.openxmlformats.org/officeDocument/2006/relationships/theme" Target="../theme/theme11.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image" Target="../media/image31.png"/><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image" Target="../media/image30.png"/><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image" Target="../media/image29.jpeg"/><Relationship Id="rId5" Type="http://schemas.openxmlformats.org/officeDocument/2006/relationships/slideLayout" Target="../slideLayouts/slideLayout128.xml"/><Relationship Id="rId10" Type="http://schemas.openxmlformats.org/officeDocument/2006/relationships/theme" Target="../theme/theme12.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slideLayout" Target="../slideLayouts/slideLayout158.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29" Type="http://schemas.openxmlformats.org/officeDocument/2006/relationships/theme" Target="../theme/theme13.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theme" Target="../theme/theme14.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7.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image" Target="../media/image8.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5.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10" Type="http://schemas.openxmlformats.org/officeDocument/2006/relationships/image" Target="../media/image11.jpeg"/><Relationship Id="rId4" Type="http://schemas.openxmlformats.org/officeDocument/2006/relationships/slideLayout" Target="../slideLayouts/slideLayout5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heme" Target="../theme/theme7.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8.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9.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9110" y="173418"/>
            <a:ext cx="8766928" cy="52713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79109" y="781817"/>
            <a:ext cx="8776355" cy="337895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398494" y="4767263"/>
            <a:ext cx="7082118"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7484" y="4767263"/>
            <a:ext cx="351738" cy="273844"/>
          </a:xfrm>
          <a:prstGeom prst="rect">
            <a:avLst/>
          </a:prstGeom>
        </p:spPr>
        <p:txBody>
          <a:bodyPr vert="horz" lIns="91440" tIns="45720" rIns="91440" bIns="45720" rtlCol="0" anchor="ctr"/>
          <a:lstStyle>
            <a:lvl1pPr algn="r">
              <a:defRPr sz="900">
                <a:solidFill>
                  <a:schemeClr val="tx1">
                    <a:lumMod val="75000"/>
                    <a:lumOff val="25000"/>
                  </a:schemeClr>
                </a:solidFill>
                <a:latin typeface="Arial" panose="020B0604020202020204" pitchFamily="34" charset="0"/>
                <a:cs typeface="Arial" panose="020B0604020202020204" pitchFamily="34" charset="0"/>
              </a:defRPr>
            </a:lvl1pPr>
          </a:lstStyle>
          <a:p>
            <a:fld id="{D5E650E5-99CE-3C4F-B736-C5B09A3DA174}" type="slidenum">
              <a:rPr lang="en-US" smtClean="0"/>
              <a:pPr/>
              <a:t>‹#›</a:t>
            </a:fld>
            <a:endParaRPr lang="en-US"/>
          </a:p>
        </p:txBody>
      </p:sp>
      <p:pic>
        <p:nvPicPr>
          <p:cNvPr id="9" name="Picture 8">
            <a:extLst>
              <a:ext uri="{FF2B5EF4-FFF2-40B4-BE49-F238E27FC236}">
                <a16:creationId xmlns:a16="http://schemas.microsoft.com/office/drawing/2014/main" id="{BB52926A-6AB8-8847-839F-146E93B01242}"/>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209967" y="4845257"/>
            <a:ext cx="1129735" cy="163085"/>
          </a:xfrm>
          <a:prstGeom prst="rect">
            <a:avLst/>
          </a:prstGeom>
        </p:spPr>
      </p:pic>
    </p:spTree>
    <p:extLst>
      <p:ext uri="{BB962C8B-B14F-4D97-AF65-F5344CB8AC3E}">
        <p14:creationId xmlns:p14="http://schemas.microsoft.com/office/powerpoint/2010/main" val="1503745647"/>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5" r:id="rId5"/>
  </p:sldLayoutIdLst>
  <p:hf sldNum="0" hdr="0" ftr="0" dt="0"/>
  <p:txStyles>
    <p:titleStyle>
      <a:lvl1pPr algn="l" defTabSz="685800" rtl="0" eaLnBrk="1" latinLnBrk="0" hangingPunct="1">
        <a:lnSpc>
          <a:spcPct val="90000"/>
        </a:lnSpc>
        <a:spcBef>
          <a:spcPct val="0"/>
        </a:spcBef>
        <a:buNone/>
        <a:defRPr sz="2400" b="1" i="0" kern="1200">
          <a:solidFill>
            <a:schemeClr val="tx1">
              <a:lumMod val="85000"/>
              <a:lumOff val="15000"/>
            </a:schemeClr>
          </a:solidFill>
          <a:latin typeface="Arial Nova" panose="020B05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Clr>
          <a:schemeClr val="accent1"/>
        </a:buClr>
        <a:buFont typeface="System Font Regular"/>
        <a:buChar char="&gt;"/>
        <a:defRPr sz="2000" kern="1200">
          <a:solidFill>
            <a:schemeClr val="tx1">
              <a:lumMod val="85000"/>
              <a:lumOff val="15000"/>
            </a:schemeClr>
          </a:solidFill>
          <a:latin typeface="Arial Nova" panose="020B0504020202020204" pitchFamily="34" charset="0"/>
          <a:ea typeface="+mn-ea"/>
          <a:cs typeface="+mn-cs"/>
        </a:defRPr>
      </a:lvl1pPr>
      <a:lvl2pPr marL="514350" indent="-171450" algn="l" defTabSz="685800" rtl="0" eaLnBrk="1" latinLnBrk="0" hangingPunct="1">
        <a:lnSpc>
          <a:spcPct val="90000"/>
        </a:lnSpc>
        <a:spcBef>
          <a:spcPts val="375"/>
        </a:spcBef>
        <a:buClr>
          <a:schemeClr val="accent1"/>
        </a:buClr>
        <a:buFont typeface="System Font Regular"/>
        <a:buChar char="–"/>
        <a:defRPr sz="1800" kern="1200">
          <a:solidFill>
            <a:schemeClr val="tx1">
              <a:lumMod val="85000"/>
              <a:lumOff val="15000"/>
            </a:schemeClr>
          </a:solidFill>
          <a:latin typeface="Arial Nova" panose="020B0504020202020204" pitchFamily="34" charset="0"/>
          <a:ea typeface="+mn-ea"/>
          <a:cs typeface="+mn-cs"/>
        </a:defRPr>
      </a:lvl2pPr>
      <a:lvl3pPr marL="857250" indent="-171450" algn="l" defTabSz="685800" rtl="0" eaLnBrk="1" latinLnBrk="0" hangingPunct="1">
        <a:lnSpc>
          <a:spcPct val="90000"/>
        </a:lnSpc>
        <a:spcBef>
          <a:spcPts val="375"/>
        </a:spcBef>
        <a:buClr>
          <a:schemeClr val="accent1"/>
        </a:buClr>
        <a:buFont typeface="Arial" panose="020B0604020202020204" pitchFamily="34" charset="0"/>
        <a:buChar char="•"/>
        <a:defRPr sz="1500" kern="1200">
          <a:solidFill>
            <a:schemeClr val="tx1">
              <a:lumMod val="85000"/>
              <a:lumOff val="15000"/>
            </a:schemeClr>
          </a:solidFill>
          <a:latin typeface="Arial Nova" panose="020B0504020202020204" pitchFamily="34" charset="0"/>
          <a:ea typeface="+mn-ea"/>
          <a:cs typeface="+mn-cs"/>
        </a:defRPr>
      </a:lvl3pPr>
      <a:lvl4pPr marL="1200150" indent="-171450" algn="l" defTabSz="685800" rtl="0" eaLnBrk="1" latinLnBrk="0" hangingPunct="1">
        <a:lnSpc>
          <a:spcPct val="90000"/>
        </a:lnSpc>
        <a:spcBef>
          <a:spcPts val="375"/>
        </a:spcBef>
        <a:buClr>
          <a:schemeClr val="accent1"/>
        </a:buClr>
        <a:buFont typeface="Wingdings" pitchFamily="2" charset="2"/>
        <a:buChar char="§"/>
        <a:defRPr sz="1350" kern="1200">
          <a:solidFill>
            <a:schemeClr val="tx1">
              <a:lumMod val="85000"/>
              <a:lumOff val="15000"/>
            </a:schemeClr>
          </a:solidFill>
          <a:latin typeface="Arial Nova" panose="020B0504020202020204" pitchFamily="34" charset="0"/>
          <a:ea typeface="+mn-ea"/>
          <a:cs typeface="+mn-cs"/>
        </a:defRPr>
      </a:lvl4pPr>
      <a:lvl5pPr marL="1543050" indent="-171450" algn="l" defTabSz="685800" rtl="0" eaLnBrk="1" latinLnBrk="0" hangingPunct="1">
        <a:lnSpc>
          <a:spcPct val="90000"/>
        </a:lnSpc>
        <a:spcBef>
          <a:spcPts val="375"/>
        </a:spcBef>
        <a:buClr>
          <a:schemeClr val="accent1"/>
        </a:buClr>
        <a:buFont typeface="System Font Regular"/>
        <a:buChar char="–"/>
        <a:defRPr sz="1350" kern="1200">
          <a:solidFill>
            <a:schemeClr val="tx1">
              <a:lumMod val="85000"/>
              <a:lumOff val="15000"/>
            </a:schemeClr>
          </a:solidFill>
          <a:latin typeface="Arial Nova" panose="020B05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201D0B8-DA81-497B-86C3-4F7A309DFF94}" type="slidenum">
              <a:rPr lang="en-US" smtClean="0"/>
              <a:t>‹#›</a:t>
            </a:fld>
            <a:endParaRPr lang="en-US"/>
          </a:p>
        </p:txBody>
      </p:sp>
    </p:spTree>
    <p:extLst>
      <p:ext uri="{BB962C8B-B14F-4D97-AF65-F5344CB8AC3E}">
        <p14:creationId xmlns:p14="http://schemas.microsoft.com/office/powerpoint/2010/main" val="75324078"/>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0F0D99-22F2-524A-A4BA-D5A003F74B39}"/>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BE8DAAA-B908-C249-85DF-FF9F6450B1F7}"/>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62FC8F-E3F1-9B4D-8F89-B0280D84657C}"/>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064316F4-1BDC-0F49-A921-9DC2287D175F}"/>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944E15A-60A4-B74E-BC9C-B8F6B23E3389}"/>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F5B1386-8A95-F248-B54F-61C6127844B5}" type="slidenum">
              <a:rPr lang="en-US" smtClean="0"/>
              <a:t>‹#›</a:t>
            </a:fld>
            <a:endParaRPr lang="en-US"/>
          </a:p>
        </p:txBody>
      </p:sp>
    </p:spTree>
    <p:extLst>
      <p:ext uri="{BB962C8B-B14F-4D97-AF65-F5344CB8AC3E}">
        <p14:creationId xmlns:p14="http://schemas.microsoft.com/office/powerpoint/2010/main" val="2975223220"/>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0C88FF-867A-4400-B205-E69EFB354EF3}"/>
              </a:ext>
            </a:extLst>
          </p:cNvPr>
          <p:cNvSpPr>
            <a:spLocks noGrp="1"/>
          </p:cNvSpPr>
          <p:nvPr>
            <p:ph type="title"/>
          </p:nvPr>
        </p:nvSpPr>
        <p:spPr>
          <a:xfrm>
            <a:off x="274320" y="274320"/>
            <a:ext cx="8595360" cy="685800"/>
          </a:xfrm>
          <a:prstGeom prst="rect">
            <a:avLst/>
          </a:prstGeom>
        </p:spPr>
        <p:txBody>
          <a:bodyPr vert="horz" lIns="0" tIns="0" rIns="0" bIns="0" rtlCol="0" anchor="t" anchorCtr="0">
            <a:noAutofit/>
          </a:bodyPr>
          <a:lstStyle/>
          <a:p>
            <a:r>
              <a:rPr lang="en-US"/>
              <a:t>[Slide title]</a:t>
            </a:r>
          </a:p>
        </p:txBody>
      </p:sp>
      <p:sp>
        <p:nvSpPr>
          <p:cNvPr id="3" name="Text Placeholder 2">
            <a:extLst>
              <a:ext uri="{FF2B5EF4-FFF2-40B4-BE49-F238E27FC236}">
                <a16:creationId xmlns:a16="http://schemas.microsoft.com/office/drawing/2014/main" id="{CFDE4FC5-C208-4061-8E32-8B795BC19E6E}"/>
              </a:ext>
            </a:extLst>
          </p:cNvPr>
          <p:cNvSpPr>
            <a:spLocks noGrp="1"/>
          </p:cNvSpPr>
          <p:nvPr>
            <p:ph type="body" idx="1"/>
          </p:nvPr>
        </p:nvSpPr>
        <p:spPr>
          <a:xfrm>
            <a:off x="274320" y="1165860"/>
            <a:ext cx="8595360" cy="3240000"/>
          </a:xfrm>
          <a:prstGeom prst="rect">
            <a:avLst/>
          </a:prstGeom>
        </p:spPr>
        <p:txBody>
          <a:bodyPr vert="horz" lIns="0" tIns="0" rIns="0" bIns="0" spcCol="301752"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Division/Therapeutic Area">
            <a:extLst>
              <a:ext uri="{FF2B5EF4-FFF2-40B4-BE49-F238E27FC236}">
                <a16:creationId xmlns:a16="http://schemas.microsoft.com/office/drawing/2014/main" id="{178DE328-0814-47B5-8280-0BB8C9EF63A9}"/>
              </a:ext>
            </a:extLst>
          </p:cNvPr>
          <p:cNvSpPr txBox="1"/>
          <p:nvPr userDrawn="1"/>
        </p:nvSpPr>
        <p:spPr>
          <a:xfrm>
            <a:off x="1508761" y="4846549"/>
            <a:ext cx="2836927" cy="171420"/>
          </a:xfrm>
          <a:prstGeom prst="rect">
            <a:avLst/>
          </a:prstGeom>
          <a:noFill/>
        </p:spPr>
        <p:txBody>
          <a:bodyPr wrap="none" lIns="0" tIns="0" rIns="0" bIns="0" rtlCol="0" anchor="ctr" anchorCtr="0">
            <a:noAutofit/>
          </a:bodyPr>
          <a:lstStyle/>
          <a:p>
            <a:pPr marL="0" indent="0" algn="l">
              <a:lnSpc>
                <a:spcPct val="100000"/>
              </a:lnSpc>
              <a:spcBef>
                <a:spcPts val="0"/>
              </a:spcBef>
              <a:buSzPct val="100000"/>
              <a:buFontTx/>
              <a:buNone/>
            </a:pPr>
            <a:endParaRPr lang="en-US" sz="696" b="0">
              <a:solidFill>
                <a:schemeClr val="tx1"/>
              </a:solidFill>
            </a:endParaRPr>
          </a:p>
        </p:txBody>
      </p:sp>
      <p:grpSp>
        <p:nvGrpSpPr>
          <p:cNvPr id="9" name="Group 8">
            <a:extLst>
              <a:ext uri="{FF2B5EF4-FFF2-40B4-BE49-F238E27FC236}">
                <a16:creationId xmlns:a16="http://schemas.microsoft.com/office/drawing/2014/main" id="{2DA54450-918C-4F47-B41B-BB841DDEC20F}"/>
              </a:ext>
            </a:extLst>
          </p:cNvPr>
          <p:cNvGrpSpPr/>
          <p:nvPr userDrawn="1"/>
        </p:nvGrpSpPr>
        <p:grpSpPr>
          <a:xfrm>
            <a:off x="166412" y="4767264"/>
            <a:ext cx="1748633" cy="319383"/>
            <a:chOff x="0" y="5711571"/>
            <a:chExt cx="6118779" cy="1324537"/>
          </a:xfrm>
        </p:grpSpPr>
        <p:pic>
          <p:nvPicPr>
            <p:cNvPr id="10" name="Picture 9">
              <a:extLst>
                <a:ext uri="{FF2B5EF4-FFF2-40B4-BE49-F238E27FC236}">
                  <a16:creationId xmlns:a16="http://schemas.microsoft.com/office/drawing/2014/main" id="{86161660-60EB-4175-A41C-235AA5EBE56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5945904"/>
              <a:ext cx="1863207" cy="855871"/>
            </a:xfrm>
            <a:prstGeom prst="rect">
              <a:avLst/>
            </a:prstGeom>
          </p:spPr>
        </p:pic>
        <p:pic>
          <p:nvPicPr>
            <p:cNvPr id="13" name="Picture 4">
              <a:extLst>
                <a:ext uri="{FF2B5EF4-FFF2-40B4-BE49-F238E27FC236}">
                  <a16:creationId xmlns:a16="http://schemas.microsoft.com/office/drawing/2014/main" id="{6846477C-0716-49BB-BA58-BC0746AE0C3B}"/>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p:blipFill>
          <p:spPr bwMode="auto">
            <a:xfrm>
              <a:off x="3399994" y="5711571"/>
              <a:ext cx="2718785" cy="132453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1">
              <a:extLst>
                <a:ext uri="{FF2B5EF4-FFF2-40B4-BE49-F238E27FC236}">
                  <a16:creationId xmlns:a16="http://schemas.microsoft.com/office/drawing/2014/main" id="{F618E6F1-E623-4330-9D5A-2F46CDF73AD7}"/>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p:blipFill>
          <p:spPr bwMode="auto">
            <a:xfrm>
              <a:off x="2087669" y="5805912"/>
              <a:ext cx="1141214" cy="11358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cxnSp>
        <p:nvCxnSpPr>
          <p:cNvPr id="12" name="Line">
            <a:extLst>
              <a:ext uri="{FF2B5EF4-FFF2-40B4-BE49-F238E27FC236}">
                <a16:creationId xmlns:a16="http://schemas.microsoft.com/office/drawing/2014/main" id="{B202EDA2-849C-5746-B520-4E5047A70604}"/>
              </a:ext>
              <a:ext uri="{C183D7F6-B498-43B3-948B-1728B52AA6E4}">
                <adec:decorative xmlns:adec="http://schemas.microsoft.com/office/drawing/2017/decorative" val="1"/>
              </a:ext>
            </a:extLst>
          </p:cNvPr>
          <p:cNvCxnSpPr>
            <a:cxnSpLocks/>
          </p:cNvCxnSpPr>
          <p:nvPr userDrawn="1"/>
        </p:nvCxnSpPr>
        <p:spPr bwMode="black">
          <a:xfrm>
            <a:off x="274320" y="4731990"/>
            <a:ext cx="8595360" cy="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spTree>
    <p:extLst>
      <p:ext uri="{BB962C8B-B14F-4D97-AF65-F5344CB8AC3E}">
        <p14:creationId xmlns:p14="http://schemas.microsoft.com/office/powerpoint/2010/main" val="3848415636"/>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Lst>
  <p:hf sldNum="0" hdr="0" ftr="0" dt="0"/>
  <p:txStyles>
    <p:titleStyle>
      <a:lvl1pPr algn="l" defTabSz="578644" rtl="0" eaLnBrk="1" latinLnBrk="0" hangingPunct="1">
        <a:lnSpc>
          <a:spcPct val="90000"/>
        </a:lnSpc>
        <a:spcBef>
          <a:spcPct val="0"/>
        </a:spcBef>
        <a:buNone/>
        <a:defRPr sz="2025" b="1" kern="1200">
          <a:solidFill>
            <a:schemeClr val="tx1"/>
          </a:solidFill>
          <a:latin typeface="+mj-lt"/>
          <a:ea typeface="+mj-ea"/>
          <a:cs typeface="+mj-cs"/>
        </a:defRPr>
      </a:lvl1pPr>
    </p:titleStyle>
    <p:bodyStyle>
      <a:lvl1pPr marL="144661"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1pPr>
      <a:lvl2pPr marL="289322"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2pPr>
      <a:lvl3pPr marL="433983"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3pPr>
      <a:lvl4pPr marL="578644"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4pPr>
      <a:lvl5pPr marL="723305"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5pPr>
      <a:lvl6pPr marL="867966"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6pPr>
      <a:lvl7pPr marL="1012627"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7pPr>
      <a:lvl8pPr marL="115728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8pPr>
      <a:lvl9pPr marL="130194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9pPr>
    </p:bodyStyle>
    <p:otherStyle>
      <a:defPPr>
        <a:defRPr lang="en-US"/>
      </a:defPPr>
      <a:lvl1pPr marL="0" algn="l" defTabSz="578644" rtl="0" eaLnBrk="1" latinLnBrk="0" hangingPunct="1">
        <a:defRPr sz="1266" kern="1200">
          <a:solidFill>
            <a:schemeClr val="tx1"/>
          </a:solidFill>
          <a:latin typeface="+mn-lt"/>
          <a:ea typeface="+mn-ea"/>
          <a:cs typeface="+mn-cs"/>
        </a:defRPr>
      </a:lvl1pPr>
      <a:lvl2pPr marL="289322" algn="l" defTabSz="578644" rtl="0" eaLnBrk="1" latinLnBrk="0" hangingPunct="1">
        <a:defRPr sz="1266" kern="1200">
          <a:solidFill>
            <a:schemeClr val="tx1"/>
          </a:solidFill>
          <a:latin typeface="+mn-lt"/>
          <a:ea typeface="+mn-ea"/>
          <a:cs typeface="+mn-cs"/>
        </a:defRPr>
      </a:lvl2pPr>
      <a:lvl3pPr marL="578644" algn="l" defTabSz="578644" rtl="0" eaLnBrk="1" latinLnBrk="0" hangingPunct="1">
        <a:defRPr sz="1266" kern="1200">
          <a:solidFill>
            <a:schemeClr val="tx1"/>
          </a:solidFill>
          <a:latin typeface="+mn-lt"/>
          <a:ea typeface="+mn-ea"/>
          <a:cs typeface="+mn-cs"/>
        </a:defRPr>
      </a:lvl3pPr>
      <a:lvl4pPr marL="867966" algn="l" defTabSz="578644" rtl="0" eaLnBrk="1" latinLnBrk="0" hangingPunct="1">
        <a:defRPr sz="1266" kern="1200">
          <a:solidFill>
            <a:schemeClr val="tx1"/>
          </a:solidFill>
          <a:latin typeface="+mn-lt"/>
          <a:ea typeface="+mn-ea"/>
          <a:cs typeface="+mn-cs"/>
        </a:defRPr>
      </a:lvl4pPr>
      <a:lvl5pPr marL="1157288" algn="l" defTabSz="578644" rtl="0" eaLnBrk="1" latinLnBrk="0" hangingPunct="1">
        <a:defRPr sz="1266" kern="1200">
          <a:solidFill>
            <a:schemeClr val="tx1"/>
          </a:solidFill>
          <a:latin typeface="+mn-lt"/>
          <a:ea typeface="+mn-ea"/>
          <a:cs typeface="+mn-cs"/>
        </a:defRPr>
      </a:lvl5pPr>
      <a:lvl6pPr marL="1446610" algn="l" defTabSz="578644" rtl="0" eaLnBrk="1" latinLnBrk="0" hangingPunct="1">
        <a:defRPr sz="1266" kern="1200">
          <a:solidFill>
            <a:schemeClr val="tx1"/>
          </a:solidFill>
          <a:latin typeface="+mn-lt"/>
          <a:ea typeface="+mn-ea"/>
          <a:cs typeface="+mn-cs"/>
        </a:defRPr>
      </a:lvl6pPr>
      <a:lvl7pPr marL="1735931" algn="l" defTabSz="578644" rtl="0" eaLnBrk="1" latinLnBrk="0" hangingPunct="1">
        <a:defRPr sz="1266" kern="1200">
          <a:solidFill>
            <a:schemeClr val="tx1"/>
          </a:solidFill>
          <a:latin typeface="+mn-lt"/>
          <a:ea typeface="+mn-ea"/>
          <a:cs typeface="+mn-cs"/>
        </a:defRPr>
      </a:lvl7pPr>
      <a:lvl8pPr marL="2025254" algn="l" defTabSz="578644" rtl="0" eaLnBrk="1" latinLnBrk="0" hangingPunct="1">
        <a:defRPr sz="1266" kern="1200">
          <a:solidFill>
            <a:schemeClr val="tx1"/>
          </a:solidFill>
          <a:latin typeface="+mn-lt"/>
          <a:ea typeface="+mn-ea"/>
          <a:cs typeface="+mn-cs"/>
        </a:defRPr>
      </a:lvl8pPr>
      <a:lvl9pPr marL="2314575" algn="l" defTabSz="578644" rtl="0" eaLnBrk="1" latinLnBrk="0" hangingPunct="1">
        <a:defRPr sz="126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3">
          <p15:clr>
            <a:srgbClr val="F26B43"/>
          </p15:clr>
        </p15:guide>
        <p15:guide id="2" pos="204">
          <p15:clr>
            <a:srgbClr val="F26B43"/>
          </p15:clr>
        </p15:guide>
        <p15:guide id="3" pos="6622">
          <p15:clr>
            <a:srgbClr val="F26B43"/>
          </p15:clr>
        </p15:guide>
        <p15:guide id="5" orient="horz" pos="734">
          <p15:clr>
            <a:srgbClr val="F26B43"/>
          </p15:clr>
        </p15:guide>
        <p15:guide id="6" orient="horz" pos="2895">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7728524"/>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Lst>
  <p:hf sldNum="0" hdr="0" ftr="0" dt="0"/>
  <p:txStyles>
    <p:titleStyle>
      <a:lvl1pPr algn="l" defTabSz="685732" rtl="0" eaLnBrk="1" latinLnBrk="0" hangingPunct="1">
        <a:lnSpc>
          <a:spcPct val="90000"/>
        </a:lnSpc>
        <a:spcBef>
          <a:spcPct val="0"/>
        </a:spcBef>
        <a:buNone/>
        <a:defRPr sz="3300" kern="1200">
          <a:solidFill>
            <a:schemeClr val="tx1"/>
          </a:solidFill>
          <a:latin typeface="Arial" panose="020B0604020202020204" pitchFamily="34" charset="0"/>
          <a:ea typeface="+mj-ea"/>
          <a:cs typeface="Arial" panose="020B0604020202020204" pitchFamily="34" charset="0"/>
        </a:defRPr>
      </a:lvl1pPr>
    </p:titleStyle>
    <p:bodyStyle>
      <a:lvl1pPr marL="171433" indent="-171433" algn="l" defTabSz="685732"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98" indent="-171433" algn="l" defTabSz="685732"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65" indent="-171433" algn="l" defTabSz="685732"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30" indent="-171433" algn="l" defTabSz="68573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896" indent="-171433" algn="l" defTabSz="68573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762" indent="-171433" algn="l" defTabSz="68573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27" indent="-171433" algn="l" defTabSz="68573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493" indent="-171433" algn="l" defTabSz="68573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358" indent="-171433" algn="l" defTabSz="68573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732" rtl="0" eaLnBrk="1" latinLnBrk="0" hangingPunct="1">
        <a:defRPr sz="1350" kern="1200">
          <a:solidFill>
            <a:schemeClr val="tx1"/>
          </a:solidFill>
          <a:latin typeface="+mn-lt"/>
          <a:ea typeface="+mn-ea"/>
          <a:cs typeface="+mn-cs"/>
        </a:defRPr>
      </a:lvl1pPr>
      <a:lvl2pPr marL="342866" algn="l" defTabSz="685732" rtl="0" eaLnBrk="1" latinLnBrk="0" hangingPunct="1">
        <a:defRPr sz="1350" kern="1200">
          <a:solidFill>
            <a:schemeClr val="tx1"/>
          </a:solidFill>
          <a:latin typeface="+mn-lt"/>
          <a:ea typeface="+mn-ea"/>
          <a:cs typeface="+mn-cs"/>
        </a:defRPr>
      </a:lvl2pPr>
      <a:lvl3pPr marL="685732" algn="l" defTabSz="685732" rtl="0" eaLnBrk="1" latinLnBrk="0" hangingPunct="1">
        <a:defRPr sz="1350" kern="1200">
          <a:solidFill>
            <a:schemeClr val="tx1"/>
          </a:solidFill>
          <a:latin typeface="+mn-lt"/>
          <a:ea typeface="+mn-ea"/>
          <a:cs typeface="+mn-cs"/>
        </a:defRPr>
      </a:lvl3pPr>
      <a:lvl4pPr marL="1028597" algn="l" defTabSz="685732" rtl="0" eaLnBrk="1" latinLnBrk="0" hangingPunct="1">
        <a:defRPr sz="1350" kern="1200">
          <a:solidFill>
            <a:schemeClr val="tx1"/>
          </a:solidFill>
          <a:latin typeface="+mn-lt"/>
          <a:ea typeface="+mn-ea"/>
          <a:cs typeface="+mn-cs"/>
        </a:defRPr>
      </a:lvl4pPr>
      <a:lvl5pPr marL="1371463" algn="l" defTabSz="685732" rtl="0" eaLnBrk="1" latinLnBrk="0" hangingPunct="1">
        <a:defRPr sz="1350" kern="1200">
          <a:solidFill>
            <a:schemeClr val="tx1"/>
          </a:solidFill>
          <a:latin typeface="+mn-lt"/>
          <a:ea typeface="+mn-ea"/>
          <a:cs typeface="+mn-cs"/>
        </a:defRPr>
      </a:lvl5pPr>
      <a:lvl6pPr marL="1714328" algn="l" defTabSz="685732" rtl="0" eaLnBrk="1" latinLnBrk="0" hangingPunct="1">
        <a:defRPr sz="1350" kern="1200">
          <a:solidFill>
            <a:schemeClr val="tx1"/>
          </a:solidFill>
          <a:latin typeface="+mn-lt"/>
          <a:ea typeface="+mn-ea"/>
          <a:cs typeface="+mn-cs"/>
        </a:defRPr>
      </a:lvl6pPr>
      <a:lvl7pPr marL="2057195" algn="l" defTabSz="685732" rtl="0" eaLnBrk="1" latinLnBrk="0" hangingPunct="1">
        <a:defRPr sz="1350" kern="1200">
          <a:solidFill>
            <a:schemeClr val="tx1"/>
          </a:solidFill>
          <a:latin typeface="+mn-lt"/>
          <a:ea typeface="+mn-ea"/>
          <a:cs typeface="+mn-cs"/>
        </a:defRPr>
      </a:lvl7pPr>
      <a:lvl8pPr marL="2400060" algn="l" defTabSz="685732" rtl="0" eaLnBrk="1" latinLnBrk="0" hangingPunct="1">
        <a:defRPr sz="1350" kern="1200">
          <a:solidFill>
            <a:schemeClr val="tx1"/>
          </a:solidFill>
          <a:latin typeface="+mn-lt"/>
          <a:ea typeface="+mn-ea"/>
          <a:cs typeface="+mn-cs"/>
        </a:defRPr>
      </a:lvl8pPr>
      <a:lvl9pPr marL="2742926" algn="l" defTabSz="685732"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D5627E-49D3-2D43-8B79-40650954542B}"/>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GB"/>
              <a:t>Click to edit Master title style</a:t>
            </a:r>
            <a:endParaRPr lang="en-FR"/>
          </a:p>
        </p:txBody>
      </p:sp>
      <p:sp>
        <p:nvSpPr>
          <p:cNvPr id="3" name="Text Placeholder 2">
            <a:extLst>
              <a:ext uri="{FF2B5EF4-FFF2-40B4-BE49-F238E27FC236}">
                <a16:creationId xmlns:a16="http://schemas.microsoft.com/office/drawing/2014/main" id="{85E88408-7424-DA43-B25D-F7935211BA6E}"/>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R"/>
          </a:p>
        </p:txBody>
      </p:sp>
      <p:sp>
        <p:nvSpPr>
          <p:cNvPr id="4" name="Date Placeholder 3">
            <a:extLst>
              <a:ext uri="{FF2B5EF4-FFF2-40B4-BE49-F238E27FC236}">
                <a16:creationId xmlns:a16="http://schemas.microsoft.com/office/drawing/2014/main" id="{B81AF3A3-DC9F-E64F-9AA5-3684AA4D241E}"/>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FR"/>
          </a:p>
        </p:txBody>
      </p:sp>
      <p:sp>
        <p:nvSpPr>
          <p:cNvPr id="5" name="Footer Placeholder 4">
            <a:extLst>
              <a:ext uri="{FF2B5EF4-FFF2-40B4-BE49-F238E27FC236}">
                <a16:creationId xmlns:a16="http://schemas.microsoft.com/office/drawing/2014/main" id="{CF8B7A8E-C03E-004A-856D-F38B494534BC}"/>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FR"/>
          </a:p>
        </p:txBody>
      </p:sp>
      <p:sp>
        <p:nvSpPr>
          <p:cNvPr id="6" name="Slide Number Placeholder 5">
            <a:extLst>
              <a:ext uri="{FF2B5EF4-FFF2-40B4-BE49-F238E27FC236}">
                <a16:creationId xmlns:a16="http://schemas.microsoft.com/office/drawing/2014/main" id="{1EA32F5B-4298-814F-BC02-EBF0FBD3CB00}"/>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DC56D66-F312-1C49-897B-D453E804C6C2}" type="slidenum">
              <a:rPr lang="en-FR" smtClean="0"/>
              <a:t>‹#›</a:t>
            </a:fld>
            <a:endParaRPr lang="en-FR"/>
          </a:p>
        </p:txBody>
      </p:sp>
    </p:spTree>
    <p:extLst>
      <p:ext uri="{BB962C8B-B14F-4D97-AF65-F5344CB8AC3E}">
        <p14:creationId xmlns:p14="http://schemas.microsoft.com/office/powerpoint/2010/main" val="3932184886"/>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933206-A73A-4A13-A5B3-ADA9B0E0E848}"/>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F0F910B6-E232-4D12-961D-9FBA9E98D013}"/>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32A73A71-3383-4992-8BA9-458843E5560F}"/>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l-GR"/>
          </a:p>
        </p:txBody>
      </p:sp>
      <p:sp>
        <p:nvSpPr>
          <p:cNvPr id="5" name="Footer Placeholder 4">
            <a:extLst>
              <a:ext uri="{FF2B5EF4-FFF2-40B4-BE49-F238E27FC236}">
                <a16:creationId xmlns:a16="http://schemas.microsoft.com/office/drawing/2014/main" id="{2C338E5D-17B7-4093-9642-05ABCFC76F45}"/>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l-GR"/>
          </a:p>
        </p:txBody>
      </p:sp>
      <p:sp>
        <p:nvSpPr>
          <p:cNvPr id="6" name="Slide Number Placeholder 5">
            <a:extLst>
              <a:ext uri="{FF2B5EF4-FFF2-40B4-BE49-F238E27FC236}">
                <a16:creationId xmlns:a16="http://schemas.microsoft.com/office/drawing/2014/main" id="{875002C9-0E77-4B39-B6D8-AF0D4B12B9C9}"/>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36F10FD-8D49-4FC3-9D9F-B2E9EE5E5049}" type="slidenum">
              <a:rPr lang="el-GR" smtClean="0"/>
              <a:t>‹#›</a:t>
            </a:fld>
            <a:endParaRPr lang="el-GR"/>
          </a:p>
        </p:txBody>
      </p:sp>
    </p:spTree>
    <p:extLst>
      <p:ext uri="{BB962C8B-B14F-4D97-AF65-F5344CB8AC3E}">
        <p14:creationId xmlns:p14="http://schemas.microsoft.com/office/powerpoint/2010/main" val="238106290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542926"/>
            <a:ext cx="77724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685800" y="1372792"/>
            <a:ext cx="7772400" cy="3427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ChangeArrowheads="1"/>
          </p:cNvSpPr>
          <p:nvPr/>
        </p:nvSpPr>
        <p:spPr bwMode="auto">
          <a:xfrm>
            <a:off x="0" y="1"/>
            <a:ext cx="9144000" cy="160735"/>
          </a:xfrm>
          <a:prstGeom prst="rect">
            <a:avLst/>
          </a:prstGeom>
          <a:solidFill>
            <a:srgbClr val="2727B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i="1">
              <a:solidFill>
                <a:srgbClr val="000000"/>
              </a:solidFill>
              <a:ea typeface="ＭＳ Ｐゴシック" charset="0"/>
              <a:cs typeface="ＭＳ Ｐゴシック" charset="0"/>
            </a:endParaRPr>
          </a:p>
        </p:txBody>
      </p:sp>
      <p:sp>
        <p:nvSpPr>
          <p:cNvPr id="44038" name="Rectangle 6"/>
          <p:cNvSpPr>
            <a:spLocks noGrp="1" noChangeArrowheads="1"/>
          </p:cNvSpPr>
          <p:nvPr>
            <p:ph type="ftr" sz="quarter" idx="3"/>
          </p:nvPr>
        </p:nvSpPr>
        <p:spPr bwMode="auto">
          <a:xfrm>
            <a:off x="3124200" y="4914900"/>
            <a:ext cx="2895600" cy="114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ctr">
              <a:defRPr sz="750" b="1" i="0">
                <a:solidFill>
                  <a:schemeClr val="folHlink"/>
                </a:solidFill>
                <a:latin typeface="Arial" charset="0"/>
                <a:ea typeface="+mn-ea"/>
                <a:cs typeface="+mn-cs"/>
              </a:defRPr>
            </a:lvl1pPr>
          </a:lstStyle>
          <a:p>
            <a:pPr>
              <a:defRPr/>
            </a:pPr>
            <a:endParaRPr lang="en-US">
              <a:solidFill>
                <a:srgbClr val="777777"/>
              </a:solidFill>
            </a:endParaRPr>
          </a:p>
        </p:txBody>
      </p:sp>
      <p:sp>
        <p:nvSpPr>
          <p:cNvPr id="44039" name="Rectangle 7"/>
          <p:cNvSpPr>
            <a:spLocks noGrp="1" noChangeArrowheads="1"/>
          </p:cNvSpPr>
          <p:nvPr>
            <p:ph type="sldNum" sz="quarter" idx="4"/>
          </p:nvPr>
        </p:nvSpPr>
        <p:spPr bwMode="auto">
          <a:xfrm>
            <a:off x="7010400" y="4914900"/>
            <a:ext cx="1905000" cy="114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750" b="1" i="0">
                <a:solidFill>
                  <a:schemeClr val="folHlink"/>
                </a:solidFill>
              </a:defRPr>
            </a:lvl1pPr>
          </a:lstStyle>
          <a:p>
            <a:pPr>
              <a:defRPr/>
            </a:pPr>
            <a:fld id="{38B53618-04EC-E940-B7F2-4D463D224277}" type="slidenum">
              <a:rPr lang="en-US">
                <a:solidFill>
                  <a:srgbClr val="777777"/>
                </a:solidFill>
                <a:ea typeface="ＭＳ Ｐゴシック" charset="0"/>
                <a:cs typeface="ＭＳ Ｐゴシック" charset="0"/>
              </a:rPr>
              <a:pPr>
                <a:defRPr/>
              </a:pPr>
              <a:t>‹#›</a:t>
            </a:fld>
            <a:endParaRPr lang="en-US">
              <a:solidFill>
                <a:srgbClr val="777777"/>
              </a:solidFill>
              <a:ea typeface="ＭＳ Ｐゴシック" charset="0"/>
              <a:cs typeface="ＭＳ Ｐゴシック" charset="0"/>
            </a:endParaRPr>
          </a:p>
        </p:txBody>
      </p:sp>
      <p:pic>
        <p:nvPicPr>
          <p:cNvPr id="1032" name="Picture 8" descr="MC-Bu-Bk 150"/>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60869" y="216423"/>
            <a:ext cx="1431382" cy="345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8">
            <a:extLst>
              <a:ext uri="{FF2B5EF4-FFF2-40B4-BE49-F238E27FC236}">
                <a16:creationId xmlns:a16="http://schemas.microsoft.com/office/drawing/2014/main" id="{66EF07CD-143C-E049-9C86-89DCF6F0B623}"/>
              </a:ext>
            </a:extLst>
          </p:cNvPr>
          <p:cNvGrpSpPr/>
          <p:nvPr userDrawn="1"/>
        </p:nvGrpSpPr>
        <p:grpSpPr>
          <a:xfrm>
            <a:off x="150638" y="4873779"/>
            <a:ext cx="2457374" cy="246221"/>
            <a:chOff x="101600" y="6485842"/>
            <a:chExt cx="3276498" cy="328295"/>
          </a:xfrm>
        </p:grpSpPr>
        <p:sp>
          <p:nvSpPr>
            <p:cNvPr id="10" name="TextBox 9">
              <a:extLst>
                <a:ext uri="{FF2B5EF4-FFF2-40B4-BE49-F238E27FC236}">
                  <a16:creationId xmlns:a16="http://schemas.microsoft.com/office/drawing/2014/main" id="{7DB5C0A9-D5E5-DE47-88F1-6CEE1BCFFC20}"/>
                </a:ext>
              </a:extLst>
            </p:cNvPr>
            <p:cNvSpPr txBox="1"/>
            <p:nvPr/>
          </p:nvSpPr>
          <p:spPr>
            <a:xfrm>
              <a:off x="368300" y="6485842"/>
              <a:ext cx="3009798" cy="328295"/>
            </a:xfrm>
            <a:prstGeom prst="rect">
              <a:avLst/>
            </a:prstGeom>
            <a:noFill/>
          </p:spPr>
          <p:txBody>
            <a:bodyPr wrap="none" rtlCol="0">
              <a:spAutoFit/>
            </a:bodyPr>
            <a:lstStyle/>
            <a:p>
              <a:r>
                <a:rPr lang="en-US" sz="1000"/>
                <a:t>@rfonsi1, fonseca.rafael@mayo.edu</a:t>
              </a:r>
            </a:p>
          </p:txBody>
        </p:sp>
        <p:pic>
          <p:nvPicPr>
            <p:cNvPr id="11" name="Picture 10">
              <a:extLst>
                <a:ext uri="{FF2B5EF4-FFF2-40B4-BE49-F238E27FC236}">
                  <a16:creationId xmlns:a16="http://schemas.microsoft.com/office/drawing/2014/main" id="{D6E32149-66CC-2344-81A4-393449FFDC1B}"/>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101600" y="6527800"/>
              <a:ext cx="304814" cy="266713"/>
            </a:xfrm>
            <a:prstGeom prst="rect">
              <a:avLst/>
            </a:prstGeom>
          </p:spPr>
        </p:pic>
      </p:grpSp>
    </p:spTree>
    <p:extLst>
      <p:ext uri="{BB962C8B-B14F-4D97-AF65-F5344CB8AC3E}">
        <p14:creationId xmlns:p14="http://schemas.microsoft.com/office/powerpoint/2010/main" val="214934585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Lst>
  <p:hf sldNum="0" hdr="0" ftr="0" dt="0"/>
  <p:txStyles>
    <p:titleStyle>
      <a:lvl1pPr algn="ctr" rtl="0" eaLnBrk="0" fontAlgn="base" hangingPunct="0">
        <a:lnSpc>
          <a:spcPct val="90000"/>
        </a:lnSpc>
        <a:spcBef>
          <a:spcPct val="0"/>
        </a:spcBef>
        <a:spcAft>
          <a:spcPct val="0"/>
        </a:spcAft>
        <a:defRPr sz="2400" b="1">
          <a:solidFill>
            <a:schemeClr val="tx2"/>
          </a:solidFill>
          <a:latin typeface="+mj-lt"/>
          <a:ea typeface="ＭＳ Ｐゴシック" pitchFamily="-108" charset="-128"/>
          <a:cs typeface="ＭＳ Ｐゴシック" pitchFamily="-108" charset="-128"/>
        </a:defRPr>
      </a:lvl1pPr>
      <a:lvl2pPr algn="ctr" rtl="0" eaLnBrk="0" fontAlgn="base" hangingPunct="0">
        <a:lnSpc>
          <a:spcPct val="90000"/>
        </a:lnSpc>
        <a:spcBef>
          <a:spcPct val="0"/>
        </a:spcBef>
        <a:spcAft>
          <a:spcPct val="0"/>
        </a:spcAft>
        <a:defRPr sz="2400" b="1">
          <a:solidFill>
            <a:schemeClr val="tx2"/>
          </a:solidFill>
          <a:latin typeface="Arial" pitchFamily="-108" charset="0"/>
          <a:ea typeface="ＭＳ Ｐゴシック" pitchFamily="-108" charset="-128"/>
          <a:cs typeface="ＭＳ Ｐゴシック" pitchFamily="-108" charset="-128"/>
        </a:defRPr>
      </a:lvl2pPr>
      <a:lvl3pPr algn="ctr" rtl="0" eaLnBrk="0" fontAlgn="base" hangingPunct="0">
        <a:lnSpc>
          <a:spcPct val="90000"/>
        </a:lnSpc>
        <a:spcBef>
          <a:spcPct val="0"/>
        </a:spcBef>
        <a:spcAft>
          <a:spcPct val="0"/>
        </a:spcAft>
        <a:defRPr sz="2400" b="1">
          <a:solidFill>
            <a:schemeClr val="tx2"/>
          </a:solidFill>
          <a:latin typeface="Arial" pitchFamily="-108" charset="0"/>
          <a:ea typeface="ＭＳ Ｐゴシック" pitchFamily="-108" charset="-128"/>
          <a:cs typeface="ＭＳ Ｐゴシック" pitchFamily="-108" charset="-128"/>
        </a:defRPr>
      </a:lvl3pPr>
      <a:lvl4pPr algn="ctr" rtl="0" eaLnBrk="0" fontAlgn="base" hangingPunct="0">
        <a:lnSpc>
          <a:spcPct val="90000"/>
        </a:lnSpc>
        <a:spcBef>
          <a:spcPct val="0"/>
        </a:spcBef>
        <a:spcAft>
          <a:spcPct val="0"/>
        </a:spcAft>
        <a:defRPr sz="2400" b="1">
          <a:solidFill>
            <a:schemeClr val="tx2"/>
          </a:solidFill>
          <a:latin typeface="Arial" pitchFamily="-108" charset="0"/>
          <a:ea typeface="ＭＳ Ｐゴシック" pitchFamily="-108" charset="-128"/>
          <a:cs typeface="ＭＳ Ｐゴシック" pitchFamily="-108" charset="-128"/>
        </a:defRPr>
      </a:lvl4pPr>
      <a:lvl5pPr algn="ctr" rtl="0" eaLnBrk="0" fontAlgn="base" hangingPunct="0">
        <a:lnSpc>
          <a:spcPct val="90000"/>
        </a:lnSpc>
        <a:spcBef>
          <a:spcPct val="0"/>
        </a:spcBef>
        <a:spcAft>
          <a:spcPct val="0"/>
        </a:spcAft>
        <a:defRPr sz="2400" b="1">
          <a:solidFill>
            <a:schemeClr val="tx2"/>
          </a:solidFill>
          <a:latin typeface="Arial" pitchFamily="-108" charset="0"/>
          <a:ea typeface="ＭＳ Ｐゴシック" pitchFamily="-108" charset="-128"/>
          <a:cs typeface="ＭＳ Ｐゴシック" pitchFamily="-108" charset="-128"/>
        </a:defRPr>
      </a:lvl5pPr>
      <a:lvl6pPr marL="342900" algn="ctr" rtl="0" fontAlgn="base">
        <a:lnSpc>
          <a:spcPct val="90000"/>
        </a:lnSpc>
        <a:spcBef>
          <a:spcPct val="0"/>
        </a:spcBef>
        <a:spcAft>
          <a:spcPct val="0"/>
        </a:spcAft>
        <a:defRPr sz="2400" b="1">
          <a:solidFill>
            <a:schemeClr val="tx2"/>
          </a:solidFill>
          <a:latin typeface="Arial" pitchFamily="-108" charset="0"/>
        </a:defRPr>
      </a:lvl6pPr>
      <a:lvl7pPr marL="685800" algn="ctr" rtl="0" fontAlgn="base">
        <a:lnSpc>
          <a:spcPct val="90000"/>
        </a:lnSpc>
        <a:spcBef>
          <a:spcPct val="0"/>
        </a:spcBef>
        <a:spcAft>
          <a:spcPct val="0"/>
        </a:spcAft>
        <a:defRPr sz="2400" b="1">
          <a:solidFill>
            <a:schemeClr val="tx2"/>
          </a:solidFill>
          <a:latin typeface="Arial" pitchFamily="-108" charset="0"/>
        </a:defRPr>
      </a:lvl7pPr>
      <a:lvl8pPr marL="1028700" algn="ctr" rtl="0" fontAlgn="base">
        <a:lnSpc>
          <a:spcPct val="90000"/>
        </a:lnSpc>
        <a:spcBef>
          <a:spcPct val="0"/>
        </a:spcBef>
        <a:spcAft>
          <a:spcPct val="0"/>
        </a:spcAft>
        <a:defRPr sz="2400" b="1">
          <a:solidFill>
            <a:schemeClr val="tx2"/>
          </a:solidFill>
          <a:latin typeface="Arial" pitchFamily="-108" charset="0"/>
        </a:defRPr>
      </a:lvl8pPr>
      <a:lvl9pPr marL="1371600" algn="ctr" rtl="0" fontAlgn="base">
        <a:lnSpc>
          <a:spcPct val="90000"/>
        </a:lnSpc>
        <a:spcBef>
          <a:spcPct val="0"/>
        </a:spcBef>
        <a:spcAft>
          <a:spcPct val="0"/>
        </a:spcAft>
        <a:defRPr sz="2400" b="1">
          <a:solidFill>
            <a:schemeClr val="tx2"/>
          </a:solidFill>
          <a:latin typeface="Arial" pitchFamily="-108" charset="0"/>
        </a:defRPr>
      </a:lvl9pPr>
    </p:titleStyle>
    <p:bodyStyle>
      <a:lvl1pPr marL="213122" indent="-213122" algn="l" rtl="0" eaLnBrk="0" fontAlgn="base" hangingPunct="0">
        <a:lnSpc>
          <a:spcPct val="90000"/>
        </a:lnSpc>
        <a:spcBef>
          <a:spcPct val="50000"/>
        </a:spcBef>
        <a:spcAft>
          <a:spcPct val="0"/>
        </a:spcAft>
        <a:buClr>
          <a:schemeClr val="tx2"/>
        </a:buClr>
        <a:buSzPct val="120000"/>
        <a:buChar char="•"/>
        <a:defRPr sz="2400" b="1">
          <a:solidFill>
            <a:schemeClr val="tx1"/>
          </a:solidFill>
          <a:latin typeface="+mn-lt"/>
          <a:ea typeface="ＭＳ Ｐゴシック" pitchFamily="-108" charset="-128"/>
          <a:cs typeface="ＭＳ Ｐゴシック" pitchFamily="-108" charset="-128"/>
        </a:defRPr>
      </a:lvl1pPr>
      <a:lvl2pPr marL="645319" indent="-220266" algn="l" rtl="0" eaLnBrk="0" fontAlgn="base" hangingPunct="0">
        <a:lnSpc>
          <a:spcPct val="90000"/>
        </a:lnSpc>
        <a:spcBef>
          <a:spcPct val="20000"/>
        </a:spcBef>
        <a:spcAft>
          <a:spcPct val="0"/>
        </a:spcAft>
        <a:buClr>
          <a:schemeClr val="folHlink"/>
        </a:buClr>
        <a:buSzPct val="120000"/>
        <a:buChar char="•"/>
        <a:defRPr sz="2400" b="1">
          <a:solidFill>
            <a:schemeClr val="tx1"/>
          </a:solidFill>
          <a:latin typeface="+mn-lt"/>
          <a:ea typeface="ＭＳ Ｐゴシック" pitchFamily="-108" charset="-128"/>
        </a:defRPr>
      </a:lvl2pPr>
      <a:lvl3pPr marL="983456" indent="-211931" algn="l" rtl="0" eaLnBrk="0" fontAlgn="base" hangingPunct="0">
        <a:lnSpc>
          <a:spcPct val="90000"/>
        </a:lnSpc>
        <a:spcBef>
          <a:spcPct val="20000"/>
        </a:spcBef>
        <a:spcAft>
          <a:spcPct val="0"/>
        </a:spcAft>
        <a:buClr>
          <a:schemeClr val="folHlink"/>
        </a:buClr>
        <a:buSzPct val="120000"/>
        <a:buChar char="•"/>
        <a:defRPr sz="2400" b="1">
          <a:solidFill>
            <a:schemeClr val="tx1"/>
          </a:solidFill>
          <a:latin typeface="+mn-lt"/>
          <a:ea typeface="ＭＳ Ｐゴシック" pitchFamily="-108" charset="-128"/>
        </a:defRPr>
      </a:lvl3pPr>
      <a:lvl4pPr marL="1329929" indent="-211931" algn="l" rtl="0" eaLnBrk="0" fontAlgn="base" hangingPunct="0">
        <a:lnSpc>
          <a:spcPct val="90000"/>
        </a:lnSpc>
        <a:spcBef>
          <a:spcPct val="20000"/>
        </a:spcBef>
        <a:spcAft>
          <a:spcPct val="0"/>
        </a:spcAft>
        <a:buClr>
          <a:schemeClr val="folHlink"/>
        </a:buClr>
        <a:buSzPct val="120000"/>
        <a:buChar char="•"/>
        <a:defRPr sz="2400" b="1">
          <a:solidFill>
            <a:schemeClr val="tx1"/>
          </a:solidFill>
          <a:latin typeface="+mn-lt"/>
          <a:ea typeface="ＭＳ Ｐゴシック" pitchFamily="-108" charset="-128"/>
        </a:defRPr>
      </a:lvl4pPr>
      <a:lvl5pPr marL="1669256" indent="-213122" algn="l" rtl="0" eaLnBrk="0" fontAlgn="base" hangingPunct="0">
        <a:lnSpc>
          <a:spcPct val="90000"/>
        </a:lnSpc>
        <a:spcBef>
          <a:spcPct val="20000"/>
        </a:spcBef>
        <a:spcAft>
          <a:spcPct val="0"/>
        </a:spcAft>
        <a:buClr>
          <a:schemeClr val="folHlink"/>
        </a:buClr>
        <a:buSzPct val="120000"/>
        <a:buChar char="•"/>
        <a:defRPr sz="2400" b="1">
          <a:solidFill>
            <a:schemeClr val="tx1"/>
          </a:solidFill>
          <a:latin typeface="+mn-lt"/>
          <a:ea typeface="ＭＳ Ｐゴシック" pitchFamily="-108" charset="-128"/>
        </a:defRPr>
      </a:lvl5pPr>
      <a:lvl6pPr marL="2012156" indent="-213122" algn="l" rtl="0" fontAlgn="base">
        <a:lnSpc>
          <a:spcPct val="90000"/>
        </a:lnSpc>
        <a:spcBef>
          <a:spcPct val="20000"/>
        </a:spcBef>
        <a:spcAft>
          <a:spcPct val="0"/>
        </a:spcAft>
        <a:buClr>
          <a:schemeClr val="folHlink"/>
        </a:buClr>
        <a:buSzPct val="120000"/>
        <a:buChar char="•"/>
        <a:defRPr sz="2400" b="1">
          <a:solidFill>
            <a:schemeClr val="tx1"/>
          </a:solidFill>
          <a:latin typeface="+mn-lt"/>
          <a:ea typeface="ＭＳ Ｐゴシック" pitchFamily="-108" charset="-128"/>
        </a:defRPr>
      </a:lvl6pPr>
      <a:lvl7pPr marL="2355056" indent="-213122" algn="l" rtl="0" fontAlgn="base">
        <a:lnSpc>
          <a:spcPct val="90000"/>
        </a:lnSpc>
        <a:spcBef>
          <a:spcPct val="20000"/>
        </a:spcBef>
        <a:spcAft>
          <a:spcPct val="0"/>
        </a:spcAft>
        <a:buClr>
          <a:schemeClr val="folHlink"/>
        </a:buClr>
        <a:buSzPct val="120000"/>
        <a:buChar char="•"/>
        <a:defRPr sz="2400" b="1">
          <a:solidFill>
            <a:schemeClr val="tx1"/>
          </a:solidFill>
          <a:latin typeface="+mn-lt"/>
          <a:ea typeface="ＭＳ Ｐゴシック" pitchFamily="-108" charset="-128"/>
        </a:defRPr>
      </a:lvl7pPr>
      <a:lvl8pPr marL="2697956" indent="-213122" algn="l" rtl="0" fontAlgn="base">
        <a:lnSpc>
          <a:spcPct val="90000"/>
        </a:lnSpc>
        <a:spcBef>
          <a:spcPct val="20000"/>
        </a:spcBef>
        <a:spcAft>
          <a:spcPct val="0"/>
        </a:spcAft>
        <a:buClr>
          <a:schemeClr val="folHlink"/>
        </a:buClr>
        <a:buSzPct val="120000"/>
        <a:buChar char="•"/>
        <a:defRPr sz="2400" b="1">
          <a:solidFill>
            <a:schemeClr val="tx1"/>
          </a:solidFill>
          <a:latin typeface="+mn-lt"/>
          <a:ea typeface="ＭＳ Ｐゴシック" pitchFamily="-108" charset="-128"/>
        </a:defRPr>
      </a:lvl8pPr>
      <a:lvl9pPr marL="3040856" indent="-213122" algn="l" rtl="0" fontAlgn="base">
        <a:lnSpc>
          <a:spcPct val="90000"/>
        </a:lnSpc>
        <a:spcBef>
          <a:spcPct val="20000"/>
        </a:spcBef>
        <a:spcAft>
          <a:spcPct val="0"/>
        </a:spcAft>
        <a:buClr>
          <a:schemeClr val="folHlink"/>
        </a:buClr>
        <a:buSzPct val="120000"/>
        <a:buChar char="•"/>
        <a:defRPr sz="2400" b="1">
          <a:solidFill>
            <a:schemeClr val="tx1"/>
          </a:solidFill>
          <a:latin typeface="+mn-lt"/>
          <a:ea typeface="ＭＳ Ｐゴシック" pitchFamily="-108" charset="-128"/>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58C5E0-CE8F-B44D-B1C6-F22556ED0F35}"/>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01623E4-C9CE-864E-8858-FA9D156C32C4}"/>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C9D7BDF-F8ED-D241-BD40-A143EC760214}"/>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E72E90CC-9147-3748-A4FA-BD3900D78B4B}"/>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AEDD98A-8EB9-8645-9835-316AA29126E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6DADDCB9-5E36-0D42-ACC2-ADF0380F3C88}" type="slidenum">
              <a:rPr lang="en-US" smtClean="0"/>
              <a:t>‹#›</a:t>
            </a:fld>
            <a:endParaRPr lang="en-US"/>
          </a:p>
        </p:txBody>
      </p:sp>
    </p:spTree>
    <p:extLst>
      <p:ext uri="{BB962C8B-B14F-4D97-AF65-F5344CB8AC3E}">
        <p14:creationId xmlns:p14="http://schemas.microsoft.com/office/powerpoint/2010/main" val="3760413681"/>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x-non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99465FA4-58DA-4EBD-A15D-A4025393BCB4}"/>
              </a:ext>
            </a:extLst>
          </p:cNvPr>
          <p:cNvSpPr>
            <a:spLocks noGrp="1"/>
          </p:cNvSpPr>
          <p:nvPr>
            <p:ph type="title"/>
          </p:nvPr>
        </p:nvSpPr>
        <p:spPr bwMode="auto">
          <a:xfrm>
            <a:off x="628650" y="273844"/>
            <a:ext cx="7886700" cy="9941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BE325D25-1B6B-4088-9159-67E4B22D9B61}"/>
              </a:ext>
            </a:extLst>
          </p:cNvPr>
          <p:cNvSpPr>
            <a:spLocks noGrp="1"/>
          </p:cNvSpPr>
          <p:nvPr>
            <p:ph type="body" idx="1"/>
          </p:nvPr>
        </p:nvSpPr>
        <p:spPr bwMode="auto">
          <a:xfrm>
            <a:off x="628650" y="1369219"/>
            <a:ext cx="7886700" cy="32635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76B5C17F-3C7C-4EAE-B687-4D99A6FA3EC3}"/>
              </a:ext>
            </a:extLst>
          </p:cNvPr>
          <p:cNvSpPr>
            <a:spLocks noGrp="1"/>
          </p:cNvSpPr>
          <p:nvPr>
            <p:ph type="dt" sz="half" idx="2"/>
          </p:nvPr>
        </p:nvSpPr>
        <p:spPr>
          <a:xfrm>
            <a:off x="628650" y="4767263"/>
            <a:ext cx="2057400" cy="273844"/>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pPr fontAlgn="base">
              <a:spcBef>
                <a:spcPct val="0"/>
              </a:spcBef>
              <a:spcAft>
                <a:spcPct val="0"/>
              </a:spcAft>
              <a:defRPr/>
            </a:pPr>
            <a:endParaRPr lang="en-US" altLang="en-US">
              <a:ea typeface="ＭＳ Ｐゴシック" panose="020B0600070205080204" pitchFamily="34" charset="-128"/>
            </a:endParaRPr>
          </a:p>
        </p:txBody>
      </p:sp>
      <p:sp>
        <p:nvSpPr>
          <p:cNvPr id="5" name="Footer Placeholder 4">
            <a:extLst>
              <a:ext uri="{FF2B5EF4-FFF2-40B4-BE49-F238E27FC236}">
                <a16:creationId xmlns:a16="http://schemas.microsoft.com/office/drawing/2014/main" id="{468673D2-99C5-44C3-8E47-3AD5605370CD}"/>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chemeClr val="tx1">
                    <a:tint val="75000"/>
                  </a:schemeClr>
                </a:solidFill>
                <a:latin typeface="+mn-lt"/>
                <a:ea typeface="+mn-ea"/>
                <a:cs typeface="+mn-cs"/>
              </a:defRPr>
            </a:lvl1pPr>
          </a:lstStyle>
          <a:p>
            <a:pPr>
              <a:defRPr/>
            </a:pPr>
            <a:endParaRPr lang="en-US">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515B3BB7-B101-42B8-9FB4-D15FD106BE83}"/>
              </a:ext>
            </a:extLst>
          </p:cNvPr>
          <p:cNvSpPr>
            <a:spLocks noGrp="1"/>
          </p:cNvSpPr>
          <p:nvPr>
            <p:ph type="sldNum" sz="quarter" idx="4"/>
          </p:nvPr>
        </p:nvSpPr>
        <p:spPr>
          <a:xfrm>
            <a:off x="6457950" y="4767263"/>
            <a:ext cx="2057400"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latin typeface="Calibri" panose="020F0502020204030204" pitchFamily="34" charset="0"/>
              </a:defRPr>
            </a:lvl1pPr>
          </a:lstStyle>
          <a:p>
            <a:pPr fontAlgn="base">
              <a:spcBef>
                <a:spcPct val="0"/>
              </a:spcBef>
              <a:spcAft>
                <a:spcPct val="0"/>
              </a:spcAft>
            </a:pPr>
            <a:fld id="{16E4487C-5957-4583-A038-BC36171F4FDB}" type="slidenum">
              <a:rPr lang="en-US" altLang="en-US">
                <a:ea typeface="ＭＳ Ｐゴシック" panose="020B0600070205080204" pitchFamily="34" charset="-128"/>
              </a:rPr>
              <a:pPr fontAlgn="base">
                <a:spcBef>
                  <a:spcPct val="0"/>
                </a:spcBef>
                <a:spcAft>
                  <a:spcPct val="0"/>
                </a:spcAft>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2837345325"/>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Lst>
  <p:hf sldNum="0" hdr="0" ftr="0" dt="0"/>
  <p:txStyles>
    <p:titleStyle>
      <a:lvl1pPr algn="l" rtl="0" eaLnBrk="0" fontAlgn="base" hangingPunct="0">
        <a:lnSpc>
          <a:spcPct val="90000"/>
        </a:lnSpc>
        <a:spcBef>
          <a:spcPct val="0"/>
        </a:spcBef>
        <a:spcAft>
          <a:spcPct val="0"/>
        </a:spcAft>
        <a:defRPr sz="3300" kern="1200">
          <a:solidFill>
            <a:schemeClr val="tx1"/>
          </a:solidFill>
          <a:latin typeface="+mj-lt"/>
          <a:ea typeface="ＭＳ Ｐゴシック" charset="0"/>
          <a:cs typeface="ＭＳ Ｐゴシック" charset="0"/>
        </a:defRPr>
      </a:lvl1pPr>
      <a:lvl2pPr algn="l" rtl="0" eaLnBrk="0" fontAlgn="base" hangingPunct="0">
        <a:lnSpc>
          <a:spcPct val="90000"/>
        </a:lnSpc>
        <a:spcBef>
          <a:spcPct val="0"/>
        </a:spcBef>
        <a:spcAft>
          <a:spcPct val="0"/>
        </a:spcAft>
        <a:defRPr sz="3300">
          <a:solidFill>
            <a:schemeClr val="tx1"/>
          </a:solidFill>
          <a:latin typeface="Calibri Light" charset="0"/>
          <a:ea typeface="ＭＳ Ｐゴシック" charset="0"/>
          <a:cs typeface="ＭＳ Ｐゴシック" charset="0"/>
        </a:defRPr>
      </a:lvl2pPr>
      <a:lvl3pPr algn="l" rtl="0" eaLnBrk="0" fontAlgn="base" hangingPunct="0">
        <a:lnSpc>
          <a:spcPct val="90000"/>
        </a:lnSpc>
        <a:spcBef>
          <a:spcPct val="0"/>
        </a:spcBef>
        <a:spcAft>
          <a:spcPct val="0"/>
        </a:spcAft>
        <a:defRPr sz="3300">
          <a:solidFill>
            <a:schemeClr val="tx1"/>
          </a:solidFill>
          <a:latin typeface="Calibri Light" charset="0"/>
          <a:ea typeface="ＭＳ Ｐゴシック" charset="0"/>
          <a:cs typeface="ＭＳ Ｐゴシック" charset="0"/>
        </a:defRPr>
      </a:lvl3pPr>
      <a:lvl4pPr algn="l" rtl="0" eaLnBrk="0" fontAlgn="base" hangingPunct="0">
        <a:lnSpc>
          <a:spcPct val="90000"/>
        </a:lnSpc>
        <a:spcBef>
          <a:spcPct val="0"/>
        </a:spcBef>
        <a:spcAft>
          <a:spcPct val="0"/>
        </a:spcAft>
        <a:defRPr sz="3300">
          <a:solidFill>
            <a:schemeClr val="tx1"/>
          </a:solidFill>
          <a:latin typeface="Calibri Light" charset="0"/>
          <a:ea typeface="ＭＳ Ｐゴシック" charset="0"/>
          <a:cs typeface="ＭＳ Ｐゴシック" charset="0"/>
        </a:defRPr>
      </a:lvl4pPr>
      <a:lvl5pPr algn="l" rtl="0" eaLnBrk="0" fontAlgn="base" hangingPunct="0">
        <a:lnSpc>
          <a:spcPct val="90000"/>
        </a:lnSpc>
        <a:spcBef>
          <a:spcPct val="0"/>
        </a:spcBef>
        <a:spcAft>
          <a:spcPct val="0"/>
        </a:spcAft>
        <a:defRPr sz="3300">
          <a:solidFill>
            <a:schemeClr val="tx1"/>
          </a:solidFill>
          <a:latin typeface="Calibri Light" charset="0"/>
          <a:ea typeface="ＭＳ Ｐゴシック" charset="0"/>
          <a:cs typeface="ＭＳ Ｐゴシック" charset="0"/>
        </a:defRPr>
      </a:lvl5pPr>
      <a:lvl6pPr marL="342900" algn="l" rtl="0" fontAlgn="base">
        <a:lnSpc>
          <a:spcPct val="90000"/>
        </a:lnSpc>
        <a:spcBef>
          <a:spcPct val="0"/>
        </a:spcBef>
        <a:spcAft>
          <a:spcPct val="0"/>
        </a:spcAft>
        <a:defRPr sz="3300">
          <a:solidFill>
            <a:schemeClr val="tx1"/>
          </a:solidFill>
          <a:latin typeface="Calibri Light" charset="0"/>
          <a:ea typeface="ＭＳ Ｐゴシック" charset="0"/>
          <a:cs typeface="ＭＳ Ｐゴシック" charset="0"/>
        </a:defRPr>
      </a:lvl6pPr>
      <a:lvl7pPr marL="685800" algn="l" rtl="0" fontAlgn="base">
        <a:lnSpc>
          <a:spcPct val="90000"/>
        </a:lnSpc>
        <a:spcBef>
          <a:spcPct val="0"/>
        </a:spcBef>
        <a:spcAft>
          <a:spcPct val="0"/>
        </a:spcAft>
        <a:defRPr sz="3300">
          <a:solidFill>
            <a:schemeClr val="tx1"/>
          </a:solidFill>
          <a:latin typeface="Calibri Light" charset="0"/>
          <a:ea typeface="ＭＳ Ｐゴシック" charset="0"/>
          <a:cs typeface="ＭＳ Ｐゴシック" charset="0"/>
        </a:defRPr>
      </a:lvl7pPr>
      <a:lvl8pPr marL="1028700" algn="l" rtl="0" fontAlgn="base">
        <a:lnSpc>
          <a:spcPct val="90000"/>
        </a:lnSpc>
        <a:spcBef>
          <a:spcPct val="0"/>
        </a:spcBef>
        <a:spcAft>
          <a:spcPct val="0"/>
        </a:spcAft>
        <a:defRPr sz="3300">
          <a:solidFill>
            <a:schemeClr val="tx1"/>
          </a:solidFill>
          <a:latin typeface="Calibri Light" charset="0"/>
          <a:ea typeface="ＭＳ Ｐゴシック" charset="0"/>
          <a:cs typeface="ＭＳ Ｐゴシック" charset="0"/>
        </a:defRPr>
      </a:lvl8pPr>
      <a:lvl9pPr marL="1371600" algn="l" rtl="0" fontAlgn="base">
        <a:lnSpc>
          <a:spcPct val="90000"/>
        </a:lnSpc>
        <a:spcBef>
          <a:spcPct val="0"/>
        </a:spcBef>
        <a:spcAft>
          <a:spcPct val="0"/>
        </a:spcAft>
        <a:defRPr sz="3300">
          <a:solidFill>
            <a:schemeClr val="tx1"/>
          </a:solidFill>
          <a:latin typeface="Calibri Light" charset="0"/>
          <a:ea typeface="ＭＳ Ｐゴシック" charset="0"/>
          <a:cs typeface="ＭＳ Ｐゴシック" charset="0"/>
        </a:defRPr>
      </a:lvl9pPr>
    </p:titleStyle>
    <p:body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ＭＳ Ｐゴシック" charset="0"/>
          <a:cs typeface="ＭＳ Ｐゴシック" charset="0"/>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ＭＳ Ｐゴシック" charset="0"/>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ＭＳ Ｐゴシック" charset="0"/>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ＭＳ Ｐゴシック" charset="0"/>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ＭＳ Ｐゴシック" charset="0"/>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0"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686800" y="4815066"/>
            <a:ext cx="388961" cy="273844"/>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latin typeface="Arial" panose="020B0604020202020204" pitchFamily="34" charset="0"/>
                <a:cs typeface="Arial" panose="020B0604020202020204" pitchFamily="34" charset="0"/>
              </a:defRPr>
            </a:lvl1pPr>
          </a:lstStyle>
          <a:p>
            <a:fld id="{B0ABAB64-726D-C943-9B15-2E81C6025A8E}" type="slidenum">
              <a:rPr lang="en-US" smtClean="0"/>
              <a:pPr/>
              <a:t>‹#›</a:t>
            </a:fld>
            <a:endParaRPr lang="en-US"/>
          </a:p>
        </p:txBody>
      </p:sp>
    </p:spTree>
    <p:extLst>
      <p:ext uri="{BB962C8B-B14F-4D97-AF65-F5344CB8AC3E}">
        <p14:creationId xmlns:p14="http://schemas.microsoft.com/office/powerpoint/2010/main" val="4203802605"/>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Lst>
  <p:hf sldNum="0" hdr="0" ftr="0" dt="0"/>
  <p:txStyles>
    <p:titleStyle>
      <a:lvl1pPr algn="l" defTabSz="457189" rtl="0" eaLnBrk="0" fontAlgn="base" hangingPunct="0">
        <a:spcBef>
          <a:spcPct val="0"/>
        </a:spcBef>
        <a:spcAft>
          <a:spcPct val="0"/>
        </a:spcAft>
        <a:defRPr sz="3200" kern="1200">
          <a:solidFill>
            <a:srgbClr val="CD113B"/>
          </a:solidFill>
          <a:latin typeface="Arial"/>
          <a:ea typeface="Geneva" pitchFamily="37" charset="-128"/>
          <a:cs typeface="Arial"/>
        </a:defRPr>
      </a:lvl1pPr>
      <a:lvl2pPr algn="l" defTabSz="457189"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189"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189"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189"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189" algn="l" defTabSz="457189" rtl="0" fontAlgn="base">
        <a:spcBef>
          <a:spcPct val="0"/>
        </a:spcBef>
        <a:spcAft>
          <a:spcPct val="0"/>
        </a:spcAft>
        <a:defRPr sz="3200">
          <a:solidFill>
            <a:srgbClr val="800000"/>
          </a:solidFill>
          <a:latin typeface="Times New Roman" pitchFamily="37" charset="0"/>
          <a:ea typeface="Geneva" pitchFamily="37" charset="-128"/>
        </a:defRPr>
      </a:lvl6pPr>
      <a:lvl7pPr marL="914378" algn="l" defTabSz="457189" rtl="0" fontAlgn="base">
        <a:spcBef>
          <a:spcPct val="0"/>
        </a:spcBef>
        <a:spcAft>
          <a:spcPct val="0"/>
        </a:spcAft>
        <a:defRPr sz="3200">
          <a:solidFill>
            <a:srgbClr val="800000"/>
          </a:solidFill>
          <a:latin typeface="Times New Roman" pitchFamily="37" charset="0"/>
          <a:ea typeface="Geneva" pitchFamily="37" charset="-128"/>
        </a:defRPr>
      </a:lvl7pPr>
      <a:lvl8pPr marL="1371566" algn="l" defTabSz="457189" rtl="0" fontAlgn="base">
        <a:spcBef>
          <a:spcPct val="0"/>
        </a:spcBef>
        <a:spcAft>
          <a:spcPct val="0"/>
        </a:spcAft>
        <a:defRPr sz="3200">
          <a:solidFill>
            <a:srgbClr val="800000"/>
          </a:solidFill>
          <a:latin typeface="Times New Roman" pitchFamily="37" charset="0"/>
          <a:ea typeface="Geneva" pitchFamily="37" charset="-128"/>
        </a:defRPr>
      </a:lvl8pPr>
      <a:lvl9pPr marL="1828754" algn="l" defTabSz="457189" rtl="0" fontAlgn="base">
        <a:spcBef>
          <a:spcPct val="0"/>
        </a:spcBef>
        <a:spcAft>
          <a:spcPct val="0"/>
        </a:spcAft>
        <a:defRPr sz="3200">
          <a:solidFill>
            <a:srgbClr val="800000"/>
          </a:solidFill>
          <a:latin typeface="Times New Roman" pitchFamily="37" charset="0"/>
          <a:ea typeface="Geneva" pitchFamily="37" charset="-128"/>
        </a:defRPr>
      </a:lvl9pPr>
    </p:titleStyle>
    <p:bodyStyle>
      <a:lvl1pPr marL="342892" indent="-342892" algn="l" defTabSz="457189" rtl="0" eaLnBrk="0" fontAlgn="base" hangingPunct="0">
        <a:spcBef>
          <a:spcPct val="20000"/>
        </a:spcBef>
        <a:spcAft>
          <a:spcPct val="0"/>
        </a:spcAft>
        <a:buFont typeface="Arial" charset="0"/>
        <a:buChar char="•"/>
        <a:defRPr sz="2400" kern="1200">
          <a:solidFill>
            <a:schemeClr val="tx1"/>
          </a:solidFill>
          <a:latin typeface="+mn-lt"/>
          <a:ea typeface="Geneva" pitchFamily="37" charset="-128"/>
          <a:cs typeface="Geneva" pitchFamily="37" charset="-128"/>
        </a:defRPr>
      </a:lvl1pPr>
      <a:lvl2pPr marL="742931" indent="-285743" algn="l" defTabSz="457189" rtl="0" eaLnBrk="0" fontAlgn="base" hangingPunct="0">
        <a:spcBef>
          <a:spcPct val="20000"/>
        </a:spcBef>
        <a:spcAft>
          <a:spcPct val="0"/>
        </a:spcAft>
        <a:buFont typeface="Arial" charset="0"/>
        <a:buChar char="–"/>
        <a:defRPr sz="2000" kern="1200">
          <a:solidFill>
            <a:schemeClr val="tx1"/>
          </a:solidFill>
          <a:latin typeface="+mn-lt"/>
          <a:ea typeface="Geneva" pitchFamily="37" charset="-128"/>
          <a:cs typeface="+mn-cs"/>
        </a:defRPr>
      </a:lvl2pPr>
      <a:lvl3pPr marL="1142972" indent="-228594" algn="l" defTabSz="457189"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1600160" indent="-228594" algn="l" defTabSz="457189"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4pPr>
      <a:lvl5pPr marL="2057348" indent="-228594" algn="l" defTabSz="457189"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2468" y="205979"/>
            <a:ext cx="8627533"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62468" y="1200151"/>
            <a:ext cx="8627533" cy="3536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95177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Lst>
  <p:hf sldNum="0" hdr="0" ftr="0" dt="0"/>
  <p:txStyles>
    <p:titleStyle>
      <a:lvl1pPr algn="ctr" defTabSz="685800" rtl="0" eaLnBrk="1" latinLnBrk="0" hangingPunct="1">
        <a:spcBef>
          <a:spcPct val="0"/>
        </a:spcBef>
        <a:buNone/>
        <a:defRPr sz="2400" b="1" kern="1200">
          <a:solidFill>
            <a:srgbClr val="800000"/>
          </a:solidFill>
          <a:latin typeface="Arial" panose="020B0604020202020204" pitchFamily="34" charset="0"/>
          <a:ea typeface="+mj-ea"/>
          <a:cs typeface="Arial" panose="020B0604020202020204" pitchFamily="34" charset="0"/>
        </a:defRPr>
      </a:lvl1pPr>
    </p:titleStyle>
    <p:bodyStyle>
      <a:lvl1pPr marL="257175" indent="-257175" algn="l" defTabSz="685800" rtl="0" eaLnBrk="1" latinLnBrk="0" hangingPunct="1">
        <a:spcBef>
          <a:spcPct val="20000"/>
        </a:spcBef>
        <a:buFont typeface="Arial"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57213" indent="-214313" algn="l" defTabSz="685800" rtl="0" eaLnBrk="1" latinLnBrk="0" hangingPunct="1">
        <a:spcBef>
          <a:spcPct val="20000"/>
        </a:spcBef>
        <a:buFont typeface="Arial" pitchFamily="34" charset="0"/>
        <a:buChar char="–"/>
        <a:defRPr sz="15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spcBef>
          <a:spcPct val="20000"/>
        </a:spcBef>
        <a:buFont typeface="Arial"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spcBef>
          <a:spcPct val="20000"/>
        </a:spcBef>
        <a:buFont typeface="Arial"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spcBef>
          <a:spcPct val="20000"/>
        </a:spcBef>
        <a:buFont typeface="Arial"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s-ES"/>
              <a:t>Haga clic para modificar el estilo de título del patrón</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base">
              <a:spcBef>
                <a:spcPct val="0"/>
              </a:spcBef>
              <a:spcAft>
                <a:spcPct val="0"/>
              </a:spcAft>
              <a:defRPr/>
            </a:pPr>
            <a:endParaRPr lang="en-US">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base">
              <a:spcBef>
                <a:spcPct val="0"/>
              </a:spcBef>
              <a:spcAft>
                <a:spcPct val="0"/>
              </a:spcAft>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base">
              <a:spcBef>
                <a:spcPct val="0"/>
              </a:spcBef>
              <a:spcAft>
                <a:spcPct val="0"/>
              </a:spcAft>
              <a:defRPr/>
            </a:pPr>
            <a:fld id="{F22969FE-76CF-4AF3-ADE4-49AF05515CC7}" type="slidenum">
              <a:rPr lang="en-US" smtClean="0">
                <a:solidFill>
                  <a:prstClr val="black">
                    <a:tint val="75000"/>
                  </a:prstClr>
                </a:solidFill>
              </a:rPr>
              <a:pPr defTabSz="685800" fontAlgn="base">
                <a:spcBef>
                  <a:spcPct val="0"/>
                </a:spcBef>
                <a:spcAft>
                  <a:spcPct val="0"/>
                </a:spcAft>
                <a:defRPr/>
              </a:pPr>
              <a:t>‹#›</a:t>
            </a:fld>
            <a:endParaRPr lang="en-US">
              <a:solidFill>
                <a:prstClr val="black">
                  <a:tint val="75000"/>
                </a:prstClr>
              </a:solidFill>
            </a:endParaRPr>
          </a:p>
        </p:txBody>
      </p:sp>
    </p:spTree>
    <p:extLst>
      <p:ext uri="{BB962C8B-B14F-4D97-AF65-F5344CB8AC3E}">
        <p14:creationId xmlns:p14="http://schemas.microsoft.com/office/powerpoint/2010/main" val="3162366154"/>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5D3A71D-897C-4A74-9D73-C5531EB084E2}"/>
              </a:ext>
            </a:extLst>
          </p:cNvPr>
          <p:cNvSpPr>
            <a:spLocks noGrp="1"/>
          </p:cNvSpPr>
          <p:nvPr>
            <p:ph type="title"/>
          </p:nvPr>
        </p:nvSpPr>
        <p:spPr>
          <a:xfrm>
            <a:off x="628650" y="273844"/>
            <a:ext cx="7886700" cy="824768"/>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FE9EE193-BE1D-4356-8D36-4B99B49FB370}"/>
              </a:ext>
            </a:extLst>
          </p:cNvPr>
          <p:cNvSpPr>
            <a:spLocks noGrp="1"/>
          </p:cNvSpPr>
          <p:nvPr>
            <p:ph type="body" idx="1"/>
          </p:nvPr>
        </p:nvSpPr>
        <p:spPr>
          <a:xfrm>
            <a:off x="628650" y="1211803"/>
            <a:ext cx="7886700" cy="3420920"/>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428960902"/>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Lst>
  <p:hf sldNum="0" hdr="0" ftr="0" dt="0"/>
  <p:txStyles>
    <p:titleStyle>
      <a:lvl1pPr algn="l" defTabSz="685800" rtl="0" eaLnBrk="1" latinLnBrk="0" hangingPunct="1">
        <a:lnSpc>
          <a:spcPct val="90000"/>
        </a:lnSpc>
        <a:spcBef>
          <a:spcPct val="0"/>
        </a:spcBef>
        <a:buNone/>
        <a:defRPr sz="2700" b="1" kern="1200">
          <a:solidFill>
            <a:srgbClr val="0070C0"/>
          </a:solidFill>
          <a:latin typeface="Arial Nova" panose="020B0504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02.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26.xml"/></Relationships>
</file>

<file path=ppt/slides/_rels/slide103.xml.rels><?xml version="1.0" encoding="UTF-8" standalone="yes"?>
<Relationships xmlns="http://schemas.openxmlformats.org/package/2006/relationships"><Relationship Id="rId3" Type="http://schemas.openxmlformats.org/officeDocument/2006/relationships/image" Target="../media/image153.tiff"/><Relationship Id="rId2" Type="http://schemas.openxmlformats.org/officeDocument/2006/relationships/image" Target="../media/image152.tiff"/><Relationship Id="rId1" Type="http://schemas.openxmlformats.org/officeDocument/2006/relationships/slideLayout" Target="../slideLayouts/slideLayout128.xml"/><Relationship Id="rId4" Type="http://schemas.openxmlformats.org/officeDocument/2006/relationships/image" Target="../media/image154.emf"/></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05.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image" Target="../media/image163.emf"/><Relationship Id="rId1" Type="http://schemas.openxmlformats.org/officeDocument/2006/relationships/slideLayout" Target="../slideLayouts/slideLayout128.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10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wmf"/><Relationship Id="rId1" Type="http://schemas.openxmlformats.org/officeDocument/2006/relationships/slideLayout" Target="../slideLayouts/slideLayout128.xml"/></Relationships>
</file>

<file path=ppt/slides/_rels/slide108.xml.rels><?xml version="1.0" encoding="UTF-8" standalone="yes"?>
<Relationships xmlns="http://schemas.openxmlformats.org/package/2006/relationships"><Relationship Id="rId3" Type="http://schemas.openxmlformats.org/officeDocument/2006/relationships/image" Target="../media/image168.svg"/><Relationship Id="rId7" Type="http://schemas.openxmlformats.org/officeDocument/2006/relationships/image" Target="../media/image172.svg"/><Relationship Id="rId2" Type="http://schemas.openxmlformats.org/officeDocument/2006/relationships/image" Target="../media/image167.png"/><Relationship Id="rId1" Type="http://schemas.openxmlformats.org/officeDocument/2006/relationships/slideLayout" Target="../slideLayouts/slideLayout131.xml"/><Relationship Id="rId6" Type="http://schemas.openxmlformats.org/officeDocument/2006/relationships/image" Target="../media/image171.png"/><Relationship Id="rId5" Type="http://schemas.openxmlformats.org/officeDocument/2006/relationships/image" Target="../media/image170.svg"/><Relationship Id="rId4" Type="http://schemas.openxmlformats.org/officeDocument/2006/relationships/image" Target="../media/image169.pn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26.xml"/></Relationships>
</file>

<file path=ppt/slides/_rels/slide111.xml.rels><?xml version="1.0" encoding="UTF-8" standalone="yes"?>
<Relationships xmlns="http://schemas.openxmlformats.org/package/2006/relationships"><Relationship Id="rId3" Type="http://schemas.openxmlformats.org/officeDocument/2006/relationships/image" Target="../media/image175.tiff"/><Relationship Id="rId2" Type="http://schemas.openxmlformats.org/officeDocument/2006/relationships/image" Target="../media/image174.tiff"/><Relationship Id="rId1" Type="http://schemas.openxmlformats.org/officeDocument/2006/relationships/slideLayout" Target="../slideLayouts/slideLayout126.xml"/></Relationships>
</file>

<file path=ppt/slides/_rels/slide11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38.xml"/><Relationship Id="rId1" Type="http://schemas.openxmlformats.org/officeDocument/2006/relationships/slideLayout" Target="../slideLayouts/slideLayout126.xml"/></Relationships>
</file>

<file path=ppt/slides/_rels/slide1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26.xml"/></Relationships>
</file>

<file path=ppt/slides/_rels/slide1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9.xml"/><Relationship Id="rId1" Type="http://schemas.openxmlformats.org/officeDocument/2006/relationships/slideLayout" Target="../slideLayouts/slideLayout126.xml"/></Relationships>
</file>

<file path=ppt/slides/_rels/slide11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40.xml"/><Relationship Id="rId1" Type="http://schemas.openxmlformats.org/officeDocument/2006/relationships/slideLayout" Target="../slideLayouts/slideLayout126.xml"/></Relationships>
</file>

<file path=ppt/slides/_rels/slide11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41.xml"/><Relationship Id="rId1" Type="http://schemas.openxmlformats.org/officeDocument/2006/relationships/slideLayout" Target="../slideLayouts/slideLayout126.xml"/></Relationships>
</file>

<file path=ppt/slides/_rels/slide117.xml.rels><?xml version="1.0" encoding="UTF-8" standalone="yes"?>
<Relationships xmlns="http://schemas.openxmlformats.org/package/2006/relationships"><Relationship Id="rId2" Type="http://schemas.openxmlformats.org/officeDocument/2006/relationships/image" Target="../media/image179.emf"/><Relationship Id="rId1" Type="http://schemas.openxmlformats.org/officeDocument/2006/relationships/slideLayout" Target="../slideLayouts/slideLayout126.xml"/></Relationships>
</file>

<file path=ppt/slides/_rels/slide118.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42.xml"/><Relationship Id="rId1" Type="http://schemas.openxmlformats.org/officeDocument/2006/relationships/slideLayout" Target="../slideLayouts/slideLayout126.xml"/><Relationship Id="rId4" Type="http://schemas.openxmlformats.org/officeDocument/2006/relationships/image" Target="../media/image181.png"/></Relationships>
</file>

<file path=ppt/slides/_rels/slide119.xml.rels><?xml version="1.0" encoding="UTF-8" standalone="yes"?>
<Relationships xmlns="http://schemas.openxmlformats.org/package/2006/relationships"><Relationship Id="rId3" Type="http://schemas.openxmlformats.org/officeDocument/2006/relationships/image" Target="../media/image182.tiff"/><Relationship Id="rId2" Type="http://schemas.openxmlformats.org/officeDocument/2006/relationships/image" Target="../media/image174.tiff"/><Relationship Id="rId1" Type="http://schemas.openxmlformats.org/officeDocument/2006/relationships/slideLayout" Target="../slideLayouts/slideLayout1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6.xml"/></Relationships>
</file>

<file path=ppt/slides/_rels/slide121.xml.rels><?xml version="1.0" encoding="UTF-8" standalone="yes"?>
<Relationships xmlns="http://schemas.openxmlformats.org/package/2006/relationships"><Relationship Id="rId3" Type="http://schemas.openxmlformats.org/officeDocument/2006/relationships/image" Target="../media/image183.tiff"/><Relationship Id="rId2" Type="http://schemas.openxmlformats.org/officeDocument/2006/relationships/image" Target="../media/image174.tiff"/><Relationship Id="rId1" Type="http://schemas.openxmlformats.org/officeDocument/2006/relationships/slideLayout" Target="../slideLayouts/slideLayout12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72.xml"/></Relationships>
</file>

<file path=ppt/slides/_rels/slide126.xml.rels><?xml version="1.0" encoding="UTF-8" standalone="yes"?>
<Relationships xmlns="http://schemas.openxmlformats.org/package/2006/relationships"><Relationship Id="rId2" Type="http://schemas.openxmlformats.org/officeDocument/2006/relationships/image" Target="../media/image185.jpeg"/><Relationship Id="rId1" Type="http://schemas.openxmlformats.org/officeDocument/2006/relationships/slideLayout" Target="../slideLayouts/slideLayout83.xml"/></Relationships>
</file>

<file path=ppt/slides/_rels/slide127.xml.rels><?xml version="1.0" encoding="UTF-8" standalone="yes"?>
<Relationships xmlns="http://schemas.openxmlformats.org/package/2006/relationships"><Relationship Id="rId2" Type="http://schemas.openxmlformats.org/officeDocument/2006/relationships/image" Target="../media/image186.jpe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0.xml"/></Relationships>
</file>

<file path=ppt/slides/_rels/slide131.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157.xml"/></Relationships>
</file>

<file path=ppt/slides/_rels/slide132.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45.xml"/><Relationship Id="rId1" Type="http://schemas.openxmlformats.org/officeDocument/2006/relationships/slideLayout" Target="../slideLayouts/slideLayout160.xml"/><Relationship Id="rId5" Type="http://schemas.openxmlformats.org/officeDocument/2006/relationships/image" Target="../media/image190.tiff"/><Relationship Id="rId4" Type="http://schemas.openxmlformats.org/officeDocument/2006/relationships/image" Target="../media/image189.png"/></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191.jpe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notesSlide" Target="../notesSlides/notesSlide46.xml"/><Relationship Id="rId7" Type="http://schemas.openxmlformats.org/officeDocument/2006/relationships/image" Target="../media/image194.png"/><Relationship Id="rId2" Type="http://schemas.openxmlformats.org/officeDocument/2006/relationships/slideLayout" Target="../slideLayouts/slideLayout162.xml"/><Relationship Id="rId1" Type="http://schemas.openxmlformats.org/officeDocument/2006/relationships/tags" Target="../tags/tag3.xml"/><Relationship Id="rId6" Type="http://schemas.openxmlformats.org/officeDocument/2006/relationships/image" Target="../media/image193.jpeg"/><Relationship Id="rId11" Type="http://schemas.openxmlformats.org/officeDocument/2006/relationships/image" Target="../media/image198.png"/><Relationship Id="rId5" Type="http://schemas.openxmlformats.org/officeDocument/2006/relationships/image" Target="../media/image192.emf"/><Relationship Id="rId10" Type="http://schemas.openxmlformats.org/officeDocument/2006/relationships/image" Target="../media/image197.jpeg"/><Relationship Id="rId4" Type="http://schemas.openxmlformats.org/officeDocument/2006/relationships/oleObject" Target="../embeddings/oleObject3.bin"/><Relationship Id="rId9" Type="http://schemas.openxmlformats.org/officeDocument/2006/relationships/image" Target="../media/image196.jpeg"/></Relationships>
</file>

<file path=ppt/slides/_rels/slide136.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62.xml"/><Relationship Id="rId1" Type="http://schemas.openxmlformats.org/officeDocument/2006/relationships/tags" Target="../tags/tag4.xml"/><Relationship Id="rId5" Type="http://schemas.openxmlformats.org/officeDocument/2006/relationships/image" Target="../media/image192.emf"/><Relationship Id="rId4" Type="http://schemas.openxmlformats.org/officeDocument/2006/relationships/oleObject" Target="../embeddings/oleObject4.bin"/></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13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48.xml"/><Relationship Id="rId1" Type="http://schemas.openxmlformats.org/officeDocument/2006/relationships/slideLayout" Target="../slideLayouts/slideLayout162.xml"/></Relationships>
</file>

<file path=ppt/slides/_rels/slide139.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49.xml"/><Relationship Id="rId1" Type="http://schemas.openxmlformats.org/officeDocument/2006/relationships/slideLayout" Target="../slideLayouts/slideLayout162.xml"/><Relationship Id="rId4" Type="http://schemas.openxmlformats.org/officeDocument/2006/relationships/image" Target="../media/image201.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Layout" Target="../slideLayouts/slideLayout99.xml"/></Relationships>
</file>

<file path=ppt/slides/_rels/slide14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50.xml"/><Relationship Id="rId1" Type="http://schemas.openxmlformats.org/officeDocument/2006/relationships/slideLayout" Target="../slideLayouts/slideLayout162.xml"/><Relationship Id="rId4" Type="http://schemas.openxmlformats.org/officeDocument/2006/relationships/image" Target="../media/image203.png"/></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2.xml"/></Relationships>
</file>

<file path=ppt/slides/_rels/slide142.xml.rels><?xml version="1.0" encoding="UTF-8" standalone="yes"?>
<Relationships xmlns="http://schemas.openxmlformats.org/package/2006/relationships"><Relationship Id="rId3" Type="http://schemas.openxmlformats.org/officeDocument/2006/relationships/image" Target="../media/image204.emf"/><Relationship Id="rId2" Type="http://schemas.openxmlformats.org/officeDocument/2006/relationships/notesSlide" Target="../notesSlides/notesSlide52.xml"/><Relationship Id="rId1" Type="http://schemas.openxmlformats.org/officeDocument/2006/relationships/slideLayout" Target="../slideLayouts/slideLayout162.xml"/><Relationship Id="rId6" Type="http://schemas.openxmlformats.org/officeDocument/2006/relationships/image" Target="../media/image207.emf"/><Relationship Id="rId5" Type="http://schemas.openxmlformats.org/officeDocument/2006/relationships/image" Target="../media/image206.png"/><Relationship Id="rId4" Type="http://schemas.openxmlformats.org/officeDocument/2006/relationships/image" Target="../media/image205.emf"/></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67.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62.xml"/></Relationships>
</file>

<file path=ppt/slides/_rels/slide145.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8.jpeg"/><Relationship Id="rId1" Type="http://schemas.openxmlformats.org/officeDocument/2006/relationships/slideLayout" Target="../slideLayouts/slideLayout167.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14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55.xml"/><Relationship Id="rId1" Type="http://schemas.openxmlformats.org/officeDocument/2006/relationships/slideLayout" Target="../slideLayouts/slideLayout162.xml"/></Relationships>
</file>

<file path=ppt/slides/_rels/slide148.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56.xml"/><Relationship Id="rId1" Type="http://schemas.openxmlformats.org/officeDocument/2006/relationships/slideLayout" Target="../slideLayouts/slideLayout162.xml"/></Relationships>
</file>

<file path=ppt/slides/_rels/slide149.xml.rels><?xml version="1.0" encoding="UTF-8" standalone="yes"?>
<Relationships xmlns="http://schemas.openxmlformats.org/package/2006/relationships"><Relationship Id="rId3" Type="http://schemas.openxmlformats.org/officeDocument/2006/relationships/image" Target="../media/image212.png"/><Relationship Id="rId7" Type="http://schemas.openxmlformats.org/officeDocument/2006/relationships/image" Target="../media/image216.png"/><Relationship Id="rId2" Type="http://schemas.openxmlformats.org/officeDocument/2006/relationships/notesSlide" Target="../notesSlides/notesSlide57.xml"/><Relationship Id="rId1" Type="http://schemas.openxmlformats.org/officeDocument/2006/relationships/slideLayout" Target="../slideLayouts/slideLayout162.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13.png"/></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98.xml"/><Relationship Id="rId4" Type="http://schemas.openxmlformats.org/officeDocument/2006/relationships/image" Target="../media/image62.svg"/></Relationships>
</file>

<file path=ppt/slides/_rels/slide150.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58.xml"/><Relationship Id="rId1" Type="http://schemas.openxmlformats.org/officeDocument/2006/relationships/slideLayout" Target="../slideLayouts/slideLayout162.xml"/></Relationships>
</file>

<file path=ppt/slides/_rels/slide151.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59.xml"/><Relationship Id="rId1" Type="http://schemas.openxmlformats.org/officeDocument/2006/relationships/slideLayout" Target="../slideLayouts/slideLayout167.xml"/><Relationship Id="rId4" Type="http://schemas.openxmlformats.org/officeDocument/2006/relationships/image" Target="../media/image219.png"/></Relationships>
</file>

<file path=ppt/slides/_rels/slide152.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167.xml"/></Relationships>
</file>

<file path=ppt/slides/_rels/slide153.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60.xml"/><Relationship Id="rId1" Type="http://schemas.openxmlformats.org/officeDocument/2006/relationships/slideLayout" Target="../slideLayouts/slideLayout167.xml"/><Relationship Id="rId4" Type="http://schemas.openxmlformats.org/officeDocument/2006/relationships/image" Target="../media/image222.png"/></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62.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156.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162.xml"/></Relationships>
</file>

<file path=ppt/slides/_rels/slide157.x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slideLayout" Target="../slideLayouts/slideLayout162.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1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98.xml"/></Relationships>
</file>

<file path=ppt/slides/_rels/slide160.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62.xml"/><Relationship Id="rId1" Type="http://schemas.openxmlformats.org/officeDocument/2006/relationships/slideLayout" Target="../slideLayouts/slideLayout172.xml"/><Relationship Id="rId4" Type="http://schemas.openxmlformats.org/officeDocument/2006/relationships/image" Target="../media/image227.jpeg"/></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slideLayout" Target="../slideLayouts/slideLayout33.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6.xml.rels><?xml version="1.0" encoding="UTF-8" standalone="yes"?>
<Relationships xmlns="http://schemas.openxmlformats.org/package/2006/relationships"><Relationship Id="rId2" Type="http://schemas.openxmlformats.org/officeDocument/2006/relationships/image" Target="../media/image229.png"/><Relationship Id="rId1" Type="http://schemas.openxmlformats.org/officeDocument/2006/relationships/slideLayout" Target="../slideLayouts/slideLayout44.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68.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63.xml"/><Relationship Id="rId1" Type="http://schemas.openxmlformats.org/officeDocument/2006/relationships/slideLayout" Target="../slideLayouts/slideLayout45.xml"/><Relationship Id="rId4" Type="http://schemas.openxmlformats.org/officeDocument/2006/relationships/image" Target="../media/image231.png"/></Relationships>
</file>

<file path=ppt/slides/_rels/slide169.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98.xml"/><Relationship Id="rId4" Type="http://schemas.openxmlformats.org/officeDocument/2006/relationships/image" Target="../media/image65.png"/></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5.xml"/></Relationships>
</file>

<file path=ppt/slides/_rels/slide171.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image" Target="../media/image233.png"/><Relationship Id="rId1" Type="http://schemas.openxmlformats.org/officeDocument/2006/relationships/slideLayout" Target="../slideLayouts/slideLayout45.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7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45.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9.xml"/></Relationships>
</file>

<file path=ppt/slides/_rels/slide177.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66.xml"/><Relationship Id="rId1" Type="http://schemas.openxmlformats.org/officeDocument/2006/relationships/slideLayout" Target="../slideLayouts/slideLayout52.xml"/></Relationships>
</file>

<file path=ppt/slides/_rels/slide178.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67.xml"/><Relationship Id="rId1" Type="http://schemas.openxmlformats.org/officeDocument/2006/relationships/slideLayout" Target="../slideLayouts/slideLayout52.xml"/></Relationships>
</file>

<file path=ppt/slides/_rels/slide179.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68.xml"/><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99.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4.xml"/></Relationships>
</file>

<file path=ppt/slides/_rels/slide181.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45.xml"/></Relationships>
</file>

<file path=ppt/slides/_rels/slide18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44.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86.xml.rels><?xml version="1.0" encoding="UTF-8" standalone="yes"?>
<Relationships xmlns="http://schemas.openxmlformats.org/package/2006/relationships"><Relationship Id="rId3" Type="http://schemas.openxmlformats.org/officeDocument/2006/relationships/image" Target="../media/image237.jpeg"/><Relationship Id="rId2" Type="http://schemas.openxmlformats.org/officeDocument/2006/relationships/notesSlide" Target="../notesSlides/notesSlide70.xml"/><Relationship Id="rId1" Type="http://schemas.openxmlformats.org/officeDocument/2006/relationships/slideLayout" Target="../slideLayouts/slideLayout48.xml"/></Relationships>
</file>

<file path=ppt/slides/_rels/slide187.xml.rels><?xml version="1.0" encoding="UTF-8" standalone="yes"?>
<Relationships xmlns="http://schemas.openxmlformats.org/package/2006/relationships"><Relationship Id="rId3" Type="http://schemas.openxmlformats.org/officeDocument/2006/relationships/image" Target="../media/image239.jpeg"/><Relationship Id="rId2" Type="http://schemas.openxmlformats.org/officeDocument/2006/relationships/image" Target="../media/image238.jpeg"/><Relationship Id="rId1" Type="http://schemas.openxmlformats.org/officeDocument/2006/relationships/slideLayout" Target="../slideLayouts/slideLayout48.xml"/></Relationships>
</file>

<file path=ppt/slides/_rels/slide188.xml.rels><?xml version="1.0" encoding="UTF-8" standalone="yes"?>
<Relationships xmlns="http://schemas.openxmlformats.org/package/2006/relationships"><Relationship Id="rId2" Type="http://schemas.openxmlformats.org/officeDocument/2006/relationships/hyperlink" Target="https://clinicaltrials.gov/ct2/show/NCT04923893" TargetMode="External"/><Relationship Id="rId1" Type="http://schemas.openxmlformats.org/officeDocument/2006/relationships/slideLayout" Target="../slideLayouts/slideLayout45.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94.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40.jpeg"/><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21.xml"/></Relationships>
</file>

<file path=ppt/slides/_rels/slide19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3.xml"/><Relationship Id="rId1" Type="http://schemas.openxmlformats.org/officeDocument/2006/relationships/slideLayout" Target="../slideLayouts/slideLayout122.xml"/></Relationships>
</file>

<file path=ppt/slides/_rels/slide197.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image" Target="../media/image241.jpeg"/><Relationship Id="rId1" Type="http://schemas.openxmlformats.org/officeDocument/2006/relationships/slideLayout" Target="../slideLayouts/slideLayout123.xml"/><Relationship Id="rId6" Type="http://schemas.openxmlformats.org/officeDocument/2006/relationships/image" Target="../media/image244.png"/><Relationship Id="rId5" Type="http://schemas.openxmlformats.org/officeDocument/2006/relationships/image" Target="../media/image104.png"/><Relationship Id="rId4" Type="http://schemas.openxmlformats.org/officeDocument/2006/relationships/image" Target="../media/image243.png"/></Relationships>
</file>

<file path=ppt/slides/_rels/slide19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eg"/><Relationship Id="rId1" Type="http://schemas.openxmlformats.org/officeDocument/2006/relationships/slideLayout" Target="../slideLayouts/slideLayout116.xml"/><Relationship Id="rId4" Type="http://schemas.openxmlformats.org/officeDocument/2006/relationships/image" Target="../media/image245.jpeg"/></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8.xml"/></Relationships>
</file>

<file path=ppt/slides/_rels/slide200.xml.rels><?xml version="1.0" encoding="UTF-8" standalone="yes"?>
<Relationships xmlns="http://schemas.openxmlformats.org/package/2006/relationships"><Relationship Id="rId2" Type="http://schemas.openxmlformats.org/officeDocument/2006/relationships/image" Target="../media/image240.jpeg"/><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46.png"/><Relationship Id="rId1" Type="http://schemas.openxmlformats.org/officeDocument/2006/relationships/slideLayout" Target="../slideLayouts/slideLayout6.xml"/><Relationship Id="rId5" Type="http://schemas.microsoft.com/office/2007/relationships/hdphoto" Target="../media/hdphoto2.wdp"/><Relationship Id="rId4" Type="http://schemas.openxmlformats.org/officeDocument/2006/relationships/image" Target="../media/image247.png"/></Relationships>
</file>

<file path=ppt/slides/_rels/slide202.xml.rels><?xml version="1.0" encoding="UTF-8" standalone="yes"?>
<Relationships xmlns="http://schemas.openxmlformats.org/package/2006/relationships"><Relationship Id="rId2" Type="http://schemas.openxmlformats.org/officeDocument/2006/relationships/image" Target="../media/image248.emf"/><Relationship Id="rId1" Type="http://schemas.openxmlformats.org/officeDocument/2006/relationships/slideLayout" Target="../slideLayouts/slideLayout11.xml"/></Relationships>
</file>

<file path=ppt/slides/_rels/slide203.xml.rels><?xml version="1.0" encoding="UTF-8" standalone="yes"?>
<Relationships xmlns="http://schemas.openxmlformats.org/package/2006/relationships"><Relationship Id="rId3" Type="http://schemas.openxmlformats.org/officeDocument/2006/relationships/image" Target="../media/image250.emf"/><Relationship Id="rId2" Type="http://schemas.openxmlformats.org/officeDocument/2006/relationships/image" Target="../media/image249.emf"/><Relationship Id="rId1" Type="http://schemas.openxmlformats.org/officeDocument/2006/relationships/slideLayout" Target="../slideLayouts/slideLayout11.xml"/><Relationship Id="rId5" Type="http://schemas.openxmlformats.org/officeDocument/2006/relationships/image" Target="../media/image252.png"/><Relationship Id="rId4" Type="http://schemas.openxmlformats.org/officeDocument/2006/relationships/image" Target="../media/image251.png"/></Relationships>
</file>

<file path=ppt/slides/_rels/slide204.xml.rels><?xml version="1.0" encoding="UTF-8" standalone="yes"?>
<Relationships xmlns="http://schemas.openxmlformats.org/package/2006/relationships"><Relationship Id="rId3" Type="http://schemas.openxmlformats.org/officeDocument/2006/relationships/image" Target="../media/image254.emf"/><Relationship Id="rId2" Type="http://schemas.openxmlformats.org/officeDocument/2006/relationships/image" Target="../media/image253.emf"/><Relationship Id="rId1" Type="http://schemas.openxmlformats.org/officeDocument/2006/relationships/slideLayout" Target="../slideLayouts/slideLayout11.xml"/></Relationships>
</file>

<file path=ppt/slides/_rels/slide205.xml.rels><?xml version="1.0" encoding="UTF-8" standalone="yes"?>
<Relationships xmlns="http://schemas.openxmlformats.org/package/2006/relationships"><Relationship Id="rId3" Type="http://schemas.openxmlformats.org/officeDocument/2006/relationships/image" Target="../media/image256.emf"/><Relationship Id="rId2" Type="http://schemas.openxmlformats.org/officeDocument/2006/relationships/image" Target="../media/image255.emf"/><Relationship Id="rId1" Type="http://schemas.openxmlformats.org/officeDocument/2006/relationships/slideLayout" Target="../slideLayouts/slideLayout11.xml"/><Relationship Id="rId4" Type="http://schemas.openxmlformats.org/officeDocument/2006/relationships/image" Target="../media/image257.png"/></Relationships>
</file>

<file path=ppt/slides/_rels/slide206.xml.rels><?xml version="1.0" encoding="UTF-8" standalone="yes"?>
<Relationships xmlns="http://schemas.openxmlformats.org/package/2006/relationships"><Relationship Id="rId3" Type="http://schemas.openxmlformats.org/officeDocument/2006/relationships/image" Target="../media/image259.emf"/><Relationship Id="rId2" Type="http://schemas.openxmlformats.org/officeDocument/2006/relationships/image" Target="../media/image258.emf"/><Relationship Id="rId1" Type="http://schemas.openxmlformats.org/officeDocument/2006/relationships/slideLayout" Target="../slideLayouts/slideLayout11.xml"/><Relationship Id="rId5" Type="http://schemas.openxmlformats.org/officeDocument/2006/relationships/image" Target="../media/image261.emf"/><Relationship Id="rId4" Type="http://schemas.openxmlformats.org/officeDocument/2006/relationships/image" Target="../media/image260.emf"/></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191.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9.xml"/><Relationship Id="rId1" Type="http://schemas.openxmlformats.org/officeDocument/2006/relationships/slideLayout" Target="../slideLayouts/slideLayout104.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3" Type="http://schemas.openxmlformats.org/officeDocument/2006/relationships/image" Target="../media/image262.jpeg"/><Relationship Id="rId2" Type="http://schemas.openxmlformats.org/officeDocument/2006/relationships/notesSlide" Target="../notesSlides/notesSlide74.xml"/><Relationship Id="rId1" Type="http://schemas.openxmlformats.org/officeDocument/2006/relationships/slideLayout" Target="../slideLayouts/slideLayout17.xml"/><Relationship Id="rId6" Type="http://schemas.openxmlformats.org/officeDocument/2006/relationships/image" Target="../media/image265.png"/><Relationship Id="rId5" Type="http://schemas.openxmlformats.org/officeDocument/2006/relationships/image" Target="../media/image264.jpeg"/><Relationship Id="rId4" Type="http://schemas.openxmlformats.org/officeDocument/2006/relationships/image" Target="../media/image263.jpeg"/></Relationships>
</file>

<file path=ppt/slides/_rels/slide213.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75.xml"/><Relationship Id="rId1" Type="http://schemas.openxmlformats.org/officeDocument/2006/relationships/slideLayout" Target="../slideLayouts/slideLayout20.xml"/></Relationships>
</file>

<file path=ppt/slides/_rels/slide214.xml.rels><?xml version="1.0" encoding="UTF-8" standalone="yes"?>
<Relationships xmlns="http://schemas.openxmlformats.org/package/2006/relationships"><Relationship Id="rId3" Type="http://schemas.openxmlformats.org/officeDocument/2006/relationships/image" Target="../media/image267.jpeg"/><Relationship Id="rId2" Type="http://schemas.openxmlformats.org/officeDocument/2006/relationships/notesSlide" Target="../notesSlides/notesSlide76.xml"/><Relationship Id="rId1" Type="http://schemas.openxmlformats.org/officeDocument/2006/relationships/slideLayout" Target="../slideLayouts/slideLayout23.xml"/></Relationships>
</file>

<file path=ppt/slides/_rels/slide215.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77.xml"/><Relationship Id="rId1" Type="http://schemas.openxmlformats.org/officeDocument/2006/relationships/slideLayout" Target="../slideLayouts/slideLayout30.xml"/><Relationship Id="rId4" Type="http://schemas.openxmlformats.org/officeDocument/2006/relationships/image" Target="../media/image269.png"/></Relationships>
</file>

<file path=ppt/slides/_rels/slide216.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18.xml"/></Relationships>
</file>

<file path=ppt/slides/_rels/slide217.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notesSlide" Target="../notesSlides/notesSlide78.xml"/><Relationship Id="rId1" Type="http://schemas.openxmlformats.org/officeDocument/2006/relationships/slideLayout" Target="../slideLayouts/slideLayout20.xml"/></Relationships>
</file>

<file path=ppt/slides/_rels/slide218.xml.rels><?xml version="1.0" encoding="UTF-8" standalone="yes"?>
<Relationships xmlns="http://schemas.openxmlformats.org/package/2006/relationships"><Relationship Id="rId3" Type="http://schemas.openxmlformats.org/officeDocument/2006/relationships/image" Target="../media/image272.jpeg"/><Relationship Id="rId2" Type="http://schemas.openxmlformats.org/officeDocument/2006/relationships/notesSlide" Target="../notesSlides/notesSlide79.xml"/><Relationship Id="rId1" Type="http://schemas.openxmlformats.org/officeDocument/2006/relationships/slideLayout" Target="../slideLayouts/slideLayout18.xml"/></Relationships>
</file>

<file path=ppt/slides/_rels/slide219.xml.rels><?xml version="1.0" encoding="UTF-8" standalone="yes"?>
<Relationships xmlns="http://schemas.openxmlformats.org/package/2006/relationships"><Relationship Id="rId2" Type="http://schemas.openxmlformats.org/officeDocument/2006/relationships/image" Target="../media/image191.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04.xml"/></Relationships>
</file>

<file path=ppt/slides/_rels/slide220.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notesSlide" Target="../notesSlides/notesSlide80.xml"/><Relationship Id="rId7" Type="http://schemas.openxmlformats.org/officeDocument/2006/relationships/image" Target="../media/image194.png"/><Relationship Id="rId2" Type="http://schemas.openxmlformats.org/officeDocument/2006/relationships/slideLayout" Target="../slideLayouts/slideLayout162.xml"/><Relationship Id="rId1" Type="http://schemas.openxmlformats.org/officeDocument/2006/relationships/tags" Target="../tags/tag5.xml"/><Relationship Id="rId6" Type="http://schemas.openxmlformats.org/officeDocument/2006/relationships/image" Target="../media/image193.jpeg"/><Relationship Id="rId11" Type="http://schemas.openxmlformats.org/officeDocument/2006/relationships/image" Target="../media/image198.png"/><Relationship Id="rId5" Type="http://schemas.openxmlformats.org/officeDocument/2006/relationships/image" Target="../media/image192.emf"/><Relationship Id="rId10" Type="http://schemas.openxmlformats.org/officeDocument/2006/relationships/image" Target="../media/image197.jpeg"/><Relationship Id="rId4" Type="http://schemas.openxmlformats.org/officeDocument/2006/relationships/oleObject" Target="../embeddings/oleObject5.bin"/><Relationship Id="rId9" Type="http://schemas.openxmlformats.org/officeDocument/2006/relationships/image" Target="../media/image196.jpeg"/></Relationships>
</file>

<file path=ppt/slides/_rels/slide22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162.xml"/><Relationship Id="rId1" Type="http://schemas.openxmlformats.org/officeDocument/2006/relationships/tags" Target="../tags/tag6.xml"/><Relationship Id="rId5" Type="http://schemas.openxmlformats.org/officeDocument/2006/relationships/image" Target="../media/image192.emf"/><Relationship Id="rId4" Type="http://schemas.openxmlformats.org/officeDocument/2006/relationships/oleObject" Target="../embeddings/oleObject6.bin"/></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223.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image" Target="../media/image273.png"/><Relationship Id="rId1" Type="http://schemas.openxmlformats.org/officeDocument/2006/relationships/slideLayout" Target="../slideLayouts/slideLayout162.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225.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image" Target="../media/image275.png"/><Relationship Id="rId1" Type="http://schemas.openxmlformats.org/officeDocument/2006/relationships/slideLayout" Target="../slideLayouts/slideLayout167.xml"/></Relationships>
</file>

<file path=ppt/slides/_rels/slide226.xml.rels><?xml version="1.0" encoding="UTF-8" standalone="yes"?>
<Relationships xmlns="http://schemas.openxmlformats.org/package/2006/relationships"><Relationship Id="rId2" Type="http://schemas.openxmlformats.org/officeDocument/2006/relationships/image" Target="../media/image277.png"/><Relationship Id="rId1" Type="http://schemas.openxmlformats.org/officeDocument/2006/relationships/slideLayout" Target="../slideLayouts/slideLayout162.xml"/></Relationships>
</file>

<file path=ppt/slides/_rels/slide227.xml.rels><?xml version="1.0" encoding="UTF-8" standalone="yes"?>
<Relationships xmlns="http://schemas.openxmlformats.org/package/2006/relationships"><Relationship Id="rId3" Type="http://schemas.openxmlformats.org/officeDocument/2006/relationships/hyperlink" Target="https://www.jewishexponent.com/node/14402" TargetMode="External"/><Relationship Id="rId2" Type="http://schemas.openxmlformats.org/officeDocument/2006/relationships/image" Target="../media/image278.emf"/><Relationship Id="rId1" Type="http://schemas.openxmlformats.org/officeDocument/2006/relationships/slideLayout" Target="../slideLayouts/slideLayout172.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229.xml.rels><?xml version="1.0" encoding="UTF-8" standalone="yes"?>
<Relationships xmlns="http://schemas.openxmlformats.org/package/2006/relationships"><Relationship Id="rId3" Type="http://schemas.openxmlformats.org/officeDocument/2006/relationships/image" Target="../media/image279.emf"/><Relationship Id="rId2" Type="http://schemas.openxmlformats.org/officeDocument/2006/relationships/notesSlide" Target="../notesSlides/notesSlide82.xml"/><Relationship Id="rId1" Type="http://schemas.openxmlformats.org/officeDocument/2006/relationships/slideLayout" Target="../slideLayouts/slideLayout162.xml"/></Relationships>
</file>

<file path=ppt/slides/_rels/slide2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04.xml"/></Relationships>
</file>

<file path=ppt/slides/_rels/slide230.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83.xml"/><Relationship Id="rId1" Type="http://schemas.openxmlformats.org/officeDocument/2006/relationships/slideLayout" Target="../slideLayouts/slideLayout172.xml"/><Relationship Id="rId4" Type="http://schemas.openxmlformats.org/officeDocument/2006/relationships/image" Target="../media/image227.jpeg"/></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3.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xml"/></Relationships>
</file>

<file path=ppt/slides/_rels/slide2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0.xml"/><Relationship Id="rId1" Type="http://schemas.openxmlformats.org/officeDocument/2006/relationships/slideLayout" Target="../slideLayouts/slideLayout104.xml"/><Relationship Id="rId4" Type="http://schemas.openxmlformats.org/officeDocument/2006/relationships/image" Target="../media/image74.jpeg"/></Relationships>
</file>

<file path=ppt/slides/_rels/slide2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04.xml"/></Relationships>
</file>

<file path=ppt/slides/_rels/slide2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04.xml"/></Relationships>
</file>

<file path=ppt/slides/_rels/slide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99.xml"/></Relationships>
</file>

<file path=ppt/slides/_rels/slide2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98.xml"/></Relationships>
</file>

<file path=ppt/slides/_rels/slide29.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image" Target="../media/image80.emf"/><Relationship Id="rId1"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6.jpeg"/><Relationship Id="rId7" Type="http://schemas.openxmlformats.org/officeDocument/2006/relationships/image" Target="../media/image49.jpeg"/><Relationship Id="rId2" Type="http://schemas.openxmlformats.org/officeDocument/2006/relationships/image" Target="../media/image45.jpeg"/><Relationship Id="rId1" Type="http://schemas.openxmlformats.org/officeDocument/2006/relationships/slideLayout" Target="../slideLayouts/slideLayout3.xml"/><Relationship Id="rId6" Type="http://schemas.openxmlformats.org/officeDocument/2006/relationships/image" Target="../media/image48.jpeg"/><Relationship Id="rId5" Type="http://schemas.openxmlformats.org/officeDocument/2006/relationships/image" Target="../media/image44.jpeg"/><Relationship Id="rId4" Type="http://schemas.openxmlformats.org/officeDocument/2006/relationships/image" Target="../media/image47.jpeg"/><Relationship Id="rId9" Type="http://schemas.openxmlformats.org/officeDocument/2006/relationships/image" Target="../media/image51.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9.xml"/></Relationships>
</file>

<file path=ppt/slides/_rels/slide3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jpeg"/><Relationship Id="rId1" Type="http://schemas.openxmlformats.org/officeDocument/2006/relationships/slideLayout" Target="../slideLayouts/slideLayout94.xml"/><Relationship Id="rId4" Type="http://schemas.openxmlformats.org/officeDocument/2006/relationships/image" Target="../media/image84.png"/></Relationships>
</file>

<file path=ppt/slides/_rels/slide3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4.xml"/><Relationship Id="rId1" Type="http://schemas.openxmlformats.org/officeDocument/2006/relationships/slideLayout" Target="../slideLayouts/slideLayout114.xml"/><Relationship Id="rId4" Type="http://schemas.openxmlformats.org/officeDocument/2006/relationships/image" Target="../media/image86.jpeg"/></Relationships>
</file>

<file path=ppt/slides/_rels/slide3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5.xml"/><Relationship Id="rId1" Type="http://schemas.openxmlformats.org/officeDocument/2006/relationships/slideLayout" Target="../slideLayouts/slideLayout114.xml"/></Relationships>
</file>

<file path=ppt/slides/_rels/slide3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99.xml"/></Relationships>
</file>

<file path=ppt/slides/_rels/slide3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7.xml"/><Relationship Id="rId1" Type="http://schemas.openxmlformats.org/officeDocument/2006/relationships/slideLayout" Target="../slideLayouts/slideLayout99.xml"/></Relationships>
</file>

<file path=ppt/slides/_rels/slide3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18.xml"/><Relationship Id="rId1" Type="http://schemas.openxmlformats.org/officeDocument/2006/relationships/slideLayout" Target="../slideLayouts/slideLayout111.xml"/></Relationships>
</file>

<file path=ppt/slides/_rels/slide3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9.xml"/><Relationship Id="rId1" Type="http://schemas.openxmlformats.org/officeDocument/2006/relationships/slideLayout" Target="../slideLayouts/slideLayout111.xml"/><Relationship Id="rId5" Type="http://schemas.openxmlformats.org/officeDocument/2006/relationships/image" Target="../media/image95.tiff"/><Relationship Id="rId4" Type="http://schemas.openxmlformats.org/officeDocument/2006/relationships/image" Target="../media/image94.png"/></Relationships>
</file>

<file path=ppt/slides/_rels/slide39.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1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99.xml"/></Relationships>
</file>

<file path=ppt/slides/_rels/slide41.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113.xml"/></Relationships>
</file>

<file path=ppt/slides/_rels/slide4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99.xml"/><Relationship Id="rId5" Type="http://schemas.openxmlformats.org/officeDocument/2006/relationships/image" Target="../media/image102.jpeg"/><Relationship Id="rId4" Type="http://schemas.openxmlformats.org/officeDocument/2006/relationships/image" Target="../media/image101.png"/></Relationships>
</file>

<file path=ppt/slides/_rels/slide4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jpeg"/><Relationship Id="rId1" Type="http://schemas.openxmlformats.org/officeDocument/2006/relationships/slideLayout" Target="../slideLayouts/slideLayout94.xml"/><Relationship Id="rId4" Type="http://schemas.openxmlformats.org/officeDocument/2006/relationships/image" Target="../media/image105.jpe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8.xml"/></Relationships>
</file>

<file path=ppt/slides/_rels/slide4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3.xml"/><Relationship Id="rId1" Type="http://schemas.openxmlformats.org/officeDocument/2006/relationships/slideLayout" Target="../slideLayouts/slideLayout98.xml"/></Relationships>
</file>

<file path=ppt/slides/_rels/slide4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4.xml"/><Relationship Id="rId1" Type="http://schemas.openxmlformats.org/officeDocument/2006/relationships/slideLayout" Target="../slideLayouts/slideLayout10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55.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image" Target="../media/image108.jpeg"/><Relationship Id="rId1" Type="http://schemas.openxmlformats.org/officeDocument/2006/relationships/slideLayout" Target="../slideLayouts/slideLayout105.xml"/><Relationship Id="rId6" Type="http://schemas.openxmlformats.org/officeDocument/2006/relationships/image" Target="../media/image112.png"/><Relationship Id="rId11" Type="http://schemas.openxmlformats.org/officeDocument/2006/relationships/image" Target="../media/image117.jpeg"/><Relationship Id="rId5" Type="http://schemas.openxmlformats.org/officeDocument/2006/relationships/image" Target="../media/image111.png"/><Relationship Id="rId10" Type="http://schemas.openxmlformats.org/officeDocument/2006/relationships/image" Target="../media/image116.gif"/><Relationship Id="rId4" Type="http://schemas.openxmlformats.org/officeDocument/2006/relationships/image" Target="../media/image110.jpeg"/><Relationship Id="rId9" Type="http://schemas.openxmlformats.org/officeDocument/2006/relationships/image" Target="../media/image115.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57.xml"/><Relationship Id="rId4" Type="http://schemas.openxmlformats.org/officeDocument/2006/relationships/image" Target="../media/image120.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2.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70.xml"/></Relationships>
</file>

<file path=ppt/slides/_rels/slide63.xml.rels><?xml version="1.0" encoding="UTF-8" standalone="yes"?>
<Relationships xmlns="http://schemas.openxmlformats.org/package/2006/relationships"><Relationship Id="rId3" Type="http://schemas.openxmlformats.org/officeDocument/2006/relationships/image" Target="../media/image123.tiff"/><Relationship Id="rId2" Type="http://schemas.openxmlformats.org/officeDocument/2006/relationships/image" Target="../media/image122.tiff"/><Relationship Id="rId1" Type="http://schemas.openxmlformats.org/officeDocument/2006/relationships/slideLayout" Target="../slideLayouts/slideLayout69.xml"/></Relationships>
</file>

<file path=ppt/slides/_rels/slide64.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70.xml"/></Relationships>
</file>

<file path=ppt/slides/_rels/slide65.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69.xml"/></Relationships>
</file>

<file path=ppt/slides/_rels/slide66.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oleObject" Target="../embeddings/oleObject1.bin"/><Relationship Id="rId1" Type="http://schemas.openxmlformats.org/officeDocument/2006/relationships/slideLayout" Target="../slideLayouts/slideLayout70.xml"/><Relationship Id="rId6" Type="http://schemas.openxmlformats.org/officeDocument/2006/relationships/image" Target="../media/image128.png"/><Relationship Id="rId5" Type="http://schemas.openxmlformats.org/officeDocument/2006/relationships/image" Target="../media/image127.emf"/><Relationship Id="rId4" Type="http://schemas.openxmlformats.org/officeDocument/2006/relationships/oleObject" Target="../embeddings/oleObject2.bin"/></Relationships>
</file>

<file path=ppt/slides/_rels/slide6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6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9.xml.rels><?xml version="1.0" encoding="UTF-8" standalone="yes"?>
<Relationships xmlns="http://schemas.openxmlformats.org/package/2006/relationships"><Relationship Id="rId3" Type="http://schemas.openxmlformats.org/officeDocument/2006/relationships/image" Target="../media/image132.tiff"/><Relationship Id="rId2" Type="http://schemas.openxmlformats.org/officeDocument/2006/relationships/image" Target="../media/image131.tiff"/><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71.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68.xml"/></Relationships>
</file>

<file path=ppt/slides/_rels/slide72.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notesSlide" Target="../notesSlides/notesSlide26.xml"/><Relationship Id="rId1" Type="http://schemas.openxmlformats.org/officeDocument/2006/relationships/slideLayout" Target="../slideLayouts/slideLayout70.xml"/><Relationship Id="rId5" Type="http://schemas.openxmlformats.org/officeDocument/2006/relationships/image" Target="../media/image136.tiff"/><Relationship Id="rId4" Type="http://schemas.openxmlformats.org/officeDocument/2006/relationships/image" Target="../media/image135.emf"/></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7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70.xml"/></Relationships>
</file>

<file path=ppt/slides/_rels/slide7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70.xml"/><Relationship Id="rId4" Type="http://schemas.openxmlformats.org/officeDocument/2006/relationships/image" Target="../media/image140.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7.xml"/><Relationship Id="rId1" Type="http://schemas.openxmlformats.org/officeDocument/2006/relationships/slideLayout" Target="../slideLayouts/slideLayout124.xml"/><Relationship Id="rId6" Type="http://schemas.openxmlformats.org/officeDocument/2006/relationships/image" Target="../media/image144.jpeg"/><Relationship Id="rId5" Type="http://schemas.openxmlformats.org/officeDocument/2006/relationships/image" Target="../media/image143.png"/><Relationship Id="rId4" Type="http://schemas.openxmlformats.org/officeDocument/2006/relationships/image" Target="../media/image142.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9.xml"/></Relationships>
</file>

<file path=ppt/slides/_rels/slide8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9.xml"/><Relationship Id="rId1" Type="http://schemas.openxmlformats.org/officeDocument/2006/relationships/slideLayout" Target="../slideLayouts/slideLayout129.xml"/><Relationship Id="rId4" Type="http://schemas.openxmlformats.org/officeDocument/2006/relationships/image" Target="../media/image146.png"/></Relationships>
</file>

<file path=ppt/slides/_rels/slide87.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0.xml"/><Relationship Id="rId1" Type="http://schemas.openxmlformats.org/officeDocument/2006/relationships/slideLayout" Target="../slideLayouts/slideLayout130.xml"/></Relationships>
</file>

<file path=ppt/slides/_rels/slide88.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1.xml"/><Relationship Id="rId1" Type="http://schemas.openxmlformats.org/officeDocument/2006/relationships/slideLayout" Target="../slideLayouts/slideLayout129.xml"/><Relationship Id="rId4" Type="http://schemas.openxmlformats.org/officeDocument/2006/relationships/image" Target="../media/image149.png"/></Relationships>
</file>

<file path=ppt/slides/_rels/slide8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125.xm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 Id="rId6" Type="http://schemas.openxmlformats.org/officeDocument/2006/relationships/image" Target="../media/image52.png"/><Relationship Id="rId5" Type="http://schemas.openxmlformats.org/officeDocument/2006/relationships/image" Target="../media/image58.png"/><Relationship Id="rId4" Type="http://schemas.openxmlformats.org/officeDocument/2006/relationships/image" Target="../media/image57.png"/></Relationships>
</file>

<file path=ppt/slides/_rels/slide90.xml.rels><?xml version="1.0" encoding="UTF-8" standalone="yes"?>
<Relationships xmlns="http://schemas.openxmlformats.org/package/2006/relationships"><Relationship Id="rId3" Type="http://schemas.openxmlformats.org/officeDocument/2006/relationships/image" Target="../media/image153.tiff"/><Relationship Id="rId2" Type="http://schemas.openxmlformats.org/officeDocument/2006/relationships/image" Target="../media/image152.tiff"/><Relationship Id="rId1" Type="http://schemas.openxmlformats.org/officeDocument/2006/relationships/slideLayout" Target="../slideLayouts/slideLayout127.xml"/><Relationship Id="rId4" Type="http://schemas.openxmlformats.org/officeDocument/2006/relationships/image" Target="../media/image154.emf"/></Relationships>
</file>

<file path=ppt/slides/_rels/slide91.xml.rels><?xml version="1.0" encoding="UTF-8" standalone="yes"?>
<Relationships xmlns="http://schemas.openxmlformats.org/package/2006/relationships"><Relationship Id="rId3" Type="http://schemas.openxmlformats.org/officeDocument/2006/relationships/image" Target="../media/image155.emf"/><Relationship Id="rId2" Type="http://schemas.openxmlformats.org/officeDocument/2006/relationships/notesSlide" Target="../notesSlides/notesSlide32.xml"/><Relationship Id="rId1" Type="http://schemas.openxmlformats.org/officeDocument/2006/relationships/slideLayout" Target="../slideLayouts/slideLayout128.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emf"/></Relationships>
</file>

<file path=ppt/slides/_rels/slide92.xml.rels><?xml version="1.0" encoding="UTF-8" standalone="yes"?>
<Relationships xmlns="http://schemas.openxmlformats.org/package/2006/relationships"><Relationship Id="rId3" Type="http://schemas.openxmlformats.org/officeDocument/2006/relationships/image" Target="../media/image160.emf"/><Relationship Id="rId2" Type="http://schemas.openxmlformats.org/officeDocument/2006/relationships/image" Target="../media/image159.png"/><Relationship Id="rId1" Type="http://schemas.openxmlformats.org/officeDocument/2006/relationships/slideLayout" Target="../slideLayouts/slideLayout128.xml"/></Relationships>
</file>

<file path=ppt/slides/_rels/slide93.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3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95.xml.rels><?xml version="1.0" encoding="UTF-8" standalone="yes"?>
<Relationships xmlns="http://schemas.openxmlformats.org/package/2006/relationships"><Relationship Id="rId3" Type="http://schemas.openxmlformats.org/officeDocument/2006/relationships/image" Target="../media/image153.tiff"/><Relationship Id="rId2" Type="http://schemas.openxmlformats.org/officeDocument/2006/relationships/image" Target="../media/image152.tiff"/><Relationship Id="rId1" Type="http://schemas.openxmlformats.org/officeDocument/2006/relationships/slideLayout" Target="../slideLayouts/slideLayout128.xml"/><Relationship Id="rId4" Type="http://schemas.openxmlformats.org/officeDocument/2006/relationships/image" Target="../media/image154.emf"/></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5.xml"/></Relationships>
</file>

<file path=ppt/slides/_rels/slide9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4.xml"/><Relationship Id="rId1" Type="http://schemas.openxmlformats.org/officeDocument/2006/relationships/slideLayout" Target="../slideLayouts/slideLayout125.xml"/></Relationships>
</file>

<file path=ppt/slides/_rels/slide9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5.xml"/><Relationship Id="rId1" Type="http://schemas.openxmlformats.org/officeDocument/2006/relationships/slideLayout" Target="../slideLayouts/slideLayout125.xml"/></Relationships>
</file>

<file path=ppt/slides/_rels/slide9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6.xml"/><Relationship Id="rId1" Type="http://schemas.openxmlformats.org/officeDocument/2006/relationships/slideLayout" Target="../slideLayouts/slideLayout1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p:txBody>
          <a:bodyPr>
            <a:noAutofit/>
          </a:bodyPr>
          <a:lstStyle/>
          <a:p>
            <a:r>
              <a:rPr lang="en-US" sz="2800" noProof="0" dirty="0"/>
              <a:t>Global Multiple Myeloma Academy – Day 1</a:t>
            </a:r>
          </a:p>
        </p:txBody>
      </p:sp>
      <p:sp>
        <p:nvSpPr>
          <p:cNvPr id="3" name="Subtitle 2">
            <a:extLst>
              <a:ext uri="{FF2B5EF4-FFF2-40B4-BE49-F238E27FC236}">
                <a16:creationId xmlns:a16="http://schemas.microsoft.com/office/drawing/2014/main" id="{5B1A592A-AF74-0E4A-BEBF-BA3B930B790E}"/>
              </a:ext>
            </a:extLst>
          </p:cNvPr>
          <p:cNvSpPr>
            <a:spLocks noGrp="1"/>
          </p:cNvSpPr>
          <p:nvPr>
            <p:ph type="subTitle" idx="1"/>
          </p:nvPr>
        </p:nvSpPr>
        <p:spPr>
          <a:xfrm>
            <a:off x="4270617" y="2992113"/>
            <a:ext cx="4534294" cy="1874611"/>
          </a:xfrm>
        </p:spPr>
        <p:txBody>
          <a:bodyPr>
            <a:normAutofit/>
          </a:bodyPr>
          <a:lstStyle/>
          <a:p>
            <a:r>
              <a:rPr lang="en-US" b="1" noProof="0" dirty="0">
                <a:solidFill>
                  <a:schemeClr val="bg1"/>
                </a:solidFill>
              </a:rPr>
              <a:t>Emerging and Practical Concepts </a:t>
            </a:r>
            <a:br>
              <a:rPr lang="en-US" b="1" noProof="0" dirty="0">
                <a:solidFill>
                  <a:schemeClr val="bg1"/>
                </a:solidFill>
              </a:rPr>
            </a:br>
            <a:r>
              <a:rPr lang="en-US" b="1" noProof="0" dirty="0">
                <a:solidFill>
                  <a:schemeClr val="bg1"/>
                </a:solidFill>
              </a:rPr>
              <a:t>in Multiple Myeloma</a:t>
            </a:r>
          </a:p>
          <a:p>
            <a:r>
              <a:rPr lang="en-US" sz="1600" noProof="0" dirty="0"/>
              <a:t>18–19 March 2022</a:t>
            </a:r>
          </a:p>
          <a:p>
            <a:endParaRPr lang="en-US" sz="1600" noProof="0" dirty="0"/>
          </a:p>
          <a:p>
            <a:endParaRPr lang="en-US" sz="1400" noProof="0" dirty="0"/>
          </a:p>
        </p:txBody>
      </p:sp>
      <p:sp>
        <p:nvSpPr>
          <p:cNvPr id="4" name="TextBox 3">
            <a:extLst>
              <a:ext uri="{FF2B5EF4-FFF2-40B4-BE49-F238E27FC236}">
                <a16:creationId xmlns:a16="http://schemas.microsoft.com/office/drawing/2014/main" id="{41AEFC5D-23A1-4A3E-9840-BF5677536D72}"/>
              </a:ext>
            </a:extLst>
          </p:cNvPr>
          <p:cNvSpPr txBox="1"/>
          <p:nvPr/>
        </p:nvSpPr>
        <p:spPr>
          <a:xfrm>
            <a:off x="121920" y="4245633"/>
            <a:ext cx="1144804"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Sponsor</a:t>
            </a:r>
          </a:p>
        </p:txBody>
      </p:sp>
      <p:pic>
        <p:nvPicPr>
          <p:cNvPr id="5" name="Picture 4" descr="PharmaBoardroom | Amgen Italy">
            <a:extLst>
              <a:ext uri="{FF2B5EF4-FFF2-40B4-BE49-F238E27FC236}">
                <a16:creationId xmlns:a16="http://schemas.microsoft.com/office/drawing/2014/main" id="{BE452CB5-AA3A-41F7-91AB-81DE4AFDC34D}"/>
              </a:ext>
            </a:extLst>
          </p:cNvPr>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1920" y="4614965"/>
            <a:ext cx="1539074" cy="454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7447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05711" y="231620"/>
            <a:ext cx="8766928" cy="572981"/>
          </a:xfrm>
        </p:spPr>
        <p:txBody>
          <a:bodyPr>
            <a:normAutofit/>
          </a:bodyPr>
          <a:lstStyle/>
          <a:p>
            <a:r>
              <a:rPr lang="en-US" noProof="0"/>
              <a:t>	Question 1</a:t>
            </a:r>
          </a:p>
        </p:txBody>
      </p:sp>
      <p:sp>
        <p:nvSpPr>
          <p:cNvPr id="3" name="Content Placeholder 2"/>
          <p:cNvSpPr>
            <a:spLocks noGrp="1"/>
          </p:cNvSpPr>
          <p:nvPr>
            <p:ph idx="1"/>
          </p:nvPr>
        </p:nvSpPr>
        <p:spPr>
          <a:xfrm>
            <a:off x="171735" y="937071"/>
            <a:ext cx="8776355" cy="3799804"/>
          </a:xfrm>
        </p:spPr>
        <p:txBody>
          <a:bodyPr vert="horz" lIns="91440" tIns="45720" rIns="91440" bIns="45720" rtlCol="0" anchor="t">
            <a:normAutofit fontScale="92500" lnSpcReduction="10000"/>
          </a:bodyPr>
          <a:lstStyle/>
          <a:p>
            <a:pPr marL="0" indent="0">
              <a:lnSpc>
                <a:spcPct val="100000"/>
              </a:lnSpc>
              <a:spcBef>
                <a:spcPts val="600"/>
              </a:spcBef>
              <a:spcAft>
                <a:spcPct val="0"/>
              </a:spcAft>
              <a:buNone/>
            </a:pPr>
            <a:r>
              <a:rPr lang="en-US" sz="2200" noProof="0">
                <a:latin typeface="Arial" panose="020B0604020202020204" pitchFamily="34" charset="0"/>
                <a:cs typeface="Arial" panose="020B0604020202020204" pitchFamily="34" charset="0"/>
              </a:rPr>
              <a:t>In what country do you currently practice?</a:t>
            </a: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United Kingdom</a:t>
            </a:r>
            <a:r>
              <a:rPr lang="en-US" sz="1900" b="0" i="0" noProof="0">
                <a:solidFill>
                  <a:srgbClr val="000000"/>
                </a:solidFill>
                <a:effectLst/>
                <a:latin typeface="Arial" panose="020B0604020202020204" pitchFamily="34" charset="0"/>
                <a:cs typeface="Arial" panose="020B0604020202020204" pitchFamily="34" charset="0"/>
              </a:rPr>
              <a:t>​</a:t>
            </a: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Germany</a:t>
            </a:r>
            <a:r>
              <a:rPr lang="en-US" sz="1900" b="0" i="0" noProof="0">
                <a:solidFill>
                  <a:srgbClr val="000000"/>
                </a:solidFill>
                <a:effectLst/>
                <a:latin typeface="Arial" panose="020B0604020202020204" pitchFamily="34" charset="0"/>
                <a:cs typeface="Arial" panose="020B0604020202020204" pitchFamily="34" charset="0"/>
              </a:rPr>
              <a:t>​</a:t>
            </a: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Spain</a:t>
            </a:r>
            <a:r>
              <a:rPr lang="en-US" sz="1900" b="0" i="0" noProof="0">
                <a:solidFill>
                  <a:srgbClr val="000000"/>
                </a:solidFill>
                <a:effectLst/>
                <a:latin typeface="Arial" panose="020B0604020202020204" pitchFamily="34" charset="0"/>
                <a:cs typeface="Arial" panose="020B0604020202020204" pitchFamily="34" charset="0"/>
              </a:rPr>
              <a:t>​</a:t>
            </a: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France </a:t>
            </a:r>
            <a:r>
              <a:rPr lang="en-US" sz="1900" b="0" i="0" noProof="0">
                <a:solidFill>
                  <a:srgbClr val="000000"/>
                </a:solidFill>
                <a:effectLst/>
                <a:latin typeface="Arial" panose="020B0604020202020204" pitchFamily="34" charset="0"/>
                <a:cs typeface="Arial" panose="020B0604020202020204" pitchFamily="34" charset="0"/>
              </a:rPr>
              <a:t>​</a:t>
            </a: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Italy</a:t>
            </a:r>
            <a:r>
              <a:rPr lang="en-US" sz="1900" b="0" i="0" noProof="0">
                <a:solidFill>
                  <a:srgbClr val="000000"/>
                </a:solidFill>
                <a:effectLst/>
                <a:latin typeface="Arial" panose="020B0604020202020204" pitchFamily="34" charset="0"/>
                <a:cs typeface="Arial" panose="020B0604020202020204" pitchFamily="34" charset="0"/>
              </a:rPr>
              <a:t>​</a:t>
            </a: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The Netherlands</a:t>
            </a:r>
            <a:r>
              <a:rPr lang="en-US" sz="1900" b="0" i="0" noProof="0">
                <a:solidFill>
                  <a:srgbClr val="000000"/>
                </a:solidFill>
                <a:effectLst/>
                <a:latin typeface="Arial" panose="020B0604020202020204" pitchFamily="34" charset="0"/>
                <a:cs typeface="Arial" panose="020B0604020202020204" pitchFamily="34" charset="0"/>
              </a:rPr>
              <a:t>​</a:t>
            </a: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Poland</a:t>
            </a:r>
            <a:r>
              <a:rPr lang="en-US" sz="1900" b="0" i="0" noProof="0">
                <a:solidFill>
                  <a:srgbClr val="000000"/>
                </a:solidFill>
                <a:effectLst/>
                <a:latin typeface="Arial" panose="020B0604020202020204" pitchFamily="34" charset="0"/>
                <a:cs typeface="Arial" panose="020B0604020202020204" pitchFamily="34" charset="0"/>
              </a:rPr>
              <a:t>​</a:t>
            </a: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Greece</a:t>
            </a:r>
            <a:endParaRPr lang="en-US" sz="1900" b="0" i="0" noProof="0">
              <a:solidFill>
                <a:srgbClr val="000000"/>
              </a:solidFill>
              <a:effectLst/>
              <a:latin typeface="Arial" panose="020B0604020202020204" pitchFamily="34" charset="0"/>
              <a:cs typeface="Arial" panose="020B0604020202020204" pitchFamily="34" charset="0"/>
            </a:endParaRP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Other country in Europe</a:t>
            </a:r>
            <a:r>
              <a:rPr lang="en-US" sz="1900" b="0" i="0" noProof="0">
                <a:solidFill>
                  <a:srgbClr val="000000"/>
                </a:solidFill>
                <a:effectLst/>
                <a:latin typeface="Arial" panose="020B0604020202020204" pitchFamily="34" charset="0"/>
                <a:cs typeface="Arial" panose="020B0604020202020204" pitchFamily="34" charset="0"/>
              </a:rPr>
              <a:t>​</a:t>
            </a:r>
          </a:p>
          <a:p>
            <a:pPr marL="360363" indent="-360363" algn="l" rtl="0" fontAlgn="base">
              <a:buFont typeface="+mj-lt"/>
              <a:buAutoNum type="arabicPeriod"/>
            </a:pPr>
            <a:r>
              <a:rPr lang="en-US" sz="1900" b="0" i="0" u="none" strike="noStrike" noProof="0">
                <a:solidFill>
                  <a:srgbClr val="262626"/>
                </a:solidFill>
                <a:effectLst/>
                <a:latin typeface="Arial" panose="020B0604020202020204" pitchFamily="34" charset="0"/>
                <a:cs typeface="Arial" panose="020B0604020202020204" pitchFamily="34" charset="0"/>
              </a:rPr>
              <a:t>Outside Europe</a:t>
            </a:r>
            <a:r>
              <a:rPr lang="en-US" sz="1900" b="0" i="0" noProof="0">
                <a:solidFill>
                  <a:srgbClr val="000000"/>
                </a:solidFill>
                <a:effectLst/>
                <a:latin typeface="Arial" panose="020B0604020202020204" pitchFamily="34" charset="0"/>
                <a:cs typeface="Arial" panose="020B0604020202020204" pitchFamily="34" charset="0"/>
              </a:rPr>
              <a:t>​</a:t>
            </a:r>
          </a:p>
          <a:p>
            <a:pPr marL="0" indent="14288">
              <a:spcBef>
                <a:spcPts val="600"/>
              </a:spcBef>
            </a:pPr>
            <a:endParaRPr lang="en-US" sz="1500" noProof="0"/>
          </a:p>
        </p:txBody>
      </p:sp>
      <p:grpSp>
        <p:nvGrpSpPr>
          <p:cNvPr id="6" name="Group 5">
            <a:extLst>
              <a:ext uri="{FF2B5EF4-FFF2-40B4-BE49-F238E27FC236}">
                <a16:creationId xmlns:a16="http://schemas.microsoft.com/office/drawing/2014/main" id="{0F206D06-BAB6-442A-985E-976D9E62C631}"/>
              </a:ext>
            </a:extLst>
          </p:cNvPr>
          <p:cNvGrpSpPr/>
          <p:nvPr/>
        </p:nvGrpSpPr>
        <p:grpSpPr>
          <a:xfrm>
            <a:off x="179109" y="151296"/>
            <a:ext cx="720000" cy="720000"/>
            <a:chOff x="8151603" y="218984"/>
            <a:chExt cx="720000" cy="720000"/>
          </a:xfrm>
        </p:grpSpPr>
        <p:sp>
          <p:nvSpPr>
            <p:cNvPr id="2" name="Teardrop 1">
              <a:extLst>
                <a:ext uri="{FF2B5EF4-FFF2-40B4-BE49-F238E27FC236}">
                  <a16:creationId xmlns:a16="http://schemas.microsoft.com/office/drawing/2014/main" id="{5E222C0A-7491-431C-9415-BB4A01BCA38D}"/>
                </a:ext>
              </a:extLst>
            </p:cNvPr>
            <p:cNvSpPr/>
            <p:nvPr/>
          </p:nvSpPr>
          <p:spPr bwMode="auto">
            <a:xfrm rot="5400000">
              <a:off x="8151603" y="218984"/>
              <a:ext cx="720000" cy="720000"/>
            </a:xfrm>
            <a:prstGeom prst="teardrop">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NL" sz="2800" b="1" i="0" u="none" strike="noStrike" kern="1200" cap="none" spc="0" normalizeH="0" baseline="0" noProof="0">
                <a:ln>
                  <a:noFill/>
                </a:ln>
                <a:solidFill>
                  <a:srgbClr val="FFFF00"/>
                </a:solidFill>
                <a:effectLst/>
                <a:uLnTx/>
                <a:uFillTx/>
                <a:latin typeface="Arial" pitchFamily="34" charset="0"/>
                <a:ea typeface="+mn-ea"/>
                <a:cs typeface="+mn-cs"/>
              </a:endParaRPr>
            </a:p>
          </p:txBody>
        </p:sp>
        <p:sp>
          <p:nvSpPr>
            <p:cNvPr id="4" name="TextBox 3">
              <a:extLst>
                <a:ext uri="{FF2B5EF4-FFF2-40B4-BE49-F238E27FC236}">
                  <a16:creationId xmlns:a16="http://schemas.microsoft.com/office/drawing/2014/main" id="{141D6643-6321-4B86-80D6-DDA03167F6C7}"/>
                </a:ext>
              </a:extLst>
            </p:cNvPr>
            <p:cNvSpPr txBox="1"/>
            <p:nvPr/>
          </p:nvSpPr>
          <p:spPr>
            <a:xfrm>
              <a:off x="8278208" y="255820"/>
              <a:ext cx="466795" cy="646331"/>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NL"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63850758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en-US" noProof="0">
                <a:solidFill>
                  <a:srgbClr val="595454"/>
                </a:solidFill>
              </a:rPr>
              <a:t>Safety</a:t>
            </a:r>
            <a:endParaRPr lang="en-US" noProof="0">
              <a:solidFill>
                <a:srgbClr val="595454"/>
              </a:solidFill>
            </a:endParaRPr>
          </a:p>
        </p:txBody>
      </p:sp>
      <p:graphicFrame>
        <p:nvGraphicFramePr>
          <p:cNvPr id="13" name="Content Placeholder 12"/>
          <p:cNvGraphicFramePr>
            <a:graphicFrameLocks noGrp="1"/>
          </p:cNvGraphicFramePr>
          <p:nvPr>
            <p:ph idx="1"/>
          </p:nvPr>
        </p:nvGraphicFramePr>
        <p:xfrm>
          <a:off x="2087724" y="790838"/>
          <a:ext cx="4707091" cy="2875788"/>
        </p:xfrm>
        <a:graphic>
          <a:graphicData uri="http://schemas.openxmlformats.org/drawingml/2006/table">
            <a:tbl>
              <a:tblPr firstRow="1" bandRow="1">
                <a:tableStyleId>{5C22544A-7EE6-4342-B048-85BDC9FD1C3A}</a:tableStyleId>
              </a:tblPr>
              <a:tblGrid>
                <a:gridCol w="2313655">
                  <a:extLst>
                    <a:ext uri="{9D8B030D-6E8A-4147-A177-3AD203B41FA5}">
                      <a16:colId xmlns:a16="http://schemas.microsoft.com/office/drawing/2014/main" val="20000"/>
                    </a:ext>
                  </a:extLst>
                </a:gridCol>
                <a:gridCol w="1196718">
                  <a:extLst>
                    <a:ext uri="{9D8B030D-6E8A-4147-A177-3AD203B41FA5}">
                      <a16:colId xmlns:a16="http://schemas.microsoft.com/office/drawing/2014/main" val="4289771963"/>
                    </a:ext>
                  </a:extLst>
                </a:gridCol>
                <a:gridCol w="1196718">
                  <a:extLst>
                    <a:ext uri="{9D8B030D-6E8A-4147-A177-3AD203B41FA5}">
                      <a16:colId xmlns:a16="http://schemas.microsoft.com/office/drawing/2014/main" val="1660492329"/>
                    </a:ext>
                  </a:extLst>
                </a:gridCol>
              </a:tblGrid>
              <a:tr h="528801">
                <a:tc>
                  <a:txBody>
                    <a:bodyPr/>
                    <a:lstStyle>
                      <a:lvl1pPr algn="ctr" defTabSz="342900">
                        <a:spcBef>
                          <a:spcPts val="600"/>
                        </a:spcBef>
                        <a:defRPr sz="2000">
                          <a:solidFill>
                            <a:srgbClr val="878787"/>
                          </a:solidFill>
                          <a:latin typeface="Calibri" charset="0"/>
                          <a:ea typeface="Heiti SC Light" charset="-122"/>
                          <a:sym typeface="Calibri" charset="0"/>
                        </a:defRPr>
                      </a:lvl1pPr>
                      <a:lvl2pPr marL="742950" indent="-285750" algn="ctr" defTabSz="342900">
                        <a:spcBef>
                          <a:spcPts val="525"/>
                        </a:spcBef>
                        <a:defRPr sz="1900">
                          <a:solidFill>
                            <a:srgbClr val="878787"/>
                          </a:solidFill>
                          <a:latin typeface="Calibri" charset="0"/>
                          <a:ea typeface="Heiti SC Light" charset="-122"/>
                          <a:sym typeface="Calibri" charset="0"/>
                        </a:defRPr>
                      </a:lvl2pPr>
                      <a:lvl3pPr marL="1143000" indent="-228600" algn="ctr" defTabSz="342900">
                        <a:spcBef>
                          <a:spcPts val="450"/>
                        </a:spcBef>
                        <a:defRPr sz="1600">
                          <a:solidFill>
                            <a:srgbClr val="878787"/>
                          </a:solidFill>
                          <a:latin typeface="Calibri" charset="0"/>
                          <a:ea typeface="Heiti SC Light" charset="-122"/>
                          <a:sym typeface="Calibri" charset="0"/>
                        </a:defRPr>
                      </a:lvl3pPr>
                      <a:lvl4pPr marL="1600200" indent="-228600" algn="ctr" defTabSz="342900">
                        <a:spcBef>
                          <a:spcPts val="375"/>
                        </a:spcBef>
                        <a:defRPr sz="1300">
                          <a:solidFill>
                            <a:srgbClr val="878787"/>
                          </a:solidFill>
                          <a:latin typeface="Calibri" charset="0"/>
                          <a:ea typeface="Heiti SC Light" charset="-122"/>
                          <a:sym typeface="Calibri" charset="0"/>
                        </a:defRPr>
                      </a:lvl4pPr>
                      <a:lvl5pPr marL="2057400" indent="-228600" algn="ctr" defTabSz="342900">
                        <a:spcBef>
                          <a:spcPts val="375"/>
                        </a:spcBef>
                        <a:defRPr sz="1300">
                          <a:solidFill>
                            <a:srgbClr val="878787"/>
                          </a:solidFill>
                          <a:latin typeface="Calibri" charset="0"/>
                          <a:ea typeface="Heiti SC Light" charset="-122"/>
                          <a:sym typeface="Calibri" charset="0"/>
                        </a:defRPr>
                      </a:lvl5pPr>
                      <a:lvl6pPr marL="2514600" indent="-228600" algn="ctr" defTabSz="342900" eaLnBrk="0" fontAlgn="base" hangingPunct="0">
                        <a:spcBef>
                          <a:spcPts val="375"/>
                        </a:spcBef>
                        <a:spcAft>
                          <a:spcPct val="0"/>
                        </a:spcAft>
                        <a:defRPr sz="1300">
                          <a:solidFill>
                            <a:srgbClr val="878787"/>
                          </a:solidFill>
                          <a:latin typeface="Calibri" charset="0"/>
                          <a:ea typeface="Heiti SC Light" charset="-122"/>
                          <a:sym typeface="Calibri" charset="0"/>
                        </a:defRPr>
                      </a:lvl6pPr>
                      <a:lvl7pPr marL="2971800" indent="-228600" algn="ctr" defTabSz="342900" eaLnBrk="0" fontAlgn="base" hangingPunct="0">
                        <a:spcBef>
                          <a:spcPts val="375"/>
                        </a:spcBef>
                        <a:spcAft>
                          <a:spcPct val="0"/>
                        </a:spcAft>
                        <a:defRPr sz="1300">
                          <a:solidFill>
                            <a:srgbClr val="878787"/>
                          </a:solidFill>
                          <a:latin typeface="Calibri" charset="0"/>
                          <a:ea typeface="Heiti SC Light" charset="-122"/>
                          <a:sym typeface="Calibri" charset="0"/>
                        </a:defRPr>
                      </a:lvl7pPr>
                      <a:lvl8pPr marL="3429000" indent="-228600" algn="ctr" defTabSz="342900" eaLnBrk="0" fontAlgn="base" hangingPunct="0">
                        <a:spcBef>
                          <a:spcPts val="375"/>
                        </a:spcBef>
                        <a:spcAft>
                          <a:spcPct val="0"/>
                        </a:spcAft>
                        <a:defRPr sz="1300">
                          <a:solidFill>
                            <a:srgbClr val="878787"/>
                          </a:solidFill>
                          <a:latin typeface="Calibri" charset="0"/>
                          <a:ea typeface="Heiti SC Light" charset="-122"/>
                          <a:sym typeface="Calibri" charset="0"/>
                        </a:defRPr>
                      </a:lvl8pPr>
                      <a:lvl9pPr marL="3886200" indent="-228600" algn="ctr" defTabSz="342900" eaLnBrk="0" fontAlgn="base" hangingPunct="0">
                        <a:spcBef>
                          <a:spcPts val="375"/>
                        </a:spcBef>
                        <a:spcAft>
                          <a:spcPct val="0"/>
                        </a:spcAft>
                        <a:defRPr sz="1300">
                          <a:solidFill>
                            <a:srgbClr val="878787"/>
                          </a:solidFill>
                          <a:latin typeface="Calibri" charset="0"/>
                          <a:ea typeface="Heiti SC Light" charset="-122"/>
                          <a:sym typeface="Calibri" charset="0"/>
                        </a:defRPr>
                      </a:lvl9pPr>
                    </a:lstStyle>
                    <a:p>
                      <a:pPr marL="0" marR="0" lvl="0" indent="0" algn="l" defTabSz="342900" rtl="0" eaLnBrk="1" fontAlgn="base" latinLnBrk="0" hangingPunct="1">
                        <a:lnSpc>
                          <a:spcPct val="90000"/>
                        </a:lnSpc>
                        <a:spcBef>
                          <a:spcPct val="0"/>
                        </a:spcBef>
                        <a:spcAft>
                          <a:spcPct val="0"/>
                        </a:spcAft>
                        <a:buClrTx/>
                        <a:buSzTx/>
                        <a:buFontTx/>
                        <a:buNone/>
                        <a:tabLst/>
                        <a:defRPr/>
                      </a:pPr>
                      <a:endPar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endParaRPr>
                    </a:p>
                  </a:txBody>
                  <a:tcPr anchor="ctr" horzOverflow="overflow"/>
                </a:tc>
                <a:tc>
                  <a:txBody>
                    <a:bodyPr/>
                    <a:lstStyle/>
                    <a:p>
                      <a:pPr marL="0" marR="0" lvl="0" indent="0" algn="ctr" defTabSz="342900" rtl="0" eaLnBrk="1" fontAlgn="base" latinLnBrk="0" hangingPunct="1">
                        <a:lnSpc>
                          <a:spcPct val="90000"/>
                        </a:lnSpc>
                        <a:spcBef>
                          <a:spcPct val="0"/>
                        </a:spcBef>
                        <a:spcAft>
                          <a:spcPct val="0"/>
                        </a:spcAft>
                        <a:buClrTx/>
                        <a:buSzTx/>
                        <a:buFontTx/>
                        <a:buNone/>
                        <a:tabLst/>
                        <a:defRPr/>
                      </a:pPr>
                      <a: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t>VRD </a:t>
                      </a:r>
                      <a:b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br>
                      <a: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t>GEM2012 </a:t>
                      </a:r>
                      <a:b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br>
                      <a: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t>(n = 458)</a:t>
                      </a:r>
                    </a:p>
                  </a:txBody>
                  <a:tcPr anchor="ctr" horzOverflow="overflow"/>
                </a:tc>
                <a:tc>
                  <a:txBody>
                    <a:bodyPr/>
                    <a:lstStyle/>
                    <a:p>
                      <a:pPr marL="0" marR="0" lvl="0" indent="0" algn="ctr" defTabSz="342900" rtl="0" eaLnBrk="1" fontAlgn="base" latinLnBrk="0" hangingPunct="1">
                        <a:lnSpc>
                          <a:spcPct val="90000"/>
                        </a:lnSpc>
                        <a:spcBef>
                          <a:spcPct val="0"/>
                        </a:spcBef>
                        <a:spcAft>
                          <a:spcPct val="0"/>
                        </a:spcAft>
                        <a:buClrTx/>
                        <a:buSzTx/>
                        <a:buFontTx/>
                        <a:buNone/>
                        <a:tabLst/>
                        <a:defRPr/>
                      </a:pPr>
                      <a: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t>VTD </a:t>
                      </a:r>
                      <a:b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br>
                      <a: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t>GEM2005 </a:t>
                      </a:r>
                      <a:b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br>
                      <a:r>
                        <a:rPr kumimoji="0" lang="en-US" altLang="en-US" sz="1100" b="1" i="0" u="none" strike="noStrike" kern="1200" cap="none" normalizeH="0" baseline="0">
                          <a:ln>
                            <a:noFill/>
                          </a:ln>
                          <a:solidFill>
                            <a:schemeClr val="bg1"/>
                          </a:solidFill>
                          <a:effectLst/>
                          <a:latin typeface="+mn-lt"/>
                          <a:ea typeface="Heiti SC Light" charset="-122"/>
                          <a:cs typeface="+mn-cs"/>
                          <a:sym typeface="Gill Sans" charset="0"/>
                        </a:rPr>
                        <a:t>(n = 130)</a:t>
                      </a:r>
                    </a:p>
                  </a:txBody>
                  <a:tcPr anchor="ctr" horzOverflow="overflow"/>
                </a:tc>
                <a:extLst>
                  <a:ext uri="{0D108BD9-81ED-4DB2-BD59-A6C34878D82A}">
                    <a16:rowId xmlns:a16="http://schemas.microsoft.com/office/drawing/2014/main" val="10001"/>
                  </a:ext>
                </a:extLst>
              </a:tr>
              <a:tr h="231458">
                <a:tc>
                  <a:txBody>
                    <a:bodyPr/>
                    <a:lstStyle>
                      <a:lvl1pPr algn="ctr" defTabSz="342900">
                        <a:spcBef>
                          <a:spcPts val="600"/>
                        </a:spcBef>
                        <a:defRPr sz="2000">
                          <a:solidFill>
                            <a:srgbClr val="878787"/>
                          </a:solidFill>
                          <a:latin typeface="Calibri" charset="0"/>
                          <a:ea typeface="Heiti SC Light" charset="-122"/>
                          <a:sym typeface="Calibri" charset="0"/>
                        </a:defRPr>
                      </a:lvl1pPr>
                      <a:lvl2pPr marL="742950" indent="-285750" algn="ctr" defTabSz="342900">
                        <a:spcBef>
                          <a:spcPts val="525"/>
                        </a:spcBef>
                        <a:defRPr sz="1900">
                          <a:solidFill>
                            <a:srgbClr val="878787"/>
                          </a:solidFill>
                          <a:latin typeface="Calibri" charset="0"/>
                          <a:ea typeface="Heiti SC Light" charset="-122"/>
                          <a:sym typeface="Calibri" charset="0"/>
                        </a:defRPr>
                      </a:lvl2pPr>
                      <a:lvl3pPr marL="1143000" indent="-228600" algn="ctr" defTabSz="342900">
                        <a:spcBef>
                          <a:spcPts val="450"/>
                        </a:spcBef>
                        <a:defRPr sz="1600">
                          <a:solidFill>
                            <a:srgbClr val="878787"/>
                          </a:solidFill>
                          <a:latin typeface="Calibri" charset="0"/>
                          <a:ea typeface="Heiti SC Light" charset="-122"/>
                          <a:sym typeface="Calibri" charset="0"/>
                        </a:defRPr>
                      </a:lvl3pPr>
                      <a:lvl4pPr marL="1600200" indent="-228600" algn="ctr" defTabSz="342900">
                        <a:spcBef>
                          <a:spcPts val="375"/>
                        </a:spcBef>
                        <a:defRPr sz="1300">
                          <a:solidFill>
                            <a:srgbClr val="878787"/>
                          </a:solidFill>
                          <a:latin typeface="Calibri" charset="0"/>
                          <a:ea typeface="Heiti SC Light" charset="-122"/>
                          <a:sym typeface="Calibri" charset="0"/>
                        </a:defRPr>
                      </a:lvl4pPr>
                      <a:lvl5pPr marL="2057400" indent="-228600" algn="ctr" defTabSz="342900">
                        <a:spcBef>
                          <a:spcPts val="375"/>
                        </a:spcBef>
                        <a:defRPr sz="1300">
                          <a:solidFill>
                            <a:srgbClr val="878787"/>
                          </a:solidFill>
                          <a:latin typeface="Calibri" charset="0"/>
                          <a:ea typeface="Heiti SC Light" charset="-122"/>
                          <a:sym typeface="Calibri" charset="0"/>
                        </a:defRPr>
                      </a:lvl5pPr>
                      <a:lvl6pPr marL="2514600" indent="-228600" algn="ctr" defTabSz="342900" eaLnBrk="0" fontAlgn="base" hangingPunct="0">
                        <a:spcBef>
                          <a:spcPts val="375"/>
                        </a:spcBef>
                        <a:spcAft>
                          <a:spcPct val="0"/>
                        </a:spcAft>
                        <a:defRPr sz="1300">
                          <a:solidFill>
                            <a:srgbClr val="878787"/>
                          </a:solidFill>
                          <a:latin typeface="Calibri" charset="0"/>
                          <a:ea typeface="Heiti SC Light" charset="-122"/>
                          <a:sym typeface="Calibri" charset="0"/>
                        </a:defRPr>
                      </a:lvl6pPr>
                      <a:lvl7pPr marL="2971800" indent="-228600" algn="ctr" defTabSz="342900" eaLnBrk="0" fontAlgn="base" hangingPunct="0">
                        <a:spcBef>
                          <a:spcPts val="375"/>
                        </a:spcBef>
                        <a:spcAft>
                          <a:spcPct val="0"/>
                        </a:spcAft>
                        <a:defRPr sz="1300">
                          <a:solidFill>
                            <a:srgbClr val="878787"/>
                          </a:solidFill>
                          <a:latin typeface="Calibri" charset="0"/>
                          <a:ea typeface="Heiti SC Light" charset="-122"/>
                          <a:sym typeface="Calibri" charset="0"/>
                        </a:defRPr>
                      </a:lvl7pPr>
                      <a:lvl8pPr marL="3429000" indent="-228600" algn="ctr" defTabSz="342900" eaLnBrk="0" fontAlgn="base" hangingPunct="0">
                        <a:spcBef>
                          <a:spcPts val="375"/>
                        </a:spcBef>
                        <a:spcAft>
                          <a:spcPct val="0"/>
                        </a:spcAft>
                        <a:defRPr sz="1300">
                          <a:solidFill>
                            <a:srgbClr val="878787"/>
                          </a:solidFill>
                          <a:latin typeface="Calibri" charset="0"/>
                          <a:ea typeface="Heiti SC Light" charset="-122"/>
                          <a:sym typeface="Calibri" charset="0"/>
                        </a:defRPr>
                      </a:lvl8pPr>
                      <a:lvl9pPr marL="3886200" indent="-228600" algn="ctr" defTabSz="342900" eaLnBrk="0" fontAlgn="base" hangingPunct="0">
                        <a:spcBef>
                          <a:spcPts val="375"/>
                        </a:spcBef>
                        <a:spcAft>
                          <a:spcPct val="0"/>
                        </a:spcAft>
                        <a:defRPr sz="1300">
                          <a:solidFill>
                            <a:srgbClr val="878787"/>
                          </a:solidFill>
                          <a:latin typeface="Calibri" charset="0"/>
                          <a:ea typeface="Heiti SC Light" charset="-122"/>
                          <a:sym typeface="Calibri" charset="0"/>
                        </a:defRPr>
                      </a:lvl9pPr>
                    </a:lstStyle>
                    <a:p>
                      <a:pPr marL="0" marR="0" lvl="0" indent="0" algn="l" defTabSz="342900" rtl="0" eaLnBrk="1" fontAlgn="base" latinLnBrk="0" hangingPunct="1">
                        <a:lnSpc>
                          <a:spcPct val="90000"/>
                        </a:lnSpc>
                        <a:spcBef>
                          <a:spcPct val="0"/>
                        </a:spcBef>
                        <a:spcAft>
                          <a:spcPct val="0"/>
                        </a:spcAft>
                        <a:buClrTx/>
                        <a:buSzTx/>
                        <a:buFontTx/>
                        <a:buNone/>
                        <a:tabLst/>
                      </a:pPr>
                      <a:r>
                        <a:rPr kumimoji="0" lang="en-US" altLang="en-US" sz="1100" b="1" i="0" u="none" strike="noStrike" cap="none" normalizeH="0" baseline="0">
                          <a:ln>
                            <a:noFill/>
                          </a:ln>
                          <a:solidFill>
                            <a:srgbClr val="595454"/>
                          </a:solidFill>
                          <a:effectLst/>
                          <a:latin typeface="+mn-lt"/>
                          <a:ea typeface="Heiti SC Light" charset="-122"/>
                          <a:sym typeface="Gill Sans" charset="0"/>
                        </a:rPr>
                        <a:t>Any grade 3/4 AE, %</a:t>
                      </a:r>
                      <a:r>
                        <a:rPr kumimoji="0" lang="en-US" altLang="en-US" sz="1100" b="1" i="0" u="none" strike="noStrike" cap="none" normalizeH="0" baseline="30000">
                          <a:ln>
                            <a:noFill/>
                          </a:ln>
                          <a:solidFill>
                            <a:srgbClr val="595454"/>
                          </a:solidFill>
                          <a:effectLst/>
                          <a:latin typeface="+mn-lt"/>
                          <a:ea typeface="Heiti SC Light" charset="-122"/>
                          <a:sym typeface="Gill Sans" charset="0"/>
                        </a:rPr>
                        <a:t>a</a:t>
                      </a:r>
                    </a:p>
                  </a:txBody>
                  <a:tcPr anchor="ctr" horzOverflow="overflow"/>
                </a:tc>
                <a:tc>
                  <a:txBody>
                    <a:bodyPr/>
                    <a:lstStyle/>
                    <a:p>
                      <a:pPr algn="ctr"/>
                      <a:r>
                        <a:rPr lang="en-US" sz="1100" b="0" i="0" u="none" strike="noStrike" kern="1200" baseline="0">
                          <a:solidFill>
                            <a:srgbClr val="595454"/>
                          </a:solidFill>
                          <a:latin typeface="+mn-lt"/>
                          <a:ea typeface="+mn-ea"/>
                          <a:cs typeface="+mn-cs"/>
                        </a:rPr>
                        <a:t>40.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0">
                          <a:solidFill>
                            <a:srgbClr val="595454"/>
                          </a:solidFill>
                          <a:latin typeface="+mn-lt"/>
                          <a:ea typeface="+mn-ea"/>
                          <a:cs typeface="+mn-cs"/>
                        </a:rPr>
                        <a:t>43.1</a:t>
                      </a:r>
                    </a:p>
                  </a:txBody>
                  <a:tcPr anchor="ctr"/>
                </a:tc>
                <a:extLst>
                  <a:ext uri="{0D108BD9-81ED-4DB2-BD59-A6C34878D82A}">
                    <a16:rowId xmlns:a16="http://schemas.microsoft.com/office/drawing/2014/main" val="10002"/>
                  </a:ext>
                </a:extLst>
              </a:tr>
              <a:tr h="231458">
                <a:tc>
                  <a:txBody>
                    <a:bodyPr/>
                    <a:lstStyle/>
                    <a:p>
                      <a:pPr marL="0" marR="0">
                        <a:lnSpc>
                          <a:spcPct val="100000"/>
                        </a:lnSpc>
                        <a:spcBef>
                          <a:spcPts val="0"/>
                        </a:spcBef>
                        <a:spcAft>
                          <a:spcPts val="0"/>
                        </a:spcAft>
                      </a:pPr>
                      <a:r>
                        <a:rPr lang="en-GB" sz="1100" b="1" noProof="0">
                          <a:solidFill>
                            <a:srgbClr val="BE2BBB"/>
                          </a:solidFill>
                          <a:effectLst/>
                          <a:latin typeface="+mn-lt"/>
                        </a:rPr>
                        <a:t>     Neutropenia</a:t>
                      </a:r>
                      <a:endParaRPr lang="en-GB" sz="1100" b="1" noProof="0">
                        <a:solidFill>
                          <a:srgbClr val="BE2BBB"/>
                        </a:solidFill>
                        <a:effectLst/>
                        <a:latin typeface="+mn-lt"/>
                        <a:ea typeface="Batang" panose="02030600000101010101" pitchFamily="18" charset="-127"/>
                        <a:cs typeface="Arial" panose="020B0604020202020204" pitchFamily="34" charset="0"/>
                      </a:endParaRPr>
                    </a:p>
                  </a:txBody>
                  <a:tcPr anchor="ctr"/>
                </a:tc>
                <a:tc>
                  <a:txBody>
                    <a:bodyPr/>
                    <a:lstStyle/>
                    <a:p>
                      <a:pPr algn="ctr"/>
                      <a:r>
                        <a:rPr lang="en-US" sz="1100" b="0" i="0" u="none" strike="noStrike" kern="1200" baseline="0">
                          <a:solidFill>
                            <a:srgbClr val="BE2BBB"/>
                          </a:solidFill>
                          <a:latin typeface="+mn-lt"/>
                          <a:ea typeface="+mn-ea"/>
                          <a:cs typeface="+mn-cs"/>
                        </a:rPr>
                        <a:t>12.9</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0">
                          <a:solidFill>
                            <a:srgbClr val="BE2BBB"/>
                          </a:solidFill>
                          <a:latin typeface="+mn-lt"/>
                          <a:ea typeface="+mn-ea"/>
                          <a:cs typeface="+mn-cs"/>
                        </a:rPr>
                        <a:t>2.3 </a:t>
                      </a:r>
                    </a:p>
                  </a:txBody>
                  <a:tcPr anchor="ctr"/>
                </a:tc>
                <a:extLst>
                  <a:ext uri="{0D108BD9-81ED-4DB2-BD59-A6C34878D82A}">
                    <a16:rowId xmlns:a16="http://schemas.microsoft.com/office/drawing/2014/main" val="1007344858"/>
                  </a:ext>
                </a:extLst>
              </a:tr>
              <a:tr h="231458">
                <a:tc>
                  <a:txBody>
                    <a:bodyPr/>
                    <a:lstStyle/>
                    <a:p>
                      <a:pPr marL="0" marR="0">
                        <a:lnSpc>
                          <a:spcPct val="100000"/>
                        </a:lnSpc>
                        <a:spcBef>
                          <a:spcPts val="0"/>
                        </a:spcBef>
                        <a:spcAft>
                          <a:spcPts val="0"/>
                        </a:spcAft>
                      </a:pPr>
                      <a:r>
                        <a:rPr lang="en-GB" sz="1100" b="1" noProof="0">
                          <a:effectLst/>
                          <a:latin typeface="+mn-lt"/>
                        </a:rPr>
                        <a:t>     Thrombocytopenia</a:t>
                      </a:r>
                      <a:endParaRPr lang="en-GB" sz="1100" b="1" baseline="30000" noProof="0">
                        <a:effectLst/>
                        <a:latin typeface="+mn-lt"/>
                        <a:ea typeface="Batang" panose="02030600000101010101" pitchFamily="18" charset="-127"/>
                        <a:cs typeface="Arial" panose="020B0604020202020204" pitchFamily="34" charset="0"/>
                      </a:endParaRPr>
                    </a:p>
                  </a:txBody>
                  <a:tcPr anchor="ctr"/>
                </a:tc>
                <a:tc>
                  <a:txBody>
                    <a:bodyPr/>
                    <a:lstStyle/>
                    <a:p>
                      <a:pPr algn="ctr"/>
                      <a:r>
                        <a:rPr lang="en-US" sz="1100" b="0" i="0" u="none" strike="noStrike" kern="1200" baseline="0">
                          <a:solidFill>
                            <a:schemeClr val="tx1"/>
                          </a:solidFill>
                          <a:latin typeface="+mn-lt"/>
                          <a:ea typeface="+mn-ea"/>
                          <a:cs typeface="+mn-cs"/>
                        </a:rPr>
                        <a:t>6.3</a:t>
                      </a:r>
                    </a:p>
                  </a:txBody>
                  <a:tcPr anchor="ctr"/>
                </a:tc>
                <a:tc>
                  <a:txBody>
                    <a:bodyPr/>
                    <a:lstStyle/>
                    <a:p>
                      <a:pPr algn="ctr"/>
                      <a:r>
                        <a:rPr lang="en-US" sz="1100" b="0" i="0" u="none" strike="noStrike" kern="1200" baseline="0">
                          <a:solidFill>
                            <a:schemeClr val="tx1"/>
                          </a:solidFill>
                          <a:latin typeface="+mn-lt"/>
                          <a:ea typeface="+mn-ea"/>
                          <a:cs typeface="+mn-cs"/>
                        </a:rPr>
                        <a:t>0</a:t>
                      </a:r>
                    </a:p>
                  </a:txBody>
                  <a:tcPr anchor="ctr"/>
                </a:tc>
                <a:extLst>
                  <a:ext uri="{0D108BD9-81ED-4DB2-BD59-A6C34878D82A}">
                    <a16:rowId xmlns:a16="http://schemas.microsoft.com/office/drawing/2014/main" val="2323453560"/>
                  </a:ext>
                </a:extLst>
              </a:tr>
              <a:tr h="231458">
                <a:tc>
                  <a:txBody>
                    <a:bodyPr/>
                    <a:lstStyle/>
                    <a:p>
                      <a:pPr marL="0" marR="0">
                        <a:lnSpc>
                          <a:spcPct val="100000"/>
                        </a:lnSpc>
                        <a:spcBef>
                          <a:spcPts val="0"/>
                        </a:spcBef>
                        <a:spcAft>
                          <a:spcPts val="0"/>
                        </a:spcAft>
                      </a:pPr>
                      <a:r>
                        <a:rPr lang="en-GB" sz="1100" b="1" noProof="0">
                          <a:solidFill>
                            <a:srgbClr val="BE2BBB"/>
                          </a:solidFill>
                          <a:effectLst/>
                          <a:latin typeface="+mn-lt"/>
                          <a:ea typeface="Batang" panose="02030600000101010101" pitchFamily="18" charset="-127"/>
                          <a:cs typeface="Arial" panose="020B0604020202020204" pitchFamily="34" charset="0"/>
                        </a:rPr>
                        <a:t>     Peripheral neuropathy</a:t>
                      </a:r>
                      <a:r>
                        <a:rPr lang="en-GB" sz="1100" b="1" baseline="30000" noProof="0">
                          <a:solidFill>
                            <a:srgbClr val="BE2BBB"/>
                          </a:solidFill>
                          <a:effectLst/>
                          <a:latin typeface="+mn-lt"/>
                          <a:ea typeface="Batang" panose="02030600000101010101" pitchFamily="18" charset="-127"/>
                          <a:cs typeface="Arial" panose="020B0604020202020204" pitchFamily="34" charset="0"/>
                        </a:rPr>
                        <a:t>b</a:t>
                      </a:r>
                      <a:endParaRPr lang="en-GB" sz="1100" b="1" noProof="0">
                        <a:solidFill>
                          <a:srgbClr val="BE2BBB"/>
                        </a:solidFill>
                        <a:effectLst/>
                        <a:latin typeface="+mn-lt"/>
                        <a:ea typeface="Batang" panose="02030600000101010101" pitchFamily="18" charset="-127"/>
                        <a:cs typeface="Arial" panose="020B0604020202020204" pitchFamily="34" charset="0"/>
                      </a:endParaRPr>
                    </a:p>
                  </a:txBody>
                  <a:tcPr anchor="ctr"/>
                </a:tc>
                <a:tc>
                  <a:txBody>
                    <a:bodyPr/>
                    <a:lstStyle/>
                    <a:p>
                      <a:pPr algn="ctr"/>
                      <a:r>
                        <a:rPr lang="en-US" sz="1100" b="0" i="0" u="none" strike="noStrike" kern="1200" baseline="0">
                          <a:solidFill>
                            <a:srgbClr val="BE2BBB"/>
                          </a:solidFill>
                          <a:latin typeface="+mn-lt"/>
                          <a:ea typeface="+mn-ea"/>
                          <a:cs typeface="+mn-cs"/>
                        </a:rPr>
                        <a:t>4.6</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0">
                          <a:solidFill>
                            <a:srgbClr val="BE2BBB"/>
                          </a:solidFill>
                          <a:latin typeface="+mn-lt"/>
                          <a:ea typeface="+mn-ea"/>
                          <a:cs typeface="+mn-cs"/>
                        </a:rPr>
                        <a:t>15.4</a:t>
                      </a:r>
                    </a:p>
                  </a:txBody>
                  <a:tcPr anchor="ctr"/>
                </a:tc>
                <a:extLst>
                  <a:ext uri="{0D108BD9-81ED-4DB2-BD59-A6C34878D82A}">
                    <a16:rowId xmlns:a16="http://schemas.microsoft.com/office/drawing/2014/main" val="3709799353"/>
                  </a:ext>
                </a:extLst>
              </a:tr>
              <a:tr h="211482">
                <a:tc>
                  <a:txBody>
                    <a:bodyPr/>
                    <a:lstStyle/>
                    <a:p>
                      <a:pPr marL="0" marR="0">
                        <a:lnSpc>
                          <a:spcPct val="100000"/>
                        </a:lnSpc>
                        <a:spcBef>
                          <a:spcPts val="0"/>
                        </a:spcBef>
                        <a:spcAft>
                          <a:spcPts val="0"/>
                        </a:spcAft>
                      </a:pPr>
                      <a:r>
                        <a:rPr lang="en-GB" sz="1100" b="1" noProof="0">
                          <a:effectLst/>
                          <a:latin typeface="+mn-lt"/>
                        </a:rPr>
                        <a:t>     Infections and infestations</a:t>
                      </a:r>
                      <a:endParaRPr lang="en-GB" sz="1100" b="1" noProof="0">
                        <a:effectLst/>
                        <a:latin typeface="+mn-lt"/>
                        <a:ea typeface="Batang" panose="02030600000101010101" pitchFamily="18" charset="-127"/>
                        <a:cs typeface="Arial" panose="020B0604020202020204" pitchFamily="34" charset="0"/>
                      </a:endParaRPr>
                    </a:p>
                  </a:txBody>
                  <a:tcPr anchor="ctr"/>
                </a:tc>
                <a:tc>
                  <a:txBody>
                    <a:bodyPr/>
                    <a:lstStyle/>
                    <a:p>
                      <a:pPr algn="ctr"/>
                      <a:r>
                        <a:rPr lang="en-US" sz="1100" b="0" i="0" u="none" strike="noStrike" kern="1200" baseline="0">
                          <a:solidFill>
                            <a:schemeClr val="tx1"/>
                          </a:solidFill>
                          <a:latin typeface="+mn-lt"/>
                          <a:ea typeface="+mn-ea"/>
                          <a:cs typeface="+mn-cs"/>
                        </a:rPr>
                        <a:t>9.8</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0">
                          <a:solidFill>
                            <a:schemeClr val="tx1"/>
                          </a:solidFill>
                          <a:latin typeface="+mn-lt"/>
                          <a:ea typeface="+mn-ea"/>
                          <a:cs typeface="+mn-cs"/>
                        </a:rPr>
                        <a:t>2.3</a:t>
                      </a:r>
                    </a:p>
                  </a:txBody>
                  <a:tcPr anchor="ctr"/>
                </a:tc>
                <a:extLst>
                  <a:ext uri="{0D108BD9-81ED-4DB2-BD59-A6C34878D82A}">
                    <a16:rowId xmlns:a16="http://schemas.microsoft.com/office/drawing/2014/main" val="1940233377"/>
                  </a:ext>
                </a:extLst>
              </a:tr>
              <a:tr h="231458">
                <a:tc>
                  <a:txBody>
                    <a:bodyPr/>
                    <a:lstStyle/>
                    <a:p>
                      <a:pPr marL="0" marR="0">
                        <a:lnSpc>
                          <a:spcPct val="100000"/>
                        </a:lnSpc>
                        <a:spcBef>
                          <a:spcPts val="0"/>
                        </a:spcBef>
                        <a:spcAft>
                          <a:spcPts val="0"/>
                        </a:spcAft>
                      </a:pPr>
                      <a:r>
                        <a:rPr lang="en-GB" sz="1100" b="1" noProof="0">
                          <a:effectLst/>
                          <a:latin typeface="+mn-lt"/>
                          <a:ea typeface="Batang" panose="02030600000101010101" pitchFamily="18" charset="-127"/>
                          <a:cs typeface="Arial" panose="020B0604020202020204" pitchFamily="34" charset="0"/>
                        </a:rPr>
                        <a:t>     Pneumonia</a:t>
                      </a:r>
                    </a:p>
                  </a:txBody>
                  <a:tcPr anchor="ctr"/>
                </a:tc>
                <a:tc>
                  <a:txBody>
                    <a:bodyPr/>
                    <a:lstStyle/>
                    <a:p>
                      <a:pPr algn="ctr"/>
                      <a:r>
                        <a:rPr lang="en-US" sz="1100" b="0" i="0" u="none" strike="noStrike" kern="1200" baseline="0">
                          <a:solidFill>
                            <a:schemeClr val="tx1"/>
                          </a:solidFill>
                          <a:latin typeface="+mn-lt"/>
                          <a:ea typeface="+mn-ea"/>
                          <a:cs typeface="+mn-cs"/>
                        </a:rPr>
                        <a:t>2.2</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0">
                          <a:solidFill>
                            <a:schemeClr val="tx1"/>
                          </a:solidFill>
                          <a:latin typeface="+mn-lt"/>
                          <a:ea typeface="+mn-ea"/>
                          <a:cs typeface="+mn-cs"/>
                        </a:rPr>
                        <a:t>6.9</a:t>
                      </a:r>
                    </a:p>
                  </a:txBody>
                  <a:tcPr anchor="ctr"/>
                </a:tc>
                <a:extLst>
                  <a:ext uri="{0D108BD9-81ED-4DB2-BD59-A6C34878D82A}">
                    <a16:rowId xmlns:a16="http://schemas.microsoft.com/office/drawing/2014/main" val="968064376"/>
                  </a:ext>
                </a:extLst>
              </a:tr>
              <a:tr h="231458">
                <a:tc>
                  <a:txBody>
                    <a:bodyPr/>
                    <a:lstStyle/>
                    <a:p>
                      <a:pPr marL="0" marR="0">
                        <a:lnSpc>
                          <a:spcPct val="100000"/>
                        </a:lnSpc>
                        <a:spcBef>
                          <a:spcPts val="0"/>
                        </a:spcBef>
                        <a:spcAft>
                          <a:spcPts val="0"/>
                        </a:spcAft>
                      </a:pPr>
                      <a:r>
                        <a:rPr lang="en-GB" sz="1100" b="1" noProof="0">
                          <a:effectLst/>
                          <a:latin typeface="+mn-lt"/>
                          <a:ea typeface="Batang" panose="02030600000101010101" pitchFamily="18" charset="-127"/>
                          <a:cs typeface="Arial" panose="020B0604020202020204" pitchFamily="34" charset="0"/>
                        </a:rPr>
                        <a:t>TEAE leading to, %</a:t>
                      </a:r>
                    </a:p>
                  </a:txBody>
                  <a:tcPr anchor="ctr">
                    <a:solidFill>
                      <a:srgbClr val="FFD186"/>
                    </a:solidFill>
                  </a:tcPr>
                </a:tc>
                <a:tc>
                  <a:txBody>
                    <a:bodyPr/>
                    <a:lstStyle/>
                    <a:p>
                      <a:pPr algn="ctr"/>
                      <a:endParaRPr lang="en-US" sz="1100" b="0" i="0" u="none" strike="noStrike" kern="1200" baseline="0">
                        <a:solidFill>
                          <a:schemeClr val="tx1"/>
                        </a:solidFill>
                        <a:latin typeface="+mn-lt"/>
                        <a:ea typeface="+mn-ea"/>
                        <a:cs typeface="+mn-cs"/>
                      </a:endParaRPr>
                    </a:p>
                  </a:txBody>
                  <a:tcPr anchor="ctr">
                    <a:solidFill>
                      <a:srgbClr val="FFD186"/>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100" b="0" i="0" u="none" strike="noStrike" kern="1200" baseline="0">
                        <a:solidFill>
                          <a:schemeClr val="tx1"/>
                        </a:solidFill>
                        <a:latin typeface="+mn-lt"/>
                        <a:ea typeface="+mn-ea"/>
                        <a:cs typeface="+mn-cs"/>
                      </a:endParaRPr>
                    </a:p>
                  </a:txBody>
                  <a:tcPr anchor="ctr">
                    <a:solidFill>
                      <a:srgbClr val="FFD186"/>
                    </a:solidFill>
                  </a:tcPr>
                </a:tc>
                <a:extLst>
                  <a:ext uri="{0D108BD9-81ED-4DB2-BD59-A6C34878D82A}">
                    <a16:rowId xmlns:a16="http://schemas.microsoft.com/office/drawing/2014/main" val="1958878266"/>
                  </a:ext>
                </a:extLst>
              </a:tr>
              <a:tr h="231458">
                <a:tc>
                  <a:txBody>
                    <a:bodyPr/>
                    <a:lstStyle/>
                    <a:p>
                      <a:pPr marL="0" marR="0">
                        <a:lnSpc>
                          <a:spcPct val="100000"/>
                        </a:lnSpc>
                        <a:spcBef>
                          <a:spcPts val="0"/>
                        </a:spcBef>
                        <a:spcAft>
                          <a:spcPts val="0"/>
                        </a:spcAft>
                      </a:pPr>
                      <a:r>
                        <a:rPr lang="en-GB" sz="1100" b="1" noProof="0">
                          <a:effectLst/>
                          <a:latin typeface="+mn-lt"/>
                          <a:ea typeface="Batang" panose="02030600000101010101" pitchFamily="18" charset="-127"/>
                          <a:cs typeface="Arial" panose="020B0604020202020204" pitchFamily="34" charset="0"/>
                        </a:rPr>
                        <a:t>     Dose reduction</a:t>
                      </a:r>
                    </a:p>
                  </a:txBody>
                  <a:tcPr anchor="ctr">
                    <a:solidFill>
                      <a:srgbClr val="FFD186"/>
                    </a:solidFill>
                  </a:tcPr>
                </a:tc>
                <a:tc>
                  <a:txBody>
                    <a:bodyPr/>
                    <a:lstStyle/>
                    <a:p>
                      <a:pPr algn="ctr"/>
                      <a:r>
                        <a:rPr lang="en-US" sz="1100" b="0" i="0" u="none" strike="noStrike" kern="1200" baseline="0">
                          <a:solidFill>
                            <a:schemeClr val="tx1"/>
                          </a:solidFill>
                          <a:latin typeface="+mn-lt"/>
                          <a:ea typeface="+mn-ea"/>
                          <a:cs typeface="+mn-cs"/>
                        </a:rPr>
                        <a:t>21.6</a:t>
                      </a:r>
                    </a:p>
                  </a:txBody>
                  <a:tcPr anchor="ctr">
                    <a:solidFill>
                      <a:srgbClr val="FFD186"/>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0">
                          <a:solidFill>
                            <a:schemeClr val="tx1"/>
                          </a:solidFill>
                          <a:latin typeface="+mn-lt"/>
                          <a:ea typeface="+mn-ea"/>
                          <a:cs typeface="+mn-cs"/>
                        </a:rPr>
                        <a:t>35.4</a:t>
                      </a:r>
                    </a:p>
                  </a:txBody>
                  <a:tcPr anchor="ctr">
                    <a:solidFill>
                      <a:srgbClr val="FFD186"/>
                    </a:solidFill>
                  </a:tcPr>
                </a:tc>
                <a:extLst>
                  <a:ext uri="{0D108BD9-81ED-4DB2-BD59-A6C34878D82A}">
                    <a16:rowId xmlns:a16="http://schemas.microsoft.com/office/drawing/2014/main" val="4042390292"/>
                  </a:ext>
                </a:extLst>
              </a:tr>
              <a:tr h="0">
                <a:tc>
                  <a:txBody>
                    <a:bodyPr/>
                    <a:lstStyle/>
                    <a:p>
                      <a:pPr marL="0" marR="0">
                        <a:lnSpc>
                          <a:spcPct val="100000"/>
                        </a:lnSpc>
                        <a:spcBef>
                          <a:spcPts val="0"/>
                        </a:spcBef>
                        <a:spcAft>
                          <a:spcPts val="0"/>
                        </a:spcAft>
                      </a:pPr>
                      <a:r>
                        <a:rPr lang="en-GB" sz="1100" b="1" noProof="0">
                          <a:effectLst/>
                          <a:latin typeface="+mn-lt"/>
                          <a:ea typeface="Batang" panose="02030600000101010101" pitchFamily="18" charset="-127"/>
                          <a:cs typeface="Arial" panose="020B0604020202020204" pitchFamily="34" charset="0"/>
                        </a:rPr>
                        <a:t>     Study or Tx discontinuation</a:t>
                      </a:r>
                    </a:p>
                  </a:txBody>
                  <a:tcPr anchor="ctr">
                    <a:solidFill>
                      <a:srgbClr val="FFD186"/>
                    </a:solidFill>
                  </a:tcPr>
                </a:tc>
                <a:tc>
                  <a:txBody>
                    <a:bodyPr/>
                    <a:lstStyle/>
                    <a:p>
                      <a:pPr algn="ctr"/>
                      <a:r>
                        <a:rPr lang="en-US" sz="1100" b="0" i="0" u="none" strike="noStrike" kern="1200" baseline="0">
                          <a:solidFill>
                            <a:schemeClr val="tx1"/>
                          </a:solidFill>
                          <a:latin typeface="+mn-lt"/>
                          <a:ea typeface="+mn-ea"/>
                          <a:cs typeface="+mn-cs"/>
                        </a:rPr>
                        <a:t>3.1</a:t>
                      </a:r>
                    </a:p>
                  </a:txBody>
                  <a:tcPr anchor="ctr">
                    <a:solidFill>
                      <a:srgbClr val="FFD186"/>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b="0" i="0" u="none" strike="noStrike" kern="1200" baseline="0">
                          <a:solidFill>
                            <a:schemeClr val="tx1"/>
                          </a:solidFill>
                          <a:latin typeface="+mn-lt"/>
                          <a:ea typeface="+mn-ea"/>
                          <a:cs typeface="+mn-cs"/>
                        </a:rPr>
                        <a:t>9.2</a:t>
                      </a:r>
                    </a:p>
                  </a:txBody>
                  <a:tcPr anchor="ctr">
                    <a:solidFill>
                      <a:srgbClr val="FFD186"/>
                    </a:solidFill>
                  </a:tcPr>
                </a:tc>
                <a:extLst>
                  <a:ext uri="{0D108BD9-81ED-4DB2-BD59-A6C34878D82A}">
                    <a16:rowId xmlns:a16="http://schemas.microsoft.com/office/drawing/2014/main" val="2608601915"/>
                  </a:ext>
                </a:extLst>
              </a:tr>
            </a:tbl>
          </a:graphicData>
        </a:graphic>
      </p:graphicFrame>
      <p:sp>
        <p:nvSpPr>
          <p:cNvPr id="3" name="Text Placeholder 2">
            <a:extLst>
              <a:ext uri="{FF2B5EF4-FFF2-40B4-BE49-F238E27FC236}">
                <a16:creationId xmlns:a16="http://schemas.microsoft.com/office/drawing/2014/main" id="{A6A84B47-E95D-4093-A327-2C79F597338E}"/>
              </a:ext>
            </a:extLst>
          </p:cNvPr>
          <p:cNvSpPr>
            <a:spLocks noGrp="1"/>
          </p:cNvSpPr>
          <p:nvPr>
            <p:ph type="body" sz="quarter" idx="13"/>
          </p:nvPr>
        </p:nvSpPr>
        <p:spPr>
          <a:xfrm>
            <a:off x="79510" y="4562768"/>
            <a:ext cx="8790170" cy="232165"/>
          </a:xfrm>
        </p:spPr>
        <p:txBody>
          <a:bodyPr/>
          <a:lstStyle/>
          <a:p>
            <a:r>
              <a:rPr lang="en-US" sz="800" baseline="30000" noProof="0">
                <a:solidFill>
                  <a:srgbClr val="000020"/>
                </a:solidFill>
              </a:rPr>
              <a:t>a</a:t>
            </a:r>
            <a:r>
              <a:rPr lang="en-US" sz="800" noProof="0">
                <a:solidFill>
                  <a:srgbClr val="000020"/>
                </a:solidFill>
              </a:rPr>
              <a:t>Grade 3/4 AEs in ≥5%; safety was assessed using NCI CTCAE v4.03 (PETHEMA GEM2012), v4.0 (IFM 2009 and IFM 2013-04), and v3.0 (PETHEMA GEM2005). </a:t>
            </a:r>
            <a:r>
              <a:rPr lang="en-US" sz="800" baseline="30000" noProof="0">
                <a:solidFill>
                  <a:srgbClr val="000020"/>
                </a:solidFill>
              </a:rPr>
              <a:t>b</a:t>
            </a:r>
            <a:r>
              <a:rPr lang="en-US" sz="800" noProof="0">
                <a:solidFill>
                  <a:srgbClr val="000020"/>
                </a:solidFill>
              </a:rPr>
              <a:t>Grouped term.</a:t>
            </a:r>
          </a:p>
        </p:txBody>
      </p:sp>
      <p:sp>
        <p:nvSpPr>
          <p:cNvPr id="6" name="Content Placeholder 4">
            <a:extLst>
              <a:ext uri="{FF2B5EF4-FFF2-40B4-BE49-F238E27FC236}">
                <a16:creationId xmlns:a16="http://schemas.microsoft.com/office/drawing/2014/main" id="{37BDC37B-FB44-44A0-9E64-587162954E05}"/>
              </a:ext>
            </a:extLst>
          </p:cNvPr>
          <p:cNvSpPr txBox="1">
            <a:spLocks/>
          </p:cNvSpPr>
          <p:nvPr/>
        </p:nvSpPr>
        <p:spPr>
          <a:xfrm>
            <a:off x="405518" y="3903735"/>
            <a:ext cx="8464162" cy="355624"/>
          </a:xfrm>
          <a:prstGeom prst="rect">
            <a:avLst/>
          </a:prstGeom>
        </p:spPr>
        <p:txBody>
          <a:bodyPr vert="horz" lIns="57865" tIns="28932" rIns="57865" bIns="28932" rtlCol="0">
            <a:noAutofit/>
          </a:bodyPr>
          <a:lstStyle>
            <a:lvl1pPr marL="177800" indent="-1778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rgbClr val="4C4C4C"/>
                </a:solidFill>
                <a:latin typeface="+mn-lt"/>
                <a:ea typeface="+mn-ea"/>
                <a:cs typeface="+mn-cs"/>
              </a:defRPr>
            </a:lvl1pPr>
            <a:lvl2pPr marL="487363" indent="-187325"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rgbClr val="4C4C4C"/>
                </a:solidFill>
                <a:latin typeface="+mn-lt"/>
                <a:ea typeface="+mn-ea"/>
                <a:cs typeface="+mn-cs"/>
              </a:defRPr>
            </a:lvl2pPr>
            <a:lvl3pPr marL="771525" indent="-13652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rgbClr val="4C4C4C"/>
                </a:solidFill>
                <a:latin typeface="+mn-lt"/>
                <a:ea typeface="+mn-ea"/>
                <a:cs typeface="+mn-cs"/>
              </a:defRPr>
            </a:lvl3pPr>
            <a:lvl4pPr marL="1028700" indent="-1778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rgbClr val="4C4C4C"/>
                </a:solidFill>
                <a:latin typeface="+mn-lt"/>
                <a:ea typeface="+mn-ea"/>
                <a:cs typeface="+mn-cs"/>
              </a:defRPr>
            </a:lvl4pPr>
            <a:lvl5pPr marL="1206500" indent="-1778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rgbClr val="4C4C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0" indent="-177800" algn="l" defTabSz="914400" rtl="0" eaLnBrk="1" fontAlgn="base" latinLnBrk="0" hangingPunct="1">
              <a:lnSpc>
                <a:spcPct val="90000"/>
              </a:lnSpc>
              <a:spcBef>
                <a:spcPts val="1000"/>
              </a:spcBef>
              <a:spcAft>
                <a:spcPct val="0"/>
              </a:spcAft>
              <a:buClr>
                <a:srgbClr val="595454"/>
              </a:buClr>
              <a:buSzTx/>
              <a:buFont typeface="Arial" panose="020B0604020202020204" pitchFamily="34" charset="0"/>
              <a:buChar char="•"/>
              <a:tabLst/>
              <a:defRPr/>
            </a:pPr>
            <a:r>
              <a:rPr kumimoji="0" lang="en-US" altLang="en-US" sz="1000" b="1" i="0" u="none" strike="noStrike" kern="1200" cap="none" spc="0" normalizeH="0" baseline="0" noProof="0">
                <a:ln>
                  <a:noFill/>
                </a:ln>
                <a:solidFill>
                  <a:srgbClr val="595454"/>
                </a:solidFill>
                <a:effectLst/>
                <a:uLnTx/>
                <a:uFillTx/>
                <a:latin typeface="Trebuchet MS"/>
                <a:ea typeface="+mn-ea"/>
                <a:cs typeface="+mn-cs"/>
              </a:rPr>
              <a:t>AE rates may vary with the published primary manuscripts due to analysis methodology</a:t>
            </a:r>
          </a:p>
          <a:p>
            <a:pPr marL="487363" marR="0" lvl="1" indent="-187325" algn="l" defTabSz="914400" rtl="0" eaLnBrk="1" fontAlgn="base" latinLnBrk="0" hangingPunct="1">
              <a:lnSpc>
                <a:spcPct val="90000"/>
              </a:lnSpc>
              <a:spcBef>
                <a:spcPts val="500"/>
              </a:spcBef>
              <a:spcAft>
                <a:spcPct val="0"/>
              </a:spcAft>
              <a:buClr>
                <a:srgbClr val="595454"/>
              </a:buClr>
              <a:buSzTx/>
              <a:buFont typeface="Arial" panose="020B0604020202020204" pitchFamily="34" charset="0"/>
              <a:buChar char="–"/>
              <a:tabLst/>
              <a:defRPr/>
            </a:pPr>
            <a:r>
              <a:rPr kumimoji="0" lang="en-US" altLang="en-US" sz="900" b="1" i="0" u="none" strike="noStrike" kern="1200" cap="none" spc="0" normalizeH="0" baseline="0" noProof="0">
                <a:ln>
                  <a:noFill/>
                </a:ln>
                <a:solidFill>
                  <a:srgbClr val="595454"/>
                </a:solidFill>
                <a:effectLst/>
                <a:uLnTx/>
                <a:uFillTx/>
                <a:latin typeface="Trebuchet MS"/>
                <a:ea typeface="+mn-ea"/>
                <a:cs typeface="+mn-cs"/>
              </a:rPr>
              <a:t>Eg, in GEM2005, grade 3/4 neutropenia (10%), thrombocytopenia (8%), infection (21%); in IFM 2009, grade 3/4 peripheral neuropathy (12%)</a:t>
            </a:r>
            <a:r>
              <a:rPr kumimoji="0" lang="en-US" altLang="en-US" sz="900" b="1" i="0" u="none" strike="noStrike" kern="1200" cap="none" spc="0" normalizeH="0" baseline="30000" noProof="0">
                <a:ln>
                  <a:noFill/>
                </a:ln>
                <a:solidFill>
                  <a:srgbClr val="595454"/>
                </a:solidFill>
                <a:effectLst/>
                <a:uLnTx/>
                <a:uFillTx/>
                <a:latin typeface="Trebuchet MS"/>
                <a:ea typeface="+mn-ea"/>
                <a:cs typeface="+mn-cs"/>
              </a:rPr>
              <a:t>1,2</a:t>
            </a:r>
          </a:p>
        </p:txBody>
      </p:sp>
      <p:sp>
        <p:nvSpPr>
          <p:cNvPr id="7" name="Text Placeholder 2">
            <a:extLst>
              <a:ext uri="{FF2B5EF4-FFF2-40B4-BE49-F238E27FC236}">
                <a16:creationId xmlns:a16="http://schemas.microsoft.com/office/drawing/2014/main" id="{F577F52B-E214-415D-A4C2-80ABEE8CA7CB}"/>
              </a:ext>
            </a:extLst>
          </p:cNvPr>
          <p:cNvSpPr txBox="1">
            <a:spLocks/>
          </p:cNvSpPr>
          <p:nvPr/>
        </p:nvSpPr>
        <p:spPr>
          <a:xfrm>
            <a:off x="3260569" y="4827857"/>
            <a:ext cx="5632185" cy="262943"/>
          </a:xfrm>
          <a:prstGeom prst="rect">
            <a:avLst/>
          </a:prstGeom>
        </p:spPr>
        <p:txBody>
          <a:bodyPr vert="horz" lIns="0" tIns="0" rIns="0" bIns="108000" spcCol="301752" rtlCol="0" anchor="b">
            <a:spAutoFit/>
          </a:bodyPr>
          <a:lstStyle>
            <a:lvl1pPr marL="0" indent="0" algn="l" defTabSz="578644" rtl="0" eaLnBrk="1" latinLnBrk="0" hangingPunct="1">
              <a:lnSpc>
                <a:spcPct val="100000"/>
              </a:lnSpc>
              <a:spcBef>
                <a:spcPts val="0"/>
              </a:spcBef>
              <a:buFont typeface="Trebuchet MS" panose="020B0603020202020204" pitchFamily="34" charset="0"/>
              <a:buNone/>
              <a:defRPr sz="633" kern="1200">
                <a:solidFill>
                  <a:schemeClr val="tx1"/>
                </a:solidFill>
                <a:latin typeface="+mn-lt"/>
                <a:ea typeface="+mn-ea"/>
                <a:cs typeface="+mn-cs"/>
              </a:defRPr>
            </a:lvl1pPr>
            <a:lvl2pPr marL="289322"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2pPr>
            <a:lvl3pPr marL="433983"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3pPr>
            <a:lvl4pPr marL="578644"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4pPr>
            <a:lvl5pPr marL="723305"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5pPr>
            <a:lvl6pPr marL="867966"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6pPr>
            <a:lvl7pPr marL="1012627"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7pPr>
            <a:lvl8pPr marL="115728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8pPr>
            <a:lvl9pPr marL="130194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9pPr>
          </a:lstStyle>
          <a:p>
            <a:pPr marL="0" marR="0" lvl="0" indent="0" algn="r" defTabSz="578644"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altLang="en-US" sz="1000" b="0" i="0" u="none" strike="noStrike" kern="1200" cap="none" spc="0" normalizeH="0" baseline="0" noProof="0">
                <a:ln>
                  <a:noFill/>
                </a:ln>
                <a:solidFill>
                  <a:srgbClr val="000020"/>
                </a:solidFill>
                <a:effectLst/>
                <a:uLnTx/>
                <a:uFillTx/>
                <a:latin typeface="Trebuchet MS"/>
                <a:ea typeface="Arial Unicode MS" panose="020B0604020202020204" pitchFamily="34" charset="-128"/>
                <a:cs typeface="+mn-cs"/>
                <a:sym typeface="Arial" panose="020B0604020202020204" pitchFamily="34" charset="0"/>
              </a:rPr>
              <a:t>1. Rosiñol L. </a:t>
            </a:r>
            <a:r>
              <a:rPr kumimoji="0" lang="en-US" altLang="en-US" sz="1000" b="0" i="1" u="none" strike="noStrike" kern="1200" cap="none" spc="0" normalizeH="0" baseline="0" noProof="0">
                <a:ln>
                  <a:noFill/>
                </a:ln>
                <a:solidFill>
                  <a:srgbClr val="000020"/>
                </a:solidFill>
                <a:effectLst/>
                <a:uLnTx/>
                <a:uFillTx/>
                <a:latin typeface="Trebuchet MS"/>
                <a:ea typeface="Arial Unicode MS" panose="020B0604020202020204" pitchFamily="34" charset="-128"/>
                <a:cs typeface="+mn-cs"/>
                <a:sym typeface="Arial" panose="020B0604020202020204" pitchFamily="34" charset="0"/>
              </a:rPr>
              <a:t>Blood</a:t>
            </a:r>
            <a:r>
              <a:rPr kumimoji="0" lang="en-US" altLang="en-US" sz="1000" b="0" i="0" u="none" strike="noStrike" kern="1200" cap="none" spc="0" normalizeH="0" baseline="0" noProof="0">
                <a:ln>
                  <a:noFill/>
                </a:ln>
                <a:solidFill>
                  <a:srgbClr val="000020"/>
                </a:solidFill>
                <a:effectLst/>
                <a:uLnTx/>
                <a:uFillTx/>
                <a:latin typeface="Trebuchet MS"/>
                <a:ea typeface="Arial Unicode MS" panose="020B0604020202020204" pitchFamily="34" charset="-128"/>
                <a:cs typeface="+mn-cs"/>
                <a:sym typeface="Arial" panose="020B0604020202020204" pitchFamily="34" charset="0"/>
              </a:rPr>
              <a:t>. 2012;120:1589-1596; 2. Attal M. </a:t>
            </a:r>
            <a:r>
              <a:rPr kumimoji="0" lang="en-US" altLang="en-US" sz="1000" b="0" i="1" u="none" strike="noStrike" kern="1200" cap="none" spc="0" normalizeH="0" baseline="0" noProof="0">
                <a:ln>
                  <a:noFill/>
                </a:ln>
                <a:solidFill>
                  <a:srgbClr val="000020"/>
                </a:solidFill>
                <a:effectLst/>
                <a:uLnTx/>
                <a:uFillTx/>
                <a:latin typeface="Trebuchet MS"/>
                <a:ea typeface="Arial Unicode MS" panose="020B0604020202020204" pitchFamily="34" charset="-128"/>
                <a:cs typeface="+mn-cs"/>
                <a:sym typeface="Arial" panose="020B0604020202020204" pitchFamily="34" charset="0"/>
              </a:rPr>
              <a:t>N Engl J Med</a:t>
            </a:r>
            <a:r>
              <a:rPr kumimoji="0" lang="en-US" altLang="en-US" sz="1000" b="0" i="0" u="none" strike="noStrike" kern="1200" cap="none" spc="0" normalizeH="0" baseline="0" noProof="0">
                <a:ln>
                  <a:noFill/>
                </a:ln>
                <a:solidFill>
                  <a:srgbClr val="000020"/>
                </a:solidFill>
                <a:effectLst/>
                <a:uLnTx/>
                <a:uFillTx/>
                <a:latin typeface="Trebuchet MS"/>
                <a:ea typeface="Arial Unicode MS" panose="020B0604020202020204" pitchFamily="34" charset="-128"/>
                <a:cs typeface="+mn-cs"/>
                <a:sym typeface="Arial" panose="020B0604020202020204" pitchFamily="34" charset="0"/>
              </a:rPr>
              <a:t>. 2017;376:1311-1320.</a:t>
            </a:r>
            <a:endParaRPr kumimoji="0" lang="en-US" sz="1000" b="0" i="0" u="none" strike="noStrike" kern="1200" cap="none" spc="0" normalizeH="0" baseline="0" noProof="0">
              <a:ln>
                <a:noFill/>
              </a:ln>
              <a:solidFill>
                <a:srgbClr val="000020"/>
              </a:solidFill>
              <a:effectLst/>
              <a:uLnTx/>
              <a:uFillTx/>
              <a:latin typeface="Trebuchet MS"/>
              <a:ea typeface="+mn-ea"/>
              <a:cs typeface="+mn-cs"/>
            </a:endParaRPr>
          </a:p>
        </p:txBody>
      </p:sp>
    </p:spTree>
    <p:extLst>
      <p:ext uri="{BB962C8B-B14F-4D97-AF65-F5344CB8AC3E}">
        <p14:creationId xmlns:p14="http://schemas.microsoft.com/office/powerpoint/2010/main" val="127310676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4ACA308-C77E-314F-B970-D3A408D5E8F1}"/>
              </a:ext>
            </a:extLst>
          </p:cNvPr>
          <p:cNvSpPr>
            <a:spLocks noGrp="1"/>
          </p:cNvSpPr>
          <p:nvPr>
            <p:ph type="title"/>
          </p:nvPr>
        </p:nvSpPr>
        <p:spPr>
          <a:xfrm>
            <a:off x="899460" y="274320"/>
            <a:ext cx="7970219" cy="685800"/>
          </a:xfrm>
        </p:spPr>
        <p:txBody>
          <a:bodyPr/>
          <a:lstStyle/>
          <a:p>
            <a:r>
              <a:rPr lang="en-US" noProof="0"/>
              <a:t>What is the optimal number of induction cycles before ASCT?</a:t>
            </a:r>
          </a:p>
        </p:txBody>
      </p:sp>
      <p:sp>
        <p:nvSpPr>
          <p:cNvPr id="3" name="Marcador de contenido 2">
            <a:extLst>
              <a:ext uri="{FF2B5EF4-FFF2-40B4-BE49-F238E27FC236}">
                <a16:creationId xmlns:a16="http://schemas.microsoft.com/office/drawing/2014/main" id="{7590A881-1064-F449-94A3-7D67067D5040}"/>
              </a:ext>
            </a:extLst>
          </p:cNvPr>
          <p:cNvSpPr>
            <a:spLocks noGrp="1"/>
          </p:cNvSpPr>
          <p:nvPr>
            <p:ph idx="1"/>
          </p:nvPr>
        </p:nvSpPr>
        <p:spPr/>
        <p:txBody>
          <a:bodyPr vert="horz" lIns="0" tIns="0" rIns="0" bIns="0" spcCol="301752" rtlCol="0" anchor="t">
            <a:noAutofit/>
          </a:bodyPr>
          <a:lstStyle/>
          <a:p>
            <a:pPr marL="342900" indent="-342900" defTabSz="685800">
              <a:lnSpc>
                <a:spcPct val="90000"/>
              </a:lnSpc>
              <a:spcBef>
                <a:spcPts val="600"/>
              </a:spcBef>
              <a:buClr>
                <a:srgbClr val="4F81BD"/>
              </a:buClr>
              <a:buFont typeface="+mj-lt"/>
              <a:buAutoNum type="arabicPeriod"/>
              <a:defRPr/>
            </a:pPr>
            <a:r>
              <a:rPr lang="en-US" sz="2000" noProof="0">
                <a:latin typeface="Arial"/>
                <a:cs typeface="Arial"/>
              </a:rPr>
              <a:t> 3 cycles</a:t>
            </a:r>
          </a:p>
          <a:p>
            <a:pPr marL="342900" indent="-342900" defTabSz="685800">
              <a:lnSpc>
                <a:spcPct val="90000"/>
              </a:lnSpc>
              <a:spcBef>
                <a:spcPts val="600"/>
              </a:spcBef>
              <a:buClr>
                <a:srgbClr val="4F81BD"/>
              </a:buClr>
              <a:buFont typeface="+mj-lt"/>
              <a:buAutoNum type="arabicPeriod"/>
              <a:defRPr/>
            </a:pPr>
            <a:r>
              <a:rPr lang="en-US" sz="2000" noProof="0">
                <a:latin typeface="Arial"/>
                <a:cs typeface="Arial"/>
              </a:rPr>
              <a:t> 4 cycles</a:t>
            </a:r>
          </a:p>
          <a:p>
            <a:pPr marL="342900" indent="-342900" defTabSz="685800">
              <a:lnSpc>
                <a:spcPct val="90000"/>
              </a:lnSpc>
              <a:spcBef>
                <a:spcPts val="600"/>
              </a:spcBef>
              <a:buClr>
                <a:srgbClr val="4F81BD"/>
              </a:buClr>
              <a:buFont typeface="+mj-lt"/>
              <a:buAutoNum type="arabicPeriod"/>
              <a:defRPr/>
            </a:pPr>
            <a:r>
              <a:rPr lang="en-US" sz="2000" noProof="0">
                <a:latin typeface="Arial"/>
                <a:cs typeface="Arial"/>
              </a:rPr>
              <a:t> 6 cycles</a:t>
            </a:r>
          </a:p>
          <a:p>
            <a:pPr marL="342900" indent="-342900" defTabSz="685800">
              <a:lnSpc>
                <a:spcPct val="90000"/>
              </a:lnSpc>
              <a:spcBef>
                <a:spcPts val="600"/>
              </a:spcBef>
              <a:buClr>
                <a:srgbClr val="4F81BD"/>
              </a:buClr>
              <a:buFont typeface="+mj-lt"/>
              <a:buAutoNum type="arabicPeriod"/>
              <a:defRPr/>
            </a:pPr>
            <a:r>
              <a:rPr lang="en-US" sz="2000" noProof="0">
                <a:latin typeface="Arial"/>
                <a:cs typeface="Arial"/>
              </a:rPr>
              <a:t> Number adapted to the response</a:t>
            </a:r>
          </a:p>
        </p:txBody>
      </p:sp>
      <p:grpSp>
        <p:nvGrpSpPr>
          <p:cNvPr id="8" name="Group 7">
            <a:extLst>
              <a:ext uri="{FF2B5EF4-FFF2-40B4-BE49-F238E27FC236}">
                <a16:creationId xmlns:a16="http://schemas.microsoft.com/office/drawing/2014/main" id="{0152E067-C9C4-43AF-A8A7-35EB549D939D}"/>
              </a:ext>
            </a:extLst>
          </p:cNvPr>
          <p:cNvGrpSpPr/>
          <p:nvPr/>
        </p:nvGrpSpPr>
        <p:grpSpPr>
          <a:xfrm>
            <a:off x="52855" y="67643"/>
            <a:ext cx="720000" cy="720000"/>
            <a:chOff x="8151603" y="218984"/>
            <a:chExt cx="720000" cy="720000"/>
          </a:xfrm>
        </p:grpSpPr>
        <p:sp>
          <p:nvSpPr>
            <p:cNvPr id="9" name="Teardrop 8">
              <a:extLst>
                <a:ext uri="{FF2B5EF4-FFF2-40B4-BE49-F238E27FC236}">
                  <a16:creationId xmlns:a16="http://schemas.microsoft.com/office/drawing/2014/main" id="{8B631B17-4309-40A2-9797-9B7F702DDF12}"/>
                </a:ext>
              </a:extLst>
            </p:cNvPr>
            <p:cNvSpPr/>
            <p:nvPr/>
          </p:nvSpPr>
          <p:spPr bwMode="auto">
            <a:xfrm rot="5400000">
              <a:off x="8151603" y="218984"/>
              <a:ext cx="720000" cy="720000"/>
            </a:xfrm>
            <a:prstGeom prst="teardrop">
              <a:avLst/>
            </a:prstGeom>
            <a:solidFill>
              <a:srgbClr val="00AAB8"/>
            </a:solidFill>
            <a:ln w="25400" cap="flat" cmpd="sng" algn="ctr">
              <a:solidFill>
                <a:srgbClr val="00AAB8"/>
              </a:solidFill>
              <a:prstDash val="soli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defRPr/>
              </a:pPr>
              <a:endParaRPr lang="en-NL" sz="2100" b="1" kern="0">
                <a:solidFill>
                  <a:srgbClr val="FFFF00"/>
                </a:solidFill>
                <a:latin typeface="Arial" pitchFamily="34" charset="0"/>
              </a:endParaRPr>
            </a:p>
          </p:txBody>
        </p:sp>
        <p:sp>
          <p:nvSpPr>
            <p:cNvPr id="10" name="TextBox 9">
              <a:extLst>
                <a:ext uri="{FF2B5EF4-FFF2-40B4-BE49-F238E27FC236}">
                  <a16:creationId xmlns:a16="http://schemas.microsoft.com/office/drawing/2014/main" id="{57139E6E-B4AB-45FD-B54F-C9ACC1B6080D}"/>
                </a:ext>
              </a:extLst>
            </p:cNvPr>
            <p:cNvSpPr txBox="1"/>
            <p:nvPr/>
          </p:nvSpPr>
          <p:spPr>
            <a:xfrm>
              <a:off x="8278208" y="240432"/>
              <a:ext cx="466795" cy="677108"/>
            </a:xfrm>
            <a:prstGeom prst="rect">
              <a:avLst/>
            </a:prstGeom>
            <a:noFill/>
            <a:ln>
              <a:noFill/>
            </a:ln>
          </p:spPr>
          <p:txBody>
            <a:bodyPr wrap="square" rtlCol="0" anchor="ctr">
              <a:spAutoFit/>
            </a:bodyPr>
            <a:lstStyle/>
            <a:p>
              <a:pPr algn="ctr" defTabSz="342900">
                <a:defRPr/>
              </a:pPr>
              <a:r>
                <a:rPr lang="en-US" sz="2700" b="1" kern="0">
                  <a:solidFill>
                    <a:srgbClr val="FFFFFF"/>
                  </a:solidFill>
                  <a:latin typeface="Arial" panose="020B0604020202020204" pitchFamily="34" charset="0"/>
                  <a:cs typeface="Arial" panose="020B0604020202020204" pitchFamily="34" charset="0"/>
                </a:rPr>
                <a:t>?</a:t>
              </a:r>
              <a:endParaRPr lang="en-NL" sz="2700" b="1" kern="0">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14380194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DA0A822-A6EF-7643-B18A-072334D882EB}"/>
              </a:ext>
            </a:extLst>
          </p:cNvPr>
          <p:cNvSpPr>
            <a:spLocks noGrp="1"/>
          </p:cNvSpPr>
          <p:nvPr>
            <p:ph type="title"/>
          </p:nvPr>
        </p:nvSpPr>
        <p:spPr/>
        <p:txBody>
          <a:bodyPr/>
          <a:lstStyle/>
          <a:p>
            <a:r>
              <a:rPr lang="en-US" noProof="0"/>
              <a:t>GEM-2012: </a:t>
            </a:r>
            <a:r>
              <a:rPr lang="en-US" noProof="0">
                <a:solidFill>
                  <a:srgbClr val="BE2BBB"/>
                </a:solidFill>
              </a:rPr>
              <a:t>RVd GEM (with R 25 mg × 21 days) × 6 cycles</a:t>
            </a:r>
            <a:br>
              <a:rPr lang="en-US" noProof="0">
                <a:solidFill>
                  <a:srgbClr val="BE2BBB"/>
                </a:solidFill>
              </a:rPr>
            </a:br>
            <a:endParaRPr lang="en-US" noProof="0"/>
          </a:p>
        </p:txBody>
      </p:sp>
      <p:pic>
        <p:nvPicPr>
          <p:cNvPr id="6" name="Imagen 5">
            <a:extLst>
              <a:ext uri="{FF2B5EF4-FFF2-40B4-BE49-F238E27FC236}">
                <a16:creationId xmlns:a16="http://schemas.microsoft.com/office/drawing/2014/main" id="{93CA784A-69E5-1648-94A2-00992EDCAFAB}"/>
              </a:ext>
            </a:extLst>
          </p:cNvPr>
          <p:cNvPicPr>
            <a:picLocks noChangeAspect="1"/>
          </p:cNvPicPr>
          <p:nvPr/>
        </p:nvPicPr>
        <p:blipFill>
          <a:blip r:embed="rId2"/>
          <a:stretch>
            <a:fillRect/>
          </a:stretch>
        </p:blipFill>
        <p:spPr>
          <a:xfrm>
            <a:off x="1246748" y="768775"/>
            <a:ext cx="6650504" cy="2997731"/>
          </a:xfrm>
          <a:prstGeom prst="rect">
            <a:avLst/>
          </a:prstGeom>
        </p:spPr>
      </p:pic>
      <p:sp>
        <p:nvSpPr>
          <p:cNvPr id="7" name="CuadroTexto 6">
            <a:extLst>
              <a:ext uri="{FF2B5EF4-FFF2-40B4-BE49-F238E27FC236}">
                <a16:creationId xmlns:a16="http://schemas.microsoft.com/office/drawing/2014/main" id="{A6B60368-52CD-494D-B9AB-DF2B9BD8D5AD}"/>
              </a:ext>
            </a:extLst>
          </p:cNvPr>
          <p:cNvSpPr txBox="1"/>
          <p:nvPr/>
        </p:nvSpPr>
        <p:spPr>
          <a:xfrm>
            <a:off x="945833" y="3932363"/>
            <a:ext cx="6912768" cy="442362"/>
          </a:xfrm>
          <a:prstGeom prst="rect">
            <a:avLst/>
          </a:prstGeom>
          <a:noFill/>
        </p:spPr>
        <p:txBody>
          <a:bodyPr wrap="none" lIns="0" tIns="0" rIns="0" bIns="0" rtlCol="0">
            <a:noAutofit/>
          </a:bodyPr>
          <a:lstStyle/>
          <a:p>
            <a:pPr marL="0" marR="0" lvl="0" indent="0" algn="ctr" defTabSz="914400" rtl="0" eaLnBrk="0" fontAlgn="base" latinLnBrk="0" hangingPunct="0">
              <a:lnSpc>
                <a:spcPct val="100000"/>
              </a:lnSpc>
              <a:spcBef>
                <a:spcPts val="0"/>
              </a:spcBef>
              <a:spcAft>
                <a:spcPct val="0"/>
              </a:spcAft>
              <a:buClrTx/>
              <a:buSzPct val="100000"/>
              <a:buFontTx/>
              <a:buNone/>
              <a:tabLst/>
              <a:defRPr/>
            </a:pPr>
            <a:r>
              <a:rPr kumimoji="0" lang="es-ES" sz="1350" b="1" i="0" u="none" strike="noStrike" kern="1200" cap="none" spc="0" normalizeH="0" baseline="0" noProof="0">
                <a:ln>
                  <a:noFill/>
                </a:ln>
                <a:solidFill>
                  <a:srgbClr val="595454"/>
                </a:solidFill>
                <a:effectLst/>
                <a:uLnTx/>
                <a:uFillTx/>
                <a:latin typeface="Trebuchet MS"/>
                <a:ea typeface="+mn-ea"/>
                <a:cs typeface="+mn-cs"/>
              </a:rPr>
              <a:t>Efficacy of RVD × 6 cycles in the GEM2012 trial in all patients </a:t>
            </a:r>
            <a:r>
              <a:rPr kumimoji="0" lang="es-ES" sz="1350" b="1" i="0" u="none" strike="noStrike" kern="1200" cap="none" spc="0" normalizeH="0" baseline="0" noProof="0" err="1">
                <a:ln>
                  <a:noFill/>
                </a:ln>
                <a:solidFill>
                  <a:srgbClr val="595454"/>
                </a:solidFill>
                <a:effectLst/>
                <a:uLnTx/>
                <a:uFillTx/>
                <a:latin typeface="Trebuchet MS"/>
                <a:ea typeface="+mn-ea"/>
                <a:cs typeface="+mn-cs"/>
              </a:rPr>
              <a:t>who</a:t>
            </a:r>
            <a:r>
              <a:rPr kumimoji="0" lang="es-ES" sz="1350" b="1" i="0" u="none" strike="noStrike" kern="1200" cap="none" spc="0" normalizeH="0" baseline="0" noProof="0">
                <a:ln>
                  <a:noFill/>
                </a:ln>
                <a:solidFill>
                  <a:srgbClr val="595454"/>
                </a:solidFill>
                <a:effectLst/>
                <a:uLnTx/>
                <a:uFillTx/>
                <a:latin typeface="Trebuchet MS"/>
                <a:ea typeface="+mn-ea"/>
                <a:cs typeface="+mn-cs"/>
              </a:rPr>
              <a:t> completed up to </a:t>
            </a:r>
          </a:p>
          <a:p>
            <a:pPr marL="0" marR="0" lvl="0" indent="0" algn="ctr" defTabSz="914400" rtl="0" eaLnBrk="0" fontAlgn="base" latinLnBrk="0" hangingPunct="0">
              <a:lnSpc>
                <a:spcPct val="100000"/>
              </a:lnSpc>
              <a:spcBef>
                <a:spcPts val="0"/>
              </a:spcBef>
              <a:spcAft>
                <a:spcPct val="0"/>
              </a:spcAft>
              <a:buClrTx/>
              <a:buSzPct val="100000"/>
              <a:buFontTx/>
              <a:buNone/>
              <a:tabLst/>
              <a:defRPr/>
            </a:pPr>
            <a:r>
              <a:rPr kumimoji="0" lang="es-ES" sz="1350" b="1" i="0" u="none" strike="noStrike" kern="1200" cap="none" spc="0" normalizeH="0" baseline="0" noProof="0">
                <a:ln>
                  <a:noFill/>
                </a:ln>
                <a:solidFill>
                  <a:srgbClr val="595454"/>
                </a:solidFill>
                <a:effectLst/>
                <a:uLnTx/>
                <a:uFillTx/>
                <a:latin typeface="Trebuchet MS"/>
                <a:ea typeface="+mn-ea"/>
                <a:cs typeface="+mn-cs"/>
              </a:rPr>
              <a:t>6 cycles, </a:t>
            </a:r>
            <a:r>
              <a:rPr kumimoji="0" lang="es-ES" sz="1350" b="1" i="0" u="none" strike="noStrike" kern="1200" cap="none" spc="0" normalizeH="0" baseline="0" noProof="0" err="1">
                <a:ln>
                  <a:noFill/>
                </a:ln>
                <a:solidFill>
                  <a:srgbClr val="595454"/>
                </a:solidFill>
                <a:effectLst/>
                <a:uLnTx/>
                <a:uFillTx/>
                <a:latin typeface="Trebuchet MS"/>
                <a:ea typeface="+mn-ea"/>
                <a:cs typeface="+mn-cs"/>
              </a:rPr>
              <a:t>but</a:t>
            </a:r>
            <a:r>
              <a:rPr kumimoji="0" lang="es-ES" sz="1350" b="1" i="0" u="none" strike="noStrike" kern="1200" cap="none" spc="0" normalizeH="0" baseline="0" noProof="0">
                <a:ln>
                  <a:noFill/>
                </a:ln>
                <a:solidFill>
                  <a:srgbClr val="595454"/>
                </a:solidFill>
                <a:effectLst/>
                <a:uLnTx/>
                <a:uFillTx/>
                <a:latin typeface="Trebuchet MS"/>
                <a:ea typeface="+mn-ea"/>
                <a:cs typeface="+mn-cs"/>
              </a:rPr>
              <a:t> this can be </a:t>
            </a:r>
            <a:r>
              <a:rPr kumimoji="0" lang="es-ES" sz="1350" b="1" i="0" u="none" strike="noStrike" kern="1200" cap="none" spc="0" normalizeH="0" baseline="0" noProof="0" err="1">
                <a:ln>
                  <a:noFill/>
                </a:ln>
                <a:solidFill>
                  <a:srgbClr val="595454"/>
                </a:solidFill>
                <a:effectLst/>
                <a:uLnTx/>
                <a:uFillTx/>
                <a:latin typeface="Trebuchet MS"/>
                <a:ea typeface="+mn-ea"/>
                <a:cs typeface="+mn-cs"/>
              </a:rPr>
              <a:t>individualized</a:t>
            </a:r>
            <a:r>
              <a:rPr kumimoji="0" lang="es-ES" sz="1350" b="1" i="0" u="none" strike="noStrike" kern="1200" cap="none" spc="0" normalizeH="0" baseline="0" noProof="0">
                <a:ln>
                  <a:noFill/>
                </a:ln>
                <a:solidFill>
                  <a:srgbClr val="595454"/>
                </a:solidFill>
                <a:effectLst/>
                <a:uLnTx/>
                <a:uFillTx/>
                <a:latin typeface="Trebuchet MS"/>
                <a:ea typeface="+mn-ea"/>
                <a:cs typeface="+mn-cs"/>
              </a:rPr>
              <a:t> </a:t>
            </a:r>
            <a:r>
              <a:rPr kumimoji="0" lang="es-ES" sz="1350" b="1" i="0" u="none" strike="noStrike" kern="1200" cap="none" spc="0" normalizeH="0" baseline="0" noProof="0" err="1">
                <a:ln>
                  <a:noFill/>
                </a:ln>
                <a:solidFill>
                  <a:srgbClr val="595454"/>
                </a:solidFill>
                <a:effectLst/>
                <a:uLnTx/>
                <a:uFillTx/>
                <a:latin typeface="Trebuchet MS"/>
                <a:ea typeface="+mn-ea"/>
                <a:cs typeface="+mn-cs"/>
              </a:rPr>
              <a:t>on</a:t>
            </a:r>
            <a:r>
              <a:rPr kumimoji="0" lang="es-ES" sz="1350" b="1" i="0" u="none" strike="noStrike" kern="1200" cap="none" spc="0" normalizeH="0" baseline="0" noProof="0">
                <a:ln>
                  <a:noFill/>
                </a:ln>
                <a:solidFill>
                  <a:srgbClr val="595454"/>
                </a:solidFill>
                <a:effectLst/>
                <a:uLnTx/>
                <a:uFillTx/>
                <a:latin typeface="Trebuchet MS"/>
                <a:ea typeface="+mn-ea"/>
                <a:cs typeface="+mn-cs"/>
              </a:rPr>
              <a:t> the basis of the response </a:t>
            </a:r>
            <a:r>
              <a:rPr kumimoji="0" lang="es-ES" sz="1350" b="1" i="0" u="none" strike="noStrike" kern="1200" cap="none" spc="0" normalizeH="0" baseline="0" noProof="0" err="1">
                <a:ln>
                  <a:noFill/>
                </a:ln>
                <a:solidFill>
                  <a:srgbClr val="595454"/>
                </a:solidFill>
                <a:effectLst/>
                <a:uLnTx/>
                <a:uFillTx/>
                <a:latin typeface="Trebuchet MS"/>
                <a:ea typeface="+mn-ea"/>
                <a:cs typeface="+mn-cs"/>
              </a:rPr>
              <a:t>achieved</a:t>
            </a:r>
            <a:endParaRPr kumimoji="0" lang="es-ES" sz="1350" b="1" i="0" u="none" strike="noStrike" kern="1200" cap="none" spc="0" normalizeH="0" baseline="0" noProof="0">
              <a:ln>
                <a:noFill/>
              </a:ln>
              <a:solidFill>
                <a:srgbClr val="595454"/>
              </a:solidFill>
              <a:effectLst/>
              <a:uLnTx/>
              <a:uFillTx/>
              <a:latin typeface="Trebuchet MS"/>
              <a:ea typeface="+mn-ea"/>
              <a:cs typeface="+mn-cs"/>
            </a:endParaRPr>
          </a:p>
        </p:txBody>
      </p:sp>
      <p:sp>
        <p:nvSpPr>
          <p:cNvPr id="8" name="Marcador de texto 7">
            <a:extLst>
              <a:ext uri="{FF2B5EF4-FFF2-40B4-BE49-F238E27FC236}">
                <a16:creationId xmlns:a16="http://schemas.microsoft.com/office/drawing/2014/main" id="{93B117D8-0B41-49C6-849F-3493D6CED654}"/>
              </a:ext>
            </a:extLst>
          </p:cNvPr>
          <p:cNvSpPr txBox="1">
            <a:spLocks/>
          </p:cNvSpPr>
          <p:nvPr/>
        </p:nvSpPr>
        <p:spPr>
          <a:xfrm>
            <a:off x="3215047" y="4827722"/>
            <a:ext cx="5678396" cy="235679"/>
          </a:xfrm>
          <a:prstGeom prst="rect">
            <a:avLst/>
          </a:prstGeom>
        </p:spPr>
        <p:txBody>
          <a:bodyPr vert="horz" lIns="0" tIns="0" rIns="0" bIns="81000" spcCol="301752" rtlCol="0" anchor="b">
            <a:spAutoFit/>
          </a:bodyPr>
          <a:lstStyle>
            <a:lvl1pPr marL="0" indent="0" algn="l" defTabSz="771525" rtl="0" eaLnBrk="1" latinLnBrk="0" hangingPunct="1">
              <a:lnSpc>
                <a:spcPct val="100000"/>
              </a:lnSpc>
              <a:spcBef>
                <a:spcPts val="0"/>
              </a:spcBef>
              <a:buFont typeface="Trebuchet MS" panose="020B0603020202020204" pitchFamily="34" charset="0"/>
              <a:buNone/>
              <a:defRPr sz="844" kern="1200">
                <a:solidFill>
                  <a:schemeClr val="tx1"/>
                </a:solidFill>
                <a:latin typeface="+mn-lt"/>
                <a:ea typeface="+mn-ea"/>
                <a:cs typeface="+mn-cs"/>
              </a:defRPr>
            </a:lvl1pPr>
            <a:lvl2pPr marL="385763"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2pPr>
            <a:lvl3pPr marL="578644"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3pPr>
            <a:lvl4pPr marL="771525"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4pPr>
            <a:lvl5pPr marL="964406"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5pPr>
            <a:lvl6pPr marL="1157288"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6pPr>
            <a:lvl7pPr marL="1350169"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7pPr>
            <a:lvl8pPr marL="1543050"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8pPr>
            <a:lvl9pPr marL="1735931"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9pPr>
          </a:lstStyle>
          <a:p>
            <a:pPr marL="0" marR="0" lvl="0" indent="0" algn="r" defTabSz="771525"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000" b="0" i="0" u="none" strike="noStrike" kern="1200" cap="none" spc="0" normalizeH="0" baseline="0" noProof="0">
                <a:ln>
                  <a:noFill/>
                </a:ln>
                <a:solidFill>
                  <a:srgbClr val="000020"/>
                </a:solidFill>
                <a:effectLst/>
                <a:uLnTx/>
                <a:uFillTx/>
                <a:latin typeface="Trebuchet MS"/>
                <a:ea typeface="+mn-ea"/>
                <a:cs typeface="+mn-cs"/>
              </a:rPr>
              <a:t>Rosi</a:t>
            </a:r>
            <a:r>
              <a:rPr kumimoji="0" lang="en-US" sz="1000" b="1" i="0" u="none" strike="noStrike" kern="0" cap="none" spc="0" normalizeH="0" baseline="0" noProof="0">
                <a:ln>
                  <a:noFill/>
                </a:ln>
                <a:solidFill>
                  <a:srgbClr val="000020"/>
                </a:solidFill>
                <a:effectLst/>
                <a:uLnTx/>
                <a:uFillTx/>
                <a:latin typeface="Trebuchet MS"/>
                <a:ea typeface="+mn-ea"/>
                <a:cs typeface="+mn-cs"/>
              </a:rPr>
              <a:t>ñ</a:t>
            </a:r>
            <a:r>
              <a:rPr kumimoji="0" lang="en-US" sz="1000" b="0" i="0" u="none" strike="noStrike" kern="1200" cap="none" spc="0" normalizeH="0" baseline="0" noProof="0">
                <a:ln>
                  <a:noFill/>
                </a:ln>
                <a:solidFill>
                  <a:srgbClr val="000020"/>
                </a:solidFill>
                <a:effectLst/>
                <a:uLnTx/>
                <a:uFillTx/>
                <a:latin typeface="Trebuchet MS"/>
                <a:ea typeface="+mn-ea"/>
                <a:cs typeface="+mn-cs"/>
              </a:rPr>
              <a:t>ol L, et al. </a:t>
            </a:r>
            <a:r>
              <a:rPr kumimoji="0" lang="en-US" sz="1000" b="0" i="1" u="none" strike="noStrike" kern="1200" cap="none" spc="0" normalizeH="0" baseline="0" noProof="0">
                <a:ln>
                  <a:noFill/>
                </a:ln>
                <a:solidFill>
                  <a:srgbClr val="000020"/>
                </a:solidFill>
                <a:effectLst/>
                <a:uLnTx/>
                <a:uFillTx/>
                <a:latin typeface="Trebuchet MS"/>
                <a:ea typeface="+mn-ea"/>
                <a:cs typeface="+mn-cs"/>
              </a:rPr>
              <a:t>Blood</a:t>
            </a:r>
            <a:r>
              <a:rPr kumimoji="0" lang="en-US" sz="1000" b="0" i="0" u="none" strike="noStrike" kern="1200" cap="none" spc="0" normalizeH="0" baseline="0" noProof="0">
                <a:ln>
                  <a:noFill/>
                </a:ln>
                <a:solidFill>
                  <a:srgbClr val="000020"/>
                </a:solidFill>
                <a:effectLst/>
                <a:uLnTx/>
                <a:uFillTx/>
                <a:latin typeface="Trebuchet MS"/>
                <a:ea typeface="+mn-ea"/>
                <a:cs typeface="+mn-cs"/>
              </a:rPr>
              <a:t>. 2019;134(16):1337–1345.</a:t>
            </a:r>
            <a:endParaRPr kumimoji="0" lang="es-ES" sz="1000" b="0" i="0" u="none" strike="noStrike" kern="1200" cap="none" spc="0" normalizeH="0" baseline="0" noProof="0">
              <a:ln>
                <a:noFill/>
              </a:ln>
              <a:solidFill>
                <a:srgbClr val="000020"/>
              </a:solidFill>
              <a:effectLst/>
              <a:uLnTx/>
              <a:uFillTx/>
              <a:latin typeface="Trebuchet MS"/>
              <a:ea typeface="+mn-ea"/>
              <a:cs typeface="+mn-cs"/>
            </a:endParaRPr>
          </a:p>
        </p:txBody>
      </p:sp>
    </p:spTree>
    <p:extLst>
      <p:ext uri="{BB962C8B-B14F-4D97-AF65-F5344CB8AC3E}">
        <p14:creationId xmlns:p14="http://schemas.microsoft.com/office/powerpoint/2010/main" val="51265950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id="{43FEBE9C-1868-46D9-AE33-890E10946D2B}"/>
              </a:ext>
            </a:extLst>
          </p:cNvPr>
          <p:cNvSpPr txBox="1">
            <a:spLocks/>
          </p:cNvSpPr>
          <p:nvPr/>
        </p:nvSpPr>
        <p:spPr>
          <a:xfrm>
            <a:off x="3215045" y="4827721"/>
            <a:ext cx="5678396" cy="235679"/>
          </a:xfrm>
          <a:prstGeom prst="rect">
            <a:avLst/>
          </a:prstGeom>
        </p:spPr>
        <p:txBody>
          <a:bodyPr vert="horz" lIns="0" tIns="0" rIns="0" bIns="81000" spcCol="301752" rtlCol="0" anchor="b">
            <a:spAutoFit/>
          </a:bodyPr>
          <a:lstStyle>
            <a:lvl1pPr marL="0" indent="0" algn="l" defTabSz="771525" rtl="0" eaLnBrk="1" latinLnBrk="0" hangingPunct="1">
              <a:lnSpc>
                <a:spcPct val="100000"/>
              </a:lnSpc>
              <a:spcBef>
                <a:spcPts val="0"/>
              </a:spcBef>
              <a:buFont typeface="Trebuchet MS" panose="020B0603020202020204" pitchFamily="34" charset="0"/>
              <a:buNone/>
              <a:defRPr sz="844" kern="1200">
                <a:solidFill>
                  <a:schemeClr val="tx1"/>
                </a:solidFill>
                <a:latin typeface="+mn-lt"/>
                <a:ea typeface="+mn-ea"/>
                <a:cs typeface="+mn-cs"/>
              </a:defRPr>
            </a:lvl1pPr>
            <a:lvl2pPr marL="385763"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2pPr>
            <a:lvl3pPr marL="578644"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3pPr>
            <a:lvl4pPr marL="771525"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4pPr>
            <a:lvl5pPr marL="964406"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5pPr>
            <a:lvl6pPr marL="1157288"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6pPr>
            <a:lvl7pPr marL="1350169"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7pPr>
            <a:lvl8pPr marL="1543050"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8pPr>
            <a:lvl9pPr marL="1735931"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9pPr>
          </a:lstStyle>
          <a:p>
            <a:pPr marL="0" marR="0" lvl="0" indent="0" algn="r" defTabSz="771525"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Moreau P, et al. </a:t>
            </a:r>
            <a:r>
              <a:rPr kumimoji="0" lang="es-ES" sz="1000" b="0" i="1" u="none" strike="noStrike" kern="1200" cap="none" spc="0" normalizeH="0" baseline="0" noProof="0">
                <a:ln>
                  <a:noFill/>
                </a:ln>
                <a:solidFill>
                  <a:srgbClr val="595454">
                    <a:lumMod val="50000"/>
                  </a:srgbClr>
                </a:solidFill>
                <a:effectLst/>
                <a:uLnTx/>
                <a:uFillTx/>
                <a:latin typeface="Trebuchet MS"/>
                <a:ea typeface="+mn-ea"/>
                <a:cs typeface="+mn-cs"/>
              </a:rPr>
              <a:t>Ann Oncol.</a:t>
            </a: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 2017;28(suppl_4):iv52-iv61.</a:t>
            </a:r>
          </a:p>
        </p:txBody>
      </p:sp>
      <p:pic>
        <p:nvPicPr>
          <p:cNvPr id="10" name="Imagen 3">
            <a:extLst>
              <a:ext uri="{FF2B5EF4-FFF2-40B4-BE49-F238E27FC236}">
                <a16:creationId xmlns:a16="http://schemas.microsoft.com/office/drawing/2014/main" id="{175F5DF7-A919-428D-B3CF-40A12F8D3228}"/>
              </a:ext>
            </a:extLst>
          </p:cNvPr>
          <p:cNvPicPr>
            <a:picLocks noChangeAspect="1"/>
          </p:cNvPicPr>
          <p:nvPr/>
        </p:nvPicPr>
        <p:blipFill>
          <a:blip r:embed="rId2"/>
          <a:stretch>
            <a:fillRect/>
          </a:stretch>
        </p:blipFill>
        <p:spPr>
          <a:xfrm>
            <a:off x="1575580" y="87474"/>
            <a:ext cx="6263181" cy="1688427"/>
          </a:xfrm>
          <a:prstGeom prst="rect">
            <a:avLst/>
          </a:prstGeom>
        </p:spPr>
      </p:pic>
      <p:pic>
        <p:nvPicPr>
          <p:cNvPr id="11" name="Imagen 5">
            <a:extLst>
              <a:ext uri="{FF2B5EF4-FFF2-40B4-BE49-F238E27FC236}">
                <a16:creationId xmlns:a16="http://schemas.microsoft.com/office/drawing/2014/main" id="{561A79F6-CD84-4BD5-8061-6C78B06AA354}"/>
              </a:ext>
            </a:extLst>
          </p:cNvPr>
          <p:cNvPicPr>
            <a:picLocks noChangeAspect="1"/>
          </p:cNvPicPr>
          <p:nvPr/>
        </p:nvPicPr>
        <p:blipFill>
          <a:blip r:embed="rId3"/>
          <a:stretch>
            <a:fillRect/>
          </a:stretch>
        </p:blipFill>
        <p:spPr>
          <a:xfrm>
            <a:off x="869309" y="1345437"/>
            <a:ext cx="3540674" cy="3348372"/>
          </a:xfrm>
          <a:prstGeom prst="rect">
            <a:avLst/>
          </a:prstGeom>
        </p:spPr>
      </p:pic>
      <p:sp>
        <p:nvSpPr>
          <p:cNvPr id="12" name="Flecha derecha 2">
            <a:extLst>
              <a:ext uri="{FF2B5EF4-FFF2-40B4-BE49-F238E27FC236}">
                <a16:creationId xmlns:a16="http://schemas.microsoft.com/office/drawing/2014/main" id="{16CF8CE1-6C12-4AE7-B5F5-0E1E42B248A7}"/>
              </a:ext>
            </a:extLst>
          </p:cNvPr>
          <p:cNvSpPr/>
          <p:nvPr/>
        </p:nvSpPr>
        <p:spPr bwMode="auto">
          <a:xfrm>
            <a:off x="1176232" y="2946788"/>
            <a:ext cx="332618" cy="39516"/>
          </a:xfrm>
          <a:prstGeom prst="rightArrow">
            <a:avLst/>
          </a:prstGeom>
          <a:solidFill>
            <a:srgbClr val="FF0000"/>
          </a:solidFill>
          <a:ln w="28575" cap="flat" cmpd="sng" algn="ctr">
            <a:solidFill>
              <a:srgbClr val="FF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_tradnl" sz="1800" b="1" i="0" u="none" strike="noStrike" kern="1200" cap="none" spc="0" normalizeH="0" baseline="0" noProof="0">
              <a:ln>
                <a:noFill/>
              </a:ln>
              <a:solidFill>
                <a:srgbClr val="595454"/>
              </a:solidFill>
              <a:effectLst/>
              <a:uLnTx/>
              <a:uFillTx/>
              <a:latin typeface="Times New Roman" charset="0"/>
              <a:ea typeface="+mn-ea"/>
              <a:cs typeface="+mn-cs"/>
            </a:endParaRPr>
          </a:p>
        </p:txBody>
      </p:sp>
      <p:pic>
        <p:nvPicPr>
          <p:cNvPr id="13" name="Immagine 4">
            <a:extLst>
              <a:ext uri="{FF2B5EF4-FFF2-40B4-BE49-F238E27FC236}">
                <a16:creationId xmlns:a16="http://schemas.microsoft.com/office/drawing/2014/main" id="{78CE130F-EA20-4061-BF88-9CA712FF6C1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09982" y="1345438"/>
            <a:ext cx="3864709" cy="3348372"/>
          </a:xfrm>
          <a:prstGeom prst="rect">
            <a:avLst/>
          </a:prstGeom>
          <a:solidFill>
            <a:schemeClr val="bg1"/>
          </a:solidFill>
        </p:spPr>
      </p:pic>
      <p:sp>
        <p:nvSpPr>
          <p:cNvPr id="14" name="Flecha derecha 8">
            <a:extLst>
              <a:ext uri="{FF2B5EF4-FFF2-40B4-BE49-F238E27FC236}">
                <a16:creationId xmlns:a16="http://schemas.microsoft.com/office/drawing/2014/main" id="{27FE1B6E-766A-44AD-AFC7-E62751F18512}"/>
              </a:ext>
            </a:extLst>
          </p:cNvPr>
          <p:cNvSpPr/>
          <p:nvPr/>
        </p:nvSpPr>
        <p:spPr bwMode="auto">
          <a:xfrm>
            <a:off x="4909967" y="2943492"/>
            <a:ext cx="332618" cy="39516"/>
          </a:xfrm>
          <a:prstGeom prst="rightArrow">
            <a:avLst/>
          </a:prstGeom>
          <a:solidFill>
            <a:srgbClr val="FF0000"/>
          </a:solidFill>
          <a:ln w="28575" cap="flat" cmpd="sng" algn="ctr">
            <a:solidFill>
              <a:srgbClr val="FF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_tradnl" sz="1800" b="1" i="0" u="none" strike="noStrike" kern="1200" cap="none" spc="0" normalizeH="0" baseline="0" noProof="0">
              <a:ln>
                <a:noFill/>
              </a:ln>
              <a:solidFill>
                <a:srgbClr val="595454"/>
              </a:solidFill>
              <a:effectLst/>
              <a:uLnTx/>
              <a:uFillTx/>
              <a:latin typeface="Times New Roman" charset="0"/>
              <a:ea typeface="+mn-ea"/>
              <a:cs typeface="+mn-cs"/>
            </a:endParaRPr>
          </a:p>
        </p:txBody>
      </p:sp>
    </p:spTree>
    <p:extLst>
      <p:ext uri="{BB962C8B-B14F-4D97-AF65-F5344CB8AC3E}">
        <p14:creationId xmlns:p14="http://schemas.microsoft.com/office/powerpoint/2010/main" val="193294838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Agrupar 22"/>
          <p:cNvGrpSpPr/>
          <p:nvPr/>
        </p:nvGrpSpPr>
        <p:grpSpPr>
          <a:xfrm>
            <a:off x="837855" y="1358250"/>
            <a:ext cx="2881073" cy="2612540"/>
            <a:chOff x="146345" y="488996"/>
            <a:chExt cx="4248472" cy="4608512"/>
          </a:xfrm>
        </p:grpSpPr>
        <p:sp>
          <p:nvSpPr>
            <p:cNvPr id="22" name="Rectángulo 21"/>
            <p:cNvSpPr/>
            <p:nvPr/>
          </p:nvSpPr>
          <p:spPr>
            <a:xfrm>
              <a:off x="146345" y="488996"/>
              <a:ext cx="4248472" cy="4608512"/>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71525" rtl="0" eaLnBrk="0" fontAlgn="base" latinLnBrk="0" hangingPunct="0">
                <a:lnSpc>
                  <a:spcPct val="100000"/>
                </a:lnSpc>
                <a:spcBef>
                  <a:spcPct val="20000"/>
                </a:spcBef>
                <a:spcAft>
                  <a:spcPct val="0"/>
                </a:spcAft>
                <a:buClrTx/>
                <a:buSzTx/>
                <a:buFontTx/>
                <a:buNone/>
                <a:tabLst/>
                <a:defRPr/>
              </a:pPr>
              <a:endParaRPr kumimoji="0" lang="es-ES_tradnl" sz="1688" b="1" i="0" u="none" strike="noStrike" kern="1200" cap="none" spc="0" normalizeH="0" baseline="0" noProof="0">
                <a:ln>
                  <a:noFill/>
                </a:ln>
                <a:solidFill>
                  <a:srgbClr val="00003C"/>
                </a:solidFill>
                <a:effectLst/>
                <a:uLnTx/>
                <a:uFillTx/>
                <a:latin typeface="Arial"/>
                <a:ea typeface="+mn-ea"/>
                <a:cs typeface="+mn-cs"/>
              </a:endParaRPr>
            </a:p>
          </p:txBody>
        </p:sp>
        <p:grpSp>
          <p:nvGrpSpPr>
            <p:cNvPr id="12" name="Agrupar 11"/>
            <p:cNvGrpSpPr/>
            <p:nvPr/>
          </p:nvGrpSpPr>
          <p:grpSpPr>
            <a:xfrm>
              <a:off x="287033" y="596945"/>
              <a:ext cx="3882790" cy="4392613"/>
              <a:chOff x="3270720" y="1700214"/>
              <a:chExt cx="5489105" cy="4392613"/>
            </a:xfrm>
          </p:grpSpPr>
          <p:sp>
            <p:nvSpPr>
              <p:cNvPr id="13" name="Rectangle à coins arrondis 7"/>
              <p:cNvSpPr/>
              <p:nvPr/>
            </p:nvSpPr>
            <p:spPr>
              <a:xfrm>
                <a:off x="4681545" y="1700214"/>
                <a:ext cx="2376487" cy="792163"/>
              </a:xfrm>
              <a:prstGeom prst="roundRect">
                <a:avLst/>
              </a:prstGeom>
              <a:solidFill>
                <a:srgbClr val="7030A0"/>
              </a:solidFill>
              <a:ln w="25400" cap="flat" cmpd="sng" algn="ctr">
                <a:solidFill>
                  <a:srgbClr val="BBE0E3">
                    <a:shade val="50000"/>
                  </a:srgbClr>
                </a:solidFill>
                <a:prstDash val="solid"/>
              </a:ln>
              <a:effectLst/>
            </p:spPr>
            <p:txBody>
              <a:bodyPr anchor="ctr"/>
              <a:lstStyle/>
              <a:p>
                <a:pPr marL="0" marR="0" lvl="0" indent="0" algn="ctr" defTabSz="385763" rtl="0" eaLnBrk="1" fontAlgn="auto" latinLnBrk="0" hangingPunct="1">
                  <a:lnSpc>
                    <a:spcPct val="100000"/>
                  </a:lnSpc>
                  <a:spcBef>
                    <a:spcPts val="0"/>
                  </a:spcBef>
                  <a:spcAft>
                    <a:spcPts val="0"/>
                  </a:spcAft>
                  <a:buClrTx/>
                  <a:buSzTx/>
                  <a:buFontTx/>
                  <a:buNone/>
                  <a:tabLst/>
                  <a:defRPr/>
                </a:pPr>
                <a:r>
                  <a:rPr kumimoji="0" lang="fr-FR" sz="1181" b="0" i="0" u="none" strike="noStrike" kern="0" cap="none" spc="0" normalizeH="0" baseline="0" noProof="0">
                    <a:ln>
                      <a:noFill/>
                    </a:ln>
                    <a:solidFill>
                      <a:prstClr val="white"/>
                    </a:solidFill>
                    <a:effectLst/>
                    <a:uLnTx/>
                    <a:uFillTx/>
                    <a:latin typeface="Arial"/>
                    <a:ea typeface="MS PGothic"/>
                    <a:cs typeface=""/>
                  </a:rPr>
                  <a:t>3 RVD</a:t>
                </a:r>
              </a:p>
            </p:txBody>
          </p:sp>
          <p:sp>
            <p:nvSpPr>
              <p:cNvPr id="14" name="Rectangle à coins arrondis 8"/>
              <p:cNvSpPr/>
              <p:nvPr/>
            </p:nvSpPr>
            <p:spPr>
              <a:xfrm>
                <a:off x="3270720" y="3068638"/>
                <a:ext cx="1728789" cy="792163"/>
              </a:xfrm>
              <a:prstGeom prst="roundRect">
                <a:avLst/>
              </a:prstGeom>
              <a:solidFill>
                <a:srgbClr val="FF0000"/>
              </a:solidFill>
              <a:ln w="25400" cap="flat" cmpd="sng" algn="ctr">
                <a:solidFill>
                  <a:srgbClr val="BBE0E3">
                    <a:shade val="50000"/>
                  </a:srgbClr>
                </a:solidFill>
                <a:prstDash val="solid"/>
              </a:ln>
              <a:effectLst/>
            </p:spPr>
            <p:txBody>
              <a:bodyPr anchor="ctr"/>
              <a:lstStyle/>
              <a:p>
                <a:pPr marL="0" marR="0" lvl="0" indent="0" algn="ctr" defTabSz="385763" rtl="0" eaLnBrk="1" fontAlgn="auto" latinLnBrk="0" hangingPunct="1">
                  <a:lnSpc>
                    <a:spcPct val="100000"/>
                  </a:lnSpc>
                  <a:spcBef>
                    <a:spcPts val="0"/>
                  </a:spcBef>
                  <a:spcAft>
                    <a:spcPts val="0"/>
                  </a:spcAft>
                  <a:buClrTx/>
                  <a:buSzTx/>
                  <a:buFontTx/>
                  <a:buNone/>
                  <a:tabLst/>
                  <a:defRPr/>
                </a:pPr>
                <a:r>
                  <a:rPr kumimoji="0" lang="fr-FR" sz="1181" b="0" i="0" u="none" strike="noStrike" kern="0" cap="none" spc="0" normalizeH="0" baseline="0" noProof="0">
                    <a:ln>
                      <a:noFill/>
                    </a:ln>
                    <a:solidFill>
                      <a:prstClr val="white"/>
                    </a:solidFill>
                    <a:effectLst/>
                    <a:uLnTx/>
                    <a:uFillTx/>
                    <a:latin typeface="Arial"/>
                    <a:ea typeface="MS PGothic"/>
                    <a:cs typeface=""/>
                  </a:rPr>
                  <a:t>5 RVD</a:t>
                </a:r>
              </a:p>
            </p:txBody>
          </p:sp>
          <p:sp>
            <p:nvSpPr>
              <p:cNvPr id="15" name="Rectangle à coins arrondis 9"/>
              <p:cNvSpPr/>
              <p:nvPr/>
            </p:nvSpPr>
            <p:spPr>
              <a:xfrm>
                <a:off x="7032625" y="3068638"/>
                <a:ext cx="1727200" cy="792163"/>
              </a:xfrm>
              <a:prstGeom prst="roundRect">
                <a:avLst/>
              </a:prstGeom>
              <a:solidFill>
                <a:srgbClr val="00B050"/>
              </a:solidFill>
              <a:ln w="25400" cap="flat" cmpd="sng" algn="ctr">
                <a:solidFill>
                  <a:srgbClr val="BBE0E3">
                    <a:shade val="50000"/>
                  </a:srgbClr>
                </a:solidFill>
                <a:prstDash val="solid"/>
              </a:ln>
              <a:effectLst/>
            </p:spPr>
            <p:txBody>
              <a:bodyPr anchor="ctr"/>
              <a:lstStyle/>
              <a:p>
                <a:pPr marL="0" marR="0" lvl="0" indent="0" algn="ctr" defTabSz="385763" rtl="0" eaLnBrk="1" fontAlgn="auto" latinLnBrk="0" hangingPunct="1">
                  <a:lnSpc>
                    <a:spcPct val="100000"/>
                  </a:lnSpc>
                  <a:spcBef>
                    <a:spcPts val="0"/>
                  </a:spcBef>
                  <a:spcAft>
                    <a:spcPts val="0"/>
                  </a:spcAft>
                  <a:buClrTx/>
                  <a:buSzTx/>
                  <a:buFontTx/>
                  <a:buNone/>
                  <a:tabLst/>
                  <a:defRPr/>
                </a:pPr>
                <a:r>
                  <a:rPr kumimoji="0" lang="fr-FR" sz="1181" b="0" i="0" u="none" strike="noStrike" kern="0" cap="none" spc="0" normalizeH="0" baseline="0" noProof="0">
                    <a:ln>
                      <a:noFill/>
                    </a:ln>
                    <a:solidFill>
                      <a:prstClr val="white"/>
                    </a:solidFill>
                    <a:effectLst/>
                    <a:uLnTx/>
                    <a:uFillTx/>
                    <a:latin typeface="Arial"/>
                    <a:ea typeface="MS PGothic"/>
                    <a:cs typeface=""/>
                  </a:rPr>
                  <a:t>MEL200 + ASCT</a:t>
                </a:r>
              </a:p>
            </p:txBody>
          </p:sp>
          <p:sp>
            <p:nvSpPr>
              <p:cNvPr id="16" name="Rectangle à coins arrondis 10"/>
              <p:cNvSpPr/>
              <p:nvPr/>
            </p:nvSpPr>
            <p:spPr>
              <a:xfrm>
                <a:off x="7032625" y="3961882"/>
                <a:ext cx="1727200" cy="790576"/>
              </a:xfrm>
              <a:prstGeom prst="roundRect">
                <a:avLst/>
              </a:prstGeom>
              <a:solidFill>
                <a:srgbClr val="00B050"/>
              </a:solidFill>
              <a:ln w="25400" cap="flat" cmpd="sng" algn="ctr">
                <a:solidFill>
                  <a:srgbClr val="BBE0E3">
                    <a:shade val="50000"/>
                  </a:srgbClr>
                </a:solidFill>
                <a:prstDash val="solid"/>
              </a:ln>
              <a:effectLst/>
            </p:spPr>
            <p:txBody>
              <a:bodyPr anchor="ctr"/>
              <a:lstStyle/>
              <a:p>
                <a:pPr marL="0" marR="0" lvl="0" indent="0" algn="ctr" defTabSz="385763" rtl="0" eaLnBrk="1" fontAlgn="auto" latinLnBrk="0" hangingPunct="1">
                  <a:lnSpc>
                    <a:spcPct val="100000"/>
                  </a:lnSpc>
                  <a:spcBef>
                    <a:spcPts val="0"/>
                  </a:spcBef>
                  <a:spcAft>
                    <a:spcPts val="0"/>
                  </a:spcAft>
                  <a:buClrTx/>
                  <a:buSzTx/>
                  <a:buFontTx/>
                  <a:buNone/>
                  <a:tabLst/>
                  <a:defRPr/>
                </a:pPr>
                <a:r>
                  <a:rPr kumimoji="0" lang="fr-FR" sz="1181" b="0" i="0" u="none" strike="noStrike" kern="0" cap="none" spc="0" normalizeH="0" baseline="0" noProof="0">
                    <a:ln>
                      <a:noFill/>
                    </a:ln>
                    <a:solidFill>
                      <a:prstClr val="white"/>
                    </a:solidFill>
                    <a:effectLst/>
                    <a:uLnTx/>
                    <a:uFillTx/>
                    <a:latin typeface="Arial"/>
                    <a:ea typeface="MS PGothic"/>
                    <a:cs typeface=""/>
                  </a:rPr>
                  <a:t>2 RVD</a:t>
                </a:r>
              </a:p>
            </p:txBody>
          </p:sp>
          <p:sp>
            <p:nvSpPr>
              <p:cNvPr id="17" name="Rectangle à coins arrondis 11"/>
              <p:cNvSpPr/>
              <p:nvPr/>
            </p:nvSpPr>
            <p:spPr>
              <a:xfrm>
                <a:off x="3648082" y="5445127"/>
                <a:ext cx="4608513" cy="647700"/>
              </a:xfrm>
              <a:prstGeom prst="roundRect">
                <a:avLst/>
              </a:prstGeom>
              <a:solidFill>
                <a:srgbClr val="7030A0"/>
              </a:solidFill>
              <a:ln w="25400" cap="flat" cmpd="sng" algn="ctr">
                <a:solidFill>
                  <a:srgbClr val="BBE0E3">
                    <a:shade val="50000"/>
                  </a:srgbClr>
                </a:solidFill>
                <a:prstDash val="solid"/>
              </a:ln>
              <a:effectLst/>
            </p:spPr>
            <p:txBody>
              <a:bodyPr anchor="ctr"/>
              <a:lstStyle/>
              <a:p>
                <a:pPr marL="0" marR="0" lvl="0" indent="0" algn="ctr" defTabSz="385763" rtl="0" eaLnBrk="1" fontAlgn="auto" latinLnBrk="0" hangingPunct="1">
                  <a:lnSpc>
                    <a:spcPct val="100000"/>
                  </a:lnSpc>
                  <a:spcBef>
                    <a:spcPts val="0"/>
                  </a:spcBef>
                  <a:spcAft>
                    <a:spcPts val="0"/>
                  </a:spcAft>
                  <a:buClrTx/>
                  <a:buSzTx/>
                  <a:buFontTx/>
                  <a:buNone/>
                  <a:tabLst/>
                  <a:defRPr/>
                </a:pPr>
                <a:r>
                  <a:rPr kumimoji="0" lang="fr-FR" sz="1181" b="0" i="0" u="none" strike="noStrike" kern="0" cap="none" spc="0" normalizeH="0" baseline="0" noProof="0">
                    <a:ln>
                      <a:noFill/>
                    </a:ln>
                    <a:solidFill>
                      <a:prstClr val="white"/>
                    </a:solidFill>
                    <a:effectLst/>
                    <a:uLnTx/>
                    <a:uFillTx/>
                    <a:latin typeface="Arial"/>
                    <a:ea typeface="MS PGothic"/>
                    <a:cs typeface=""/>
                  </a:rPr>
                  <a:t>12 months lenalidomide maintenance</a:t>
                </a:r>
              </a:p>
            </p:txBody>
          </p:sp>
          <p:sp>
            <p:nvSpPr>
              <p:cNvPr id="18" name="Flèche vers le bas 12"/>
              <p:cNvSpPr/>
              <p:nvPr/>
            </p:nvSpPr>
            <p:spPr>
              <a:xfrm>
                <a:off x="3958290" y="2565400"/>
                <a:ext cx="215900" cy="431800"/>
              </a:xfrm>
              <a:prstGeom prst="downArrow">
                <a:avLst/>
              </a:prstGeom>
              <a:solidFill>
                <a:srgbClr val="FF0000"/>
              </a:solidFill>
              <a:ln w="25400" cap="flat" cmpd="sng" algn="ctr">
                <a:solidFill>
                  <a:srgbClr val="BBE0E3">
                    <a:shade val="50000"/>
                  </a:srgbClr>
                </a:solidFill>
                <a:prstDash val="solid"/>
              </a:ln>
              <a:effectLst/>
            </p:spPr>
            <p:txBody>
              <a:bodyPr anchor="ctr"/>
              <a:lstStyle/>
              <a:p>
                <a:pPr marL="0" marR="0" lvl="0" indent="0" algn="ctr" defTabSz="385763" rtl="0" eaLnBrk="1" fontAlgn="auto" latinLnBrk="0" hangingPunct="1">
                  <a:lnSpc>
                    <a:spcPct val="100000"/>
                  </a:lnSpc>
                  <a:spcBef>
                    <a:spcPts val="0"/>
                  </a:spcBef>
                  <a:spcAft>
                    <a:spcPts val="0"/>
                  </a:spcAft>
                  <a:buClrTx/>
                  <a:buSzTx/>
                  <a:buFontTx/>
                  <a:buNone/>
                  <a:tabLst/>
                  <a:defRPr/>
                </a:pPr>
                <a:endParaRPr kumimoji="0" lang="fr-FR" sz="1181" b="0" i="0" u="none" strike="noStrike" kern="0" cap="none" spc="0" normalizeH="0" baseline="0" noProof="0">
                  <a:ln>
                    <a:noFill/>
                  </a:ln>
                  <a:solidFill>
                    <a:prstClr val="white"/>
                  </a:solidFill>
                  <a:effectLst/>
                  <a:uLnTx/>
                  <a:uFillTx/>
                  <a:latin typeface="Arial"/>
                  <a:ea typeface="MS PGothic"/>
                  <a:cs typeface=""/>
                </a:endParaRPr>
              </a:p>
            </p:txBody>
          </p:sp>
          <p:sp>
            <p:nvSpPr>
              <p:cNvPr id="19" name="Flèche vers le bas 13"/>
              <p:cNvSpPr/>
              <p:nvPr/>
            </p:nvSpPr>
            <p:spPr>
              <a:xfrm>
                <a:off x="3958290" y="4797425"/>
                <a:ext cx="215900" cy="431800"/>
              </a:xfrm>
              <a:prstGeom prst="downArrow">
                <a:avLst/>
              </a:prstGeom>
              <a:solidFill>
                <a:srgbClr val="FF0000"/>
              </a:solidFill>
              <a:ln w="25400" cap="flat" cmpd="sng" algn="ctr">
                <a:solidFill>
                  <a:srgbClr val="BBE0E3">
                    <a:shade val="50000"/>
                  </a:srgbClr>
                </a:solidFill>
                <a:prstDash val="solid"/>
              </a:ln>
              <a:effectLst/>
            </p:spPr>
            <p:txBody>
              <a:bodyPr anchor="ctr"/>
              <a:lstStyle/>
              <a:p>
                <a:pPr marL="0" marR="0" lvl="0" indent="0" algn="ctr" defTabSz="385763" rtl="0" eaLnBrk="1" fontAlgn="auto" latinLnBrk="0" hangingPunct="1">
                  <a:lnSpc>
                    <a:spcPct val="100000"/>
                  </a:lnSpc>
                  <a:spcBef>
                    <a:spcPts val="0"/>
                  </a:spcBef>
                  <a:spcAft>
                    <a:spcPts val="0"/>
                  </a:spcAft>
                  <a:buClrTx/>
                  <a:buSzTx/>
                  <a:buFontTx/>
                  <a:buNone/>
                  <a:tabLst/>
                  <a:defRPr/>
                </a:pPr>
                <a:endParaRPr kumimoji="0" lang="fr-FR" sz="1181" b="0" i="0" u="none" strike="noStrike" kern="0" cap="none" spc="0" normalizeH="0" baseline="0" noProof="0">
                  <a:ln>
                    <a:noFill/>
                  </a:ln>
                  <a:solidFill>
                    <a:prstClr val="white"/>
                  </a:solidFill>
                  <a:effectLst/>
                  <a:uLnTx/>
                  <a:uFillTx/>
                  <a:latin typeface="Arial"/>
                  <a:ea typeface="MS PGothic"/>
                  <a:cs typeface=""/>
                </a:endParaRPr>
              </a:p>
            </p:txBody>
          </p:sp>
          <p:sp>
            <p:nvSpPr>
              <p:cNvPr id="20" name="Flèche vers le bas 14"/>
              <p:cNvSpPr/>
              <p:nvPr/>
            </p:nvSpPr>
            <p:spPr>
              <a:xfrm>
                <a:off x="7896225" y="2565400"/>
                <a:ext cx="215900" cy="431800"/>
              </a:xfrm>
              <a:prstGeom prst="downArrow">
                <a:avLst/>
              </a:prstGeom>
              <a:solidFill>
                <a:srgbClr val="00B050"/>
              </a:solidFill>
              <a:ln w="25400" cap="flat" cmpd="sng" algn="ctr">
                <a:solidFill>
                  <a:srgbClr val="BBE0E3">
                    <a:shade val="50000"/>
                  </a:srgbClr>
                </a:solidFill>
                <a:prstDash val="solid"/>
              </a:ln>
              <a:effectLst/>
            </p:spPr>
            <p:txBody>
              <a:bodyPr anchor="ctr"/>
              <a:lstStyle/>
              <a:p>
                <a:pPr marL="0" marR="0" lvl="0" indent="0" algn="ctr" defTabSz="385763" rtl="0" eaLnBrk="1" fontAlgn="auto" latinLnBrk="0" hangingPunct="1">
                  <a:lnSpc>
                    <a:spcPct val="100000"/>
                  </a:lnSpc>
                  <a:spcBef>
                    <a:spcPts val="0"/>
                  </a:spcBef>
                  <a:spcAft>
                    <a:spcPts val="0"/>
                  </a:spcAft>
                  <a:buClrTx/>
                  <a:buSzTx/>
                  <a:buFontTx/>
                  <a:buNone/>
                  <a:tabLst/>
                  <a:defRPr/>
                </a:pPr>
                <a:endParaRPr kumimoji="0" lang="fr-FR" sz="1181" b="0" i="0" u="none" strike="noStrike" kern="0" cap="none" spc="0" normalizeH="0" baseline="0" noProof="0">
                  <a:ln>
                    <a:noFill/>
                  </a:ln>
                  <a:solidFill>
                    <a:prstClr val="white"/>
                  </a:solidFill>
                  <a:effectLst/>
                  <a:uLnTx/>
                  <a:uFillTx/>
                  <a:latin typeface="Arial"/>
                  <a:ea typeface="MS PGothic"/>
                  <a:cs typeface=""/>
                </a:endParaRPr>
              </a:p>
            </p:txBody>
          </p:sp>
          <p:sp>
            <p:nvSpPr>
              <p:cNvPr id="21" name="Flèche vers le bas 15"/>
              <p:cNvSpPr/>
              <p:nvPr/>
            </p:nvSpPr>
            <p:spPr>
              <a:xfrm>
                <a:off x="7896225" y="4868863"/>
                <a:ext cx="215900" cy="431800"/>
              </a:xfrm>
              <a:prstGeom prst="downArrow">
                <a:avLst/>
              </a:prstGeom>
              <a:solidFill>
                <a:srgbClr val="00B050"/>
              </a:solidFill>
              <a:ln w="25400" cap="flat" cmpd="sng" algn="ctr">
                <a:solidFill>
                  <a:srgbClr val="BBE0E3">
                    <a:shade val="50000"/>
                  </a:srgbClr>
                </a:solidFill>
                <a:prstDash val="solid"/>
              </a:ln>
              <a:effectLst/>
            </p:spPr>
            <p:txBody>
              <a:bodyPr anchor="ctr"/>
              <a:lstStyle/>
              <a:p>
                <a:pPr marL="0" marR="0" lvl="0" indent="0" algn="ctr" defTabSz="385763" rtl="0" eaLnBrk="1" fontAlgn="auto" latinLnBrk="0" hangingPunct="1">
                  <a:lnSpc>
                    <a:spcPct val="100000"/>
                  </a:lnSpc>
                  <a:spcBef>
                    <a:spcPts val="0"/>
                  </a:spcBef>
                  <a:spcAft>
                    <a:spcPts val="0"/>
                  </a:spcAft>
                  <a:buClrTx/>
                  <a:buSzTx/>
                  <a:buFontTx/>
                  <a:buNone/>
                  <a:tabLst/>
                  <a:defRPr/>
                </a:pPr>
                <a:endParaRPr kumimoji="0" lang="fr-FR" sz="1181" b="0" i="0" u="none" strike="noStrike" kern="0" cap="none" spc="0" normalizeH="0" baseline="0" noProof="0">
                  <a:ln>
                    <a:noFill/>
                  </a:ln>
                  <a:solidFill>
                    <a:prstClr val="white"/>
                  </a:solidFill>
                  <a:effectLst/>
                  <a:uLnTx/>
                  <a:uFillTx/>
                  <a:latin typeface="Arial"/>
                  <a:ea typeface="MS PGothic"/>
                  <a:cs typeface=""/>
                </a:endParaRPr>
              </a:p>
            </p:txBody>
          </p:sp>
        </p:grpSp>
      </p:grpSp>
      <p:sp>
        <p:nvSpPr>
          <p:cNvPr id="25" name="Text Box 4"/>
          <p:cNvSpPr txBox="1">
            <a:spLocks noChangeArrowheads="1"/>
          </p:cNvSpPr>
          <p:nvPr/>
        </p:nvSpPr>
        <p:spPr bwMode="auto">
          <a:xfrm>
            <a:off x="-83040" y="193662"/>
            <a:ext cx="7715250" cy="403957"/>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2025" b="1" i="0" u="none" strike="noStrike" kern="1200" cap="none" spc="0" normalizeH="0" baseline="0" noProof="0">
                <a:ln>
                  <a:noFill/>
                </a:ln>
                <a:solidFill>
                  <a:srgbClr val="595454"/>
                </a:solidFill>
                <a:effectLst/>
                <a:uLnTx/>
                <a:uFillTx/>
                <a:latin typeface="Trebuchet MS"/>
                <a:ea typeface="ＭＳ Ｐゴシック" charset="0"/>
                <a:cs typeface="+mn-cs"/>
              </a:rPr>
              <a:t>Management of MM in the transplant-candidate ND patient</a:t>
            </a:r>
          </a:p>
        </p:txBody>
      </p:sp>
      <p:graphicFrame>
        <p:nvGraphicFramePr>
          <p:cNvPr id="29" name="Tableau 1"/>
          <p:cNvGraphicFramePr>
            <a:graphicFrameLocks noGrp="1"/>
          </p:cNvGraphicFramePr>
          <p:nvPr/>
        </p:nvGraphicFramePr>
        <p:xfrm>
          <a:off x="4326494" y="1126992"/>
          <a:ext cx="3951668" cy="2522656"/>
        </p:xfrm>
        <a:graphic>
          <a:graphicData uri="http://schemas.openxmlformats.org/drawingml/2006/table">
            <a:tbl>
              <a:tblPr firstRow="1" bandRow="1">
                <a:tableStyleId>{2D5ABB26-0587-4C30-8999-92F81FD0307C}</a:tableStyleId>
              </a:tblPr>
              <a:tblGrid>
                <a:gridCol w="1236257">
                  <a:extLst>
                    <a:ext uri="{9D8B030D-6E8A-4147-A177-3AD203B41FA5}">
                      <a16:colId xmlns:a16="http://schemas.microsoft.com/office/drawing/2014/main" val="20000"/>
                    </a:ext>
                  </a:extLst>
                </a:gridCol>
                <a:gridCol w="998839">
                  <a:extLst>
                    <a:ext uri="{9D8B030D-6E8A-4147-A177-3AD203B41FA5}">
                      <a16:colId xmlns:a16="http://schemas.microsoft.com/office/drawing/2014/main" val="20001"/>
                    </a:ext>
                  </a:extLst>
                </a:gridCol>
                <a:gridCol w="987491">
                  <a:extLst>
                    <a:ext uri="{9D8B030D-6E8A-4147-A177-3AD203B41FA5}">
                      <a16:colId xmlns:a16="http://schemas.microsoft.com/office/drawing/2014/main" val="20002"/>
                    </a:ext>
                  </a:extLst>
                </a:gridCol>
                <a:gridCol w="729081">
                  <a:extLst>
                    <a:ext uri="{9D8B030D-6E8A-4147-A177-3AD203B41FA5}">
                      <a16:colId xmlns:a16="http://schemas.microsoft.com/office/drawing/2014/main" val="20003"/>
                    </a:ext>
                  </a:extLst>
                </a:gridCol>
              </a:tblGrid>
              <a:tr h="854448">
                <a:tc>
                  <a:txBody>
                    <a:bodyPr/>
                    <a:lstStyle>
                      <a:lvl1pPr marL="0" algn="l" defTabSz="289339" rtl="0" eaLnBrk="1" latinLnBrk="0" hangingPunct="1">
                        <a:defRPr sz="1139" b="1" kern="1200">
                          <a:solidFill>
                            <a:schemeClr val="lt1"/>
                          </a:solidFill>
                          <a:latin typeface="Calibri"/>
                          <a:ea typeface=""/>
                          <a:cs typeface=""/>
                        </a:defRPr>
                      </a:lvl1pPr>
                      <a:lvl2pPr marL="289339" algn="l" defTabSz="289339" rtl="0" eaLnBrk="1" latinLnBrk="0" hangingPunct="1">
                        <a:defRPr sz="1139" b="1" kern="1200">
                          <a:solidFill>
                            <a:schemeClr val="lt1"/>
                          </a:solidFill>
                          <a:latin typeface="Calibri"/>
                          <a:ea typeface=""/>
                          <a:cs typeface=""/>
                        </a:defRPr>
                      </a:lvl2pPr>
                      <a:lvl3pPr marL="578678" algn="l" defTabSz="289339" rtl="0" eaLnBrk="1" latinLnBrk="0" hangingPunct="1">
                        <a:defRPr sz="1139" b="1" kern="1200">
                          <a:solidFill>
                            <a:schemeClr val="lt1"/>
                          </a:solidFill>
                          <a:latin typeface="Calibri"/>
                          <a:ea typeface=""/>
                          <a:cs typeface=""/>
                        </a:defRPr>
                      </a:lvl3pPr>
                      <a:lvl4pPr marL="868017" algn="l" defTabSz="289339" rtl="0" eaLnBrk="1" latinLnBrk="0" hangingPunct="1">
                        <a:defRPr sz="1139" b="1" kern="1200">
                          <a:solidFill>
                            <a:schemeClr val="lt1"/>
                          </a:solidFill>
                          <a:latin typeface="Calibri"/>
                          <a:ea typeface=""/>
                          <a:cs typeface=""/>
                        </a:defRPr>
                      </a:lvl4pPr>
                      <a:lvl5pPr marL="1157356" algn="l" defTabSz="289339" rtl="0" eaLnBrk="1" latinLnBrk="0" hangingPunct="1">
                        <a:defRPr sz="1139" b="1" kern="1200">
                          <a:solidFill>
                            <a:schemeClr val="lt1"/>
                          </a:solidFill>
                          <a:latin typeface="Calibri"/>
                          <a:ea typeface=""/>
                          <a:cs typeface=""/>
                        </a:defRPr>
                      </a:lvl5pPr>
                      <a:lvl6pPr marL="1446695" algn="l" defTabSz="289339" rtl="0" eaLnBrk="1" latinLnBrk="0" hangingPunct="1">
                        <a:defRPr sz="1139" b="1" kern="1200">
                          <a:solidFill>
                            <a:schemeClr val="lt1"/>
                          </a:solidFill>
                          <a:latin typeface="Calibri"/>
                          <a:ea typeface=""/>
                          <a:cs typeface=""/>
                        </a:defRPr>
                      </a:lvl6pPr>
                      <a:lvl7pPr marL="1736034" algn="l" defTabSz="289339" rtl="0" eaLnBrk="1" latinLnBrk="0" hangingPunct="1">
                        <a:defRPr sz="1139" b="1" kern="1200">
                          <a:solidFill>
                            <a:schemeClr val="lt1"/>
                          </a:solidFill>
                          <a:latin typeface="Calibri"/>
                          <a:ea typeface=""/>
                          <a:cs typeface=""/>
                        </a:defRPr>
                      </a:lvl7pPr>
                      <a:lvl8pPr marL="2025374" algn="l" defTabSz="289339" rtl="0" eaLnBrk="1" latinLnBrk="0" hangingPunct="1">
                        <a:defRPr sz="1139" b="1" kern="1200">
                          <a:solidFill>
                            <a:schemeClr val="lt1"/>
                          </a:solidFill>
                          <a:latin typeface="Calibri"/>
                          <a:ea typeface=""/>
                          <a:cs typeface=""/>
                        </a:defRPr>
                      </a:lvl8pPr>
                      <a:lvl9pPr marL="2314712" algn="l" defTabSz="289339" rtl="0" eaLnBrk="1" latinLnBrk="0" hangingPunct="1">
                        <a:defRPr sz="1139" b="1" kern="1200">
                          <a:solidFill>
                            <a:schemeClr val="lt1"/>
                          </a:solidFill>
                          <a:latin typeface="Calibri"/>
                          <a:ea typeface=""/>
                          <a:cs typeface=""/>
                        </a:defRPr>
                      </a:lvl9pPr>
                    </a:lstStyle>
                    <a:p>
                      <a:endParaRPr lang="en-US" sz="1200" b="1" i="0">
                        <a:solidFill>
                          <a:srgbClr val="FFFF00"/>
                        </a:solidFill>
                        <a:latin typeface="Arial" charset="0"/>
                        <a:ea typeface="Arial" charset="0"/>
                        <a:cs typeface="Arial" charset="0"/>
                      </a:endParaRPr>
                    </a:p>
                  </a:txBody>
                  <a:tcPr anchor="ctr">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b="1" kern="1200">
                          <a:solidFill>
                            <a:schemeClr val="lt1"/>
                          </a:solidFill>
                          <a:latin typeface="Calibri"/>
                          <a:ea typeface=""/>
                          <a:cs typeface=""/>
                        </a:defRPr>
                      </a:lvl1pPr>
                      <a:lvl2pPr marL="289339" algn="l" defTabSz="289339" rtl="0" eaLnBrk="1" latinLnBrk="0" hangingPunct="1">
                        <a:defRPr sz="1139" b="1" kern="1200">
                          <a:solidFill>
                            <a:schemeClr val="lt1"/>
                          </a:solidFill>
                          <a:latin typeface="Calibri"/>
                          <a:ea typeface=""/>
                          <a:cs typeface=""/>
                        </a:defRPr>
                      </a:lvl2pPr>
                      <a:lvl3pPr marL="578678" algn="l" defTabSz="289339" rtl="0" eaLnBrk="1" latinLnBrk="0" hangingPunct="1">
                        <a:defRPr sz="1139" b="1" kern="1200">
                          <a:solidFill>
                            <a:schemeClr val="lt1"/>
                          </a:solidFill>
                          <a:latin typeface="Calibri"/>
                          <a:ea typeface=""/>
                          <a:cs typeface=""/>
                        </a:defRPr>
                      </a:lvl3pPr>
                      <a:lvl4pPr marL="868017" algn="l" defTabSz="289339" rtl="0" eaLnBrk="1" latinLnBrk="0" hangingPunct="1">
                        <a:defRPr sz="1139" b="1" kern="1200">
                          <a:solidFill>
                            <a:schemeClr val="lt1"/>
                          </a:solidFill>
                          <a:latin typeface="Calibri"/>
                          <a:ea typeface=""/>
                          <a:cs typeface=""/>
                        </a:defRPr>
                      </a:lvl4pPr>
                      <a:lvl5pPr marL="1157356" algn="l" defTabSz="289339" rtl="0" eaLnBrk="1" latinLnBrk="0" hangingPunct="1">
                        <a:defRPr sz="1139" b="1" kern="1200">
                          <a:solidFill>
                            <a:schemeClr val="lt1"/>
                          </a:solidFill>
                          <a:latin typeface="Calibri"/>
                          <a:ea typeface=""/>
                          <a:cs typeface=""/>
                        </a:defRPr>
                      </a:lvl5pPr>
                      <a:lvl6pPr marL="1446695" algn="l" defTabSz="289339" rtl="0" eaLnBrk="1" latinLnBrk="0" hangingPunct="1">
                        <a:defRPr sz="1139" b="1" kern="1200">
                          <a:solidFill>
                            <a:schemeClr val="lt1"/>
                          </a:solidFill>
                          <a:latin typeface="Calibri"/>
                          <a:ea typeface=""/>
                          <a:cs typeface=""/>
                        </a:defRPr>
                      </a:lvl6pPr>
                      <a:lvl7pPr marL="1736034" algn="l" defTabSz="289339" rtl="0" eaLnBrk="1" latinLnBrk="0" hangingPunct="1">
                        <a:defRPr sz="1139" b="1" kern="1200">
                          <a:solidFill>
                            <a:schemeClr val="lt1"/>
                          </a:solidFill>
                          <a:latin typeface="Calibri"/>
                          <a:ea typeface=""/>
                          <a:cs typeface=""/>
                        </a:defRPr>
                      </a:lvl7pPr>
                      <a:lvl8pPr marL="2025374" algn="l" defTabSz="289339" rtl="0" eaLnBrk="1" latinLnBrk="0" hangingPunct="1">
                        <a:defRPr sz="1139" b="1" kern="1200">
                          <a:solidFill>
                            <a:schemeClr val="lt1"/>
                          </a:solidFill>
                          <a:latin typeface="Calibri"/>
                          <a:ea typeface=""/>
                          <a:cs typeface=""/>
                        </a:defRPr>
                      </a:lvl8pPr>
                      <a:lvl9pPr marL="2314712" algn="l" defTabSz="289339" rtl="0" eaLnBrk="1" latinLnBrk="0" hangingPunct="1">
                        <a:defRPr sz="1139" b="1" kern="1200">
                          <a:solidFill>
                            <a:schemeClr val="lt1"/>
                          </a:solidFill>
                          <a:latin typeface="Calibri"/>
                          <a:ea typeface=""/>
                          <a:cs typeface=""/>
                        </a:defRPr>
                      </a:lvl9pPr>
                    </a:lstStyle>
                    <a:p>
                      <a:pPr algn="ctr"/>
                      <a:r>
                        <a:rPr lang="en-US" sz="1200" b="1" i="0">
                          <a:solidFill>
                            <a:srgbClr val="BE2BBB"/>
                          </a:solidFill>
                          <a:latin typeface="Arial" charset="0"/>
                          <a:ea typeface="Arial" charset="0"/>
                          <a:cs typeface="Arial" charset="0"/>
                        </a:rPr>
                        <a:t>RVD group</a:t>
                      </a:r>
                    </a:p>
                    <a:p>
                      <a:pPr algn="ctr"/>
                      <a:r>
                        <a:rPr lang="en-US" sz="1200" b="1" i="0">
                          <a:solidFill>
                            <a:srgbClr val="BE2BBB"/>
                          </a:solidFill>
                          <a:latin typeface="Arial" charset="0"/>
                          <a:ea typeface="Arial" charset="0"/>
                          <a:cs typeface="Arial" charset="0"/>
                        </a:rPr>
                        <a:t>N = 350</a:t>
                      </a:r>
                    </a:p>
                  </a:txBody>
                  <a:tcPr anchor="ctr">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b="1" kern="1200">
                          <a:solidFill>
                            <a:schemeClr val="lt1"/>
                          </a:solidFill>
                          <a:latin typeface="Calibri"/>
                          <a:ea typeface=""/>
                          <a:cs typeface=""/>
                        </a:defRPr>
                      </a:lvl1pPr>
                      <a:lvl2pPr marL="289339" algn="l" defTabSz="289339" rtl="0" eaLnBrk="1" latinLnBrk="0" hangingPunct="1">
                        <a:defRPr sz="1139" b="1" kern="1200">
                          <a:solidFill>
                            <a:schemeClr val="lt1"/>
                          </a:solidFill>
                          <a:latin typeface="Calibri"/>
                          <a:ea typeface=""/>
                          <a:cs typeface=""/>
                        </a:defRPr>
                      </a:lvl2pPr>
                      <a:lvl3pPr marL="578678" algn="l" defTabSz="289339" rtl="0" eaLnBrk="1" latinLnBrk="0" hangingPunct="1">
                        <a:defRPr sz="1139" b="1" kern="1200">
                          <a:solidFill>
                            <a:schemeClr val="lt1"/>
                          </a:solidFill>
                          <a:latin typeface="Calibri"/>
                          <a:ea typeface=""/>
                          <a:cs typeface=""/>
                        </a:defRPr>
                      </a:lvl3pPr>
                      <a:lvl4pPr marL="868017" algn="l" defTabSz="289339" rtl="0" eaLnBrk="1" latinLnBrk="0" hangingPunct="1">
                        <a:defRPr sz="1139" b="1" kern="1200">
                          <a:solidFill>
                            <a:schemeClr val="lt1"/>
                          </a:solidFill>
                          <a:latin typeface="Calibri"/>
                          <a:ea typeface=""/>
                          <a:cs typeface=""/>
                        </a:defRPr>
                      </a:lvl4pPr>
                      <a:lvl5pPr marL="1157356" algn="l" defTabSz="289339" rtl="0" eaLnBrk="1" latinLnBrk="0" hangingPunct="1">
                        <a:defRPr sz="1139" b="1" kern="1200">
                          <a:solidFill>
                            <a:schemeClr val="lt1"/>
                          </a:solidFill>
                          <a:latin typeface="Calibri"/>
                          <a:ea typeface=""/>
                          <a:cs typeface=""/>
                        </a:defRPr>
                      </a:lvl5pPr>
                      <a:lvl6pPr marL="1446695" algn="l" defTabSz="289339" rtl="0" eaLnBrk="1" latinLnBrk="0" hangingPunct="1">
                        <a:defRPr sz="1139" b="1" kern="1200">
                          <a:solidFill>
                            <a:schemeClr val="lt1"/>
                          </a:solidFill>
                          <a:latin typeface="Calibri"/>
                          <a:ea typeface=""/>
                          <a:cs typeface=""/>
                        </a:defRPr>
                      </a:lvl6pPr>
                      <a:lvl7pPr marL="1736034" algn="l" defTabSz="289339" rtl="0" eaLnBrk="1" latinLnBrk="0" hangingPunct="1">
                        <a:defRPr sz="1139" b="1" kern="1200">
                          <a:solidFill>
                            <a:schemeClr val="lt1"/>
                          </a:solidFill>
                          <a:latin typeface="Calibri"/>
                          <a:ea typeface=""/>
                          <a:cs typeface=""/>
                        </a:defRPr>
                      </a:lvl7pPr>
                      <a:lvl8pPr marL="2025374" algn="l" defTabSz="289339" rtl="0" eaLnBrk="1" latinLnBrk="0" hangingPunct="1">
                        <a:defRPr sz="1139" b="1" kern="1200">
                          <a:solidFill>
                            <a:schemeClr val="lt1"/>
                          </a:solidFill>
                          <a:latin typeface="Calibri"/>
                          <a:ea typeface=""/>
                          <a:cs typeface=""/>
                        </a:defRPr>
                      </a:lvl8pPr>
                      <a:lvl9pPr marL="2314712" algn="l" defTabSz="289339" rtl="0" eaLnBrk="1" latinLnBrk="0" hangingPunct="1">
                        <a:defRPr sz="1139" b="1" kern="1200">
                          <a:solidFill>
                            <a:schemeClr val="lt1"/>
                          </a:solidFill>
                          <a:latin typeface="Calibri"/>
                          <a:ea typeface=""/>
                          <a:cs typeface=""/>
                        </a:defRPr>
                      </a:lvl9pPr>
                    </a:lstStyle>
                    <a:p>
                      <a:pPr algn="ctr"/>
                      <a:r>
                        <a:rPr lang="en-US" sz="1200" b="1" i="0">
                          <a:solidFill>
                            <a:srgbClr val="BE2BBB"/>
                          </a:solidFill>
                          <a:latin typeface="Arial" charset="0"/>
                          <a:ea typeface="Arial" charset="0"/>
                          <a:cs typeface="Arial" charset="0"/>
                        </a:rPr>
                        <a:t>Transplant group</a:t>
                      </a:r>
                    </a:p>
                    <a:p>
                      <a:pPr algn="ctr"/>
                      <a:r>
                        <a:rPr lang="en-US" sz="1200" b="1" i="0">
                          <a:solidFill>
                            <a:srgbClr val="BE2BBB"/>
                          </a:solidFill>
                          <a:latin typeface="Arial" charset="0"/>
                          <a:ea typeface="Arial" charset="0"/>
                          <a:cs typeface="Arial" charset="0"/>
                        </a:rPr>
                        <a:t>N = 350</a:t>
                      </a:r>
                    </a:p>
                  </a:txBody>
                  <a:tcPr anchor="ctr">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b="1" kern="1200">
                          <a:solidFill>
                            <a:schemeClr val="lt1"/>
                          </a:solidFill>
                          <a:latin typeface="Calibri"/>
                          <a:ea typeface=""/>
                          <a:cs typeface=""/>
                        </a:defRPr>
                      </a:lvl1pPr>
                      <a:lvl2pPr marL="289339" algn="l" defTabSz="289339" rtl="0" eaLnBrk="1" latinLnBrk="0" hangingPunct="1">
                        <a:defRPr sz="1139" b="1" kern="1200">
                          <a:solidFill>
                            <a:schemeClr val="lt1"/>
                          </a:solidFill>
                          <a:latin typeface="Calibri"/>
                          <a:ea typeface=""/>
                          <a:cs typeface=""/>
                        </a:defRPr>
                      </a:lvl2pPr>
                      <a:lvl3pPr marL="578678" algn="l" defTabSz="289339" rtl="0" eaLnBrk="1" latinLnBrk="0" hangingPunct="1">
                        <a:defRPr sz="1139" b="1" kern="1200">
                          <a:solidFill>
                            <a:schemeClr val="lt1"/>
                          </a:solidFill>
                          <a:latin typeface="Calibri"/>
                          <a:ea typeface=""/>
                          <a:cs typeface=""/>
                        </a:defRPr>
                      </a:lvl3pPr>
                      <a:lvl4pPr marL="868017" algn="l" defTabSz="289339" rtl="0" eaLnBrk="1" latinLnBrk="0" hangingPunct="1">
                        <a:defRPr sz="1139" b="1" kern="1200">
                          <a:solidFill>
                            <a:schemeClr val="lt1"/>
                          </a:solidFill>
                          <a:latin typeface="Calibri"/>
                          <a:ea typeface=""/>
                          <a:cs typeface=""/>
                        </a:defRPr>
                      </a:lvl4pPr>
                      <a:lvl5pPr marL="1157356" algn="l" defTabSz="289339" rtl="0" eaLnBrk="1" latinLnBrk="0" hangingPunct="1">
                        <a:defRPr sz="1139" b="1" kern="1200">
                          <a:solidFill>
                            <a:schemeClr val="lt1"/>
                          </a:solidFill>
                          <a:latin typeface="Calibri"/>
                          <a:ea typeface=""/>
                          <a:cs typeface=""/>
                        </a:defRPr>
                      </a:lvl5pPr>
                      <a:lvl6pPr marL="1446695" algn="l" defTabSz="289339" rtl="0" eaLnBrk="1" latinLnBrk="0" hangingPunct="1">
                        <a:defRPr sz="1139" b="1" kern="1200">
                          <a:solidFill>
                            <a:schemeClr val="lt1"/>
                          </a:solidFill>
                          <a:latin typeface="Calibri"/>
                          <a:ea typeface=""/>
                          <a:cs typeface=""/>
                        </a:defRPr>
                      </a:lvl6pPr>
                      <a:lvl7pPr marL="1736034" algn="l" defTabSz="289339" rtl="0" eaLnBrk="1" latinLnBrk="0" hangingPunct="1">
                        <a:defRPr sz="1139" b="1" kern="1200">
                          <a:solidFill>
                            <a:schemeClr val="lt1"/>
                          </a:solidFill>
                          <a:latin typeface="Calibri"/>
                          <a:ea typeface=""/>
                          <a:cs typeface=""/>
                        </a:defRPr>
                      </a:lvl7pPr>
                      <a:lvl8pPr marL="2025374" algn="l" defTabSz="289339" rtl="0" eaLnBrk="1" latinLnBrk="0" hangingPunct="1">
                        <a:defRPr sz="1139" b="1" kern="1200">
                          <a:solidFill>
                            <a:schemeClr val="lt1"/>
                          </a:solidFill>
                          <a:latin typeface="Calibri"/>
                          <a:ea typeface=""/>
                          <a:cs typeface=""/>
                        </a:defRPr>
                      </a:lvl8pPr>
                      <a:lvl9pPr marL="2314712" algn="l" defTabSz="289339" rtl="0" eaLnBrk="1" latinLnBrk="0" hangingPunct="1">
                        <a:defRPr sz="1139" b="1" kern="1200">
                          <a:solidFill>
                            <a:schemeClr val="lt1"/>
                          </a:solidFill>
                          <a:latin typeface="Calibri"/>
                          <a:ea typeface=""/>
                          <a:cs typeface=""/>
                        </a:defRPr>
                      </a:lvl9pPr>
                    </a:lstStyle>
                    <a:p>
                      <a:pPr algn="ctr"/>
                      <a:r>
                        <a:rPr lang="en-US" sz="1200" b="1" i="1">
                          <a:solidFill>
                            <a:srgbClr val="BE2BBB"/>
                          </a:solidFill>
                          <a:latin typeface="Arial" charset="0"/>
                          <a:ea typeface="Arial" charset="0"/>
                          <a:cs typeface="Arial" charset="0"/>
                        </a:rPr>
                        <a:t>P</a:t>
                      </a:r>
                      <a:r>
                        <a:rPr lang="en-US" sz="1200" b="1" i="0">
                          <a:solidFill>
                            <a:srgbClr val="BE2BBB"/>
                          </a:solidFill>
                          <a:latin typeface="Arial" charset="0"/>
                          <a:ea typeface="Arial" charset="0"/>
                          <a:cs typeface="Arial" charset="0"/>
                        </a:rPr>
                        <a:t> value</a:t>
                      </a:r>
                    </a:p>
                  </a:txBody>
                  <a:tcPr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66192">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marL="0" indent="0">
                        <a:buFont typeface="Arial" panose="020B0604020202020204" pitchFamily="34" charset="0"/>
                        <a:buNone/>
                      </a:pPr>
                      <a:r>
                        <a:rPr lang="en-US" sz="1200" b="1" i="0">
                          <a:latin typeface="Arial" charset="0"/>
                          <a:ea typeface="Arial" charset="0"/>
                          <a:cs typeface="Arial" charset="0"/>
                        </a:rPr>
                        <a:t>CR</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48%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59%</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66192">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marL="0" indent="0">
                        <a:buFont typeface="Arial" panose="020B0604020202020204" pitchFamily="34" charset="0"/>
                        <a:buNone/>
                      </a:pPr>
                      <a:r>
                        <a:rPr lang="en-US" sz="1200" b="1" i="0">
                          <a:latin typeface="Arial" charset="0"/>
                          <a:ea typeface="Arial" charset="0"/>
                          <a:cs typeface="Arial" charset="0"/>
                        </a:rPr>
                        <a:t> VGPR</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29%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29%</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004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66192">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marL="0" indent="0">
                        <a:buFont typeface="Arial" panose="020B0604020202020204" pitchFamily="34" charset="0"/>
                        <a:buNone/>
                      </a:pPr>
                      <a:r>
                        <a:rPr lang="en-US" sz="1200" b="1" i="0">
                          <a:latin typeface="Arial" charset="0"/>
                          <a:ea typeface="Arial" charset="0"/>
                          <a:cs typeface="Arial" charset="0"/>
                        </a:rPr>
                        <a:t> PR</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20%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11%</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69632">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r>
                        <a:rPr lang="en-US" sz="1100" b="1" i="0">
                          <a:solidFill>
                            <a:srgbClr val="A69F9F"/>
                          </a:solidFill>
                          <a:latin typeface="Arial" charset="0"/>
                          <a:ea typeface="Arial" charset="0"/>
                          <a:cs typeface="Arial" charset="0"/>
                        </a:rPr>
                        <a:t> MRD neg</a:t>
                      </a:r>
                      <a:r>
                        <a:rPr lang="en-US" sz="1100" b="1" i="0" baseline="0">
                          <a:solidFill>
                            <a:srgbClr val="A69F9F"/>
                          </a:solidFill>
                          <a:latin typeface="Arial" charset="0"/>
                          <a:ea typeface="Arial" charset="0"/>
                          <a:cs typeface="Arial" charset="0"/>
                        </a:rPr>
                        <a:t> by</a:t>
                      </a:r>
                      <a:r>
                        <a:rPr lang="en-US" sz="1100" b="1" i="0">
                          <a:solidFill>
                            <a:srgbClr val="A69F9F"/>
                          </a:solidFill>
                          <a:latin typeface="Arial" charset="0"/>
                          <a:ea typeface="Arial" charset="0"/>
                          <a:cs typeface="Arial" charset="0"/>
                        </a:rPr>
                        <a:t> FCM , n (%)</a:t>
                      </a:r>
                    </a:p>
                  </a:txBody>
                  <a:tcPr anchor="ctr">
                    <a:lnT w="28575" cap="flat" cmpd="sng" algn="ctr">
                      <a:solidFill>
                        <a:schemeClr val="tx1"/>
                      </a:solidFill>
                      <a:prstDash val="solid"/>
                      <a:round/>
                      <a:headEnd type="none" w="med" len="med"/>
                      <a:tailEnd type="none" w="med" len="med"/>
                    </a:lnT>
                    <a:solidFill>
                      <a:srgbClr val="FFECCD"/>
                    </a:solidFill>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100" b="1" i="0">
                          <a:solidFill>
                            <a:srgbClr val="A69F9F"/>
                          </a:solidFill>
                          <a:latin typeface="Arial" charset="0"/>
                          <a:ea typeface="Arial" charset="0"/>
                          <a:cs typeface="Arial" charset="0"/>
                        </a:rPr>
                        <a:t>171/265 (65%)</a:t>
                      </a:r>
                    </a:p>
                  </a:txBody>
                  <a:tcPr anchor="ctr">
                    <a:lnT w="28575" cap="flat" cmpd="sng" algn="ctr">
                      <a:solidFill>
                        <a:schemeClr val="tx1"/>
                      </a:solidFill>
                      <a:prstDash val="solid"/>
                      <a:round/>
                      <a:headEnd type="none" w="med" len="med"/>
                      <a:tailEnd type="none" w="med" len="med"/>
                    </a:lnT>
                    <a:solidFill>
                      <a:srgbClr val="FFECCD"/>
                    </a:solidFill>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100" b="1" i="0">
                          <a:solidFill>
                            <a:srgbClr val="A69F9F"/>
                          </a:solidFill>
                          <a:latin typeface="Arial" charset="0"/>
                          <a:ea typeface="Arial" charset="0"/>
                          <a:cs typeface="Arial" charset="0"/>
                        </a:rPr>
                        <a:t>220/278 (80%)</a:t>
                      </a:r>
                    </a:p>
                  </a:txBody>
                  <a:tcPr anchor="ctr">
                    <a:lnT w="28575" cap="flat" cmpd="sng" algn="ctr">
                      <a:solidFill>
                        <a:schemeClr val="tx1"/>
                      </a:solidFill>
                      <a:prstDash val="solid"/>
                      <a:round/>
                      <a:headEnd type="none" w="med" len="med"/>
                      <a:tailEnd type="none" w="med" len="med"/>
                    </a:lnT>
                    <a:solidFill>
                      <a:srgbClr val="FFECCD"/>
                    </a:solidFill>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100" b="1" i="0">
                          <a:solidFill>
                            <a:srgbClr val="A69F9F"/>
                          </a:solidFill>
                          <a:latin typeface="Arial" charset="0"/>
                          <a:ea typeface="Arial" charset="0"/>
                          <a:cs typeface="Arial" charset="0"/>
                        </a:rPr>
                        <a:t>&lt;.001</a:t>
                      </a:r>
                    </a:p>
                  </a:txBody>
                  <a:tcPr anchor="ctr">
                    <a:lnT w="28575" cap="flat" cmpd="sng" algn="ctr">
                      <a:solidFill>
                        <a:schemeClr val="tx1"/>
                      </a:solidFill>
                      <a:prstDash val="solid"/>
                      <a:round/>
                      <a:headEnd type="none" w="med" len="med"/>
                      <a:tailEnd type="none" w="med" len="med"/>
                    </a:lnT>
                    <a:solidFill>
                      <a:srgbClr val="FFECCD"/>
                    </a:solidFill>
                  </a:tcPr>
                </a:tc>
                <a:extLst>
                  <a:ext uri="{0D108BD9-81ED-4DB2-BD59-A6C34878D82A}">
                    <a16:rowId xmlns:a16="http://schemas.microsoft.com/office/drawing/2014/main" val="10004"/>
                  </a:ext>
                </a:extLst>
              </a:tr>
            </a:tbl>
          </a:graphicData>
        </a:graphic>
      </p:graphicFrame>
      <p:sp>
        <p:nvSpPr>
          <p:cNvPr id="30" name="Cerrar llave 29"/>
          <p:cNvSpPr/>
          <p:nvPr/>
        </p:nvSpPr>
        <p:spPr>
          <a:xfrm>
            <a:off x="7306054" y="2013974"/>
            <a:ext cx="364541" cy="1031375"/>
          </a:xfrm>
          <a:prstGeom prst="rightBrace">
            <a:avLst/>
          </a:pr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771525" rtl="0" eaLnBrk="0" fontAlgn="base" latinLnBrk="0" hangingPunct="0">
              <a:lnSpc>
                <a:spcPct val="100000"/>
              </a:lnSpc>
              <a:spcBef>
                <a:spcPct val="20000"/>
              </a:spcBef>
              <a:spcAft>
                <a:spcPct val="0"/>
              </a:spcAft>
              <a:buClrTx/>
              <a:buSzTx/>
              <a:buFontTx/>
              <a:buNone/>
              <a:tabLst/>
              <a:defRPr/>
            </a:pPr>
            <a:endParaRPr kumimoji="0" lang="es-ES_tradnl" sz="2250" b="1" i="0" u="none" strike="noStrike" kern="1200" cap="none" spc="0" normalizeH="0" baseline="0" noProof="0">
              <a:ln>
                <a:noFill/>
              </a:ln>
              <a:solidFill>
                <a:srgbClr val="FFFFFF"/>
              </a:solidFill>
              <a:effectLst/>
              <a:uLnTx/>
              <a:uFillTx/>
              <a:latin typeface="Arial"/>
              <a:ea typeface="+mn-ea"/>
              <a:cs typeface="+mn-cs"/>
            </a:endParaRPr>
          </a:p>
        </p:txBody>
      </p:sp>
      <p:sp>
        <p:nvSpPr>
          <p:cNvPr id="31" name="CuadroTexto 30"/>
          <p:cNvSpPr txBox="1"/>
          <p:nvPr/>
        </p:nvSpPr>
        <p:spPr>
          <a:xfrm>
            <a:off x="4372679" y="3734762"/>
            <a:ext cx="3905483" cy="455766"/>
          </a:xfrm>
          <a:prstGeom prst="rect">
            <a:avLst/>
          </a:prstGeom>
          <a:noFill/>
        </p:spPr>
        <p:txBody>
          <a:bodyPr wrap="square" rtlCol="0">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s-ES_tradnl" sz="1181" b="1" i="0" u="none" strike="noStrike" kern="1200" cap="none" spc="0" normalizeH="0" baseline="0" noProof="0">
                <a:ln>
                  <a:noFill/>
                </a:ln>
                <a:solidFill>
                  <a:srgbClr val="595454"/>
                </a:solidFill>
                <a:effectLst/>
                <a:uLnTx/>
                <a:uFillTx/>
                <a:latin typeface="Trebuchet MS"/>
                <a:ea typeface="Arial" charset="0"/>
                <a:cs typeface="Arial" charset="0"/>
              </a:rPr>
              <a:t>MRD-negative was the strongest prognostic factor for PFS in the multivariate analysis </a:t>
            </a:r>
          </a:p>
        </p:txBody>
      </p:sp>
      <p:sp>
        <p:nvSpPr>
          <p:cNvPr id="33" name="Rectángulo 32"/>
          <p:cNvSpPr/>
          <p:nvPr/>
        </p:nvSpPr>
        <p:spPr>
          <a:xfrm>
            <a:off x="828893" y="1353195"/>
            <a:ext cx="780984" cy="300082"/>
          </a:xfrm>
          <a:prstGeom prst="rect">
            <a:avLst/>
          </a:prstGeom>
        </p:spPr>
        <p:txBody>
          <a:bodyPr wrap="none">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Arial" charset="0"/>
                <a:ea typeface="Arial" charset="0"/>
                <a:cs typeface="Arial" charset="0"/>
              </a:rPr>
              <a:t>750 pts</a:t>
            </a:r>
          </a:p>
        </p:txBody>
      </p:sp>
      <p:sp>
        <p:nvSpPr>
          <p:cNvPr id="35" name="Rectángulo 34"/>
          <p:cNvSpPr/>
          <p:nvPr/>
        </p:nvSpPr>
        <p:spPr>
          <a:xfrm>
            <a:off x="5128593" y="4787071"/>
            <a:ext cx="3857625" cy="246221"/>
          </a:xfrm>
          <a:prstGeom prst="rect">
            <a:avLst/>
          </a:prstGeom>
        </p:spPr>
        <p:txBody>
          <a:bodyPr>
            <a:spAutoFit/>
          </a:bodyPr>
          <a:lstStyle/>
          <a:p>
            <a:pPr marL="0" marR="0" lvl="0" indent="0" algn="r" defTabSz="771525" rtl="0" eaLnBrk="1" fontAlgn="auto" latinLnBrk="0" hangingPunct="1">
              <a:lnSpc>
                <a:spcPct val="100000"/>
              </a:lnSpc>
              <a:spcBef>
                <a:spcPts val="0"/>
              </a:spcBef>
              <a:spcAft>
                <a:spcPts val="0"/>
              </a:spcAft>
              <a:buClrTx/>
              <a:buSzTx/>
              <a:buFontTx/>
              <a:buNone/>
              <a:tabLst/>
              <a:defRPr/>
            </a:pP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 Attal M, et al. </a:t>
            </a:r>
            <a:r>
              <a:rPr kumimoji="0" lang="es-ES" sz="1000" b="0" i="1" u="none" strike="noStrike" kern="0" cap="none" spc="0" normalizeH="0" baseline="0" noProof="0">
                <a:ln>
                  <a:noFill/>
                </a:ln>
                <a:solidFill>
                  <a:srgbClr val="000020"/>
                </a:solidFill>
                <a:effectLst/>
                <a:uLnTx/>
                <a:uFillTx/>
                <a:latin typeface="Trebuchet MS"/>
                <a:ea typeface="MS PGothic" pitchFamily="34" charset="-128"/>
                <a:cs typeface="+mn-cs"/>
              </a:rPr>
              <a:t>N Engl J Med</a:t>
            </a: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 2017;376:1311-1320.</a:t>
            </a:r>
            <a:endParaRPr kumimoji="0" lang="fr-FR" sz="1000" b="0" i="0" u="none" strike="noStrike" kern="1200" cap="none" spc="0" normalizeH="0" baseline="0" noProof="0">
              <a:ln>
                <a:noFill/>
              </a:ln>
              <a:solidFill>
                <a:srgbClr val="000020"/>
              </a:solidFill>
              <a:effectLst/>
              <a:uLnTx/>
              <a:uFillTx/>
              <a:latin typeface="Trebuchet MS"/>
              <a:ea typeface="ＭＳ Ｐゴシック" charset="0"/>
              <a:cs typeface="+mn-cs"/>
            </a:endParaRPr>
          </a:p>
        </p:txBody>
      </p:sp>
      <p:sp>
        <p:nvSpPr>
          <p:cNvPr id="24" name="Text Box 4">
            <a:extLst>
              <a:ext uri="{FF2B5EF4-FFF2-40B4-BE49-F238E27FC236}">
                <a16:creationId xmlns:a16="http://schemas.microsoft.com/office/drawing/2014/main" id="{78193656-01E1-4A34-8622-6E1B39C7E128}"/>
              </a:ext>
            </a:extLst>
          </p:cNvPr>
          <p:cNvSpPr txBox="1">
            <a:spLocks noChangeArrowheads="1"/>
          </p:cNvSpPr>
          <p:nvPr/>
        </p:nvSpPr>
        <p:spPr bwMode="auto">
          <a:xfrm>
            <a:off x="1288943" y="548795"/>
            <a:ext cx="6444600" cy="326115"/>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1519" b="1" i="0" u="none" strike="noStrike" kern="1200" cap="none" spc="0" normalizeH="0" baseline="0" noProof="0">
                <a:ln>
                  <a:noFill/>
                </a:ln>
                <a:solidFill>
                  <a:srgbClr val="BE2BBB"/>
                </a:solidFill>
                <a:effectLst/>
                <a:uLnTx/>
                <a:uFillTx/>
                <a:latin typeface="Trebuchet MS"/>
                <a:ea typeface="ＭＳ Ｐゴシック" charset="0"/>
                <a:cs typeface="+mn-cs"/>
              </a:rPr>
              <a:t>Is it possible to reserve the ASCT at relapse?</a:t>
            </a:r>
          </a:p>
        </p:txBody>
      </p:sp>
    </p:spTree>
    <p:extLst>
      <p:ext uri="{BB962C8B-B14F-4D97-AF65-F5344CB8AC3E}">
        <p14:creationId xmlns:p14="http://schemas.microsoft.com/office/powerpoint/2010/main" val="186559381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4"/>
          <p:cNvSpPr txBox="1">
            <a:spLocks noChangeArrowheads="1"/>
          </p:cNvSpPr>
          <p:nvPr/>
        </p:nvSpPr>
        <p:spPr bwMode="auto">
          <a:xfrm>
            <a:off x="-84486" y="195266"/>
            <a:ext cx="7715250" cy="403957"/>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2025" b="1" i="0" u="none" strike="noStrike" kern="1200" cap="none" spc="0" normalizeH="0" baseline="0" noProof="0">
                <a:ln>
                  <a:noFill/>
                </a:ln>
                <a:solidFill>
                  <a:srgbClr val="595454"/>
                </a:solidFill>
                <a:effectLst/>
                <a:uLnTx/>
                <a:uFillTx/>
                <a:latin typeface="Trebuchet MS"/>
                <a:ea typeface="ＭＳ Ｐゴシック" charset="0"/>
                <a:cs typeface="+mn-cs"/>
              </a:rPr>
              <a:t>Management of MM in the transplant-candidate ND patient</a:t>
            </a:r>
          </a:p>
        </p:txBody>
      </p:sp>
      <p:sp>
        <p:nvSpPr>
          <p:cNvPr id="26" name="Text Box 4"/>
          <p:cNvSpPr txBox="1">
            <a:spLocks noChangeArrowheads="1"/>
          </p:cNvSpPr>
          <p:nvPr/>
        </p:nvSpPr>
        <p:spPr bwMode="auto">
          <a:xfrm>
            <a:off x="1288943" y="548795"/>
            <a:ext cx="6444600" cy="326115"/>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1519" b="1" i="0" u="none" strike="noStrike" kern="1200" cap="none" spc="0" normalizeH="0" baseline="0" noProof="0">
                <a:ln>
                  <a:noFill/>
                </a:ln>
                <a:solidFill>
                  <a:srgbClr val="BE2BBB"/>
                </a:solidFill>
                <a:effectLst/>
                <a:uLnTx/>
                <a:uFillTx/>
                <a:latin typeface="Trebuchet MS"/>
                <a:ea typeface="ＭＳ Ｐゴシック" charset="0"/>
                <a:cs typeface="+mn-cs"/>
              </a:rPr>
              <a:t>Is it possible to reserve the ASCT at relapse?</a:t>
            </a:r>
          </a:p>
        </p:txBody>
      </p:sp>
      <p:sp>
        <p:nvSpPr>
          <p:cNvPr id="10" name="Rectángulo 9"/>
          <p:cNvSpPr/>
          <p:nvPr/>
        </p:nvSpPr>
        <p:spPr>
          <a:xfrm>
            <a:off x="5120641" y="4787476"/>
            <a:ext cx="3857625" cy="246221"/>
          </a:xfrm>
          <a:prstGeom prst="rect">
            <a:avLst/>
          </a:prstGeom>
        </p:spPr>
        <p:txBody>
          <a:bodyPr>
            <a:spAutoFit/>
          </a:bodyPr>
          <a:lstStyle/>
          <a:p>
            <a:pPr marL="0" marR="0" lvl="0" indent="0" algn="r" defTabSz="771525" rtl="0" eaLnBrk="1" fontAlgn="auto" latinLnBrk="0" hangingPunct="1">
              <a:lnSpc>
                <a:spcPct val="100000"/>
              </a:lnSpc>
              <a:spcBef>
                <a:spcPts val="0"/>
              </a:spcBef>
              <a:spcAft>
                <a:spcPts val="0"/>
              </a:spcAft>
              <a:buClrTx/>
              <a:buSzTx/>
              <a:buFontTx/>
              <a:buNone/>
              <a:tabLst/>
              <a:defRPr/>
            </a:pP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Perrot A, et al. ASH 2020. Abstract 143.</a:t>
            </a:r>
            <a:endParaRPr kumimoji="0" lang="fr-FR" sz="1000" b="0" i="0" u="none" strike="noStrike" kern="1200" cap="none" spc="0" normalizeH="0" baseline="0" noProof="0">
              <a:ln>
                <a:noFill/>
              </a:ln>
              <a:solidFill>
                <a:srgbClr val="000020"/>
              </a:solidFill>
              <a:effectLst/>
              <a:uLnTx/>
              <a:uFillTx/>
              <a:latin typeface="Trebuchet MS"/>
              <a:ea typeface="ＭＳ Ｐゴシック" charset="0"/>
              <a:cs typeface="+mn-cs"/>
            </a:endParaRPr>
          </a:p>
        </p:txBody>
      </p:sp>
      <p:pic>
        <p:nvPicPr>
          <p:cNvPr id="4" name="Imagen 3">
            <a:extLst>
              <a:ext uri="{FF2B5EF4-FFF2-40B4-BE49-F238E27FC236}">
                <a16:creationId xmlns:a16="http://schemas.microsoft.com/office/drawing/2014/main" id="{41E7A2A2-15C3-5A40-805F-C641515312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55474"/>
          <a:stretch/>
        </p:blipFill>
        <p:spPr>
          <a:xfrm>
            <a:off x="763325" y="1272252"/>
            <a:ext cx="3324456" cy="3032429"/>
          </a:xfrm>
          <a:prstGeom prst="rect">
            <a:avLst/>
          </a:prstGeom>
          <a:solidFill>
            <a:schemeClr val="bg1"/>
          </a:solidFill>
        </p:spPr>
      </p:pic>
      <p:graphicFrame>
        <p:nvGraphicFramePr>
          <p:cNvPr id="7" name="Tabla 6">
            <a:extLst>
              <a:ext uri="{FF2B5EF4-FFF2-40B4-BE49-F238E27FC236}">
                <a16:creationId xmlns:a16="http://schemas.microsoft.com/office/drawing/2014/main" id="{0F2EE99C-982A-4047-968B-3B14EE855EE4}"/>
              </a:ext>
            </a:extLst>
          </p:cNvPr>
          <p:cNvGraphicFramePr>
            <a:graphicFrameLocks noGrp="1"/>
          </p:cNvGraphicFramePr>
          <p:nvPr/>
        </p:nvGraphicFramePr>
        <p:xfrm>
          <a:off x="3167844" y="995766"/>
          <a:ext cx="2465338" cy="244792"/>
        </p:xfrm>
        <a:graphic>
          <a:graphicData uri="http://schemas.openxmlformats.org/drawingml/2006/table">
            <a:tbl>
              <a:tblPr/>
              <a:tblGrid>
                <a:gridCol w="1325241">
                  <a:extLst>
                    <a:ext uri="{9D8B030D-6E8A-4147-A177-3AD203B41FA5}">
                      <a16:colId xmlns:a16="http://schemas.microsoft.com/office/drawing/2014/main" val="3418455974"/>
                    </a:ext>
                  </a:extLst>
                </a:gridCol>
                <a:gridCol w="1140097">
                  <a:extLst>
                    <a:ext uri="{9D8B030D-6E8A-4147-A177-3AD203B41FA5}">
                      <a16:colId xmlns:a16="http://schemas.microsoft.com/office/drawing/2014/main" val="1067392259"/>
                    </a:ext>
                  </a:extLst>
                </a:gridCol>
              </a:tblGrid>
              <a:tr h="237173">
                <a:tc>
                  <a:txBody>
                    <a:bodyPr/>
                    <a:lstStyle/>
                    <a:p>
                      <a:pPr algn="l" fontAlgn="base"/>
                      <a:r>
                        <a:rPr lang="en-US" sz="1100" b="0" i="0">
                          <a:solidFill>
                            <a:srgbClr val="595454"/>
                          </a:solidFill>
                          <a:effectLst/>
                          <a:latin typeface="+mn-lt"/>
                        </a:rPr>
                        <a:t>Median follow-up</a:t>
                      </a:r>
                      <a:r>
                        <a:rPr lang="en-US" sz="1100" b="1" i="0">
                          <a:solidFill>
                            <a:srgbClr val="595454"/>
                          </a:solidFill>
                          <a:effectLst/>
                          <a:latin typeface="+mn-lt"/>
                        </a:rPr>
                        <a:t>​</a:t>
                      </a:r>
                    </a:p>
                  </a:txBody>
                  <a:tcPr marL="77153" marR="77153" marT="38576" marB="38576">
                    <a:lnL w="14602" cap="flat" cmpd="sng" algn="ctr">
                      <a:solidFill>
                        <a:srgbClr val="FFFFFF"/>
                      </a:solidFill>
                      <a:prstDash val="solid"/>
                      <a:round/>
                      <a:headEnd type="none" w="med" len="med"/>
                      <a:tailEnd type="none" w="med" len="med"/>
                    </a:lnL>
                    <a:lnR w="14602" cap="flat" cmpd="sng" algn="ctr">
                      <a:solidFill>
                        <a:srgbClr val="FFFFFF"/>
                      </a:solidFill>
                      <a:prstDash val="solid"/>
                      <a:round/>
                      <a:headEnd type="none" w="med" len="med"/>
                      <a:tailEnd type="none" w="med" len="med"/>
                    </a:lnR>
                    <a:lnT w="14602" cap="flat" cmpd="sng" algn="ctr">
                      <a:solidFill>
                        <a:srgbClr val="FFFFFF"/>
                      </a:solidFill>
                      <a:prstDash val="solid"/>
                      <a:round/>
                      <a:headEnd type="none" w="med" len="med"/>
                      <a:tailEnd type="none" w="med" len="med"/>
                    </a:lnT>
                    <a:lnB w="43815" cap="flat" cmpd="sng" algn="ctr">
                      <a:solidFill>
                        <a:srgbClr val="FFFFFF"/>
                      </a:solidFill>
                      <a:prstDash val="solid"/>
                      <a:round/>
                      <a:headEnd type="none" w="med" len="med"/>
                      <a:tailEnd type="none" w="med" len="med"/>
                    </a:lnB>
                    <a:noFill/>
                  </a:tcPr>
                </a:tc>
                <a:tc>
                  <a:txBody>
                    <a:bodyPr/>
                    <a:lstStyle/>
                    <a:p>
                      <a:pPr algn="l" fontAlgn="base"/>
                      <a:r>
                        <a:rPr lang="en-US" sz="1100" b="0" i="0">
                          <a:solidFill>
                            <a:srgbClr val="595454"/>
                          </a:solidFill>
                          <a:effectLst/>
                          <a:latin typeface="+mn-lt"/>
                        </a:rPr>
                        <a:t>89.8 months</a:t>
                      </a:r>
                      <a:r>
                        <a:rPr lang="en-US" sz="1100" b="1" i="0">
                          <a:solidFill>
                            <a:srgbClr val="595454"/>
                          </a:solidFill>
                          <a:effectLst/>
                          <a:latin typeface="+mn-lt"/>
                        </a:rPr>
                        <a:t>​</a:t>
                      </a:r>
                    </a:p>
                  </a:txBody>
                  <a:tcPr marL="77153" marR="77153" marT="38576" marB="38576">
                    <a:lnL w="14602" cap="flat" cmpd="sng" algn="ctr">
                      <a:solidFill>
                        <a:srgbClr val="FFFFFF"/>
                      </a:solidFill>
                      <a:prstDash val="solid"/>
                      <a:round/>
                      <a:headEnd type="none" w="med" len="med"/>
                      <a:tailEnd type="none" w="med" len="med"/>
                    </a:lnL>
                    <a:lnR w="14602" cap="flat" cmpd="sng" algn="ctr">
                      <a:solidFill>
                        <a:srgbClr val="FFFFFF"/>
                      </a:solidFill>
                      <a:prstDash val="solid"/>
                      <a:round/>
                      <a:headEnd type="none" w="med" len="med"/>
                      <a:tailEnd type="none" w="med" len="med"/>
                    </a:lnR>
                    <a:lnT w="14602" cap="flat" cmpd="sng" algn="ctr">
                      <a:solidFill>
                        <a:srgbClr val="FFFFFF"/>
                      </a:solidFill>
                      <a:prstDash val="solid"/>
                      <a:round/>
                      <a:headEnd type="none" w="med" len="med"/>
                      <a:tailEnd type="none" w="med" len="med"/>
                    </a:lnT>
                    <a:lnB w="43815"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048522482"/>
                  </a:ext>
                </a:extLst>
              </a:tr>
            </a:tbl>
          </a:graphicData>
        </a:graphic>
      </p:graphicFrame>
      <p:pic>
        <p:nvPicPr>
          <p:cNvPr id="196610" name="Picture 2">
            <a:extLst>
              <a:ext uri="{FF2B5EF4-FFF2-40B4-BE49-F238E27FC236}">
                <a16:creationId xmlns:a16="http://schemas.microsoft.com/office/drawing/2014/main" id="{4FB701CE-8113-7A44-B56B-461F26EEC0A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34857" y="1482285"/>
            <a:ext cx="3839522" cy="27096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a 5">
            <a:extLst>
              <a:ext uri="{FF2B5EF4-FFF2-40B4-BE49-F238E27FC236}">
                <a16:creationId xmlns:a16="http://schemas.microsoft.com/office/drawing/2014/main" id="{101B95DD-54A6-974C-ABD6-198DC134B064}"/>
              </a:ext>
            </a:extLst>
          </p:cNvPr>
          <p:cNvGraphicFramePr>
            <a:graphicFrameLocks noGrp="1"/>
          </p:cNvGraphicFramePr>
          <p:nvPr/>
        </p:nvGraphicFramePr>
        <p:xfrm>
          <a:off x="5490103" y="2731836"/>
          <a:ext cx="2423519" cy="265212"/>
        </p:xfrm>
        <a:graphic>
          <a:graphicData uri="http://schemas.openxmlformats.org/drawingml/2006/table">
            <a:tbl>
              <a:tblPr/>
              <a:tblGrid>
                <a:gridCol w="2423519">
                  <a:extLst>
                    <a:ext uri="{9D8B030D-6E8A-4147-A177-3AD203B41FA5}">
                      <a16:colId xmlns:a16="http://schemas.microsoft.com/office/drawing/2014/main" val="522485430"/>
                    </a:ext>
                  </a:extLst>
                </a:gridCol>
              </a:tblGrid>
              <a:tr h="265212">
                <a:tc>
                  <a:txBody>
                    <a:bodyPr/>
                    <a:lstStyle/>
                    <a:p>
                      <a:pPr algn="l" fontAlgn="base"/>
                      <a:r>
                        <a:rPr lang="en-US" sz="1100" b="1" i="0">
                          <a:solidFill>
                            <a:srgbClr val="FFFFFF"/>
                          </a:solidFill>
                          <a:effectLst/>
                          <a:latin typeface="Calibri" panose="020F0502020204030204" pitchFamily="34" charset="0"/>
                        </a:rPr>
                        <a:t>8-yr OS 62.2% (Transplantation, arm B)​</a:t>
                      </a:r>
                      <a:endParaRPr lang="en-US" sz="1100" b="1" i="0">
                        <a:solidFill>
                          <a:srgbClr val="FFFFFF"/>
                        </a:solidFill>
                        <a:effectLst/>
                      </a:endParaRPr>
                    </a:p>
                  </a:txBody>
                  <a:tcPr marL="77153" marR="77153" marT="38576" marB="38576" anchor="ctr">
                    <a:lnL w="14602" cap="flat" cmpd="sng" algn="ctr">
                      <a:solidFill>
                        <a:srgbClr val="FFFFFF"/>
                      </a:solidFill>
                      <a:prstDash val="solid"/>
                      <a:round/>
                      <a:headEnd type="none" w="med" len="med"/>
                      <a:tailEnd type="none" w="med" len="med"/>
                    </a:lnL>
                    <a:lnR w="14602" cap="flat" cmpd="sng" algn="ctr">
                      <a:solidFill>
                        <a:srgbClr val="FFFFFF"/>
                      </a:solidFill>
                      <a:prstDash val="solid"/>
                      <a:round/>
                      <a:headEnd type="none" w="med" len="med"/>
                      <a:tailEnd type="none" w="med" len="med"/>
                    </a:lnR>
                    <a:lnT w="14602" cap="flat" cmpd="sng" algn="ctr">
                      <a:solidFill>
                        <a:srgbClr val="FFFFFF"/>
                      </a:solidFill>
                      <a:prstDash val="solid"/>
                      <a:round/>
                      <a:headEnd type="none" w="med" len="med"/>
                      <a:tailEnd type="none" w="med" len="med"/>
                    </a:lnT>
                    <a:lnB w="43815" cap="flat" cmpd="sng" algn="ctr">
                      <a:solidFill>
                        <a:srgbClr val="FFFFFF"/>
                      </a:solidFill>
                      <a:prstDash val="solid"/>
                      <a:round/>
                      <a:headEnd type="none" w="med" len="med"/>
                      <a:tailEnd type="none" w="med" len="med"/>
                    </a:lnB>
                    <a:solidFill>
                      <a:srgbClr val="CD113B"/>
                    </a:solidFill>
                  </a:tcPr>
                </a:tc>
                <a:extLst>
                  <a:ext uri="{0D108BD9-81ED-4DB2-BD59-A6C34878D82A}">
                    <a16:rowId xmlns:a16="http://schemas.microsoft.com/office/drawing/2014/main" val="49795369"/>
                  </a:ext>
                </a:extLst>
              </a:tr>
            </a:tbl>
          </a:graphicData>
        </a:graphic>
      </p:graphicFrame>
      <p:graphicFrame>
        <p:nvGraphicFramePr>
          <p:cNvPr id="5" name="Tabla 4">
            <a:extLst>
              <a:ext uri="{FF2B5EF4-FFF2-40B4-BE49-F238E27FC236}">
                <a16:creationId xmlns:a16="http://schemas.microsoft.com/office/drawing/2014/main" id="{B6444ECB-FA33-6849-8516-A8CFAFE53099}"/>
              </a:ext>
            </a:extLst>
          </p:cNvPr>
          <p:cNvGraphicFramePr>
            <a:graphicFrameLocks noGrp="1"/>
          </p:cNvGraphicFramePr>
          <p:nvPr/>
        </p:nvGraphicFramePr>
        <p:xfrm>
          <a:off x="5490101" y="2466624"/>
          <a:ext cx="2423520" cy="265212"/>
        </p:xfrm>
        <a:graphic>
          <a:graphicData uri="http://schemas.openxmlformats.org/drawingml/2006/table">
            <a:tbl>
              <a:tblPr/>
              <a:tblGrid>
                <a:gridCol w="2423520">
                  <a:extLst>
                    <a:ext uri="{9D8B030D-6E8A-4147-A177-3AD203B41FA5}">
                      <a16:colId xmlns:a16="http://schemas.microsoft.com/office/drawing/2014/main" val="494289623"/>
                    </a:ext>
                  </a:extLst>
                </a:gridCol>
              </a:tblGrid>
              <a:tr h="265212">
                <a:tc>
                  <a:txBody>
                    <a:bodyPr/>
                    <a:lstStyle/>
                    <a:p>
                      <a:pPr algn="l" fontAlgn="base"/>
                      <a:r>
                        <a:rPr lang="en-US" sz="1100" b="1" i="0">
                          <a:solidFill>
                            <a:srgbClr val="FFFFFF"/>
                          </a:solidFill>
                          <a:effectLst/>
                          <a:latin typeface="Calibri" panose="020F0502020204030204" pitchFamily="34" charset="0"/>
                        </a:rPr>
                        <a:t>8-yr OS 60.2% (RVD alone, arm A)​</a:t>
                      </a:r>
                      <a:endParaRPr lang="en-US" sz="1100" b="1" i="0">
                        <a:solidFill>
                          <a:srgbClr val="FFFFFF"/>
                        </a:solidFill>
                        <a:effectLst/>
                      </a:endParaRPr>
                    </a:p>
                  </a:txBody>
                  <a:tcPr marL="77153" marR="77153" marT="38576" marB="38576" anchor="ctr">
                    <a:lnL w="14602" cap="flat" cmpd="sng" algn="ctr">
                      <a:solidFill>
                        <a:srgbClr val="FFFFFF"/>
                      </a:solidFill>
                      <a:prstDash val="solid"/>
                      <a:round/>
                      <a:headEnd type="none" w="med" len="med"/>
                      <a:tailEnd type="none" w="med" len="med"/>
                    </a:lnL>
                    <a:lnR w="14602" cap="flat" cmpd="sng" algn="ctr">
                      <a:solidFill>
                        <a:srgbClr val="FFFFFF"/>
                      </a:solidFill>
                      <a:prstDash val="solid"/>
                      <a:round/>
                      <a:headEnd type="none" w="med" len="med"/>
                      <a:tailEnd type="none" w="med" len="med"/>
                    </a:lnR>
                    <a:lnT w="14602" cap="flat" cmpd="sng" algn="ctr">
                      <a:solidFill>
                        <a:srgbClr val="FFFFFF"/>
                      </a:solidFill>
                      <a:prstDash val="solid"/>
                      <a:round/>
                      <a:headEnd type="none" w="med" len="med"/>
                      <a:tailEnd type="none" w="med" len="med"/>
                    </a:lnT>
                    <a:lnB w="43815" cap="flat" cmpd="sng" algn="ctr">
                      <a:solidFill>
                        <a:srgbClr val="FFFFFF"/>
                      </a:solidFill>
                      <a:prstDash val="solid"/>
                      <a:round/>
                      <a:headEnd type="none" w="med" len="med"/>
                      <a:tailEnd type="none" w="med" len="med"/>
                    </a:lnB>
                    <a:solidFill>
                      <a:srgbClr val="4F81BD"/>
                    </a:solidFill>
                  </a:tcPr>
                </a:tc>
                <a:extLst>
                  <a:ext uri="{0D108BD9-81ED-4DB2-BD59-A6C34878D82A}">
                    <a16:rowId xmlns:a16="http://schemas.microsoft.com/office/drawing/2014/main" val="1775448017"/>
                  </a:ext>
                </a:extLst>
              </a:tr>
            </a:tbl>
          </a:graphicData>
        </a:graphic>
      </p:graphicFrame>
      <p:graphicFrame>
        <p:nvGraphicFramePr>
          <p:cNvPr id="3" name="Tabla 2">
            <a:extLst>
              <a:ext uri="{FF2B5EF4-FFF2-40B4-BE49-F238E27FC236}">
                <a16:creationId xmlns:a16="http://schemas.microsoft.com/office/drawing/2014/main" id="{AA53A5B8-1A8A-AC42-9626-C1AC7B8C3403}"/>
              </a:ext>
            </a:extLst>
          </p:cNvPr>
          <p:cNvGraphicFramePr>
            <a:graphicFrameLocks noGrp="1"/>
          </p:cNvGraphicFramePr>
          <p:nvPr/>
        </p:nvGraphicFramePr>
        <p:xfrm>
          <a:off x="4982982" y="3192714"/>
          <a:ext cx="1735869" cy="214312"/>
        </p:xfrm>
        <a:graphic>
          <a:graphicData uri="http://schemas.openxmlformats.org/drawingml/2006/table">
            <a:tbl>
              <a:tblPr/>
              <a:tblGrid>
                <a:gridCol w="741957">
                  <a:extLst>
                    <a:ext uri="{9D8B030D-6E8A-4147-A177-3AD203B41FA5}">
                      <a16:colId xmlns:a16="http://schemas.microsoft.com/office/drawing/2014/main" val="3127486280"/>
                    </a:ext>
                  </a:extLst>
                </a:gridCol>
                <a:gridCol w="993912">
                  <a:extLst>
                    <a:ext uri="{9D8B030D-6E8A-4147-A177-3AD203B41FA5}">
                      <a16:colId xmlns:a16="http://schemas.microsoft.com/office/drawing/2014/main" val="264719694"/>
                    </a:ext>
                  </a:extLst>
                </a:gridCol>
              </a:tblGrid>
              <a:tr h="0">
                <a:tc>
                  <a:txBody>
                    <a:bodyPr/>
                    <a:lstStyle/>
                    <a:p>
                      <a:pPr algn="l" fontAlgn="base"/>
                      <a:r>
                        <a:rPr lang="en-US" sz="900" b="0" i="0">
                          <a:solidFill>
                            <a:srgbClr val="000000"/>
                          </a:solidFill>
                          <a:effectLst/>
                          <a:latin typeface="Calibri" panose="020F0502020204030204" pitchFamily="34" charset="0"/>
                        </a:rPr>
                        <a:t>HR (95% CI)</a:t>
                      </a:r>
                      <a:r>
                        <a:rPr lang="en-US" sz="900" b="1" i="0">
                          <a:solidFill>
                            <a:srgbClr val="FFFFFF"/>
                          </a:solidFill>
                          <a:effectLst/>
                          <a:latin typeface="Calibri" panose="020F0502020204030204" pitchFamily="34" charset="0"/>
                        </a:rPr>
                        <a:t>​</a:t>
                      </a:r>
                      <a:endParaRPr lang="en-US" sz="1100" b="1" i="0">
                        <a:solidFill>
                          <a:srgbClr val="FFFFFF"/>
                        </a:solidFill>
                        <a:effectLst/>
                      </a:endParaRPr>
                    </a:p>
                  </a:txBody>
                  <a:tcPr marL="77153" marR="77153" marT="38576" marB="38576">
                    <a:lnL w="14602" cap="flat" cmpd="sng" algn="ctr">
                      <a:solidFill>
                        <a:srgbClr val="FFFFFF"/>
                      </a:solidFill>
                      <a:prstDash val="solid"/>
                      <a:round/>
                      <a:headEnd type="none" w="med" len="med"/>
                      <a:tailEnd type="none" w="med" len="med"/>
                    </a:lnL>
                    <a:lnR w="14602" cap="flat" cmpd="sng" algn="ctr">
                      <a:solidFill>
                        <a:srgbClr val="FFFFFF"/>
                      </a:solidFill>
                      <a:prstDash val="solid"/>
                      <a:round/>
                      <a:headEnd type="none" w="med" len="med"/>
                      <a:tailEnd type="none" w="med" len="med"/>
                    </a:lnR>
                    <a:lnT w="14602" cap="flat" cmpd="sng" algn="ctr">
                      <a:solidFill>
                        <a:srgbClr val="FFFFFF"/>
                      </a:solidFill>
                      <a:prstDash val="solid"/>
                      <a:round/>
                      <a:headEnd type="none" w="med" len="med"/>
                      <a:tailEnd type="none" w="med" len="med"/>
                    </a:lnT>
                    <a:lnB w="43815" cap="flat" cmpd="sng" algn="ctr">
                      <a:solidFill>
                        <a:srgbClr val="FFFFFF"/>
                      </a:solidFill>
                      <a:prstDash val="solid"/>
                      <a:round/>
                      <a:headEnd type="none" w="med" len="med"/>
                      <a:tailEnd type="none" w="med" len="med"/>
                    </a:lnB>
                    <a:solidFill>
                      <a:srgbClr val="BFBFBF"/>
                    </a:solidFill>
                  </a:tcPr>
                </a:tc>
                <a:tc>
                  <a:txBody>
                    <a:bodyPr/>
                    <a:lstStyle/>
                    <a:p>
                      <a:pPr algn="l" fontAlgn="base"/>
                      <a:r>
                        <a:rPr lang="en-US" sz="900" b="0" i="0">
                          <a:solidFill>
                            <a:srgbClr val="000000"/>
                          </a:solidFill>
                          <a:effectLst/>
                          <a:latin typeface="Calibri" panose="020F0502020204030204" pitchFamily="34" charset="0"/>
                        </a:rPr>
                        <a:t>1.03 [0.8, 1.32]</a:t>
                      </a:r>
                      <a:r>
                        <a:rPr lang="en-US" sz="900" b="1" i="0">
                          <a:solidFill>
                            <a:srgbClr val="FFFFFF"/>
                          </a:solidFill>
                          <a:effectLst/>
                          <a:latin typeface="Calibri" panose="020F0502020204030204" pitchFamily="34" charset="0"/>
                        </a:rPr>
                        <a:t>​</a:t>
                      </a:r>
                      <a:endParaRPr lang="en-US" sz="1100" b="1" i="0">
                        <a:solidFill>
                          <a:srgbClr val="FFFFFF"/>
                        </a:solidFill>
                        <a:effectLst/>
                      </a:endParaRPr>
                    </a:p>
                  </a:txBody>
                  <a:tcPr marL="77153" marR="77153" marT="38576" marB="38576">
                    <a:lnL w="14602" cap="flat" cmpd="sng" algn="ctr">
                      <a:solidFill>
                        <a:srgbClr val="FFFFFF"/>
                      </a:solidFill>
                      <a:prstDash val="solid"/>
                      <a:round/>
                      <a:headEnd type="none" w="med" len="med"/>
                      <a:tailEnd type="none" w="med" len="med"/>
                    </a:lnL>
                    <a:lnR w="14602" cap="flat" cmpd="sng" algn="ctr">
                      <a:solidFill>
                        <a:srgbClr val="FFFFFF"/>
                      </a:solidFill>
                      <a:prstDash val="solid"/>
                      <a:round/>
                      <a:headEnd type="none" w="med" len="med"/>
                      <a:tailEnd type="none" w="med" len="med"/>
                    </a:lnR>
                    <a:lnT w="14602" cap="flat" cmpd="sng" algn="ctr">
                      <a:solidFill>
                        <a:srgbClr val="FFFFFF"/>
                      </a:solidFill>
                      <a:prstDash val="solid"/>
                      <a:round/>
                      <a:headEnd type="none" w="med" len="med"/>
                      <a:tailEnd type="none" w="med" len="med"/>
                    </a:lnT>
                    <a:lnB w="43815" cap="flat" cmpd="sng" algn="ctr">
                      <a:solidFill>
                        <a:srgbClr val="FFFFFF"/>
                      </a:solidFill>
                      <a:prstDash val="solid"/>
                      <a:round/>
                      <a:headEnd type="none" w="med" len="med"/>
                      <a:tailEnd type="none" w="med" len="med"/>
                    </a:lnB>
                    <a:solidFill>
                      <a:srgbClr val="BFBFBF"/>
                    </a:solidFill>
                  </a:tcPr>
                </a:tc>
                <a:extLst>
                  <a:ext uri="{0D108BD9-81ED-4DB2-BD59-A6C34878D82A}">
                    <a16:rowId xmlns:a16="http://schemas.microsoft.com/office/drawing/2014/main" val="1699967814"/>
                  </a:ext>
                </a:extLst>
              </a:tr>
            </a:tbl>
          </a:graphicData>
        </a:graphic>
      </p:graphicFrame>
      <p:sp>
        <p:nvSpPr>
          <p:cNvPr id="9" name="CuadroTexto 8">
            <a:extLst>
              <a:ext uri="{FF2B5EF4-FFF2-40B4-BE49-F238E27FC236}">
                <a16:creationId xmlns:a16="http://schemas.microsoft.com/office/drawing/2014/main" id="{74F88EF8-9232-DF43-B7DF-E67349C0AA4F}"/>
              </a:ext>
            </a:extLst>
          </p:cNvPr>
          <p:cNvSpPr txBox="1"/>
          <p:nvPr/>
        </p:nvSpPr>
        <p:spPr>
          <a:xfrm>
            <a:off x="6137323" y="1518563"/>
            <a:ext cx="434735" cy="300082"/>
          </a:xfrm>
          <a:prstGeom prst="rect">
            <a:avLst/>
          </a:prstGeom>
          <a:noFill/>
        </p:spPr>
        <p:txBody>
          <a:bodyPr wrap="none" rtlCol="0">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s-ES" sz="1350" b="1" i="0" u="none" strike="noStrike" kern="1200" cap="none" spc="0" normalizeH="0" baseline="0" noProof="0">
                <a:ln>
                  <a:noFill/>
                </a:ln>
                <a:solidFill>
                  <a:srgbClr val="00003C"/>
                </a:solidFill>
                <a:effectLst/>
                <a:uLnTx/>
                <a:uFillTx/>
                <a:latin typeface="Arial"/>
                <a:ea typeface="ＭＳ Ｐゴシック" charset="0"/>
                <a:cs typeface="+mn-cs"/>
              </a:rPr>
              <a:t>OS</a:t>
            </a:r>
          </a:p>
        </p:txBody>
      </p:sp>
      <p:sp>
        <p:nvSpPr>
          <p:cNvPr id="16" name="Text Box 4">
            <a:extLst>
              <a:ext uri="{FF2B5EF4-FFF2-40B4-BE49-F238E27FC236}">
                <a16:creationId xmlns:a16="http://schemas.microsoft.com/office/drawing/2014/main" id="{C3B32320-765A-5143-91DC-7B2D0139D171}"/>
              </a:ext>
            </a:extLst>
          </p:cNvPr>
          <p:cNvSpPr txBox="1">
            <a:spLocks noChangeArrowheads="1"/>
          </p:cNvSpPr>
          <p:nvPr/>
        </p:nvSpPr>
        <p:spPr bwMode="auto">
          <a:xfrm>
            <a:off x="1178213" y="4304682"/>
            <a:ext cx="6444600" cy="326115"/>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1519" b="1" i="0" u="none" strike="noStrike" kern="1200" cap="none" spc="0" normalizeH="0" baseline="0" noProof="0">
                <a:ln>
                  <a:noFill/>
                </a:ln>
                <a:solidFill>
                  <a:srgbClr val="595454"/>
                </a:solidFill>
                <a:effectLst/>
                <a:uLnTx/>
                <a:uFillTx/>
                <a:latin typeface="Trebuchet MS"/>
                <a:ea typeface="ＭＳ Ｐゴシック" charset="0"/>
                <a:cs typeface="+mn-cs"/>
              </a:rPr>
              <a:t>88% of patients received HDT-ASCT at relapse</a:t>
            </a:r>
          </a:p>
        </p:txBody>
      </p:sp>
    </p:spTree>
    <p:extLst>
      <p:ext uri="{BB962C8B-B14F-4D97-AF65-F5344CB8AC3E}">
        <p14:creationId xmlns:p14="http://schemas.microsoft.com/office/powerpoint/2010/main" val="113782931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812622" y="1293307"/>
            <a:ext cx="3288160" cy="3080002"/>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71525" rtl="0" eaLnBrk="0" fontAlgn="base" latinLnBrk="0" hangingPunct="0">
              <a:lnSpc>
                <a:spcPct val="100000"/>
              </a:lnSpc>
              <a:spcBef>
                <a:spcPct val="20000"/>
              </a:spcBef>
              <a:spcAft>
                <a:spcPct val="0"/>
              </a:spcAft>
              <a:buClrTx/>
              <a:buSzTx/>
              <a:buFontTx/>
              <a:buNone/>
              <a:tabLst/>
              <a:defRPr/>
            </a:pPr>
            <a:endParaRPr kumimoji="0" lang="es-ES_tradnl" sz="2025" b="1" i="0" u="none" strike="noStrike" kern="1200" cap="none" spc="0" normalizeH="0" baseline="0" noProof="0">
              <a:ln>
                <a:noFill/>
              </a:ln>
              <a:solidFill>
                <a:srgbClr val="00003C"/>
              </a:solidFill>
              <a:effectLst/>
              <a:uLnTx/>
              <a:uFillTx/>
              <a:latin typeface="Arial"/>
              <a:ea typeface="+mn-ea"/>
              <a:cs typeface="+mn-cs"/>
            </a:endParaRPr>
          </a:p>
        </p:txBody>
      </p:sp>
      <p:sp>
        <p:nvSpPr>
          <p:cNvPr id="25" name="Text Box 4"/>
          <p:cNvSpPr txBox="1">
            <a:spLocks noChangeArrowheads="1"/>
          </p:cNvSpPr>
          <p:nvPr/>
        </p:nvSpPr>
        <p:spPr bwMode="auto">
          <a:xfrm>
            <a:off x="-85821" y="191635"/>
            <a:ext cx="7715250" cy="403957"/>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2025" b="1" i="0" u="none" strike="noStrike" kern="1200" cap="none" spc="0" normalizeH="0" baseline="0" noProof="0">
                <a:ln>
                  <a:noFill/>
                </a:ln>
                <a:solidFill>
                  <a:srgbClr val="595454"/>
                </a:solidFill>
                <a:effectLst/>
                <a:uLnTx/>
                <a:uFillTx/>
                <a:latin typeface="Trebuchet MS"/>
                <a:ea typeface="ＭＳ Ｐゴシック" charset="0"/>
                <a:cs typeface="+mn-cs"/>
              </a:rPr>
              <a:t>Management of MM in the transplant-candidate ND patient</a:t>
            </a:r>
          </a:p>
        </p:txBody>
      </p:sp>
      <p:graphicFrame>
        <p:nvGraphicFramePr>
          <p:cNvPr id="29" name="Tableau 1"/>
          <p:cNvGraphicFramePr>
            <a:graphicFrameLocks noGrp="1"/>
          </p:cNvGraphicFramePr>
          <p:nvPr/>
        </p:nvGraphicFramePr>
        <p:xfrm>
          <a:off x="4624915" y="1427261"/>
          <a:ext cx="3951668" cy="2492731"/>
        </p:xfrm>
        <a:graphic>
          <a:graphicData uri="http://schemas.openxmlformats.org/drawingml/2006/table">
            <a:tbl>
              <a:tblPr firstRow="1" bandRow="1">
                <a:tableStyleId>{2D5ABB26-0587-4C30-8999-92F81FD0307C}</a:tableStyleId>
              </a:tblPr>
              <a:tblGrid>
                <a:gridCol w="1236257">
                  <a:extLst>
                    <a:ext uri="{9D8B030D-6E8A-4147-A177-3AD203B41FA5}">
                      <a16:colId xmlns:a16="http://schemas.microsoft.com/office/drawing/2014/main" val="20000"/>
                    </a:ext>
                  </a:extLst>
                </a:gridCol>
                <a:gridCol w="998839">
                  <a:extLst>
                    <a:ext uri="{9D8B030D-6E8A-4147-A177-3AD203B41FA5}">
                      <a16:colId xmlns:a16="http://schemas.microsoft.com/office/drawing/2014/main" val="20001"/>
                    </a:ext>
                  </a:extLst>
                </a:gridCol>
                <a:gridCol w="987491">
                  <a:extLst>
                    <a:ext uri="{9D8B030D-6E8A-4147-A177-3AD203B41FA5}">
                      <a16:colId xmlns:a16="http://schemas.microsoft.com/office/drawing/2014/main" val="20002"/>
                    </a:ext>
                  </a:extLst>
                </a:gridCol>
                <a:gridCol w="729081">
                  <a:extLst>
                    <a:ext uri="{9D8B030D-6E8A-4147-A177-3AD203B41FA5}">
                      <a16:colId xmlns:a16="http://schemas.microsoft.com/office/drawing/2014/main" val="20003"/>
                    </a:ext>
                  </a:extLst>
                </a:gridCol>
              </a:tblGrid>
              <a:tr h="737287">
                <a:tc>
                  <a:txBody>
                    <a:bodyPr/>
                    <a:lstStyle>
                      <a:lvl1pPr marL="0" algn="l" defTabSz="289339" rtl="0" eaLnBrk="1" latinLnBrk="0" hangingPunct="1">
                        <a:defRPr sz="1139" b="1" kern="1200">
                          <a:solidFill>
                            <a:schemeClr val="lt1"/>
                          </a:solidFill>
                          <a:latin typeface="Calibri"/>
                          <a:ea typeface=""/>
                          <a:cs typeface=""/>
                        </a:defRPr>
                      </a:lvl1pPr>
                      <a:lvl2pPr marL="289339" algn="l" defTabSz="289339" rtl="0" eaLnBrk="1" latinLnBrk="0" hangingPunct="1">
                        <a:defRPr sz="1139" b="1" kern="1200">
                          <a:solidFill>
                            <a:schemeClr val="lt1"/>
                          </a:solidFill>
                          <a:latin typeface="Calibri"/>
                          <a:ea typeface=""/>
                          <a:cs typeface=""/>
                        </a:defRPr>
                      </a:lvl2pPr>
                      <a:lvl3pPr marL="578678" algn="l" defTabSz="289339" rtl="0" eaLnBrk="1" latinLnBrk="0" hangingPunct="1">
                        <a:defRPr sz="1139" b="1" kern="1200">
                          <a:solidFill>
                            <a:schemeClr val="lt1"/>
                          </a:solidFill>
                          <a:latin typeface="Calibri"/>
                          <a:ea typeface=""/>
                          <a:cs typeface=""/>
                        </a:defRPr>
                      </a:lvl3pPr>
                      <a:lvl4pPr marL="868017" algn="l" defTabSz="289339" rtl="0" eaLnBrk="1" latinLnBrk="0" hangingPunct="1">
                        <a:defRPr sz="1139" b="1" kern="1200">
                          <a:solidFill>
                            <a:schemeClr val="lt1"/>
                          </a:solidFill>
                          <a:latin typeface="Calibri"/>
                          <a:ea typeface=""/>
                          <a:cs typeface=""/>
                        </a:defRPr>
                      </a:lvl4pPr>
                      <a:lvl5pPr marL="1157356" algn="l" defTabSz="289339" rtl="0" eaLnBrk="1" latinLnBrk="0" hangingPunct="1">
                        <a:defRPr sz="1139" b="1" kern="1200">
                          <a:solidFill>
                            <a:schemeClr val="lt1"/>
                          </a:solidFill>
                          <a:latin typeface="Calibri"/>
                          <a:ea typeface=""/>
                          <a:cs typeface=""/>
                        </a:defRPr>
                      </a:lvl5pPr>
                      <a:lvl6pPr marL="1446695" algn="l" defTabSz="289339" rtl="0" eaLnBrk="1" latinLnBrk="0" hangingPunct="1">
                        <a:defRPr sz="1139" b="1" kern="1200">
                          <a:solidFill>
                            <a:schemeClr val="lt1"/>
                          </a:solidFill>
                          <a:latin typeface="Calibri"/>
                          <a:ea typeface=""/>
                          <a:cs typeface=""/>
                        </a:defRPr>
                      </a:lvl6pPr>
                      <a:lvl7pPr marL="1736034" algn="l" defTabSz="289339" rtl="0" eaLnBrk="1" latinLnBrk="0" hangingPunct="1">
                        <a:defRPr sz="1139" b="1" kern="1200">
                          <a:solidFill>
                            <a:schemeClr val="lt1"/>
                          </a:solidFill>
                          <a:latin typeface="Calibri"/>
                          <a:ea typeface=""/>
                          <a:cs typeface=""/>
                        </a:defRPr>
                      </a:lvl7pPr>
                      <a:lvl8pPr marL="2025374" algn="l" defTabSz="289339" rtl="0" eaLnBrk="1" latinLnBrk="0" hangingPunct="1">
                        <a:defRPr sz="1139" b="1" kern="1200">
                          <a:solidFill>
                            <a:schemeClr val="lt1"/>
                          </a:solidFill>
                          <a:latin typeface="Calibri"/>
                          <a:ea typeface=""/>
                          <a:cs typeface=""/>
                        </a:defRPr>
                      </a:lvl8pPr>
                      <a:lvl9pPr marL="2314712" algn="l" defTabSz="289339" rtl="0" eaLnBrk="1" latinLnBrk="0" hangingPunct="1">
                        <a:defRPr sz="1139" b="1" kern="1200">
                          <a:solidFill>
                            <a:schemeClr val="lt1"/>
                          </a:solidFill>
                          <a:latin typeface="Calibri"/>
                          <a:ea typeface=""/>
                          <a:cs typeface=""/>
                        </a:defRPr>
                      </a:lvl9pPr>
                    </a:lstStyle>
                    <a:p>
                      <a:endParaRPr lang="en-US" sz="1200" b="1" i="0">
                        <a:solidFill>
                          <a:srgbClr val="FFFF00"/>
                        </a:solidFill>
                        <a:latin typeface="Arial" charset="0"/>
                        <a:ea typeface="Arial" charset="0"/>
                        <a:cs typeface="Arial" charset="0"/>
                      </a:endParaRPr>
                    </a:p>
                  </a:txBody>
                  <a:tcPr anchor="ctr">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b="1" kern="1200">
                          <a:solidFill>
                            <a:schemeClr val="lt1"/>
                          </a:solidFill>
                          <a:latin typeface="Calibri"/>
                          <a:ea typeface=""/>
                          <a:cs typeface=""/>
                        </a:defRPr>
                      </a:lvl1pPr>
                      <a:lvl2pPr marL="289339" algn="l" defTabSz="289339" rtl="0" eaLnBrk="1" latinLnBrk="0" hangingPunct="1">
                        <a:defRPr sz="1139" b="1" kern="1200">
                          <a:solidFill>
                            <a:schemeClr val="lt1"/>
                          </a:solidFill>
                          <a:latin typeface="Calibri"/>
                          <a:ea typeface=""/>
                          <a:cs typeface=""/>
                        </a:defRPr>
                      </a:lvl2pPr>
                      <a:lvl3pPr marL="578678" algn="l" defTabSz="289339" rtl="0" eaLnBrk="1" latinLnBrk="0" hangingPunct="1">
                        <a:defRPr sz="1139" b="1" kern="1200">
                          <a:solidFill>
                            <a:schemeClr val="lt1"/>
                          </a:solidFill>
                          <a:latin typeface="Calibri"/>
                          <a:ea typeface=""/>
                          <a:cs typeface=""/>
                        </a:defRPr>
                      </a:lvl3pPr>
                      <a:lvl4pPr marL="868017" algn="l" defTabSz="289339" rtl="0" eaLnBrk="1" latinLnBrk="0" hangingPunct="1">
                        <a:defRPr sz="1139" b="1" kern="1200">
                          <a:solidFill>
                            <a:schemeClr val="lt1"/>
                          </a:solidFill>
                          <a:latin typeface="Calibri"/>
                          <a:ea typeface=""/>
                          <a:cs typeface=""/>
                        </a:defRPr>
                      </a:lvl4pPr>
                      <a:lvl5pPr marL="1157356" algn="l" defTabSz="289339" rtl="0" eaLnBrk="1" latinLnBrk="0" hangingPunct="1">
                        <a:defRPr sz="1139" b="1" kern="1200">
                          <a:solidFill>
                            <a:schemeClr val="lt1"/>
                          </a:solidFill>
                          <a:latin typeface="Calibri"/>
                          <a:ea typeface=""/>
                          <a:cs typeface=""/>
                        </a:defRPr>
                      </a:lvl5pPr>
                      <a:lvl6pPr marL="1446695" algn="l" defTabSz="289339" rtl="0" eaLnBrk="1" latinLnBrk="0" hangingPunct="1">
                        <a:defRPr sz="1139" b="1" kern="1200">
                          <a:solidFill>
                            <a:schemeClr val="lt1"/>
                          </a:solidFill>
                          <a:latin typeface="Calibri"/>
                          <a:ea typeface=""/>
                          <a:cs typeface=""/>
                        </a:defRPr>
                      </a:lvl6pPr>
                      <a:lvl7pPr marL="1736034" algn="l" defTabSz="289339" rtl="0" eaLnBrk="1" latinLnBrk="0" hangingPunct="1">
                        <a:defRPr sz="1139" b="1" kern="1200">
                          <a:solidFill>
                            <a:schemeClr val="lt1"/>
                          </a:solidFill>
                          <a:latin typeface="Calibri"/>
                          <a:ea typeface=""/>
                          <a:cs typeface=""/>
                        </a:defRPr>
                      </a:lvl7pPr>
                      <a:lvl8pPr marL="2025374" algn="l" defTabSz="289339" rtl="0" eaLnBrk="1" latinLnBrk="0" hangingPunct="1">
                        <a:defRPr sz="1139" b="1" kern="1200">
                          <a:solidFill>
                            <a:schemeClr val="lt1"/>
                          </a:solidFill>
                          <a:latin typeface="Calibri"/>
                          <a:ea typeface=""/>
                          <a:cs typeface=""/>
                        </a:defRPr>
                      </a:lvl8pPr>
                      <a:lvl9pPr marL="2314712" algn="l" defTabSz="289339" rtl="0" eaLnBrk="1" latinLnBrk="0" hangingPunct="1">
                        <a:defRPr sz="1139" b="1" kern="1200">
                          <a:solidFill>
                            <a:schemeClr val="lt1"/>
                          </a:solidFill>
                          <a:latin typeface="Calibri"/>
                          <a:ea typeface=""/>
                          <a:cs typeface=""/>
                        </a:defRPr>
                      </a:lvl9pPr>
                    </a:lstStyle>
                    <a:p>
                      <a:pPr algn="ctr"/>
                      <a:r>
                        <a:rPr lang="en-US" sz="1200" b="1" i="0">
                          <a:solidFill>
                            <a:srgbClr val="BE2BBB"/>
                          </a:solidFill>
                          <a:latin typeface="Arial" charset="0"/>
                          <a:ea typeface="Arial" charset="0"/>
                          <a:cs typeface="Arial" charset="0"/>
                        </a:rPr>
                        <a:t>VMP group</a:t>
                      </a:r>
                    </a:p>
                    <a:p>
                      <a:pPr algn="ctr"/>
                      <a:r>
                        <a:rPr lang="en-US" sz="1200" b="1" i="0">
                          <a:solidFill>
                            <a:srgbClr val="BE2BBB"/>
                          </a:solidFill>
                          <a:latin typeface="Arial" charset="0"/>
                          <a:ea typeface="Arial" charset="0"/>
                          <a:cs typeface="Arial" charset="0"/>
                        </a:rPr>
                        <a:t>N = 350</a:t>
                      </a:r>
                    </a:p>
                  </a:txBody>
                  <a:tcPr anchor="ctr">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b="1" kern="1200">
                          <a:solidFill>
                            <a:schemeClr val="lt1"/>
                          </a:solidFill>
                          <a:latin typeface="Calibri"/>
                          <a:ea typeface=""/>
                          <a:cs typeface=""/>
                        </a:defRPr>
                      </a:lvl1pPr>
                      <a:lvl2pPr marL="289339" algn="l" defTabSz="289339" rtl="0" eaLnBrk="1" latinLnBrk="0" hangingPunct="1">
                        <a:defRPr sz="1139" b="1" kern="1200">
                          <a:solidFill>
                            <a:schemeClr val="lt1"/>
                          </a:solidFill>
                          <a:latin typeface="Calibri"/>
                          <a:ea typeface=""/>
                          <a:cs typeface=""/>
                        </a:defRPr>
                      </a:lvl2pPr>
                      <a:lvl3pPr marL="578678" algn="l" defTabSz="289339" rtl="0" eaLnBrk="1" latinLnBrk="0" hangingPunct="1">
                        <a:defRPr sz="1139" b="1" kern="1200">
                          <a:solidFill>
                            <a:schemeClr val="lt1"/>
                          </a:solidFill>
                          <a:latin typeface="Calibri"/>
                          <a:ea typeface=""/>
                          <a:cs typeface=""/>
                        </a:defRPr>
                      </a:lvl3pPr>
                      <a:lvl4pPr marL="868017" algn="l" defTabSz="289339" rtl="0" eaLnBrk="1" latinLnBrk="0" hangingPunct="1">
                        <a:defRPr sz="1139" b="1" kern="1200">
                          <a:solidFill>
                            <a:schemeClr val="lt1"/>
                          </a:solidFill>
                          <a:latin typeface="Calibri"/>
                          <a:ea typeface=""/>
                          <a:cs typeface=""/>
                        </a:defRPr>
                      </a:lvl4pPr>
                      <a:lvl5pPr marL="1157356" algn="l" defTabSz="289339" rtl="0" eaLnBrk="1" latinLnBrk="0" hangingPunct="1">
                        <a:defRPr sz="1139" b="1" kern="1200">
                          <a:solidFill>
                            <a:schemeClr val="lt1"/>
                          </a:solidFill>
                          <a:latin typeface="Calibri"/>
                          <a:ea typeface=""/>
                          <a:cs typeface=""/>
                        </a:defRPr>
                      </a:lvl5pPr>
                      <a:lvl6pPr marL="1446695" algn="l" defTabSz="289339" rtl="0" eaLnBrk="1" latinLnBrk="0" hangingPunct="1">
                        <a:defRPr sz="1139" b="1" kern="1200">
                          <a:solidFill>
                            <a:schemeClr val="lt1"/>
                          </a:solidFill>
                          <a:latin typeface="Calibri"/>
                          <a:ea typeface=""/>
                          <a:cs typeface=""/>
                        </a:defRPr>
                      </a:lvl6pPr>
                      <a:lvl7pPr marL="1736034" algn="l" defTabSz="289339" rtl="0" eaLnBrk="1" latinLnBrk="0" hangingPunct="1">
                        <a:defRPr sz="1139" b="1" kern="1200">
                          <a:solidFill>
                            <a:schemeClr val="lt1"/>
                          </a:solidFill>
                          <a:latin typeface="Calibri"/>
                          <a:ea typeface=""/>
                          <a:cs typeface=""/>
                        </a:defRPr>
                      </a:lvl7pPr>
                      <a:lvl8pPr marL="2025374" algn="l" defTabSz="289339" rtl="0" eaLnBrk="1" latinLnBrk="0" hangingPunct="1">
                        <a:defRPr sz="1139" b="1" kern="1200">
                          <a:solidFill>
                            <a:schemeClr val="lt1"/>
                          </a:solidFill>
                          <a:latin typeface="Calibri"/>
                          <a:ea typeface=""/>
                          <a:cs typeface=""/>
                        </a:defRPr>
                      </a:lvl8pPr>
                      <a:lvl9pPr marL="2314712" algn="l" defTabSz="289339" rtl="0" eaLnBrk="1" latinLnBrk="0" hangingPunct="1">
                        <a:defRPr sz="1139" b="1" kern="1200">
                          <a:solidFill>
                            <a:schemeClr val="lt1"/>
                          </a:solidFill>
                          <a:latin typeface="Calibri"/>
                          <a:ea typeface=""/>
                          <a:cs typeface=""/>
                        </a:defRPr>
                      </a:lvl9pPr>
                    </a:lstStyle>
                    <a:p>
                      <a:pPr algn="ctr"/>
                      <a:r>
                        <a:rPr lang="en-US" sz="1200" b="1" i="0">
                          <a:solidFill>
                            <a:srgbClr val="BE2BBB"/>
                          </a:solidFill>
                          <a:latin typeface="Arial" charset="0"/>
                          <a:ea typeface="Arial" charset="0"/>
                          <a:cs typeface="Arial" charset="0"/>
                        </a:rPr>
                        <a:t>Transplant group</a:t>
                      </a:r>
                    </a:p>
                    <a:p>
                      <a:pPr algn="ctr"/>
                      <a:r>
                        <a:rPr lang="en-US" sz="1200" b="1" i="0">
                          <a:solidFill>
                            <a:srgbClr val="BE2BBB"/>
                          </a:solidFill>
                          <a:latin typeface="Arial" charset="0"/>
                          <a:ea typeface="Arial" charset="0"/>
                          <a:cs typeface="Arial" charset="0"/>
                        </a:rPr>
                        <a:t>N = 350</a:t>
                      </a:r>
                    </a:p>
                  </a:txBody>
                  <a:tcPr anchor="ctr">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b="1" kern="1200">
                          <a:solidFill>
                            <a:schemeClr val="lt1"/>
                          </a:solidFill>
                          <a:latin typeface="Calibri"/>
                          <a:ea typeface=""/>
                          <a:cs typeface=""/>
                        </a:defRPr>
                      </a:lvl1pPr>
                      <a:lvl2pPr marL="289339" algn="l" defTabSz="289339" rtl="0" eaLnBrk="1" latinLnBrk="0" hangingPunct="1">
                        <a:defRPr sz="1139" b="1" kern="1200">
                          <a:solidFill>
                            <a:schemeClr val="lt1"/>
                          </a:solidFill>
                          <a:latin typeface="Calibri"/>
                          <a:ea typeface=""/>
                          <a:cs typeface=""/>
                        </a:defRPr>
                      </a:lvl2pPr>
                      <a:lvl3pPr marL="578678" algn="l" defTabSz="289339" rtl="0" eaLnBrk="1" latinLnBrk="0" hangingPunct="1">
                        <a:defRPr sz="1139" b="1" kern="1200">
                          <a:solidFill>
                            <a:schemeClr val="lt1"/>
                          </a:solidFill>
                          <a:latin typeface="Calibri"/>
                          <a:ea typeface=""/>
                          <a:cs typeface=""/>
                        </a:defRPr>
                      </a:lvl3pPr>
                      <a:lvl4pPr marL="868017" algn="l" defTabSz="289339" rtl="0" eaLnBrk="1" latinLnBrk="0" hangingPunct="1">
                        <a:defRPr sz="1139" b="1" kern="1200">
                          <a:solidFill>
                            <a:schemeClr val="lt1"/>
                          </a:solidFill>
                          <a:latin typeface="Calibri"/>
                          <a:ea typeface=""/>
                          <a:cs typeface=""/>
                        </a:defRPr>
                      </a:lvl4pPr>
                      <a:lvl5pPr marL="1157356" algn="l" defTabSz="289339" rtl="0" eaLnBrk="1" latinLnBrk="0" hangingPunct="1">
                        <a:defRPr sz="1139" b="1" kern="1200">
                          <a:solidFill>
                            <a:schemeClr val="lt1"/>
                          </a:solidFill>
                          <a:latin typeface="Calibri"/>
                          <a:ea typeface=""/>
                          <a:cs typeface=""/>
                        </a:defRPr>
                      </a:lvl5pPr>
                      <a:lvl6pPr marL="1446695" algn="l" defTabSz="289339" rtl="0" eaLnBrk="1" latinLnBrk="0" hangingPunct="1">
                        <a:defRPr sz="1139" b="1" kern="1200">
                          <a:solidFill>
                            <a:schemeClr val="lt1"/>
                          </a:solidFill>
                          <a:latin typeface="Calibri"/>
                          <a:ea typeface=""/>
                          <a:cs typeface=""/>
                        </a:defRPr>
                      </a:lvl6pPr>
                      <a:lvl7pPr marL="1736034" algn="l" defTabSz="289339" rtl="0" eaLnBrk="1" latinLnBrk="0" hangingPunct="1">
                        <a:defRPr sz="1139" b="1" kern="1200">
                          <a:solidFill>
                            <a:schemeClr val="lt1"/>
                          </a:solidFill>
                          <a:latin typeface="Calibri"/>
                          <a:ea typeface=""/>
                          <a:cs typeface=""/>
                        </a:defRPr>
                      </a:lvl7pPr>
                      <a:lvl8pPr marL="2025374" algn="l" defTabSz="289339" rtl="0" eaLnBrk="1" latinLnBrk="0" hangingPunct="1">
                        <a:defRPr sz="1139" b="1" kern="1200">
                          <a:solidFill>
                            <a:schemeClr val="lt1"/>
                          </a:solidFill>
                          <a:latin typeface="Calibri"/>
                          <a:ea typeface=""/>
                          <a:cs typeface=""/>
                        </a:defRPr>
                      </a:lvl8pPr>
                      <a:lvl9pPr marL="2314712" algn="l" defTabSz="289339" rtl="0" eaLnBrk="1" latinLnBrk="0" hangingPunct="1">
                        <a:defRPr sz="1139" b="1" kern="1200">
                          <a:solidFill>
                            <a:schemeClr val="lt1"/>
                          </a:solidFill>
                          <a:latin typeface="Calibri"/>
                          <a:ea typeface=""/>
                          <a:cs typeface=""/>
                        </a:defRPr>
                      </a:lvl9pPr>
                    </a:lstStyle>
                    <a:p>
                      <a:pPr algn="ctr"/>
                      <a:r>
                        <a:rPr lang="en-US" sz="1200" b="1" i="1">
                          <a:solidFill>
                            <a:srgbClr val="BE2BBB"/>
                          </a:solidFill>
                          <a:latin typeface="Arial" charset="0"/>
                          <a:ea typeface="Arial" charset="0"/>
                          <a:cs typeface="Arial" charset="0"/>
                        </a:rPr>
                        <a:t>P</a:t>
                      </a:r>
                      <a:r>
                        <a:rPr lang="en-US" sz="1200" b="1" i="0">
                          <a:solidFill>
                            <a:srgbClr val="BE2BBB"/>
                          </a:solidFill>
                          <a:latin typeface="Arial" charset="0"/>
                          <a:ea typeface="Arial" charset="0"/>
                          <a:cs typeface="Arial" charset="0"/>
                        </a:rPr>
                        <a:t> value</a:t>
                      </a:r>
                    </a:p>
                  </a:txBody>
                  <a:tcPr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15980">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marL="0" indent="0">
                        <a:buFont typeface="Arial" panose="020B0604020202020204" pitchFamily="34" charset="0"/>
                        <a:buNone/>
                      </a:pPr>
                      <a:r>
                        <a:rPr lang="en-US" sz="1200" b="1" i="0">
                          <a:latin typeface="Arial" charset="0"/>
                          <a:ea typeface="Arial" charset="0"/>
                          <a:cs typeface="Arial" charset="0"/>
                        </a:rPr>
                        <a:t>≥CR</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43.5%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42.3%</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N/A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15980">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marL="0" indent="0">
                        <a:buFont typeface="Arial" panose="020B0604020202020204" pitchFamily="34" charset="0"/>
                        <a:buNone/>
                      </a:pPr>
                      <a:r>
                        <a:rPr lang="en-US" sz="1200" b="1" i="0">
                          <a:latin typeface="Arial" charset="0"/>
                          <a:ea typeface="Arial" charset="0"/>
                          <a:cs typeface="Arial" charset="0"/>
                        </a:rPr>
                        <a:t> VGPR</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30.4%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43.2%</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N/A</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15980">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marL="0" indent="0">
                        <a:buFont typeface="Arial" panose="020B0604020202020204" pitchFamily="34" charset="0"/>
                        <a:buNone/>
                      </a:pPr>
                      <a:r>
                        <a:rPr lang="en-US" sz="1200" b="1" i="0">
                          <a:latin typeface="Arial" charset="0"/>
                          <a:ea typeface="Arial" charset="0"/>
                          <a:cs typeface="Arial" charset="0"/>
                        </a:rPr>
                        <a:t> PR</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14.9% </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11%</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200" b="1" i="0">
                          <a:latin typeface="Arial" charset="0"/>
                          <a:ea typeface="Arial" charset="0"/>
                          <a:cs typeface="Arial" charset="0"/>
                        </a:rPr>
                        <a:t> N/A</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15980">
                <a:tc>
                  <a:txBody>
                    <a:bodyPr/>
                    <a:lstStyle/>
                    <a:p>
                      <a:pPr marL="0" marR="0" indent="0" algn="l" defTabSz="28933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a:latin typeface="Arial" charset="0"/>
                          <a:ea typeface="Arial" charset="0"/>
                          <a:cs typeface="Arial" charset="0"/>
                        </a:rPr>
                        <a:t>≥VGPR</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200" b="1" i="0">
                          <a:latin typeface="Arial" charset="0"/>
                          <a:ea typeface="Arial" charset="0"/>
                          <a:cs typeface="Arial" charset="0"/>
                        </a:rPr>
                        <a:t>73.8%</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200" b="1" i="0">
                          <a:latin typeface="Arial" charset="0"/>
                          <a:ea typeface="Arial" charset="0"/>
                          <a:cs typeface="Arial" charset="0"/>
                        </a:rPr>
                        <a:t>85.5%</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200" b="1" i="0">
                          <a:latin typeface="Arial" charset="0"/>
                          <a:ea typeface="Arial" charset="0"/>
                          <a:cs typeface="Arial" charset="0"/>
                        </a:rPr>
                        <a:t>.001</a:t>
                      </a:r>
                    </a:p>
                  </a:txBody>
                  <a:tcPr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491524">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r>
                        <a:rPr lang="en-US" sz="1100" b="1" i="0">
                          <a:solidFill>
                            <a:srgbClr val="A69F9F"/>
                          </a:solidFill>
                          <a:latin typeface="Arial" charset="0"/>
                          <a:ea typeface="Arial" charset="0"/>
                          <a:cs typeface="Arial" charset="0"/>
                        </a:rPr>
                        <a:t> MRD neg</a:t>
                      </a:r>
                      <a:r>
                        <a:rPr lang="en-US" sz="1100" b="1" i="0" baseline="0">
                          <a:solidFill>
                            <a:srgbClr val="A69F9F"/>
                          </a:solidFill>
                          <a:latin typeface="Arial" charset="0"/>
                          <a:ea typeface="Arial" charset="0"/>
                          <a:cs typeface="Arial" charset="0"/>
                        </a:rPr>
                        <a:t> by</a:t>
                      </a:r>
                      <a:r>
                        <a:rPr lang="en-US" sz="1100" b="1" i="0">
                          <a:solidFill>
                            <a:srgbClr val="A69F9F"/>
                          </a:solidFill>
                          <a:latin typeface="Arial" charset="0"/>
                          <a:ea typeface="Arial" charset="0"/>
                          <a:cs typeface="Arial" charset="0"/>
                        </a:rPr>
                        <a:t> FCM , n (%)</a:t>
                      </a:r>
                    </a:p>
                  </a:txBody>
                  <a:tcPr anchor="ctr">
                    <a:lnT w="28575" cap="flat" cmpd="sng" algn="ctr">
                      <a:solidFill>
                        <a:schemeClr val="tx1"/>
                      </a:solidFill>
                      <a:prstDash val="solid"/>
                      <a:round/>
                      <a:headEnd type="none" w="med" len="med"/>
                      <a:tailEnd type="none" w="med" len="med"/>
                    </a:lnT>
                    <a:solidFill>
                      <a:srgbClr val="FFECCD"/>
                    </a:solidFill>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100" b="1" i="0">
                          <a:solidFill>
                            <a:srgbClr val="A69F9F"/>
                          </a:solidFill>
                          <a:latin typeface="Arial" charset="0"/>
                          <a:ea typeface="Arial" charset="0"/>
                          <a:cs typeface="Arial" charset="0"/>
                        </a:rPr>
                        <a:t>89 (36%)</a:t>
                      </a:r>
                    </a:p>
                  </a:txBody>
                  <a:tcPr anchor="ctr">
                    <a:lnT w="28575" cap="flat" cmpd="sng" algn="ctr">
                      <a:solidFill>
                        <a:schemeClr val="tx1"/>
                      </a:solidFill>
                      <a:prstDash val="solid"/>
                      <a:round/>
                      <a:headEnd type="none" w="med" len="med"/>
                      <a:tailEnd type="none" w="med" len="med"/>
                    </a:lnT>
                    <a:solidFill>
                      <a:srgbClr val="FFECCD"/>
                    </a:solidFill>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100" b="1" i="0">
                          <a:solidFill>
                            <a:srgbClr val="A69F9F"/>
                          </a:solidFill>
                          <a:latin typeface="Arial" charset="0"/>
                          <a:ea typeface="Arial" charset="0"/>
                          <a:cs typeface="Arial" charset="0"/>
                        </a:rPr>
                        <a:t>153 (64%)</a:t>
                      </a:r>
                    </a:p>
                  </a:txBody>
                  <a:tcPr anchor="ctr">
                    <a:lnT w="28575" cap="flat" cmpd="sng" algn="ctr">
                      <a:solidFill>
                        <a:schemeClr val="tx1"/>
                      </a:solidFill>
                      <a:prstDash val="solid"/>
                      <a:round/>
                      <a:headEnd type="none" w="med" len="med"/>
                      <a:tailEnd type="none" w="med" len="med"/>
                    </a:lnT>
                    <a:solidFill>
                      <a:srgbClr val="FFECCD"/>
                    </a:solidFill>
                  </a:tcPr>
                </a:tc>
                <a:tc>
                  <a:txBody>
                    <a:bodyPr/>
                    <a:lstStyle>
                      <a:lvl1pPr marL="0" algn="l" defTabSz="289339" rtl="0" eaLnBrk="1" latinLnBrk="0" hangingPunct="1">
                        <a:defRPr sz="1139" kern="1200">
                          <a:solidFill>
                            <a:schemeClr val="dk1"/>
                          </a:solidFill>
                          <a:latin typeface="Calibri"/>
                          <a:ea typeface=""/>
                          <a:cs typeface=""/>
                        </a:defRPr>
                      </a:lvl1pPr>
                      <a:lvl2pPr marL="289339" algn="l" defTabSz="289339" rtl="0" eaLnBrk="1" latinLnBrk="0" hangingPunct="1">
                        <a:defRPr sz="1139" kern="1200">
                          <a:solidFill>
                            <a:schemeClr val="dk1"/>
                          </a:solidFill>
                          <a:latin typeface="Calibri"/>
                          <a:ea typeface=""/>
                          <a:cs typeface=""/>
                        </a:defRPr>
                      </a:lvl2pPr>
                      <a:lvl3pPr marL="578678" algn="l" defTabSz="289339" rtl="0" eaLnBrk="1" latinLnBrk="0" hangingPunct="1">
                        <a:defRPr sz="1139" kern="1200">
                          <a:solidFill>
                            <a:schemeClr val="dk1"/>
                          </a:solidFill>
                          <a:latin typeface="Calibri"/>
                          <a:ea typeface=""/>
                          <a:cs typeface=""/>
                        </a:defRPr>
                      </a:lvl3pPr>
                      <a:lvl4pPr marL="868017" algn="l" defTabSz="289339" rtl="0" eaLnBrk="1" latinLnBrk="0" hangingPunct="1">
                        <a:defRPr sz="1139" kern="1200">
                          <a:solidFill>
                            <a:schemeClr val="dk1"/>
                          </a:solidFill>
                          <a:latin typeface="Calibri"/>
                          <a:ea typeface=""/>
                          <a:cs typeface=""/>
                        </a:defRPr>
                      </a:lvl4pPr>
                      <a:lvl5pPr marL="1157356" algn="l" defTabSz="289339" rtl="0" eaLnBrk="1" latinLnBrk="0" hangingPunct="1">
                        <a:defRPr sz="1139" kern="1200">
                          <a:solidFill>
                            <a:schemeClr val="dk1"/>
                          </a:solidFill>
                          <a:latin typeface="Calibri"/>
                          <a:ea typeface=""/>
                          <a:cs typeface=""/>
                        </a:defRPr>
                      </a:lvl5pPr>
                      <a:lvl6pPr marL="1446695" algn="l" defTabSz="289339" rtl="0" eaLnBrk="1" latinLnBrk="0" hangingPunct="1">
                        <a:defRPr sz="1139" kern="1200">
                          <a:solidFill>
                            <a:schemeClr val="dk1"/>
                          </a:solidFill>
                          <a:latin typeface="Calibri"/>
                          <a:ea typeface=""/>
                          <a:cs typeface=""/>
                        </a:defRPr>
                      </a:lvl6pPr>
                      <a:lvl7pPr marL="1736034" algn="l" defTabSz="289339" rtl="0" eaLnBrk="1" latinLnBrk="0" hangingPunct="1">
                        <a:defRPr sz="1139" kern="1200">
                          <a:solidFill>
                            <a:schemeClr val="dk1"/>
                          </a:solidFill>
                          <a:latin typeface="Calibri"/>
                          <a:ea typeface=""/>
                          <a:cs typeface=""/>
                        </a:defRPr>
                      </a:lvl7pPr>
                      <a:lvl8pPr marL="2025374" algn="l" defTabSz="289339" rtl="0" eaLnBrk="1" latinLnBrk="0" hangingPunct="1">
                        <a:defRPr sz="1139" kern="1200">
                          <a:solidFill>
                            <a:schemeClr val="dk1"/>
                          </a:solidFill>
                          <a:latin typeface="Calibri"/>
                          <a:ea typeface=""/>
                          <a:cs typeface=""/>
                        </a:defRPr>
                      </a:lvl8pPr>
                      <a:lvl9pPr marL="2314712" algn="l" defTabSz="289339" rtl="0" eaLnBrk="1" latinLnBrk="0" hangingPunct="1">
                        <a:defRPr sz="1139" kern="1200">
                          <a:solidFill>
                            <a:schemeClr val="dk1"/>
                          </a:solidFill>
                          <a:latin typeface="Calibri"/>
                          <a:ea typeface=""/>
                          <a:cs typeface=""/>
                        </a:defRPr>
                      </a:lvl9pPr>
                    </a:lstStyle>
                    <a:p>
                      <a:pPr algn="ctr"/>
                      <a:r>
                        <a:rPr lang="en-US" sz="1100" b="1" i="0">
                          <a:solidFill>
                            <a:srgbClr val="A69F9F"/>
                          </a:solidFill>
                          <a:latin typeface="Arial" charset="0"/>
                          <a:ea typeface="Arial" charset="0"/>
                          <a:cs typeface="Arial" charset="0"/>
                        </a:rPr>
                        <a:t>&lt;.001</a:t>
                      </a:r>
                    </a:p>
                  </a:txBody>
                  <a:tcPr anchor="ctr">
                    <a:lnT w="28575" cap="flat" cmpd="sng" algn="ctr">
                      <a:solidFill>
                        <a:schemeClr val="tx1"/>
                      </a:solidFill>
                      <a:prstDash val="solid"/>
                      <a:round/>
                      <a:headEnd type="none" w="med" len="med"/>
                      <a:tailEnd type="none" w="med" len="med"/>
                    </a:lnT>
                    <a:solidFill>
                      <a:srgbClr val="FFECCD"/>
                    </a:solidFill>
                  </a:tcPr>
                </a:tc>
                <a:extLst>
                  <a:ext uri="{0D108BD9-81ED-4DB2-BD59-A6C34878D82A}">
                    <a16:rowId xmlns:a16="http://schemas.microsoft.com/office/drawing/2014/main" val="10005"/>
                  </a:ext>
                </a:extLst>
              </a:tr>
            </a:tbl>
          </a:graphicData>
        </a:graphic>
      </p:graphicFrame>
      <p:grpSp>
        <p:nvGrpSpPr>
          <p:cNvPr id="53" name="Agrupar 52"/>
          <p:cNvGrpSpPr/>
          <p:nvPr/>
        </p:nvGrpSpPr>
        <p:grpSpPr>
          <a:xfrm>
            <a:off x="910678" y="1345433"/>
            <a:ext cx="3134801" cy="2918929"/>
            <a:chOff x="519626" y="1749425"/>
            <a:chExt cx="3967135" cy="4719728"/>
          </a:xfrm>
        </p:grpSpPr>
        <p:sp>
          <p:nvSpPr>
            <p:cNvPr id="54" name="Oval 20"/>
            <p:cNvSpPr/>
            <p:nvPr/>
          </p:nvSpPr>
          <p:spPr>
            <a:xfrm>
              <a:off x="2339975" y="2614613"/>
              <a:ext cx="503238" cy="503237"/>
            </a:xfrm>
            <a:prstGeom prst="ellipse">
              <a:avLst/>
            </a:prstGeom>
            <a:solidFill>
              <a:srgbClr val="E0DC24">
                <a:lumMod val="50000"/>
              </a:srgbClr>
            </a:solidFill>
            <a:ln w="25400" cap="flat" cmpd="sng" algn="ctr">
              <a:noFill/>
              <a:prstDash val="solid"/>
            </a:ln>
            <a:effectLst/>
          </p:spPr>
          <p:txBody>
            <a:bodyPr anchor="ctr"/>
            <a:lstStyle/>
            <a:p>
              <a:pPr marL="0" marR="0" lvl="0" indent="0" algn="ctr" defTabSz="771525" rtl="0" eaLnBrk="1" fontAlgn="auto" latinLnBrk="0" hangingPunct="1">
                <a:lnSpc>
                  <a:spcPct val="100000"/>
                </a:lnSpc>
                <a:spcBef>
                  <a:spcPct val="0"/>
                </a:spcBef>
                <a:spcAft>
                  <a:spcPts val="0"/>
                </a:spcAft>
                <a:buClrTx/>
                <a:buSzTx/>
                <a:buFontTx/>
                <a:buNone/>
                <a:tabLst/>
                <a:defRPr/>
              </a:pPr>
              <a:endParaRPr kumimoji="0" lang="en-GB" sz="1350" b="1" i="1" u="none" strike="noStrike" kern="0" cap="none" spc="0" normalizeH="0" baseline="0" noProof="0">
                <a:ln>
                  <a:noFill/>
                </a:ln>
                <a:solidFill>
                  <a:prstClr val="white"/>
                </a:solidFill>
                <a:effectLst/>
                <a:uLnTx/>
                <a:uFillTx/>
                <a:latin typeface="Arial"/>
                <a:ea typeface="ＭＳ Ｐゴシック"/>
                <a:cs typeface=""/>
              </a:endParaRPr>
            </a:p>
          </p:txBody>
        </p:sp>
        <p:sp>
          <p:nvSpPr>
            <p:cNvPr id="55" name="TextBox 3"/>
            <p:cNvSpPr txBox="1"/>
            <p:nvPr/>
          </p:nvSpPr>
          <p:spPr>
            <a:xfrm>
              <a:off x="1420567" y="1749425"/>
              <a:ext cx="2315065" cy="821131"/>
            </a:xfrm>
            <a:prstGeom prst="rect">
              <a:avLst/>
            </a:prstGeom>
            <a:solidFill>
              <a:srgbClr val="7DCFE2">
                <a:lumMod val="40000"/>
                <a:lumOff val="60000"/>
              </a:srgbClr>
            </a:solidFill>
            <a:ln w="12700">
              <a:solidFill>
                <a:srgbClr val="7DCFE2">
                  <a:lumMod val="60000"/>
                  <a:lumOff val="40000"/>
                </a:srgbClr>
              </a:solidFill>
            </a:ln>
          </p:spPr>
          <p:txBody>
            <a:bodyPr wrap="none">
              <a:spAutoFit/>
            </a:body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350" b="1" i="1" u="none" strike="noStrike" kern="0" cap="none" spc="0" normalizeH="0" baseline="0" noProof="0">
                  <a:ln>
                    <a:noFill/>
                  </a:ln>
                  <a:solidFill>
                    <a:srgbClr val="1F497D">
                      <a:lumMod val="50000"/>
                    </a:srgbClr>
                  </a:solidFill>
                  <a:effectLst/>
                  <a:uLnTx/>
                  <a:uFillTx/>
                  <a:latin typeface="Arial"/>
                  <a:ea typeface="ＭＳ Ｐゴシック"/>
                  <a:cs typeface="Arial" pitchFamily="34" charset="0"/>
                </a:rPr>
                <a:t>4 × VCD +</a:t>
              </a:r>
            </a:p>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350" b="1" i="1" u="none" strike="noStrike" kern="0" cap="none" spc="0" normalizeH="0" baseline="0" noProof="0">
                  <a:ln>
                    <a:noFill/>
                  </a:ln>
                  <a:solidFill>
                    <a:srgbClr val="1F497D">
                      <a:lumMod val="50000"/>
                    </a:srgbClr>
                  </a:solidFill>
                  <a:effectLst/>
                  <a:uLnTx/>
                  <a:uFillTx/>
                  <a:latin typeface="Arial"/>
                  <a:ea typeface="ＭＳ Ｐゴシック"/>
                  <a:cs typeface="Arial" pitchFamily="34" charset="0"/>
                </a:rPr>
                <a:t>stem cell apheresis </a:t>
              </a:r>
            </a:p>
          </p:txBody>
        </p:sp>
        <p:sp>
          <p:nvSpPr>
            <p:cNvPr id="56" name="TextBox 4"/>
            <p:cNvSpPr txBox="1">
              <a:spLocks noChangeArrowheads="1"/>
            </p:cNvSpPr>
            <p:nvPr/>
          </p:nvSpPr>
          <p:spPr bwMode="auto">
            <a:xfrm>
              <a:off x="2363918" y="2676527"/>
              <a:ext cx="479162" cy="443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181" b="1" i="1" u="none" strike="noStrike" kern="0" cap="none" spc="0" normalizeH="0" baseline="0" noProof="0">
                  <a:ln>
                    <a:noFill/>
                  </a:ln>
                  <a:solidFill>
                    <a:srgbClr val="FFFFFF"/>
                  </a:solidFill>
                  <a:effectLst/>
                  <a:uLnTx/>
                  <a:uFillTx/>
                  <a:latin typeface="Arial" charset="0"/>
                  <a:ea typeface="ＭＳ Ｐゴシック" charset="0"/>
                </a:rPr>
                <a:t>R1</a:t>
              </a:r>
            </a:p>
          </p:txBody>
        </p:sp>
        <p:sp>
          <p:nvSpPr>
            <p:cNvPr id="57" name="TextBox 5"/>
            <p:cNvSpPr txBox="1">
              <a:spLocks noChangeArrowheads="1"/>
            </p:cNvSpPr>
            <p:nvPr/>
          </p:nvSpPr>
          <p:spPr bwMode="auto">
            <a:xfrm>
              <a:off x="1067129" y="3252789"/>
              <a:ext cx="1170921" cy="485214"/>
            </a:xfrm>
            <a:prstGeom prst="rect">
              <a:avLst/>
            </a:prstGeom>
            <a:solidFill>
              <a:srgbClr val="E0DC2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350" b="1" i="1" u="none" strike="noStrike" kern="0" cap="none" spc="0" normalizeH="0" baseline="0" noProof="0">
                  <a:ln>
                    <a:noFill/>
                  </a:ln>
                  <a:solidFill>
                    <a:srgbClr val="10253F"/>
                  </a:solidFill>
                  <a:effectLst/>
                  <a:uLnTx/>
                  <a:uFillTx/>
                  <a:latin typeface="Arial" charset="0"/>
                  <a:ea typeface="ＭＳ Ｐゴシック" charset="0"/>
                  <a:cs typeface="Arial" charset="0"/>
                </a:rPr>
                <a:t>4 × VMP</a:t>
              </a:r>
            </a:p>
          </p:txBody>
        </p:sp>
        <p:sp>
          <p:nvSpPr>
            <p:cNvPr id="58" name="TextBox 6"/>
            <p:cNvSpPr txBox="1"/>
            <p:nvPr/>
          </p:nvSpPr>
          <p:spPr>
            <a:xfrm>
              <a:off x="2971334" y="3252789"/>
              <a:ext cx="1097891" cy="485214"/>
            </a:xfrm>
            <a:prstGeom prst="rect">
              <a:avLst/>
            </a:prstGeom>
            <a:solidFill>
              <a:srgbClr val="E0DC24">
                <a:lumMod val="40000"/>
                <a:lumOff val="60000"/>
              </a:srgbClr>
            </a:solidFill>
            <a:ln>
              <a:noFill/>
            </a:ln>
          </p:spPr>
          <p:txBody>
            <a:bodyPr wrap="none">
              <a:spAutoFit/>
            </a:body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350" b="1" i="1" u="none" strike="noStrike" kern="0" cap="none" spc="0" normalizeH="0" baseline="0" noProof="0">
                  <a:ln>
                    <a:noFill/>
                  </a:ln>
                  <a:solidFill>
                    <a:srgbClr val="1F497D">
                      <a:lumMod val="50000"/>
                    </a:srgbClr>
                  </a:solidFill>
                  <a:effectLst/>
                  <a:uLnTx/>
                  <a:uFillTx/>
                  <a:latin typeface="Arial"/>
                  <a:ea typeface="ＭＳ Ｐゴシック"/>
                  <a:cs typeface="Arial" pitchFamily="34" charset="0"/>
                </a:rPr>
                <a:t>HDM 1/2</a:t>
              </a:r>
            </a:p>
          </p:txBody>
        </p:sp>
        <p:sp>
          <p:nvSpPr>
            <p:cNvPr id="59" name="TextBox 8"/>
            <p:cNvSpPr txBox="1">
              <a:spLocks noChangeArrowheads="1"/>
            </p:cNvSpPr>
            <p:nvPr/>
          </p:nvSpPr>
          <p:spPr bwMode="auto">
            <a:xfrm>
              <a:off x="1048606" y="4414838"/>
              <a:ext cx="1158750" cy="485214"/>
            </a:xfrm>
            <a:prstGeom prst="rect">
              <a:avLst/>
            </a:prstGeom>
            <a:solidFill>
              <a:srgbClr val="E0DC2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350" b="1" i="1" u="none" strike="noStrike" kern="0" cap="none" spc="0" normalizeH="0" baseline="0" noProof="0">
                  <a:ln>
                    <a:noFill/>
                  </a:ln>
                  <a:solidFill>
                    <a:srgbClr val="10253F"/>
                  </a:solidFill>
                  <a:effectLst/>
                  <a:uLnTx/>
                  <a:uFillTx/>
                  <a:latin typeface="Arial" charset="0"/>
                  <a:ea typeface="ＭＳ Ｐゴシック" charset="0"/>
                  <a:cs typeface="Arial" charset="0"/>
                </a:rPr>
                <a:t>2 × VRD</a:t>
              </a:r>
            </a:p>
          </p:txBody>
        </p:sp>
        <p:sp>
          <p:nvSpPr>
            <p:cNvPr id="60" name="TextBox 9"/>
            <p:cNvSpPr txBox="1">
              <a:spLocks noChangeArrowheads="1"/>
            </p:cNvSpPr>
            <p:nvPr/>
          </p:nvSpPr>
          <p:spPr bwMode="auto">
            <a:xfrm>
              <a:off x="3198760" y="4414838"/>
              <a:ext cx="714481" cy="443120"/>
            </a:xfrm>
            <a:prstGeom prst="rect">
              <a:avLst/>
            </a:prstGeom>
            <a:solidFill>
              <a:srgbClr val="E0DC24">
                <a:lumMod val="40000"/>
                <a:lumOff val="60000"/>
              </a:srgbClr>
            </a:solidFill>
            <a:ln>
              <a:noFill/>
            </a:ln>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181" b="1" i="1" u="none" strike="noStrike" kern="0" cap="none" spc="0" normalizeH="0" baseline="0" noProof="0">
                  <a:ln>
                    <a:noFill/>
                  </a:ln>
                  <a:solidFill>
                    <a:srgbClr val="10253F"/>
                  </a:solidFill>
                  <a:effectLst/>
                  <a:uLnTx/>
                  <a:uFillTx/>
                  <a:latin typeface="Arial" charset="0"/>
                  <a:ea typeface="ＭＳ Ｐゴシック" charset="0"/>
                </a:rPr>
                <a:t>None</a:t>
              </a:r>
            </a:p>
          </p:txBody>
        </p:sp>
        <p:sp>
          <p:nvSpPr>
            <p:cNvPr id="61" name="TextBox 10"/>
            <p:cNvSpPr txBox="1">
              <a:spLocks noChangeArrowheads="1"/>
            </p:cNvSpPr>
            <p:nvPr/>
          </p:nvSpPr>
          <p:spPr bwMode="auto">
            <a:xfrm>
              <a:off x="825016" y="5261754"/>
              <a:ext cx="1645619" cy="485214"/>
            </a:xfrm>
            <a:prstGeom prst="rect">
              <a:avLst/>
            </a:prstGeom>
            <a:solidFill>
              <a:srgbClr val="E0DC2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350" b="1" i="1" u="none" strike="noStrike" kern="0" cap="none" spc="0" normalizeH="0" baseline="0" noProof="0">
                  <a:ln>
                    <a:noFill/>
                  </a:ln>
                  <a:solidFill>
                    <a:srgbClr val="10253F"/>
                  </a:solidFill>
                  <a:effectLst/>
                  <a:uLnTx/>
                  <a:uFillTx/>
                  <a:latin typeface="Arial" charset="0"/>
                  <a:ea typeface="ＭＳ Ｐゴシック" charset="0"/>
                  <a:cs typeface="Arial" charset="0"/>
                </a:rPr>
                <a:t>Lenalidomide</a:t>
              </a:r>
            </a:p>
          </p:txBody>
        </p:sp>
        <p:sp>
          <p:nvSpPr>
            <p:cNvPr id="62" name="TextBox 11"/>
            <p:cNvSpPr txBox="1"/>
            <p:nvPr/>
          </p:nvSpPr>
          <p:spPr>
            <a:xfrm>
              <a:off x="2841142" y="5261754"/>
              <a:ext cx="1645619" cy="485214"/>
            </a:xfrm>
            <a:prstGeom prst="rect">
              <a:avLst/>
            </a:prstGeom>
            <a:solidFill>
              <a:srgbClr val="E0DC24">
                <a:lumMod val="40000"/>
                <a:lumOff val="60000"/>
              </a:srgbClr>
            </a:solidFill>
            <a:ln>
              <a:noFill/>
            </a:ln>
          </p:spPr>
          <p:txBody>
            <a:bodyPr wrap="none">
              <a:spAutoFit/>
            </a:body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350" b="1" i="1" u="none" strike="noStrike" kern="0" cap="none" spc="0" normalizeH="0" baseline="0" noProof="0">
                  <a:ln>
                    <a:noFill/>
                  </a:ln>
                  <a:solidFill>
                    <a:srgbClr val="1F497D">
                      <a:lumMod val="50000"/>
                    </a:srgbClr>
                  </a:solidFill>
                  <a:effectLst/>
                  <a:uLnTx/>
                  <a:uFillTx/>
                  <a:latin typeface="Arial"/>
                  <a:ea typeface="ＭＳ Ｐゴシック"/>
                  <a:cs typeface="Arial" pitchFamily="34" charset="0"/>
                </a:rPr>
                <a:t>Lenalidomide</a:t>
              </a:r>
            </a:p>
          </p:txBody>
        </p:sp>
        <p:sp>
          <p:nvSpPr>
            <p:cNvPr id="63" name="TextBox 12"/>
            <p:cNvSpPr txBox="1">
              <a:spLocks noChangeArrowheads="1"/>
            </p:cNvSpPr>
            <p:nvPr/>
          </p:nvSpPr>
          <p:spPr bwMode="auto">
            <a:xfrm>
              <a:off x="778201" y="5983939"/>
              <a:ext cx="2947995" cy="485214"/>
            </a:xfrm>
            <a:prstGeom prst="rect">
              <a:avLst/>
            </a:prstGeom>
            <a:solidFill>
              <a:srgbClr val="7DCFE2">
                <a:lumMod val="60000"/>
                <a:lumOff val="40000"/>
              </a:srgbClr>
            </a:solidFill>
            <a:ln>
              <a:noFill/>
            </a:ln>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350" b="1" i="1" u="none" strike="noStrike" kern="0" cap="none" spc="0" normalizeH="0" baseline="0" noProof="0">
                  <a:ln>
                    <a:noFill/>
                  </a:ln>
                  <a:solidFill>
                    <a:srgbClr val="000090"/>
                  </a:solidFill>
                  <a:effectLst/>
                  <a:uLnTx/>
                  <a:uFillTx/>
                  <a:latin typeface="Arial" charset="0"/>
                  <a:ea typeface="ＭＳ Ｐゴシック" charset="0"/>
                </a:rPr>
                <a:t>HDM/ASCT at first relapse</a:t>
              </a:r>
            </a:p>
          </p:txBody>
        </p:sp>
        <p:sp>
          <p:nvSpPr>
            <p:cNvPr id="64" name="Oval 22"/>
            <p:cNvSpPr/>
            <p:nvPr/>
          </p:nvSpPr>
          <p:spPr>
            <a:xfrm>
              <a:off x="2339975" y="3767138"/>
              <a:ext cx="503238" cy="503237"/>
            </a:xfrm>
            <a:prstGeom prst="ellipse">
              <a:avLst/>
            </a:prstGeom>
            <a:solidFill>
              <a:srgbClr val="E0DC24">
                <a:lumMod val="50000"/>
              </a:srgbClr>
            </a:solidFill>
            <a:ln w="25400" cap="flat" cmpd="sng" algn="ctr">
              <a:noFill/>
              <a:prstDash val="solid"/>
            </a:ln>
            <a:effectLst/>
          </p:spPr>
          <p:txBody>
            <a:bodyPr anchor="ctr"/>
            <a:lstStyle/>
            <a:p>
              <a:pPr marL="0" marR="0" lvl="0" indent="0" algn="ctr" defTabSz="771525" rtl="0" eaLnBrk="1" fontAlgn="auto" latinLnBrk="0" hangingPunct="1">
                <a:lnSpc>
                  <a:spcPct val="100000"/>
                </a:lnSpc>
                <a:spcBef>
                  <a:spcPct val="0"/>
                </a:spcBef>
                <a:spcAft>
                  <a:spcPts val="0"/>
                </a:spcAft>
                <a:buClrTx/>
                <a:buSzTx/>
                <a:buFontTx/>
                <a:buNone/>
                <a:tabLst/>
                <a:defRPr/>
              </a:pPr>
              <a:endParaRPr kumimoji="0" lang="en-GB" sz="1350" b="1" i="1" u="none" strike="noStrike" kern="0" cap="none" spc="0" normalizeH="0" baseline="0" noProof="0">
                <a:ln>
                  <a:noFill/>
                </a:ln>
                <a:solidFill>
                  <a:prstClr val="white"/>
                </a:solidFill>
                <a:effectLst/>
                <a:uLnTx/>
                <a:uFillTx/>
                <a:latin typeface="Arial"/>
                <a:ea typeface="ＭＳ Ｐゴシック"/>
                <a:cs typeface=""/>
              </a:endParaRPr>
            </a:p>
          </p:txBody>
        </p:sp>
        <p:sp>
          <p:nvSpPr>
            <p:cNvPr id="65" name="TextBox 7"/>
            <p:cNvSpPr txBox="1">
              <a:spLocks noChangeArrowheads="1"/>
            </p:cNvSpPr>
            <p:nvPr/>
          </p:nvSpPr>
          <p:spPr bwMode="auto">
            <a:xfrm>
              <a:off x="2340107" y="3838576"/>
              <a:ext cx="479162" cy="443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771525" rtl="0" eaLnBrk="1" fontAlgn="auto" latinLnBrk="0" hangingPunct="1">
                <a:lnSpc>
                  <a:spcPct val="100000"/>
                </a:lnSpc>
                <a:spcBef>
                  <a:spcPct val="0"/>
                </a:spcBef>
                <a:spcAft>
                  <a:spcPts val="0"/>
                </a:spcAft>
                <a:buClrTx/>
                <a:buSzTx/>
                <a:buFontTx/>
                <a:buNone/>
                <a:tabLst/>
                <a:defRPr/>
              </a:pPr>
              <a:r>
                <a:rPr kumimoji="0" lang="en-GB" sz="1181" b="1" i="1" u="none" strike="noStrike" kern="0" cap="none" spc="0" normalizeH="0" baseline="0" noProof="0">
                  <a:ln>
                    <a:noFill/>
                  </a:ln>
                  <a:solidFill>
                    <a:srgbClr val="FFFFFF"/>
                  </a:solidFill>
                  <a:effectLst/>
                  <a:uLnTx/>
                  <a:uFillTx/>
                  <a:latin typeface="Arial" charset="0"/>
                  <a:ea typeface="ＭＳ Ｐゴシック" charset="0"/>
                </a:rPr>
                <a:t>R2</a:t>
              </a:r>
            </a:p>
          </p:txBody>
        </p:sp>
        <p:cxnSp>
          <p:nvCxnSpPr>
            <p:cNvPr id="66" name="Straight Connector 33"/>
            <p:cNvCxnSpPr/>
            <p:nvPr/>
          </p:nvCxnSpPr>
          <p:spPr>
            <a:xfrm rot="5400000">
              <a:off x="-864394" y="4830932"/>
              <a:ext cx="2808288" cy="0"/>
            </a:xfrm>
            <a:prstGeom prst="line">
              <a:avLst/>
            </a:prstGeom>
            <a:noFill/>
            <a:ln w="28575" cap="flat" cmpd="sng" algn="ctr">
              <a:solidFill>
                <a:srgbClr val="FFFFFF"/>
              </a:solidFill>
              <a:prstDash val="solid"/>
            </a:ln>
            <a:effectLst/>
          </p:spPr>
        </p:cxnSp>
        <p:cxnSp>
          <p:nvCxnSpPr>
            <p:cNvPr id="67" name="Straight Arrow Connector 39"/>
            <p:cNvCxnSpPr/>
            <p:nvPr/>
          </p:nvCxnSpPr>
          <p:spPr>
            <a:xfrm rot="10800000" flipV="1">
              <a:off x="1763713" y="2901950"/>
              <a:ext cx="504825" cy="215900"/>
            </a:xfrm>
            <a:prstGeom prst="straightConnector1">
              <a:avLst/>
            </a:prstGeom>
            <a:noFill/>
            <a:ln w="28575" cap="flat" cmpd="sng" algn="ctr">
              <a:solidFill>
                <a:srgbClr val="00B0F0"/>
              </a:solidFill>
              <a:prstDash val="solid"/>
              <a:tailEnd type="arrow"/>
            </a:ln>
            <a:effectLst/>
          </p:spPr>
        </p:cxnSp>
        <p:cxnSp>
          <p:nvCxnSpPr>
            <p:cNvPr id="68" name="Straight Arrow Connector 40"/>
            <p:cNvCxnSpPr/>
            <p:nvPr/>
          </p:nvCxnSpPr>
          <p:spPr>
            <a:xfrm rot="10800000" flipH="1" flipV="1">
              <a:off x="2916238" y="2901950"/>
              <a:ext cx="503237" cy="215900"/>
            </a:xfrm>
            <a:prstGeom prst="straightConnector1">
              <a:avLst/>
            </a:prstGeom>
            <a:noFill/>
            <a:ln w="28575" cap="flat" cmpd="sng" algn="ctr">
              <a:solidFill>
                <a:srgbClr val="00B0F0"/>
              </a:solidFill>
              <a:prstDash val="solid"/>
              <a:tailEnd type="arrow"/>
            </a:ln>
            <a:effectLst/>
          </p:spPr>
        </p:cxnSp>
        <p:cxnSp>
          <p:nvCxnSpPr>
            <p:cNvPr id="69" name="Straight Arrow Connector 41"/>
            <p:cNvCxnSpPr/>
            <p:nvPr/>
          </p:nvCxnSpPr>
          <p:spPr>
            <a:xfrm rot="10800000" flipV="1">
              <a:off x="1763713" y="4125913"/>
              <a:ext cx="504825" cy="215900"/>
            </a:xfrm>
            <a:prstGeom prst="straightConnector1">
              <a:avLst/>
            </a:prstGeom>
            <a:noFill/>
            <a:ln w="28575" cap="flat" cmpd="sng" algn="ctr">
              <a:solidFill>
                <a:srgbClr val="00B0F0"/>
              </a:solidFill>
              <a:prstDash val="solid"/>
              <a:tailEnd type="arrow"/>
            </a:ln>
            <a:effectLst/>
          </p:spPr>
        </p:cxnSp>
        <p:cxnSp>
          <p:nvCxnSpPr>
            <p:cNvPr id="70" name="Straight Arrow Connector 42"/>
            <p:cNvCxnSpPr/>
            <p:nvPr/>
          </p:nvCxnSpPr>
          <p:spPr>
            <a:xfrm rot="10800000" flipH="1" flipV="1">
              <a:off x="2916238" y="4125913"/>
              <a:ext cx="503237" cy="215900"/>
            </a:xfrm>
            <a:prstGeom prst="straightConnector1">
              <a:avLst/>
            </a:prstGeom>
            <a:noFill/>
            <a:ln w="28575" cap="flat" cmpd="sng" algn="ctr">
              <a:solidFill>
                <a:srgbClr val="00B0F0"/>
              </a:solidFill>
              <a:prstDash val="solid"/>
              <a:tailEnd type="arrow"/>
            </a:ln>
            <a:effectLst/>
          </p:spPr>
        </p:cxnSp>
        <p:cxnSp>
          <p:nvCxnSpPr>
            <p:cNvPr id="71" name="Straight Arrow Connector 44"/>
            <p:cNvCxnSpPr/>
            <p:nvPr/>
          </p:nvCxnSpPr>
          <p:spPr>
            <a:xfrm rot="5400000">
              <a:off x="1472191" y="5065134"/>
              <a:ext cx="295706" cy="1588"/>
            </a:xfrm>
            <a:prstGeom prst="straightConnector1">
              <a:avLst/>
            </a:prstGeom>
            <a:noFill/>
            <a:ln w="28575" cap="flat" cmpd="sng" algn="ctr">
              <a:solidFill>
                <a:srgbClr val="00B0F0"/>
              </a:solidFill>
              <a:prstDash val="solid"/>
              <a:tailEnd type="arrow"/>
            </a:ln>
            <a:effectLst/>
          </p:spPr>
        </p:cxnSp>
        <p:cxnSp>
          <p:nvCxnSpPr>
            <p:cNvPr id="72" name="Straight Arrow Connector 45"/>
            <p:cNvCxnSpPr/>
            <p:nvPr/>
          </p:nvCxnSpPr>
          <p:spPr>
            <a:xfrm rot="5400000">
              <a:off x="3416879" y="5065134"/>
              <a:ext cx="295706" cy="1587"/>
            </a:xfrm>
            <a:prstGeom prst="straightConnector1">
              <a:avLst/>
            </a:prstGeom>
            <a:noFill/>
            <a:ln w="28575" cap="flat" cmpd="sng" algn="ctr">
              <a:solidFill>
                <a:srgbClr val="00B0F0"/>
              </a:solidFill>
              <a:prstDash val="solid"/>
              <a:tailEnd type="arrow"/>
            </a:ln>
            <a:effectLst/>
          </p:spPr>
        </p:cxnSp>
        <p:cxnSp>
          <p:nvCxnSpPr>
            <p:cNvPr id="73" name="Straight Connector 5"/>
            <p:cNvCxnSpPr/>
            <p:nvPr/>
          </p:nvCxnSpPr>
          <p:spPr bwMode="auto">
            <a:xfrm flipH="1">
              <a:off x="573934" y="3467570"/>
              <a:ext cx="504056" cy="0"/>
            </a:xfrm>
            <a:prstGeom prst="line">
              <a:avLst/>
            </a:prstGeom>
            <a:noFill/>
            <a:ln w="28575" cap="flat" cmpd="sng" algn="ctr">
              <a:solidFill>
                <a:schemeClr val="bg1"/>
              </a:solidFill>
              <a:prstDash val="solid"/>
              <a:round/>
              <a:headEnd type="none" w="med" len="med"/>
              <a:tailEnd type="non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5" name="Straight Connector 43"/>
            <p:cNvCxnSpPr/>
            <p:nvPr/>
          </p:nvCxnSpPr>
          <p:spPr bwMode="auto">
            <a:xfrm flipH="1">
              <a:off x="519626" y="6237313"/>
              <a:ext cx="215826" cy="0"/>
            </a:xfrm>
            <a:prstGeom prst="line">
              <a:avLst/>
            </a:prstGeom>
            <a:noFill/>
            <a:ln w="28575" cap="flat" cmpd="sng" algn="ctr">
              <a:solidFill>
                <a:schemeClr val="bg1"/>
              </a:solidFill>
              <a:prstDash val="solid"/>
              <a:round/>
              <a:headEnd type="none" w="med" len="med"/>
              <a:tailEnd type="non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sp>
        <p:nvSpPr>
          <p:cNvPr id="76" name="Rectángulo 75"/>
          <p:cNvSpPr/>
          <p:nvPr/>
        </p:nvSpPr>
        <p:spPr>
          <a:xfrm>
            <a:off x="822783" y="1402825"/>
            <a:ext cx="793807" cy="274049"/>
          </a:xfrm>
          <a:prstGeom prst="rect">
            <a:avLst/>
          </a:prstGeom>
        </p:spPr>
        <p:txBody>
          <a:bodyPr wrap="none">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n-US" sz="1181" b="1" i="0" u="none" strike="noStrike" kern="1200" cap="none" spc="0" normalizeH="0" baseline="0" noProof="0">
                <a:ln>
                  <a:noFill/>
                </a:ln>
                <a:solidFill>
                  <a:srgbClr val="FFFFFF"/>
                </a:solidFill>
                <a:effectLst/>
                <a:uLnTx/>
                <a:uFillTx/>
                <a:latin typeface="Arial" charset="0"/>
                <a:ea typeface="Arial" charset="0"/>
                <a:cs typeface="Arial" charset="0"/>
              </a:rPr>
              <a:t>1192 pts</a:t>
            </a:r>
          </a:p>
        </p:txBody>
      </p:sp>
      <p:sp>
        <p:nvSpPr>
          <p:cNvPr id="33" name="Rectángulo 32"/>
          <p:cNvSpPr/>
          <p:nvPr/>
        </p:nvSpPr>
        <p:spPr>
          <a:xfrm>
            <a:off x="940695" y="2155821"/>
            <a:ext cx="3037838" cy="546811"/>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771525" rtl="0" eaLnBrk="0" fontAlgn="base" latinLnBrk="0" hangingPunct="0">
              <a:lnSpc>
                <a:spcPct val="100000"/>
              </a:lnSpc>
              <a:spcBef>
                <a:spcPct val="20000"/>
              </a:spcBef>
              <a:spcAft>
                <a:spcPct val="0"/>
              </a:spcAft>
              <a:buClrTx/>
              <a:buSzTx/>
              <a:buFontTx/>
              <a:buNone/>
              <a:tabLst/>
              <a:defRPr/>
            </a:pPr>
            <a:endParaRPr kumimoji="0" lang="es-ES_tradnl" sz="2250" b="1" i="0" u="none" strike="noStrike" kern="1200" cap="none" spc="0" normalizeH="0" baseline="0" noProof="0">
              <a:ln>
                <a:noFill/>
              </a:ln>
              <a:solidFill>
                <a:srgbClr val="00003C"/>
              </a:solidFill>
              <a:effectLst/>
              <a:uLnTx/>
              <a:uFillTx/>
              <a:latin typeface="Arial"/>
              <a:ea typeface="+mn-ea"/>
              <a:cs typeface="+mn-cs"/>
            </a:endParaRPr>
          </a:p>
        </p:txBody>
      </p:sp>
      <p:sp>
        <p:nvSpPr>
          <p:cNvPr id="32" name="Text Box 4">
            <a:extLst>
              <a:ext uri="{FF2B5EF4-FFF2-40B4-BE49-F238E27FC236}">
                <a16:creationId xmlns:a16="http://schemas.microsoft.com/office/drawing/2014/main" id="{550D077C-95D5-4A65-A7AE-E557131356D9}"/>
              </a:ext>
            </a:extLst>
          </p:cNvPr>
          <p:cNvSpPr txBox="1">
            <a:spLocks noChangeArrowheads="1"/>
          </p:cNvSpPr>
          <p:nvPr/>
        </p:nvSpPr>
        <p:spPr bwMode="auto">
          <a:xfrm>
            <a:off x="1288943" y="548795"/>
            <a:ext cx="6444600" cy="326115"/>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1519" b="1" i="0" u="none" strike="noStrike" kern="1200" cap="none" spc="0" normalizeH="0" baseline="0" noProof="0">
                <a:ln>
                  <a:noFill/>
                </a:ln>
                <a:solidFill>
                  <a:srgbClr val="BE2BBB"/>
                </a:solidFill>
                <a:effectLst/>
                <a:uLnTx/>
                <a:uFillTx/>
                <a:latin typeface="Trebuchet MS"/>
                <a:ea typeface="ＭＳ Ｐゴシック" charset="0"/>
                <a:cs typeface="+mn-cs"/>
              </a:rPr>
              <a:t>Is it possible to reserve the ASCT at relapse?</a:t>
            </a:r>
          </a:p>
        </p:txBody>
      </p:sp>
      <p:sp>
        <p:nvSpPr>
          <p:cNvPr id="31" name="Rectángulo 77">
            <a:extLst>
              <a:ext uri="{FF2B5EF4-FFF2-40B4-BE49-F238E27FC236}">
                <a16:creationId xmlns:a16="http://schemas.microsoft.com/office/drawing/2014/main" id="{39334D0F-7CAF-4707-96F6-1E1A7606E742}"/>
              </a:ext>
            </a:extLst>
          </p:cNvPr>
          <p:cNvSpPr/>
          <p:nvPr/>
        </p:nvSpPr>
        <p:spPr>
          <a:xfrm>
            <a:off x="2898321" y="4781625"/>
            <a:ext cx="6086521" cy="246221"/>
          </a:xfrm>
          <a:prstGeom prst="rect">
            <a:avLst/>
          </a:prstGeom>
        </p:spPr>
        <p:txBody>
          <a:bodyPr wrap="square">
            <a:spAutoFit/>
          </a:bodyPr>
          <a:lstStyle/>
          <a:p>
            <a:pPr marL="0" marR="0" lvl="0" indent="0" algn="r" defTabSz="771525" rtl="0" eaLnBrk="1" fontAlgn="auto" latinLnBrk="0" hangingPunct="1">
              <a:lnSpc>
                <a:spcPct val="100000"/>
              </a:lnSpc>
              <a:spcBef>
                <a:spcPts val="0"/>
              </a:spcBef>
              <a:spcAft>
                <a:spcPts val="0"/>
              </a:spcAft>
              <a:buClrTx/>
              <a:buSzTx/>
              <a:buFontTx/>
              <a:buNone/>
              <a:tabLst/>
              <a:defRPr/>
            </a:pP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  Cavo M, et al. </a:t>
            </a:r>
            <a:r>
              <a:rPr kumimoji="0" lang="es-ES" sz="1000" b="0" i="1" u="none" strike="noStrike" kern="0" cap="none" spc="0" normalizeH="0" baseline="0" noProof="0">
                <a:ln>
                  <a:noFill/>
                </a:ln>
                <a:solidFill>
                  <a:srgbClr val="000020"/>
                </a:solidFill>
                <a:effectLst/>
                <a:uLnTx/>
                <a:uFillTx/>
                <a:latin typeface="Trebuchet MS"/>
                <a:ea typeface="MS PGothic" pitchFamily="34" charset="-128"/>
                <a:cs typeface="+mn-cs"/>
              </a:rPr>
              <a:t>Blood.</a:t>
            </a: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 2017;130:397–397; Cavo M, et al. </a:t>
            </a:r>
            <a:r>
              <a:rPr kumimoji="0" lang="es-ES" sz="1000" b="0" i="1" u="none" strike="noStrike" kern="0" cap="none" spc="0" normalizeH="0" baseline="0" noProof="0">
                <a:ln>
                  <a:noFill/>
                </a:ln>
                <a:solidFill>
                  <a:srgbClr val="000020"/>
                </a:solidFill>
                <a:effectLst/>
                <a:uLnTx/>
                <a:uFillTx/>
                <a:latin typeface="Trebuchet MS"/>
                <a:ea typeface="MS PGothic" pitchFamily="34" charset="-128"/>
                <a:cs typeface="+mn-cs"/>
              </a:rPr>
              <a:t>Lancet Haematol</a:t>
            </a: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 2020;7:e456-e468.</a:t>
            </a:r>
            <a:endParaRPr kumimoji="0" lang="fr-FR" sz="1000" b="0" i="0" u="none" strike="noStrike" kern="1200" cap="none" spc="0" normalizeH="0" baseline="0" noProof="0">
              <a:ln>
                <a:noFill/>
              </a:ln>
              <a:solidFill>
                <a:srgbClr val="000020"/>
              </a:solidFill>
              <a:effectLst/>
              <a:uLnTx/>
              <a:uFillTx/>
              <a:latin typeface="Trebuchet MS"/>
              <a:ea typeface="ＭＳ Ｐゴシック" charset="0"/>
              <a:cs typeface="+mn-cs"/>
            </a:endParaRPr>
          </a:p>
        </p:txBody>
      </p:sp>
    </p:spTree>
    <p:extLst>
      <p:ext uri="{BB962C8B-B14F-4D97-AF65-F5344CB8AC3E}">
        <p14:creationId xmlns:p14="http://schemas.microsoft.com/office/powerpoint/2010/main" val="176091756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FSbyGROUP"/>
          <p:cNvPicPr>
            <a:picLocks noChangeAspect="1" noChangeArrowheads="1"/>
          </p:cNvPicPr>
          <p:nvPr/>
        </p:nvPicPr>
        <p:blipFill>
          <a:blip r:embed="rId2" cstate="screen">
            <a:extLst>
              <a:ext uri="{28A0092B-C50C-407E-A947-70E740481C1C}">
                <a14:useLocalDpi xmlns:a14="http://schemas.microsoft.com/office/drawing/2010/main"/>
              </a:ext>
            </a:extLst>
          </a:blip>
          <a:srcRect l="2844" b="2092"/>
          <a:stretch>
            <a:fillRect/>
          </a:stretch>
        </p:blipFill>
        <p:spPr bwMode="auto">
          <a:xfrm>
            <a:off x="829028" y="965582"/>
            <a:ext cx="3585444" cy="2902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Box 4"/>
          <p:cNvSpPr txBox="1">
            <a:spLocks noChangeArrowheads="1"/>
          </p:cNvSpPr>
          <p:nvPr/>
        </p:nvSpPr>
        <p:spPr bwMode="auto">
          <a:xfrm>
            <a:off x="-81926" y="195300"/>
            <a:ext cx="7715250" cy="403957"/>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2025" b="1" i="0" u="none" strike="noStrike" kern="1200" cap="none" spc="0" normalizeH="0" baseline="0" noProof="0">
                <a:ln>
                  <a:noFill/>
                </a:ln>
                <a:solidFill>
                  <a:srgbClr val="595454"/>
                </a:solidFill>
                <a:effectLst/>
                <a:uLnTx/>
                <a:uFillTx/>
                <a:latin typeface="Trebuchet MS"/>
                <a:ea typeface="ＭＳ Ｐゴシック" charset="0"/>
                <a:cs typeface="+mn-cs"/>
              </a:rPr>
              <a:t>Management of MM in the transplant-candidate ND patient</a:t>
            </a:r>
          </a:p>
        </p:txBody>
      </p:sp>
      <p:sp>
        <p:nvSpPr>
          <p:cNvPr id="3" name="CuadroTexto 2"/>
          <p:cNvSpPr txBox="1"/>
          <p:nvPr/>
        </p:nvSpPr>
        <p:spPr>
          <a:xfrm>
            <a:off x="2440199" y="1330283"/>
            <a:ext cx="1633781" cy="248209"/>
          </a:xfrm>
          <a:prstGeom prst="rect">
            <a:avLst/>
          </a:prstGeom>
          <a:noFill/>
        </p:spPr>
        <p:txBody>
          <a:bodyPr wrap="none" rtlCol="0">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s-ES_tradnl" sz="1013" b="1" i="0" u="none" strike="noStrike" kern="1200" cap="none" spc="0" normalizeH="0" baseline="0" noProof="0">
                <a:ln>
                  <a:noFill/>
                </a:ln>
                <a:solidFill>
                  <a:srgbClr val="C00000"/>
                </a:solidFill>
                <a:effectLst/>
                <a:uLnTx/>
                <a:uFillTx/>
                <a:latin typeface="Arial"/>
                <a:ea typeface="ＭＳ Ｐゴシック" charset="0"/>
                <a:cs typeface="+mn-cs"/>
              </a:rPr>
              <a:t>ASCT = NR, 64% at 3 yr</a:t>
            </a:r>
          </a:p>
        </p:txBody>
      </p:sp>
      <p:sp>
        <p:nvSpPr>
          <p:cNvPr id="28" name="CuadroTexto 27"/>
          <p:cNvSpPr txBox="1"/>
          <p:nvPr/>
        </p:nvSpPr>
        <p:spPr>
          <a:xfrm>
            <a:off x="2125460" y="1795898"/>
            <a:ext cx="992580" cy="248209"/>
          </a:xfrm>
          <a:prstGeom prst="rect">
            <a:avLst/>
          </a:prstGeom>
          <a:noFill/>
        </p:spPr>
        <p:txBody>
          <a:bodyPr wrap="none" rtlCol="0">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s-ES_tradnl" sz="1013" b="1" i="0" u="none" strike="noStrike" kern="1200" cap="none" spc="0" normalizeH="0" baseline="0" noProof="0">
                <a:ln>
                  <a:noFill/>
                </a:ln>
                <a:solidFill>
                  <a:srgbClr val="002060"/>
                </a:solidFill>
                <a:effectLst/>
                <a:uLnTx/>
                <a:uFillTx/>
                <a:latin typeface="Arial"/>
                <a:ea typeface="ＭＳ Ｐゴシック" charset="0"/>
                <a:cs typeface="+mn-cs"/>
              </a:rPr>
              <a:t>VMP = 44 mo</a:t>
            </a:r>
          </a:p>
        </p:txBody>
      </p:sp>
      <p:sp>
        <p:nvSpPr>
          <p:cNvPr id="4" name="CuadroTexto 3"/>
          <p:cNvSpPr txBox="1"/>
          <p:nvPr/>
        </p:nvSpPr>
        <p:spPr>
          <a:xfrm>
            <a:off x="1507298" y="2666164"/>
            <a:ext cx="1301959" cy="248209"/>
          </a:xfrm>
          <a:prstGeom prst="rect">
            <a:avLst/>
          </a:prstGeom>
          <a:noFill/>
        </p:spPr>
        <p:txBody>
          <a:bodyPr wrap="none" rtlCol="0">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s-ES_tradnl" sz="1013" b="0" i="0" u="none" strike="noStrike" kern="1200" cap="none" spc="0" normalizeH="0" baseline="0" noProof="0">
                <a:ln>
                  <a:noFill/>
                </a:ln>
                <a:solidFill>
                  <a:srgbClr val="00002D"/>
                </a:solidFill>
                <a:effectLst/>
                <a:uLnTx/>
                <a:uFillTx/>
                <a:latin typeface="Arial" charset="0"/>
                <a:ea typeface="Arial" charset="0"/>
                <a:cs typeface="Arial" charset="0"/>
              </a:rPr>
              <a:t>HR = 0.76, </a:t>
            </a:r>
            <a:r>
              <a:rPr kumimoji="0" lang="es-ES_tradnl" sz="1013" b="0" i="1" u="none" strike="noStrike" kern="1200" cap="none" spc="0" normalizeH="0" baseline="0" noProof="0">
                <a:ln>
                  <a:noFill/>
                </a:ln>
                <a:solidFill>
                  <a:srgbClr val="00002D"/>
                </a:solidFill>
                <a:effectLst/>
                <a:uLnTx/>
                <a:uFillTx/>
                <a:latin typeface="Arial" charset="0"/>
                <a:ea typeface="Arial" charset="0"/>
                <a:cs typeface="Arial" charset="0"/>
              </a:rPr>
              <a:t>P</a:t>
            </a:r>
            <a:r>
              <a:rPr kumimoji="0" lang="es-ES_tradnl" sz="1013" b="0" i="0" u="none" strike="noStrike" kern="1200" cap="none" spc="0" normalizeH="0" baseline="0" noProof="0">
                <a:ln>
                  <a:noFill/>
                </a:ln>
                <a:solidFill>
                  <a:srgbClr val="00002D"/>
                </a:solidFill>
                <a:effectLst/>
                <a:uLnTx/>
                <a:uFillTx/>
                <a:latin typeface="Arial" charset="0"/>
                <a:ea typeface="Arial" charset="0"/>
                <a:cs typeface="Arial" charset="0"/>
              </a:rPr>
              <a:t> = 002</a:t>
            </a:r>
          </a:p>
        </p:txBody>
      </p:sp>
      <p:sp>
        <p:nvSpPr>
          <p:cNvPr id="15" name="Rectangle 158"/>
          <p:cNvSpPr>
            <a:spLocks noChangeArrowheads="1"/>
          </p:cNvSpPr>
          <p:nvPr/>
        </p:nvSpPr>
        <p:spPr bwMode="auto">
          <a:xfrm>
            <a:off x="5537955" y="2905721"/>
            <a:ext cx="2238113" cy="2286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marL="0" marR="0" lvl="0" indent="0" algn="l" defTabSz="771525" rtl="0" eaLnBrk="1" fontAlgn="base" latinLnBrk="0" hangingPunct="1">
              <a:lnSpc>
                <a:spcPct val="100000"/>
              </a:lnSpc>
              <a:spcBef>
                <a:spcPct val="0"/>
              </a:spcBef>
              <a:spcAft>
                <a:spcPct val="0"/>
              </a:spcAft>
              <a:buClrTx/>
              <a:buSzTx/>
              <a:buFontTx/>
              <a:buNone/>
              <a:tabLst/>
              <a:defRPr/>
            </a:pPr>
            <a:r>
              <a:rPr kumimoji="0" lang="en-GB" sz="886" b="0" i="0" u="none" strike="noStrike" kern="1200" cap="none" spc="0" normalizeH="0" baseline="0" noProof="0">
                <a:ln>
                  <a:noFill/>
                </a:ln>
                <a:solidFill>
                  <a:srgbClr val="00002D"/>
                </a:solidFill>
                <a:effectLst/>
                <a:uLnTx/>
                <a:uFillTx/>
                <a:latin typeface="Arial" charset="0"/>
                <a:ea typeface="ＭＳ Ｐゴシック" charset="0"/>
                <a:cs typeface=""/>
              </a:rPr>
              <a:t>HR (95% CI): 0.</a:t>
            </a:r>
            <a:r>
              <a:rPr kumimoji="0" lang="it-IT" sz="886" b="0" i="0" u="none" strike="noStrike" kern="1200" cap="none" spc="0" normalizeH="0" baseline="0" noProof="0">
                <a:ln>
                  <a:noFill/>
                </a:ln>
                <a:solidFill>
                  <a:srgbClr val="00002D"/>
                </a:solidFill>
                <a:effectLst/>
                <a:uLnTx/>
                <a:uFillTx/>
                <a:latin typeface="Arial" charset="0"/>
                <a:ea typeface="ＭＳ Ｐゴシック" charset="0"/>
                <a:cs typeface=""/>
              </a:rPr>
              <a:t>98</a:t>
            </a:r>
            <a:r>
              <a:rPr kumimoji="0" lang="en-GB" sz="886" b="0" i="0" u="none" strike="noStrike" kern="1200" cap="none" spc="0" normalizeH="0" baseline="0" noProof="0">
                <a:ln>
                  <a:noFill/>
                </a:ln>
                <a:solidFill>
                  <a:srgbClr val="00002D"/>
                </a:solidFill>
                <a:effectLst/>
                <a:uLnTx/>
                <a:uFillTx/>
                <a:latin typeface="Arial" charset="0"/>
                <a:ea typeface="ＭＳ Ｐゴシック" charset="0"/>
                <a:cs typeface=""/>
              </a:rPr>
              <a:t> (0.72-1.33); p = 0.899</a:t>
            </a:r>
          </a:p>
        </p:txBody>
      </p:sp>
      <p:sp>
        <p:nvSpPr>
          <p:cNvPr id="18" name="Rectángulo 17"/>
          <p:cNvSpPr/>
          <p:nvPr/>
        </p:nvSpPr>
        <p:spPr>
          <a:xfrm>
            <a:off x="805945" y="965581"/>
            <a:ext cx="521298" cy="300082"/>
          </a:xfrm>
          <a:prstGeom prst="rect">
            <a:avLst/>
          </a:prstGeom>
        </p:spPr>
        <p:txBody>
          <a:bodyPr wrap="none">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n-US" sz="1350" b="1" i="0" u="none" strike="noStrike" kern="1200" cap="none" spc="0" normalizeH="0" baseline="0" noProof="0">
                <a:ln>
                  <a:noFill/>
                </a:ln>
                <a:solidFill>
                  <a:srgbClr val="0432FF"/>
                </a:solidFill>
                <a:effectLst/>
                <a:uLnTx/>
                <a:uFillTx/>
                <a:latin typeface="Arial" charset="0"/>
                <a:ea typeface="Arial" charset="0"/>
                <a:cs typeface="Arial" charset="0"/>
              </a:rPr>
              <a:t>PFS</a:t>
            </a:r>
          </a:p>
        </p:txBody>
      </p:sp>
      <p:sp>
        <p:nvSpPr>
          <p:cNvPr id="21" name="Rectángulo 20"/>
          <p:cNvSpPr/>
          <p:nvPr/>
        </p:nvSpPr>
        <p:spPr>
          <a:xfrm>
            <a:off x="4585757" y="4559883"/>
            <a:ext cx="3857625" cy="196208"/>
          </a:xfrm>
          <a:prstGeom prst="rect">
            <a:avLst/>
          </a:prstGeom>
        </p:spPr>
        <p:txBody>
          <a:bodyPr>
            <a:spAutoFit/>
          </a:bodyPr>
          <a:lstStyle/>
          <a:p>
            <a:pPr marL="0" marR="0" lvl="0" indent="0" algn="r" defTabSz="771525" rtl="0" eaLnBrk="1" fontAlgn="auto" latinLnBrk="0" hangingPunct="1">
              <a:lnSpc>
                <a:spcPct val="100000"/>
              </a:lnSpc>
              <a:spcBef>
                <a:spcPts val="0"/>
              </a:spcBef>
              <a:spcAft>
                <a:spcPts val="0"/>
              </a:spcAft>
              <a:buClrTx/>
              <a:buSzTx/>
              <a:buFontTx/>
              <a:buNone/>
              <a:tabLst/>
              <a:defRPr/>
            </a:pPr>
            <a:r>
              <a:rPr kumimoji="0" lang="es-ES" sz="675" b="1" i="0" u="none" strike="noStrike" kern="0" cap="none" spc="0" normalizeH="0" baseline="0" noProof="0">
                <a:ln>
                  <a:noFill/>
                </a:ln>
                <a:solidFill>
                  <a:prstClr val="white"/>
                </a:solidFill>
                <a:effectLst/>
                <a:uLnTx/>
                <a:uFillTx/>
                <a:latin typeface="Arial"/>
                <a:ea typeface="MS PGothic" pitchFamily="34" charset="-128"/>
                <a:cs typeface="+mn-cs"/>
              </a:rPr>
              <a:t> Cavo M et al. ASH2020</a:t>
            </a:r>
            <a:endParaRPr kumimoji="0" lang="fr-FR" sz="675" b="1" i="0" u="none" strike="noStrike" kern="1200" cap="none" spc="0" normalizeH="0" baseline="0" noProof="0">
              <a:ln>
                <a:noFill/>
              </a:ln>
              <a:solidFill>
                <a:prstClr val="white"/>
              </a:solidFill>
              <a:effectLst/>
              <a:uLnTx/>
              <a:uFillTx/>
              <a:latin typeface="Arial"/>
              <a:ea typeface="ＭＳ Ｐゴシック" charset="0"/>
              <a:cs typeface="+mn-cs"/>
            </a:endParaRPr>
          </a:p>
        </p:txBody>
      </p:sp>
      <p:pic>
        <p:nvPicPr>
          <p:cNvPr id="2" name="Imagen 1">
            <a:extLst>
              <a:ext uri="{FF2B5EF4-FFF2-40B4-BE49-F238E27FC236}">
                <a16:creationId xmlns:a16="http://schemas.microsoft.com/office/drawing/2014/main" id="{B604C558-87D6-5843-B130-B2875B7FD260}"/>
              </a:ext>
            </a:extLst>
          </p:cNvPr>
          <p:cNvPicPr>
            <a:picLocks noChangeAspect="1"/>
          </p:cNvPicPr>
          <p:nvPr/>
        </p:nvPicPr>
        <p:blipFill>
          <a:blip r:embed="rId3"/>
          <a:stretch>
            <a:fillRect/>
          </a:stretch>
        </p:blipFill>
        <p:spPr>
          <a:xfrm>
            <a:off x="4543209" y="1206298"/>
            <a:ext cx="3771764" cy="2892112"/>
          </a:xfrm>
          <a:prstGeom prst="rect">
            <a:avLst/>
          </a:prstGeom>
        </p:spPr>
      </p:pic>
      <p:sp>
        <p:nvSpPr>
          <p:cNvPr id="14" name="Text Box 4">
            <a:extLst>
              <a:ext uri="{FF2B5EF4-FFF2-40B4-BE49-F238E27FC236}">
                <a16:creationId xmlns:a16="http://schemas.microsoft.com/office/drawing/2014/main" id="{BB2E6AEC-3488-DD42-8801-941821B820A8}"/>
              </a:ext>
            </a:extLst>
          </p:cNvPr>
          <p:cNvSpPr txBox="1">
            <a:spLocks noChangeArrowheads="1"/>
          </p:cNvSpPr>
          <p:nvPr/>
        </p:nvSpPr>
        <p:spPr bwMode="auto">
          <a:xfrm>
            <a:off x="812470" y="4157133"/>
            <a:ext cx="7475235" cy="507831"/>
          </a:xfrm>
          <a:prstGeom prst="rect">
            <a:avLst/>
          </a:prstGeom>
          <a:solidFill>
            <a:srgbClr val="FFECCD"/>
          </a:solid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1350" b="1" i="0" u="none" strike="noStrike" kern="1200" cap="none" spc="0" normalizeH="0" baseline="0" noProof="0">
                <a:ln>
                  <a:noFill/>
                </a:ln>
                <a:solidFill>
                  <a:srgbClr val="595454"/>
                </a:solidFill>
                <a:effectLst/>
                <a:uLnTx/>
                <a:uFillTx/>
                <a:latin typeface="Trebuchet MS"/>
                <a:ea typeface="ＭＳ Ｐゴシック" charset="0"/>
                <a:cs typeface="+mn-cs"/>
              </a:rPr>
              <a:t>The benefit in OS could be explained by the study design including CyBorD as induction and VMP as consolidation in the control arm</a:t>
            </a:r>
          </a:p>
        </p:txBody>
      </p:sp>
      <p:sp>
        <p:nvSpPr>
          <p:cNvPr id="16" name="Rectángulo 15">
            <a:extLst>
              <a:ext uri="{FF2B5EF4-FFF2-40B4-BE49-F238E27FC236}">
                <a16:creationId xmlns:a16="http://schemas.microsoft.com/office/drawing/2014/main" id="{A5173B94-9863-0043-AADA-C43521FB51BC}"/>
              </a:ext>
            </a:extLst>
          </p:cNvPr>
          <p:cNvSpPr/>
          <p:nvPr/>
        </p:nvSpPr>
        <p:spPr>
          <a:xfrm>
            <a:off x="4658626" y="946505"/>
            <a:ext cx="434735" cy="300082"/>
          </a:xfrm>
          <a:prstGeom prst="rect">
            <a:avLst/>
          </a:prstGeom>
        </p:spPr>
        <p:txBody>
          <a:bodyPr wrap="none">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n-US" sz="1350" b="1" i="0" u="none" strike="noStrike" kern="1200" cap="none" spc="0" normalizeH="0" baseline="0" noProof="0">
                <a:ln>
                  <a:noFill/>
                </a:ln>
                <a:solidFill>
                  <a:srgbClr val="0432FF"/>
                </a:solidFill>
                <a:effectLst/>
                <a:uLnTx/>
                <a:uFillTx/>
                <a:latin typeface="Arial" charset="0"/>
                <a:ea typeface="Arial" charset="0"/>
                <a:cs typeface="Arial" charset="0"/>
              </a:rPr>
              <a:t>OS</a:t>
            </a:r>
          </a:p>
        </p:txBody>
      </p:sp>
      <p:sp>
        <p:nvSpPr>
          <p:cNvPr id="17" name="Rectángulo 16">
            <a:extLst>
              <a:ext uri="{FF2B5EF4-FFF2-40B4-BE49-F238E27FC236}">
                <a16:creationId xmlns:a16="http://schemas.microsoft.com/office/drawing/2014/main" id="{9E2FC667-7871-3442-900B-F3343B32EE7C}"/>
              </a:ext>
            </a:extLst>
          </p:cNvPr>
          <p:cNvSpPr/>
          <p:nvPr/>
        </p:nvSpPr>
        <p:spPr>
          <a:xfrm>
            <a:off x="5514872" y="2713879"/>
            <a:ext cx="521298" cy="300082"/>
          </a:xfrm>
          <a:prstGeom prst="rect">
            <a:avLst/>
          </a:prstGeom>
        </p:spPr>
        <p:txBody>
          <a:bodyPr wrap="none">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n-US" sz="1350" b="1" i="0" u="none" strike="noStrike" kern="1200" cap="none" spc="0" normalizeH="0" baseline="0" noProof="0">
                <a:ln>
                  <a:noFill/>
                </a:ln>
                <a:solidFill>
                  <a:srgbClr val="0432FF"/>
                </a:solidFill>
                <a:effectLst/>
                <a:uLnTx/>
                <a:uFillTx/>
                <a:latin typeface="Arial" charset="0"/>
                <a:ea typeface="Arial" charset="0"/>
                <a:cs typeface="Arial" charset="0"/>
              </a:rPr>
              <a:t>TNT</a:t>
            </a:r>
          </a:p>
        </p:txBody>
      </p:sp>
      <p:sp>
        <p:nvSpPr>
          <p:cNvPr id="19" name="Rectángulo 18">
            <a:extLst>
              <a:ext uri="{FF2B5EF4-FFF2-40B4-BE49-F238E27FC236}">
                <a16:creationId xmlns:a16="http://schemas.microsoft.com/office/drawing/2014/main" id="{363E28A9-386B-C941-8984-D46704A9068E}"/>
              </a:ext>
            </a:extLst>
          </p:cNvPr>
          <p:cNvSpPr/>
          <p:nvPr/>
        </p:nvSpPr>
        <p:spPr>
          <a:xfrm>
            <a:off x="6629629" y="886897"/>
            <a:ext cx="617478" cy="300082"/>
          </a:xfrm>
          <a:prstGeom prst="rect">
            <a:avLst/>
          </a:prstGeom>
        </p:spPr>
        <p:txBody>
          <a:bodyPr wrap="none">
            <a:spAutoFit/>
          </a:bodyPr>
          <a:lstStyle/>
          <a:p>
            <a:pPr marL="0" marR="0" lvl="0" indent="0" algn="ctr" defTabSz="771525" rtl="0" eaLnBrk="0" fontAlgn="base" latinLnBrk="0" hangingPunct="0">
              <a:lnSpc>
                <a:spcPct val="100000"/>
              </a:lnSpc>
              <a:spcBef>
                <a:spcPct val="20000"/>
              </a:spcBef>
              <a:spcAft>
                <a:spcPct val="0"/>
              </a:spcAft>
              <a:buClrTx/>
              <a:buSzTx/>
              <a:buFontTx/>
              <a:buNone/>
              <a:tabLst/>
              <a:defRPr/>
            </a:pPr>
            <a:r>
              <a:rPr kumimoji="0" lang="en-US" sz="1350" b="1" i="0" u="none" strike="noStrike" kern="1200" cap="none" spc="0" normalizeH="0" baseline="0" noProof="0">
                <a:ln>
                  <a:noFill/>
                </a:ln>
                <a:solidFill>
                  <a:srgbClr val="0432FF"/>
                </a:solidFill>
                <a:effectLst/>
                <a:uLnTx/>
                <a:uFillTx/>
                <a:latin typeface="Arial" charset="0"/>
                <a:ea typeface="Arial" charset="0"/>
                <a:cs typeface="Arial" charset="0"/>
              </a:rPr>
              <a:t>PFS2</a:t>
            </a:r>
          </a:p>
        </p:txBody>
      </p:sp>
      <p:sp>
        <p:nvSpPr>
          <p:cNvPr id="22" name="Rectángulo 77">
            <a:extLst>
              <a:ext uri="{FF2B5EF4-FFF2-40B4-BE49-F238E27FC236}">
                <a16:creationId xmlns:a16="http://schemas.microsoft.com/office/drawing/2014/main" id="{C5F616A9-55FB-45FD-B115-E0F962B2C2BC}"/>
              </a:ext>
            </a:extLst>
          </p:cNvPr>
          <p:cNvSpPr/>
          <p:nvPr/>
        </p:nvSpPr>
        <p:spPr>
          <a:xfrm>
            <a:off x="2898321" y="4781625"/>
            <a:ext cx="6086521" cy="246221"/>
          </a:xfrm>
          <a:prstGeom prst="rect">
            <a:avLst/>
          </a:prstGeom>
        </p:spPr>
        <p:txBody>
          <a:bodyPr wrap="square">
            <a:spAutoFit/>
          </a:bodyPr>
          <a:lstStyle/>
          <a:p>
            <a:pPr marL="0" marR="0" lvl="0" indent="0" algn="r" defTabSz="771525" rtl="0" eaLnBrk="1" fontAlgn="auto" latinLnBrk="0" hangingPunct="1">
              <a:lnSpc>
                <a:spcPct val="100000"/>
              </a:lnSpc>
              <a:spcBef>
                <a:spcPts val="0"/>
              </a:spcBef>
              <a:spcAft>
                <a:spcPts val="0"/>
              </a:spcAft>
              <a:buClrTx/>
              <a:buSzTx/>
              <a:buFontTx/>
              <a:buNone/>
              <a:tabLst/>
              <a:defRPr/>
            </a:pP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  Cavo M, et al. </a:t>
            </a:r>
            <a:r>
              <a:rPr kumimoji="0" lang="es-ES" sz="1000" b="0" i="1" u="none" strike="noStrike" kern="0" cap="none" spc="0" normalizeH="0" baseline="0" noProof="0">
                <a:ln>
                  <a:noFill/>
                </a:ln>
                <a:solidFill>
                  <a:srgbClr val="000020"/>
                </a:solidFill>
                <a:effectLst/>
                <a:uLnTx/>
                <a:uFillTx/>
                <a:latin typeface="Trebuchet MS"/>
                <a:ea typeface="MS PGothic" pitchFamily="34" charset="-128"/>
                <a:cs typeface="+mn-cs"/>
              </a:rPr>
              <a:t>Blood.</a:t>
            </a: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 2017;130:397–397; Cavo M, et al. </a:t>
            </a:r>
            <a:r>
              <a:rPr kumimoji="0" lang="es-ES" sz="1000" b="0" i="1" u="none" strike="noStrike" kern="0" cap="none" spc="0" normalizeH="0" baseline="0" noProof="0">
                <a:ln>
                  <a:noFill/>
                </a:ln>
                <a:solidFill>
                  <a:srgbClr val="000020"/>
                </a:solidFill>
                <a:effectLst/>
                <a:uLnTx/>
                <a:uFillTx/>
                <a:latin typeface="Trebuchet MS"/>
                <a:ea typeface="MS PGothic" pitchFamily="34" charset="-128"/>
                <a:cs typeface="+mn-cs"/>
              </a:rPr>
              <a:t>Lancet Haematol</a:t>
            </a: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 2020;7:e456-e468.</a:t>
            </a:r>
            <a:endParaRPr kumimoji="0" lang="fr-FR" sz="1000" b="0" i="0" u="none" strike="noStrike" kern="1200" cap="none" spc="0" normalizeH="0" baseline="0" noProof="0">
              <a:ln>
                <a:noFill/>
              </a:ln>
              <a:solidFill>
                <a:srgbClr val="000020"/>
              </a:solidFill>
              <a:effectLst/>
              <a:uLnTx/>
              <a:uFillTx/>
              <a:latin typeface="Trebuchet MS"/>
              <a:ea typeface="ＭＳ Ｐゴシック" charset="0"/>
              <a:cs typeface="+mn-cs"/>
            </a:endParaRPr>
          </a:p>
        </p:txBody>
      </p:sp>
      <p:sp>
        <p:nvSpPr>
          <p:cNvPr id="23" name="Text Box 4">
            <a:extLst>
              <a:ext uri="{FF2B5EF4-FFF2-40B4-BE49-F238E27FC236}">
                <a16:creationId xmlns:a16="http://schemas.microsoft.com/office/drawing/2014/main" id="{2457376D-42A9-4903-8190-4426C36CBC19}"/>
              </a:ext>
            </a:extLst>
          </p:cNvPr>
          <p:cNvSpPr txBox="1">
            <a:spLocks noChangeArrowheads="1"/>
          </p:cNvSpPr>
          <p:nvPr/>
        </p:nvSpPr>
        <p:spPr bwMode="auto">
          <a:xfrm>
            <a:off x="1288943" y="548795"/>
            <a:ext cx="6444600" cy="326115"/>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wrap="square" anchor="b">
            <a:spAutoFit/>
          </a:bodyPr>
          <a:lstStyle>
            <a:lvl1pPr>
              <a:spcBef>
                <a:spcPct val="0"/>
              </a:spcBef>
              <a:defRPr sz="2400">
                <a:solidFill>
                  <a:schemeClr val="tx1"/>
                </a:solidFill>
                <a:latin typeface="Times New Roman" charset="0"/>
                <a:ea typeface="ＭＳ Ｐゴシック" charset="0"/>
              </a:defRPr>
            </a:lvl1pPr>
            <a:lvl2pPr>
              <a:spcBef>
                <a:spcPct val="0"/>
              </a:spcBef>
              <a:defRPr sz="2400">
                <a:solidFill>
                  <a:schemeClr val="tx1"/>
                </a:solidFill>
                <a:latin typeface="Times New Roman" charset="0"/>
                <a:ea typeface="ＭＳ Ｐゴシック" charset="0"/>
              </a:defRPr>
            </a:lvl2pPr>
            <a:lvl3pPr>
              <a:spcBef>
                <a:spcPct val="0"/>
              </a:spcBef>
              <a:defRPr sz="2400">
                <a:solidFill>
                  <a:schemeClr val="tx1"/>
                </a:solidFill>
                <a:latin typeface="Times New Roman" charset="0"/>
                <a:ea typeface="ＭＳ Ｐゴシック" charset="0"/>
              </a:defRPr>
            </a:lvl3pPr>
            <a:lvl4pPr>
              <a:spcBef>
                <a:spcPct val="0"/>
              </a:spcBef>
              <a:defRPr sz="2400">
                <a:solidFill>
                  <a:schemeClr val="tx1"/>
                </a:solidFill>
                <a:latin typeface="Times New Roman" charset="0"/>
                <a:ea typeface="ＭＳ Ｐゴシック" charset="0"/>
              </a:defRPr>
            </a:lvl4pPr>
            <a:lvl5pPr>
              <a:spcBef>
                <a:spcPct val="0"/>
              </a:spcBef>
              <a:defRPr sz="2400">
                <a:solidFill>
                  <a:schemeClr val="tx1"/>
                </a:solidFill>
                <a:latin typeface="Times New Roman" charset="0"/>
                <a:ea typeface="ＭＳ Ｐゴシック" charset="0"/>
              </a:defRPr>
            </a:lvl5pPr>
            <a:lvl6pPr marL="457200" eaLnBrk="0" fontAlgn="base" hangingPunct="0">
              <a:spcBef>
                <a:spcPct val="0"/>
              </a:spcBef>
              <a:spcAft>
                <a:spcPct val="0"/>
              </a:spcAft>
              <a:defRPr sz="2400">
                <a:solidFill>
                  <a:schemeClr val="tx1"/>
                </a:solidFill>
                <a:latin typeface="Times New Roman" charset="0"/>
                <a:ea typeface="ＭＳ Ｐゴシック" charset="0"/>
              </a:defRPr>
            </a:lvl6pPr>
            <a:lvl7pPr marL="914400" eaLnBrk="0" fontAlgn="base" hangingPunct="0">
              <a:spcBef>
                <a:spcPct val="0"/>
              </a:spcBef>
              <a:spcAft>
                <a:spcPct val="0"/>
              </a:spcAft>
              <a:defRPr sz="2400">
                <a:solidFill>
                  <a:schemeClr val="tx1"/>
                </a:solidFill>
                <a:latin typeface="Times New Roman" charset="0"/>
                <a:ea typeface="ＭＳ Ｐゴシック" charset="0"/>
              </a:defRPr>
            </a:lvl7pPr>
            <a:lvl8pPr marL="1371600" eaLnBrk="0" fontAlgn="base" hangingPunct="0">
              <a:spcBef>
                <a:spcPct val="0"/>
              </a:spcBef>
              <a:spcAft>
                <a:spcPct val="0"/>
              </a:spcAft>
              <a:defRPr sz="2400">
                <a:solidFill>
                  <a:schemeClr val="tx1"/>
                </a:solidFill>
                <a:latin typeface="Times New Roman" charset="0"/>
                <a:ea typeface="ＭＳ Ｐゴシック" charset="0"/>
              </a:defRPr>
            </a:lvl8pPr>
            <a:lvl9pPr marL="1828800" eaLnBrk="0" fontAlgn="base" hangingPunct="0">
              <a:spcBef>
                <a:spcPct val="0"/>
              </a:spcBef>
              <a:spcAft>
                <a:spcPct val="0"/>
              </a:spcAft>
              <a:defRPr sz="2400">
                <a:solidFill>
                  <a:schemeClr val="tx1"/>
                </a:solidFill>
                <a:latin typeface="Times New Roman" charset="0"/>
                <a:ea typeface="ＭＳ Ｐゴシック" charset="0"/>
              </a:defRPr>
            </a:lvl9pPr>
          </a:lstStyle>
          <a:p>
            <a:pPr marL="0" marR="0" lvl="0" indent="0" algn="ctr" defTabSz="771525" rtl="0" eaLnBrk="0" fontAlgn="base" latinLnBrk="0" hangingPunct="0">
              <a:lnSpc>
                <a:spcPct val="100000"/>
              </a:lnSpc>
              <a:spcBef>
                <a:spcPct val="0"/>
              </a:spcBef>
              <a:spcAft>
                <a:spcPct val="0"/>
              </a:spcAft>
              <a:buClrTx/>
              <a:buSzTx/>
              <a:buFontTx/>
              <a:buNone/>
              <a:tabLst/>
              <a:defRPr/>
            </a:pPr>
            <a:r>
              <a:rPr kumimoji="0" lang="en-GB" sz="1519" b="1" i="0" u="none" strike="noStrike" kern="1200" cap="none" spc="0" normalizeH="0" baseline="0" noProof="0">
                <a:ln>
                  <a:noFill/>
                </a:ln>
                <a:solidFill>
                  <a:srgbClr val="BE2BBB"/>
                </a:solidFill>
                <a:effectLst/>
                <a:uLnTx/>
                <a:uFillTx/>
                <a:latin typeface="Trebuchet MS"/>
                <a:ea typeface="ＭＳ Ｐゴシック" charset="0"/>
                <a:cs typeface="+mn-cs"/>
              </a:rPr>
              <a:t>Is it possible to reserve the ASCT at relapse?</a:t>
            </a:r>
          </a:p>
        </p:txBody>
      </p:sp>
    </p:spTree>
    <p:extLst>
      <p:ext uri="{BB962C8B-B14F-4D97-AF65-F5344CB8AC3E}">
        <p14:creationId xmlns:p14="http://schemas.microsoft.com/office/powerpoint/2010/main" val="74926678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6D78B-2CAB-483C-AFEE-443B76408847}"/>
              </a:ext>
            </a:extLst>
          </p:cNvPr>
          <p:cNvSpPr>
            <a:spLocks noGrp="1"/>
          </p:cNvSpPr>
          <p:nvPr>
            <p:ph type="title"/>
          </p:nvPr>
        </p:nvSpPr>
        <p:spPr>
          <a:xfrm>
            <a:off x="265963" y="289136"/>
            <a:ext cx="8706678" cy="623700"/>
          </a:xfrm>
        </p:spPr>
        <p:txBody>
          <a:bodyPr>
            <a:noAutofit/>
          </a:bodyPr>
          <a:lstStyle/>
          <a:p>
            <a:r>
              <a:rPr lang="en-US" sz="1900" noProof="0">
                <a:solidFill>
                  <a:srgbClr val="595454"/>
                </a:solidFill>
              </a:rPr>
              <a:t>Carfilzomib-based induction/consolidation with or without ASCT followed by lenalidomide or carfilzomib-lenalidomide maintenance for high-risk patients</a:t>
            </a:r>
          </a:p>
        </p:txBody>
      </p:sp>
      <p:sp>
        <p:nvSpPr>
          <p:cNvPr id="4" name="Text Placeholder 3">
            <a:extLst>
              <a:ext uri="{FF2B5EF4-FFF2-40B4-BE49-F238E27FC236}">
                <a16:creationId xmlns:a16="http://schemas.microsoft.com/office/drawing/2014/main" id="{2CDECFD9-A0C7-4D37-A48B-B942966C66C4}"/>
              </a:ext>
            </a:extLst>
          </p:cNvPr>
          <p:cNvSpPr>
            <a:spLocks noGrp="1"/>
          </p:cNvSpPr>
          <p:nvPr>
            <p:ph type="body" sz="quarter" idx="10"/>
          </p:nvPr>
        </p:nvSpPr>
        <p:spPr>
          <a:xfrm>
            <a:off x="2466213" y="4626550"/>
            <a:ext cx="6514379" cy="355034"/>
          </a:xfrm>
        </p:spPr>
        <p:txBody>
          <a:bodyPr/>
          <a:lstStyle/>
          <a:p>
            <a:pPr algn="r"/>
            <a:r>
              <a:rPr lang="en-US" sz="1000" noProof="0">
                <a:solidFill>
                  <a:srgbClr val="000020"/>
                </a:solidFill>
              </a:rPr>
              <a:t>Gay F, et al. ASCO 2021. Virtual meeting. Abstract 8002.</a:t>
            </a:r>
          </a:p>
        </p:txBody>
      </p:sp>
      <p:grpSp>
        <p:nvGrpSpPr>
          <p:cNvPr id="3" name="Grupo 2">
            <a:extLst>
              <a:ext uri="{FF2B5EF4-FFF2-40B4-BE49-F238E27FC236}">
                <a16:creationId xmlns:a16="http://schemas.microsoft.com/office/drawing/2014/main" id="{F2498D09-9D11-1746-AC0D-2675E4C990D2}"/>
              </a:ext>
            </a:extLst>
          </p:cNvPr>
          <p:cNvGrpSpPr/>
          <p:nvPr/>
        </p:nvGrpSpPr>
        <p:grpSpPr>
          <a:xfrm>
            <a:off x="1735054" y="1200647"/>
            <a:ext cx="5707367" cy="3332664"/>
            <a:chOff x="528123" y="1863848"/>
            <a:chExt cx="4237696" cy="3445668"/>
          </a:xfrm>
        </p:grpSpPr>
        <p:cxnSp>
          <p:nvCxnSpPr>
            <p:cNvPr id="12" name="Straight Connector 11">
              <a:extLst>
                <a:ext uri="{FF2B5EF4-FFF2-40B4-BE49-F238E27FC236}">
                  <a16:creationId xmlns:a16="http://schemas.microsoft.com/office/drawing/2014/main" id="{545B8703-D977-4B5D-AFCF-38BC65BC4701}"/>
                </a:ext>
              </a:extLst>
            </p:cNvPr>
            <p:cNvCxnSpPr>
              <a:cxnSpLocks/>
            </p:cNvCxnSpPr>
            <p:nvPr/>
          </p:nvCxnSpPr>
          <p:spPr>
            <a:xfrm>
              <a:off x="961928" y="3103959"/>
              <a:ext cx="2700338" cy="0"/>
            </a:xfrm>
            <a:prstGeom prst="line">
              <a:avLst/>
            </a:prstGeom>
            <a:ln w="12700">
              <a:solidFill>
                <a:schemeClr val="bg1">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D26D9AF-329C-41F2-8650-9F6C20F20FC1}"/>
                </a:ext>
              </a:extLst>
            </p:cNvPr>
            <p:cNvCxnSpPr>
              <a:cxnSpLocks/>
            </p:cNvCxnSpPr>
            <p:nvPr/>
          </p:nvCxnSpPr>
          <p:spPr>
            <a:xfrm>
              <a:off x="961928" y="3377207"/>
              <a:ext cx="2700338" cy="0"/>
            </a:xfrm>
            <a:prstGeom prst="line">
              <a:avLst/>
            </a:prstGeom>
            <a:ln w="12700">
              <a:solidFill>
                <a:schemeClr val="bg1">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7E1D7D2-8948-4082-8928-F949C5F67E6C}"/>
                </a:ext>
              </a:extLst>
            </p:cNvPr>
            <p:cNvCxnSpPr>
              <a:cxnSpLocks/>
            </p:cNvCxnSpPr>
            <p:nvPr/>
          </p:nvCxnSpPr>
          <p:spPr>
            <a:xfrm>
              <a:off x="961928" y="3489722"/>
              <a:ext cx="2700338" cy="0"/>
            </a:xfrm>
            <a:prstGeom prst="line">
              <a:avLst/>
            </a:prstGeom>
            <a:ln w="12700">
              <a:solidFill>
                <a:schemeClr val="bg1">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FFC4C78-E490-455E-995A-AABA785165AC}"/>
                </a:ext>
              </a:extLst>
            </p:cNvPr>
            <p:cNvCxnSpPr/>
            <p:nvPr/>
          </p:nvCxnSpPr>
          <p:spPr>
            <a:xfrm>
              <a:off x="3669711" y="3111606"/>
              <a:ext cx="0" cy="1459074"/>
            </a:xfrm>
            <a:prstGeom prst="line">
              <a:avLst/>
            </a:prstGeom>
            <a:ln w="12700">
              <a:solidFill>
                <a:schemeClr val="bg1">
                  <a:lumMod val="7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DE6F311-10FF-4154-AC67-3F2DC69DD0AF}"/>
                </a:ext>
              </a:extLst>
            </p:cNvPr>
            <p:cNvCxnSpPr>
              <a:cxnSpLocks/>
            </p:cNvCxnSpPr>
            <p:nvPr/>
          </p:nvCxnSpPr>
          <p:spPr>
            <a:xfrm flipV="1">
              <a:off x="951861" y="2429877"/>
              <a:ext cx="0" cy="2197373"/>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238EDDF-AF21-4FB0-A626-703520CA6B14}"/>
                </a:ext>
              </a:extLst>
            </p:cNvPr>
            <p:cNvGrpSpPr/>
            <p:nvPr/>
          </p:nvGrpSpPr>
          <p:grpSpPr>
            <a:xfrm>
              <a:off x="797255" y="4476577"/>
              <a:ext cx="154601" cy="222749"/>
              <a:chOff x="967803" y="4959368"/>
              <a:chExt cx="183231" cy="263999"/>
            </a:xfrm>
          </p:grpSpPr>
          <p:sp>
            <p:nvSpPr>
              <p:cNvPr id="85" name="TextBox 8">
                <a:extLst>
                  <a:ext uri="{FF2B5EF4-FFF2-40B4-BE49-F238E27FC236}">
                    <a16:creationId xmlns:a16="http://schemas.microsoft.com/office/drawing/2014/main" id="{46E43EB3-DFC8-41FA-8DB9-0A6B44C7241F}"/>
                  </a:ext>
                </a:extLst>
              </p:cNvPr>
              <p:cNvSpPr txBox="1"/>
              <p:nvPr/>
            </p:nvSpPr>
            <p:spPr>
              <a:xfrm>
                <a:off x="967803" y="4959368"/>
                <a:ext cx="126393" cy="263999"/>
              </a:xfrm>
              <a:prstGeom prst="rect">
                <a:avLst/>
              </a:prstGeom>
              <a:noFill/>
            </p:spPr>
            <p:txBody>
              <a:bodyPr wrap="none"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pitchFamily="34" charset="0"/>
                    <a:ea typeface="+mn-ea"/>
                    <a:cs typeface="Calibri" panose="020F0502020204030204" pitchFamily="34" charset="0"/>
                  </a:rPr>
                  <a:t>0</a:t>
                </a:r>
              </a:p>
            </p:txBody>
          </p:sp>
          <p:cxnSp>
            <p:nvCxnSpPr>
              <p:cNvPr id="86" name="Straight Connector 85">
                <a:extLst>
                  <a:ext uri="{FF2B5EF4-FFF2-40B4-BE49-F238E27FC236}">
                    <a16:creationId xmlns:a16="http://schemas.microsoft.com/office/drawing/2014/main" id="{5C36C81E-656C-4A34-ADA6-B771D421220F}"/>
                  </a:ext>
                </a:extLst>
              </p:cNvPr>
              <p:cNvCxnSpPr>
                <a:cxnSpLocks/>
              </p:cNvCxnSpPr>
              <p:nvPr/>
            </p:nvCxnSpPr>
            <p:spPr>
              <a:xfrm>
                <a:off x="1101379" y="5097867"/>
                <a:ext cx="49655" cy="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grpSp>
        <p:sp>
          <p:nvSpPr>
            <p:cNvPr id="18" name="TextBox 13">
              <a:extLst>
                <a:ext uri="{FF2B5EF4-FFF2-40B4-BE49-F238E27FC236}">
                  <a16:creationId xmlns:a16="http://schemas.microsoft.com/office/drawing/2014/main" id="{850AEA16-CCC0-4185-971B-5C8BEAB0BC07}"/>
                </a:ext>
              </a:extLst>
            </p:cNvPr>
            <p:cNvSpPr txBox="1"/>
            <p:nvPr/>
          </p:nvSpPr>
          <p:spPr>
            <a:xfrm>
              <a:off x="702045" y="2316709"/>
              <a:ext cx="201862" cy="222749"/>
            </a:xfrm>
            <a:prstGeom prst="rect">
              <a:avLst/>
            </a:prstGeom>
            <a:noFill/>
          </p:spPr>
          <p:txBody>
            <a:bodyPr wrap="none"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pitchFamily="34" charset="0"/>
                  <a:ea typeface="+mn-ea"/>
                  <a:cs typeface="Calibri" panose="020F0502020204030204" pitchFamily="34" charset="0"/>
                </a:rPr>
                <a:t>1.00</a:t>
              </a:r>
            </a:p>
          </p:txBody>
        </p:sp>
        <p:cxnSp>
          <p:nvCxnSpPr>
            <p:cNvPr id="19" name="Straight Connector 18">
              <a:extLst>
                <a:ext uri="{FF2B5EF4-FFF2-40B4-BE49-F238E27FC236}">
                  <a16:creationId xmlns:a16="http://schemas.microsoft.com/office/drawing/2014/main" id="{0BDE3668-2ABA-47E9-8693-5F9EEE71D398}"/>
                </a:ext>
              </a:extLst>
            </p:cNvPr>
            <p:cNvCxnSpPr>
              <a:cxnSpLocks/>
            </p:cNvCxnSpPr>
            <p:nvPr/>
          </p:nvCxnSpPr>
          <p:spPr>
            <a:xfrm>
              <a:off x="909966" y="2433566"/>
              <a:ext cx="41896" cy="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EA673B6-A1DD-4246-B064-D8C54623F910}"/>
                </a:ext>
              </a:extLst>
            </p:cNvPr>
            <p:cNvCxnSpPr>
              <a:cxnSpLocks/>
            </p:cNvCxnSpPr>
            <p:nvPr/>
          </p:nvCxnSpPr>
          <p:spPr>
            <a:xfrm flipV="1">
              <a:off x="957921" y="4593436"/>
              <a:ext cx="3615741" cy="1"/>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1" name="TextBox 18">
              <a:extLst>
                <a:ext uri="{FF2B5EF4-FFF2-40B4-BE49-F238E27FC236}">
                  <a16:creationId xmlns:a16="http://schemas.microsoft.com/office/drawing/2014/main" id="{8FF1D4C4-6DE1-47D5-B311-8F7E562C3F6D}"/>
                </a:ext>
              </a:extLst>
            </p:cNvPr>
            <p:cNvSpPr txBox="1"/>
            <p:nvPr/>
          </p:nvSpPr>
          <p:spPr>
            <a:xfrm>
              <a:off x="1976642" y="4609342"/>
              <a:ext cx="210454" cy="222749"/>
            </a:xfrm>
            <a:prstGeom prst="rect">
              <a:avLst/>
            </a:prstGeom>
            <a:noFill/>
          </p:spPr>
          <p:txBody>
            <a:bodyPr wrap="square" lIns="0"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20</a:t>
              </a:r>
            </a:p>
          </p:txBody>
        </p:sp>
        <p:cxnSp>
          <p:nvCxnSpPr>
            <p:cNvPr id="22" name="Straight Connector 21">
              <a:extLst>
                <a:ext uri="{FF2B5EF4-FFF2-40B4-BE49-F238E27FC236}">
                  <a16:creationId xmlns:a16="http://schemas.microsoft.com/office/drawing/2014/main" id="{A5FE9E37-26E0-476B-9FE7-9E5396C37E3D}"/>
                </a:ext>
              </a:extLst>
            </p:cNvPr>
            <p:cNvCxnSpPr>
              <a:cxnSpLocks/>
            </p:cNvCxnSpPr>
            <p:nvPr/>
          </p:nvCxnSpPr>
          <p:spPr>
            <a:xfrm>
              <a:off x="2081868" y="4597783"/>
              <a:ext cx="0" cy="46041"/>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3" name="TextBox 25">
              <a:extLst>
                <a:ext uri="{FF2B5EF4-FFF2-40B4-BE49-F238E27FC236}">
                  <a16:creationId xmlns:a16="http://schemas.microsoft.com/office/drawing/2014/main" id="{563F82C1-61C2-4F5B-BB26-D9FE202358B2}"/>
                </a:ext>
              </a:extLst>
            </p:cNvPr>
            <p:cNvSpPr txBox="1"/>
            <p:nvPr/>
          </p:nvSpPr>
          <p:spPr>
            <a:xfrm>
              <a:off x="2541891" y="4609342"/>
              <a:ext cx="210454" cy="222749"/>
            </a:xfrm>
            <a:prstGeom prst="rect">
              <a:avLst/>
            </a:prstGeom>
            <a:noFill/>
          </p:spPr>
          <p:txBody>
            <a:bodyPr wrap="square" lIns="0"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30</a:t>
              </a:r>
            </a:p>
          </p:txBody>
        </p:sp>
        <p:cxnSp>
          <p:nvCxnSpPr>
            <p:cNvPr id="24" name="Straight Connector 23">
              <a:extLst>
                <a:ext uri="{FF2B5EF4-FFF2-40B4-BE49-F238E27FC236}">
                  <a16:creationId xmlns:a16="http://schemas.microsoft.com/office/drawing/2014/main" id="{FBC65DAB-1DB4-419B-99A0-0C1A1CF4A1F0}"/>
                </a:ext>
              </a:extLst>
            </p:cNvPr>
            <p:cNvCxnSpPr>
              <a:cxnSpLocks/>
            </p:cNvCxnSpPr>
            <p:nvPr/>
          </p:nvCxnSpPr>
          <p:spPr>
            <a:xfrm>
              <a:off x="2647117" y="4597783"/>
              <a:ext cx="0" cy="46041"/>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5" name="TextBox 28">
              <a:extLst>
                <a:ext uri="{FF2B5EF4-FFF2-40B4-BE49-F238E27FC236}">
                  <a16:creationId xmlns:a16="http://schemas.microsoft.com/office/drawing/2014/main" id="{2BFECA7C-D5B7-4FA7-99DA-9F568B15F986}"/>
                </a:ext>
              </a:extLst>
            </p:cNvPr>
            <p:cNvSpPr txBox="1"/>
            <p:nvPr/>
          </p:nvSpPr>
          <p:spPr>
            <a:xfrm>
              <a:off x="3109819" y="4609342"/>
              <a:ext cx="210454" cy="222749"/>
            </a:xfrm>
            <a:prstGeom prst="rect">
              <a:avLst/>
            </a:prstGeom>
            <a:noFill/>
          </p:spPr>
          <p:txBody>
            <a:bodyPr wrap="square" lIns="0"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40</a:t>
              </a:r>
            </a:p>
          </p:txBody>
        </p:sp>
        <p:cxnSp>
          <p:nvCxnSpPr>
            <p:cNvPr id="26" name="Straight Connector 25">
              <a:extLst>
                <a:ext uri="{FF2B5EF4-FFF2-40B4-BE49-F238E27FC236}">
                  <a16:creationId xmlns:a16="http://schemas.microsoft.com/office/drawing/2014/main" id="{71EAFAAC-477F-4F5F-9655-341A7E124E4D}"/>
                </a:ext>
              </a:extLst>
            </p:cNvPr>
            <p:cNvCxnSpPr>
              <a:cxnSpLocks/>
            </p:cNvCxnSpPr>
            <p:nvPr/>
          </p:nvCxnSpPr>
          <p:spPr>
            <a:xfrm>
              <a:off x="3215045" y="4597783"/>
              <a:ext cx="0" cy="46041"/>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7" name="TextBox 31">
              <a:extLst>
                <a:ext uri="{FF2B5EF4-FFF2-40B4-BE49-F238E27FC236}">
                  <a16:creationId xmlns:a16="http://schemas.microsoft.com/office/drawing/2014/main" id="{917AD2B6-4FC6-40FE-B013-94ACC22A3570}"/>
                </a:ext>
              </a:extLst>
            </p:cNvPr>
            <p:cNvSpPr txBox="1"/>
            <p:nvPr/>
          </p:nvSpPr>
          <p:spPr>
            <a:xfrm>
              <a:off x="3680426" y="4609342"/>
              <a:ext cx="210454" cy="222749"/>
            </a:xfrm>
            <a:prstGeom prst="rect">
              <a:avLst/>
            </a:prstGeom>
            <a:noFill/>
          </p:spPr>
          <p:txBody>
            <a:bodyPr wrap="square" lIns="0"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50</a:t>
              </a:r>
            </a:p>
          </p:txBody>
        </p:sp>
        <p:cxnSp>
          <p:nvCxnSpPr>
            <p:cNvPr id="28" name="Straight Connector 27">
              <a:extLst>
                <a:ext uri="{FF2B5EF4-FFF2-40B4-BE49-F238E27FC236}">
                  <a16:creationId xmlns:a16="http://schemas.microsoft.com/office/drawing/2014/main" id="{3B57A097-D70F-4BFE-B038-8400491AC377}"/>
                </a:ext>
              </a:extLst>
            </p:cNvPr>
            <p:cNvCxnSpPr>
              <a:cxnSpLocks/>
            </p:cNvCxnSpPr>
            <p:nvPr/>
          </p:nvCxnSpPr>
          <p:spPr>
            <a:xfrm>
              <a:off x="3785652" y="4597783"/>
              <a:ext cx="0" cy="46041"/>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9" name="TextBox 34">
              <a:extLst>
                <a:ext uri="{FF2B5EF4-FFF2-40B4-BE49-F238E27FC236}">
                  <a16:creationId xmlns:a16="http://schemas.microsoft.com/office/drawing/2014/main" id="{A0666FEE-616A-43AC-B222-6384723E3FC2}"/>
                </a:ext>
              </a:extLst>
            </p:cNvPr>
            <p:cNvSpPr txBox="1"/>
            <p:nvPr/>
          </p:nvSpPr>
          <p:spPr>
            <a:xfrm>
              <a:off x="4242997" y="4609342"/>
              <a:ext cx="210454" cy="222749"/>
            </a:xfrm>
            <a:prstGeom prst="rect">
              <a:avLst/>
            </a:prstGeom>
            <a:noFill/>
          </p:spPr>
          <p:txBody>
            <a:bodyPr wrap="square" lIns="0"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60</a:t>
              </a:r>
            </a:p>
          </p:txBody>
        </p:sp>
        <p:cxnSp>
          <p:nvCxnSpPr>
            <p:cNvPr id="30" name="Straight Connector 29">
              <a:extLst>
                <a:ext uri="{FF2B5EF4-FFF2-40B4-BE49-F238E27FC236}">
                  <a16:creationId xmlns:a16="http://schemas.microsoft.com/office/drawing/2014/main" id="{69C3539D-0258-4483-9094-B34E4CB22B80}"/>
                </a:ext>
              </a:extLst>
            </p:cNvPr>
            <p:cNvCxnSpPr>
              <a:cxnSpLocks/>
            </p:cNvCxnSpPr>
            <p:nvPr/>
          </p:nvCxnSpPr>
          <p:spPr>
            <a:xfrm>
              <a:off x="4348223" y="4597783"/>
              <a:ext cx="0" cy="46041"/>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1" name="TextBox 37">
              <a:extLst>
                <a:ext uri="{FF2B5EF4-FFF2-40B4-BE49-F238E27FC236}">
                  <a16:creationId xmlns:a16="http://schemas.microsoft.com/office/drawing/2014/main" id="{1A9B0F75-3B35-40DF-9B17-94247A26E744}"/>
                </a:ext>
              </a:extLst>
            </p:cNvPr>
            <p:cNvSpPr txBox="1"/>
            <p:nvPr/>
          </p:nvSpPr>
          <p:spPr>
            <a:xfrm>
              <a:off x="1411392" y="4609342"/>
              <a:ext cx="210454" cy="222749"/>
            </a:xfrm>
            <a:prstGeom prst="rect">
              <a:avLst/>
            </a:prstGeom>
            <a:noFill/>
          </p:spPr>
          <p:txBody>
            <a:bodyPr wrap="square" lIns="0"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10</a:t>
              </a:r>
            </a:p>
          </p:txBody>
        </p:sp>
        <p:cxnSp>
          <p:nvCxnSpPr>
            <p:cNvPr id="32" name="Straight Connector 31">
              <a:extLst>
                <a:ext uri="{FF2B5EF4-FFF2-40B4-BE49-F238E27FC236}">
                  <a16:creationId xmlns:a16="http://schemas.microsoft.com/office/drawing/2014/main" id="{3C77C1EF-3D02-4FE9-8912-0AE10C58214A}"/>
                </a:ext>
              </a:extLst>
            </p:cNvPr>
            <p:cNvCxnSpPr>
              <a:cxnSpLocks/>
            </p:cNvCxnSpPr>
            <p:nvPr/>
          </p:nvCxnSpPr>
          <p:spPr>
            <a:xfrm>
              <a:off x="1516619" y="4597783"/>
              <a:ext cx="0" cy="46041"/>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3" name="TextBox 39">
              <a:extLst>
                <a:ext uri="{FF2B5EF4-FFF2-40B4-BE49-F238E27FC236}">
                  <a16:creationId xmlns:a16="http://schemas.microsoft.com/office/drawing/2014/main" id="{7F9E658F-E5A5-4B9A-A89A-CB76FE484088}"/>
                </a:ext>
              </a:extLst>
            </p:cNvPr>
            <p:cNvSpPr txBox="1"/>
            <p:nvPr/>
          </p:nvSpPr>
          <p:spPr>
            <a:xfrm>
              <a:off x="839785" y="4609342"/>
              <a:ext cx="210454" cy="222749"/>
            </a:xfrm>
            <a:prstGeom prst="rect">
              <a:avLst/>
            </a:prstGeom>
            <a:noFill/>
          </p:spPr>
          <p:txBody>
            <a:bodyPr wrap="square" lIns="0"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0</a:t>
              </a:r>
            </a:p>
          </p:txBody>
        </p:sp>
        <p:sp>
          <p:nvSpPr>
            <p:cNvPr id="34" name="TextBox 40">
              <a:extLst>
                <a:ext uri="{FF2B5EF4-FFF2-40B4-BE49-F238E27FC236}">
                  <a16:creationId xmlns:a16="http://schemas.microsoft.com/office/drawing/2014/main" id="{B6992177-9FE2-4BAE-84E5-AC4B2E95D820}"/>
                </a:ext>
              </a:extLst>
            </p:cNvPr>
            <p:cNvSpPr txBox="1"/>
            <p:nvPr/>
          </p:nvSpPr>
          <p:spPr>
            <a:xfrm rot="16200000">
              <a:off x="134765" y="3407814"/>
              <a:ext cx="946682" cy="159966"/>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Probability of PFS</a:t>
              </a:r>
            </a:p>
          </p:txBody>
        </p:sp>
        <p:sp>
          <p:nvSpPr>
            <p:cNvPr id="35" name="TextBox 43">
              <a:extLst>
                <a:ext uri="{FF2B5EF4-FFF2-40B4-BE49-F238E27FC236}">
                  <a16:creationId xmlns:a16="http://schemas.microsoft.com/office/drawing/2014/main" id="{43ED973F-E782-410D-9692-0726B8D50B64}"/>
                </a:ext>
              </a:extLst>
            </p:cNvPr>
            <p:cNvSpPr txBox="1"/>
            <p:nvPr/>
          </p:nvSpPr>
          <p:spPr>
            <a:xfrm>
              <a:off x="702045" y="2850477"/>
              <a:ext cx="201862" cy="222749"/>
            </a:xfrm>
            <a:prstGeom prst="rect">
              <a:avLst/>
            </a:prstGeom>
            <a:noFill/>
          </p:spPr>
          <p:txBody>
            <a:bodyPr wrap="none"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pitchFamily="34" charset="0"/>
                  <a:ea typeface="+mn-ea"/>
                  <a:cs typeface="Calibri" panose="020F0502020204030204" pitchFamily="34" charset="0"/>
                </a:rPr>
                <a:t>0.75</a:t>
              </a:r>
            </a:p>
          </p:txBody>
        </p:sp>
        <p:cxnSp>
          <p:nvCxnSpPr>
            <p:cNvPr id="36" name="Straight Connector 35">
              <a:extLst>
                <a:ext uri="{FF2B5EF4-FFF2-40B4-BE49-F238E27FC236}">
                  <a16:creationId xmlns:a16="http://schemas.microsoft.com/office/drawing/2014/main" id="{A3D39664-1B16-4946-ADA5-3DA9F9CA42E8}"/>
                </a:ext>
              </a:extLst>
            </p:cNvPr>
            <p:cNvCxnSpPr>
              <a:cxnSpLocks/>
            </p:cNvCxnSpPr>
            <p:nvPr/>
          </p:nvCxnSpPr>
          <p:spPr>
            <a:xfrm>
              <a:off x="909966" y="2967335"/>
              <a:ext cx="41896" cy="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7" name="TextBox 46">
              <a:extLst>
                <a:ext uri="{FF2B5EF4-FFF2-40B4-BE49-F238E27FC236}">
                  <a16:creationId xmlns:a16="http://schemas.microsoft.com/office/drawing/2014/main" id="{DD061781-98CA-4F15-911F-342021690693}"/>
                </a:ext>
              </a:extLst>
            </p:cNvPr>
            <p:cNvSpPr txBox="1"/>
            <p:nvPr/>
          </p:nvSpPr>
          <p:spPr>
            <a:xfrm>
              <a:off x="702045" y="3403405"/>
              <a:ext cx="201862" cy="222749"/>
            </a:xfrm>
            <a:prstGeom prst="rect">
              <a:avLst/>
            </a:prstGeom>
            <a:noFill/>
          </p:spPr>
          <p:txBody>
            <a:bodyPr wrap="none"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pitchFamily="34" charset="0"/>
                  <a:ea typeface="+mn-ea"/>
                  <a:cs typeface="Calibri" panose="020F0502020204030204" pitchFamily="34" charset="0"/>
                </a:rPr>
                <a:t>0.50</a:t>
              </a:r>
            </a:p>
          </p:txBody>
        </p:sp>
        <p:cxnSp>
          <p:nvCxnSpPr>
            <p:cNvPr id="38" name="Straight Connector 37">
              <a:extLst>
                <a:ext uri="{FF2B5EF4-FFF2-40B4-BE49-F238E27FC236}">
                  <a16:creationId xmlns:a16="http://schemas.microsoft.com/office/drawing/2014/main" id="{65B52B1B-297A-43C7-8839-729CA96D79BA}"/>
                </a:ext>
              </a:extLst>
            </p:cNvPr>
            <p:cNvCxnSpPr>
              <a:cxnSpLocks/>
            </p:cNvCxnSpPr>
            <p:nvPr/>
          </p:nvCxnSpPr>
          <p:spPr>
            <a:xfrm>
              <a:off x="909966" y="3520261"/>
              <a:ext cx="41896" cy="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9" name="TextBox 49">
              <a:extLst>
                <a:ext uri="{FF2B5EF4-FFF2-40B4-BE49-F238E27FC236}">
                  <a16:creationId xmlns:a16="http://schemas.microsoft.com/office/drawing/2014/main" id="{A2BEAC44-0159-41F9-9B03-427CC006F2C9}"/>
                </a:ext>
              </a:extLst>
            </p:cNvPr>
            <p:cNvSpPr txBox="1"/>
            <p:nvPr/>
          </p:nvSpPr>
          <p:spPr>
            <a:xfrm>
              <a:off x="702045" y="3930612"/>
              <a:ext cx="201862" cy="222749"/>
            </a:xfrm>
            <a:prstGeom prst="rect">
              <a:avLst/>
            </a:prstGeom>
            <a:noFill/>
          </p:spPr>
          <p:txBody>
            <a:bodyPr wrap="none" r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pitchFamily="34" charset="0"/>
                  <a:ea typeface="+mn-ea"/>
                  <a:cs typeface="Calibri" panose="020F0502020204030204" pitchFamily="34" charset="0"/>
                </a:rPr>
                <a:t>0.25</a:t>
              </a:r>
            </a:p>
          </p:txBody>
        </p:sp>
        <p:cxnSp>
          <p:nvCxnSpPr>
            <p:cNvPr id="40" name="Straight Connector 39">
              <a:extLst>
                <a:ext uri="{FF2B5EF4-FFF2-40B4-BE49-F238E27FC236}">
                  <a16:creationId xmlns:a16="http://schemas.microsoft.com/office/drawing/2014/main" id="{A6A2B769-02F6-4479-8A67-DBE98D6B8D8D}"/>
                </a:ext>
              </a:extLst>
            </p:cNvPr>
            <p:cNvCxnSpPr>
              <a:cxnSpLocks/>
            </p:cNvCxnSpPr>
            <p:nvPr/>
          </p:nvCxnSpPr>
          <p:spPr>
            <a:xfrm>
              <a:off x="909966" y="4047470"/>
              <a:ext cx="41896" cy="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41" name="TextBox 90">
              <a:extLst>
                <a:ext uri="{FF2B5EF4-FFF2-40B4-BE49-F238E27FC236}">
                  <a16:creationId xmlns:a16="http://schemas.microsoft.com/office/drawing/2014/main" id="{C9DD5CB4-8124-4A70-9EC6-3116BCB2E39C}"/>
                </a:ext>
              </a:extLst>
            </p:cNvPr>
            <p:cNvSpPr txBox="1"/>
            <p:nvPr/>
          </p:nvSpPr>
          <p:spPr>
            <a:xfrm>
              <a:off x="968698" y="4064290"/>
              <a:ext cx="1985530" cy="477319"/>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0"/>
                </a:spcBef>
                <a:spcAft>
                  <a:spcPct val="0"/>
                </a:spcAft>
                <a:buClr>
                  <a:srgbClr val="E67225"/>
                </a:buClr>
                <a:buSzTx/>
                <a:buFontTx/>
                <a:buNone/>
                <a:tabLst/>
                <a:defRPr/>
              </a:pPr>
              <a:r>
                <a:rPr kumimoji="0" lang="en-US" sz="800" b="1" i="0" u="none" strike="noStrike" kern="1200" cap="none" spc="0" normalizeH="0" baseline="0" noProof="0">
                  <a:ln>
                    <a:noFill/>
                  </a:ln>
                  <a:solidFill>
                    <a:srgbClr val="1185AA"/>
                  </a:solidFill>
                  <a:effectLst/>
                  <a:uLnTx/>
                  <a:uFillTx/>
                  <a:latin typeface="Calibri" panose="020F0502020204030204"/>
                  <a:ea typeface="+mn-ea"/>
                  <a:cs typeface="Arial" charset="0"/>
                </a:rPr>
                <a:t>KRd-ASCT </a:t>
              </a:r>
              <a:r>
                <a:rPr kumimoji="0" lang="en-US" sz="800" b="1" i="0" u="none" strike="noStrike" kern="1200" cap="none" spc="0" normalizeH="0" baseline="0" noProof="0">
                  <a:ln>
                    <a:noFill/>
                  </a:ln>
                  <a:solidFill>
                    <a:srgbClr val="223341"/>
                  </a:solidFill>
                  <a:effectLst/>
                  <a:uLnTx/>
                  <a:uFillTx/>
                  <a:latin typeface="Calibri" panose="020F0502020204030204"/>
                  <a:ea typeface="+mn-ea"/>
                  <a:cs typeface="Arial" charset="0"/>
                </a:rPr>
                <a:t>vs</a:t>
              </a:r>
              <a:r>
                <a:rPr kumimoji="0" lang="en-US" sz="800" b="1" i="0" u="none" strike="noStrike" kern="1200" cap="none" spc="0" normalizeH="0" baseline="0" noProof="0">
                  <a:ln>
                    <a:noFill/>
                  </a:ln>
                  <a:solidFill>
                    <a:srgbClr val="FFFFFF"/>
                  </a:solidFill>
                  <a:effectLst/>
                  <a:uLnTx/>
                  <a:uFillTx/>
                  <a:latin typeface="Calibri" panose="020F0502020204030204"/>
                  <a:ea typeface="+mn-ea"/>
                  <a:cs typeface="Arial" charset="0"/>
                </a:rPr>
                <a:t> </a:t>
              </a:r>
              <a:r>
                <a:rPr kumimoji="0" lang="en-US" sz="800" b="1" i="0" u="none" strike="noStrike" kern="1200" cap="none" spc="0" normalizeH="0" baseline="0" noProof="0">
                  <a:ln>
                    <a:noFill/>
                  </a:ln>
                  <a:solidFill>
                    <a:srgbClr val="298A49">
                      <a:lumMod val="60000"/>
                      <a:lumOff val="40000"/>
                    </a:srgbClr>
                  </a:solidFill>
                  <a:effectLst/>
                  <a:uLnTx/>
                  <a:uFillTx/>
                  <a:latin typeface="Calibri" panose="020F0502020204030204"/>
                  <a:ea typeface="+mn-ea"/>
                  <a:cs typeface="Arial" charset="0"/>
                </a:rPr>
                <a:t>KCd-ASCT</a:t>
              </a:r>
              <a:r>
                <a:rPr kumimoji="0" lang="en-US" sz="800" b="1" i="0" u="none" strike="noStrike" kern="1200" cap="none" spc="0" normalizeH="0" baseline="0" noProof="0">
                  <a:ln>
                    <a:noFill/>
                  </a:ln>
                  <a:solidFill>
                    <a:srgbClr val="223341"/>
                  </a:solidFill>
                  <a:effectLst/>
                  <a:uLnTx/>
                  <a:uFillTx/>
                  <a:latin typeface="Calibri" panose="020F0502020204030204"/>
                  <a:ea typeface="+mn-ea"/>
                  <a:cs typeface="Arial" charset="0"/>
                </a:rPr>
                <a:t>: </a:t>
              </a: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HR 0.54 (95% CI 0.38</a:t>
              </a:r>
              <a:r>
                <a:rPr kumimoji="0" lang="en-US" sz="800" b="0" i="0" u="none" strike="noStrike" kern="1200" cap="none" spc="0" normalizeH="0" baseline="0" noProof="0">
                  <a:ln>
                    <a:noFill/>
                  </a:ln>
                  <a:solidFill>
                    <a:srgbClr val="223341"/>
                  </a:solidFill>
                  <a:effectLst/>
                  <a:uLnTx/>
                  <a:uFillTx/>
                  <a:latin typeface="Calibri" panose="020F0502020204030204" pitchFamily="34" charset="0"/>
                  <a:ea typeface="+mn-ea"/>
                  <a:cs typeface="Calibri" panose="020F0502020204030204" pitchFamily="34" charset="0"/>
                </a:rPr>
                <a:t>–</a:t>
              </a: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0.78; </a:t>
              </a:r>
              <a:r>
                <a:rPr kumimoji="0" lang="en-US" sz="800" b="0" i="1" u="none" strike="noStrike" kern="1200" cap="none" spc="0" normalizeH="0" baseline="0" noProof="0">
                  <a:ln>
                    <a:noFill/>
                  </a:ln>
                  <a:solidFill>
                    <a:srgbClr val="223341"/>
                  </a:solidFill>
                  <a:effectLst/>
                  <a:uLnTx/>
                  <a:uFillTx/>
                  <a:latin typeface="Calibri" panose="020F0502020204030204"/>
                  <a:ea typeface="+mn-ea"/>
                  <a:cs typeface="Arial" charset="0"/>
                </a:rPr>
                <a:t>P</a:t>
              </a: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 &lt;.001)</a:t>
              </a:r>
            </a:p>
            <a:p>
              <a:pPr marL="0" marR="0" lvl="0" indent="0" algn="l" defTabSz="578644" rtl="0" eaLnBrk="1" fontAlgn="base" latinLnBrk="0" hangingPunct="1">
                <a:lnSpc>
                  <a:spcPct val="100000"/>
                </a:lnSpc>
                <a:spcBef>
                  <a:spcPts val="0"/>
                </a:spcBef>
                <a:spcAft>
                  <a:spcPct val="0"/>
                </a:spcAft>
                <a:buClr>
                  <a:srgbClr val="E67225"/>
                </a:buClr>
                <a:buSzTx/>
                <a:buFontTx/>
                <a:buNone/>
                <a:tabLst/>
                <a:defRPr/>
              </a:pPr>
              <a:r>
                <a:rPr kumimoji="0" lang="en-US" sz="800" b="1" i="0" u="none" strike="noStrike" kern="1200" cap="none" spc="0" normalizeH="0" baseline="0" noProof="0">
                  <a:ln>
                    <a:noFill/>
                  </a:ln>
                  <a:solidFill>
                    <a:srgbClr val="1185AA"/>
                  </a:solidFill>
                  <a:effectLst/>
                  <a:uLnTx/>
                  <a:uFillTx/>
                  <a:latin typeface="Calibri" panose="020F0502020204030204"/>
                  <a:ea typeface="+mn-ea"/>
                  <a:cs typeface="Arial" charset="0"/>
                </a:rPr>
                <a:t>KRd-ASCT </a:t>
              </a:r>
              <a:r>
                <a:rPr kumimoji="0" lang="en-US" sz="800" b="1" i="0" u="none" strike="noStrike" kern="1200" cap="none" spc="0" normalizeH="0" baseline="0" noProof="0">
                  <a:ln>
                    <a:noFill/>
                  </a:ln>
                  <a:solidFill>
                    <a:srgbClr val="223341"/>
                  </a:solidFill>
                  <a:effectLst/>
                  <a:uLnTx/>
                  <a:uFillTx/>
                  <a:latin typeface="Calibri" panose="020F0502020204030204"/>
                  <a:ea typeface="+mn-ea"/>
                  <a:cs typeface="Arial" charset="0"/>
                </a:rPr>
                <a:t>vs</a:t>
              </a:r>
              <a:r>
                <a:rPr kumimoji="0" lang="en-US" sz="800" b="1" i="0" u="none" strike="noStrike" kern="1200" cap="none" spc="0" normalizeH="0" baseline="0" noProof="0">
                  <a:ln>
                    <a:noFill/>
                  </a:ln>
                  <a:solidFill>
                    <a:srgbClr val="FFFFFF"/>
                  </a:solidFill>
                  <a:effectLst/>
                  <a:uLnTx/>
                  <a:uFillTx/>
                  <a:latin typeface="Calibri" panose="020F0502020204030204"/>
                  <a:ea typeface="+mn-ea"/>
                  <a:cs typeface="Arial" charset="0"/>
                </a:rPr>
                <a:t> </a:t>
              </a:r>
              <a:r>
                <a:rPr kumimoji="0" lang="en-US" sz="800" b="1" i="0" u="none" strike="noStrike" kern="1200" cap="none" spc="0" normalizeH="0" baseline="0" noProof="0">
                  <a:ln>
                    <a:noFill/>
                  </a:ln>
                  <a:solidFill>
                    <a:srgbClr val="E67225"/>
                  </a:solidFill>
                  <a:effectLst/>
                  <a:uLnTx/>
                  <a:uFillTx/>
                  <a:latin typeface="Calibri" panose="020F0502020204030204"/>
                  <a:ea typeface="+mn-ea"/>
                  <a:cs typeface="Arial" charset="0"/>
                </a:rPr>
                <a:t>KRd12</a:t>
              </a:r>
              <a:r>
                <a:rPr kumimoji="0" lang="en-US" sz="800" b="1" i="0" u="none" strike="noStrike" kern="1200" cap="none" spc="0" normalizeH="0" baseline="0" noProof="0">
                  <a:ln>
                    <a:noFill/>
                  </a:ln>
                  <a:solidFill>
                    <a:srgbClr val="223341"/>
                  </a:solidFill>
                  <a:effectLst/>
                  <a:uLnTx/>
                  <a:uFillTx/>
                  <a:latin typeface="Calibri" panose="020F0502020204030204"/>
                  <a:ea typeface="+mn-ea"/>
                  <a:cs typeface="Arial" charset="0"/>
                </a:rPr>
                <a:t>: </a:t>
              </a: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HR 0.61 (95% CI 0.43</a:t>
              </a:r>
              <a:r>
                <a:rPr kumimoji="0" lang="en-US" sz="800" b="0" i="0" u="none" strike="noStrike" kern="1200" cap="none" spc="0" normalizeH="0" baseline="0" noProof="0">
                  <a:ln>
                    <a:noFill/>
                  </a:ln>
                  <a:solidFill>
                    <a:srgbClr val="223341"/>
                  </a:solidFill>
                  <a:effectLst/>
                  <a:uLnTx/>
                  <a:uFillTx/>
                  <a:latin typeface="Calibri" panose="020F0502020204030204" pitchFamily="34" charset="0"/>
                  <a:ea typeface="+mn-ea"/>
                  <a:cs typeface="Calibri" panose="020F0502020204030204" pitchFamily="34" charset="0"/>
                </a:rPr>
                <a:t>–</a:t>
              </a: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88; </a:t>
              </a:r>
              <a:r>
                <a:rPr kumimoji="0" lang="en-US" sz="800" b="0" i="1" u="none" strike="noStrike" kern="1200" cap="none" spc="0" normalizeH="0" baseline="0" noProof="0">
                  <a:ln>
                    <a:noFill/>
                  </a:ln>
                  <a:solidFill>
                    <a:srgbClr val="223341"/>
                  </a:solidFill>
                  <a:effectLst/>
                  <a:uLnTx/>
                  <a:uFillTx/>
                  <a:latin typeface="Calibri" panose="020F0502020204030204"/>
                  <a:ea typeface="+mn-ea"/>
                  <a:cs typeface="Arial" charset="0"/>
                </a:rPr>
                <a:t>P</a:t>
              </a: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 = .0084)</a:t>
              </a:r>
            </a:p>
            <a:p>
              <a:pPr marL="0" marR="0" lvl="0" indent="0" algn="l" defTabSz="578644" rtl="0" eaLnBrk="1" fontAlgn="base" latinLnBrk="0" hangingPunct="1">
                <a:lnSpc>
                  <a:spcPct val="100000"/>
                </a:lnSpc>
                <a:spcBef>
                  <a:spcPts val="0"/>
                </a:spcBef>
                <a:spcAft>
                  <a:spcPct val="0"/>
                </a:spcAft>
                <a:buClr>
                  <a:srgbClr val="E67225"/>
                </a:buClr>
                <a:buSzTx/>
                <a:buFontTx/>
                <a:buNone/>
                <a:tabLst/>
                <a:defRPr/>
              </a:pPr>
              <a:r>
                <a:rPr kumimoji="0" lang="en-US" sz="800" b="1" i="0" u="none" strike="noStrike" kern="1200" cap="none" spc="0" normalizeH="0" baseline="0" noProof="0">
                  <a:ln>
                    <a:noFill/>
                  </a:ln>
                  <a:solidFill>
                    <a:srgbClr val="E67225"/>
                  </a:solidFill>
                  <a:effectLst/>
                  <a:uLnTx/>
                  <a:uFillTx/>
                  <a:latin typeface="Calibri" panose="020F0502020204030204"/>
                  <a:ea typeface="+mn-ea"/>
                  <a:cs typeface="Arial" charset="0"/>
                </a:rPr>
                <a:t>KRd12</a:t>
              </a:r>
              <a:r>
                <a:rPr kumimoji="0" lang="en-US" sz="800" b="1" i="0" u="none" strike="noStrike" kern="1200" cap="none" spc="0" normalizeH="0" baseline="0" noProof="0">
                  <a:ln>
                    <a:noFill/>
                  </a:ln>
                  <a:solidFill>
                    <a:srgbClr val="FFFFFF"/>
                  </a:solidFill>
                  <a:effectLst/>
                  <a:uLnTx/>
                  <a:uFillTx/>
                  <a:latin typeface="Calibri" panose="020F0502020204030204"/>
                  <a:ea typeface="+mn-ea"/>
                  <a:cs typeface="Arial" charset="0"/>
                </a:rPr>
                <a:t> </a:t>
              </a:r>
              <a:r>
                <a:rPr kumimoji="0" lang="en-US" sz="800" b="1" i="0" u="none" strike="noStrike" kern="1200" cap="none" spc="0" normalizeH="0" baseline="0" noProof="0">
                  <a:ln>
                    <a:noFill/>
                  </a:ln>
                  <a:solidFill>
                    <a:srgbClr val="223341"/>
                  </a:solidFill>
                  <a:effectLst/>
                  <a:uLnTx/>
                  <a:uFillTx/>
                  <a:latin typeface="Calibri" panose="020F0502020204030204"/>
                  <a:ea typeface="+mn-ea"/>
                  <a:cs typeface="Arial" charset="0"/>
                </a:rPr>
                <a:t>vs</a:t>
              </a:r>
              <a:r>
                <a:rPr kumimoji="0" lang="en-US" sz="800" b="1" i="0" u="none" strike="noStrike" kern="1200" cap="none" spc="0" normalizeH="0" baseline="0" noProof="0">
                  <a:ln>
                    <a:noFill/>
                  </a:ln>
                  <a:solidFill>
                    <a:srgbClr val="FFFFFF"/>
                  </a:solidFill>
                  <a:effectLst/>
                  <a:uLnTx/>
                  <a:uFillTx/>
                  <a:latin typeface="Calibri" panose="020F0502020204030204"/>
                  <a:ea typeface="+mn-ea"/>
                  <a:cs typeface="Arial" charset="0"/>
                </a:rPr>
                <a:t> </a:t>
              </a:r>
              <a:r>
                <a:rPr kumimoji="0" lang="en-US" sz="800" b="1" i="0" u="none" strike="noStrike" kern="1200" cap="none" spc="0" normalizeH="0" baseline="0" noProof="0">
                  <a:ln>
                    <a:noFill/>
                  </a:ln>
                  <a:solidFill>
                    <a:srgbClr val="298A49">
                      <a:lumMod val="60000"/>
                      <a:lumOff val="40000"/>
                    </a:srgbClr>
                  </a:solidFill>
                  <a:effectLst/>
                  <a:uLnTx/>
                  <a:uFillTx/>
                  <a:latin typeface="Calibri" panose="020F0502020204030204"/>
                  <a:ea typeface="+mn-ea"/>
                  <a:cs typeface="Arial" charset="0"/>
                </a:rPr>
                <a:t>KCd-ASCT</a:t>
              </a:r>
              <a:r>
                <a:rPr kumimoji="0" lang="en-US" sz="800" b="1" i="0" u="none" strike="noStrike" kern="1200" cap="none" spc="0" normalizeH="0" baseline="0" noProof="0">
                  <a:ln>
                    <a:noFill/>
                  </a:ln>
                  <a:solidFill>
                    <a:srgbClr val="223341"/>
                  </a:solidFill>
                  <a:effectLst/>
                  <a:uLnTx/>
                  <a:uFillTx/>
                  <a:latin typeface="Calibri" panose="020F0502020204030204"/>
                  <a:ea typeface="+mn-ea"/>
                  <a:cs typeface="Arial" charset="0"/>
                </a:rPr>
                <a:t>: </a:t>
              </a: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HR 0.88 (95% CI 0.64</a:t>
              </a:r>
              <a:r>
                <a:rPr kumimoji="0" lang="en-US" sz="800" b="0" i="0" u="none" strike="noStrike" kern="1200" cap="none" spc="0" normalizeH="0" baseline="0" noProof="0">
                  <a:ln>
                    <a:noFill/>
                  </a:ln>
                  <a:solidFill>
                    <a:srgbClr val="223341"/>
                  </a:solidFill>
                  <a:effectLst/>
                  <a:uLnTx/>
                  <a:uFillTx/>
                  <a:latin typeface="Calibri" panose="020F0502020204030204" pitchFamily="34" charset="0"/>
                  <a:ea typeface="+mn-ea"/>
                  <a:cs typeface="Calibri" panose="020F0502020204030204" pitchFamily="34" charset="0"/>
                </a:rPr>
                <a:t>–</a:t>
              </a: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1.22; </a:t>
              </a:r>
              <a:r>
                <a:rPr kumimoji="0" lang="en-US" sz="800" b="0" i="1" u="none" strike="noStrike" kern="1200" cap="none" spc="0" normalizeH="0" baseline="0" noProof="0">
                  <a:ln>
                    <a:noFill/>
                  </a:ln>
                  <a:solidFill>
                    <a:srgbClr val="223341"/>
                  </a:solidFill>
                  <a:effectLst/>
                  <a:uLnTx/>
                  <a:uFillTx/>
                  <a:latin typeface="Calibri" panose="020F0502020204030204"/>
                  <a:ea typeface="+mn-ea"/>
                  <a:cs typeface="Arial" charset="0"/>
                </a:rPr>
                <a:t>P</a:t>
              </a: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 = .45)</a:t>
              </a:r>
            </a:p>
          </p:txBody>
        </p:sp>
        <p:pic>
          <p:nvPicPr>
            <p:cNvPr id="42" name="Graphic 93">
              <a:extLst>
                <a:ext uri="{FF2B5EF4-FFF2-40B4-BE49-F238E27FC236}">
                  <a16:creationId xmlns:a16="http://schemas.microsoft.com/office/drawing/2014/main" id="{0F7CAF60-9B1A-4DCB-B86B-89E8A9E15D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5347" y="2426286"/>
              <a:ext cx="3850472" cy="815142"/>
            </a:xfrm>
            <a:prstGeom prst="rect">
              <a:avLst/>
            </a:prstGeom>
          </p:spPr>
        </p:pic>
        <p:pic>
          <p:nvPicPr>
            <p:cNvPr id="43" name="Graphic 94">
              <a:extLst>
                <a:ext uri="{FF2B5EF4-FFF2-40B4-BE49-F238E27FC236}">
                  <a16:creationId xmlns:a16="http://schemas.microsoft.com/office/drawing/2014/main" id="{E3D73F8B-5332-40D6-9967-F63C88B88C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48930" y="2415411"/>
              <a:ext cx="3646686" cy="1158360"/>
            </a:xfrm>
            <a:prstGeom prst="rect">
              <a:avLst/>
            </a:prstGeom>
          </p:spPr>
        </p:pic>
        <p:pic>
          <p:nvPicPr>
            <p:cNvPr id="44" name="Graphic 96">
              <a:extLst>
                <a:ext uri="{FF2B5EF4-FFF2-40B4-BE49-F238E27FC236}">
                  <a16:creationId xmlns:a16="http://schemas.microsoft.com/office/drawing/2014/main" id="{DA42D26F-15A2-4887-850B-B2632A33D7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6225" y="2424809"/>
              <a:ext cx="3700314" cy="1115457"/>
            </a:xfrm>
            <a:prstGeom prst="rect">
              <a:avLst/>
            </a:prstGeom>
          </p:spPr>
        </p:pic>
        <p:sp>
          <p:nvSpPr>
            <p:cNvPr id="45" name="TextBox 98">
              <a:extLst>
                <a:ext uri="{FF2B5EF4-FFF2-40B4-BE49-F238E27FC236}">
                  <a16:creationId xmlns:a16="http://schemas.microsoft.com/office/drawing/2014/main" id="{7F0A271E-A28E-43B9-9BD2-FDC596AB45D4}"/>
                </a:ext>
              </a:extLst>
            </p:cNvPr>
            <p:cNvSpPr txBox="1"/>
            <p:nvPr/>
          </p:nvSpPr>
          <p:spPr>
            <a:xfrm>
              <a:off x="925229" y="5070857"/>
              <a:ext cx="2172395" cy="238659"/>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760"/>
                </a:spcBef>
                <a:spcAft>
                  <a:spcPct val="0"/>
                </a:spcAft>
                <a:buClr>
                  <a:srgbClr val="E67225"/>
                </a:buClr>
                <a:buSzTx/>
                <a:buFontTx/>
                <a:buNone/>
                <a:tabLst/>
                <a:defRPr/>
              </a:pPr>
              <a:r>
                <a:rPr kumimoji="0" lang="en-US" sz="900" b="0" i="0" u="none" strike="noStrike" kern="1200" cap="none" spc="0" normalizeH="0" baseline="0" noProof="0">
                  <a:ln>
                    <a:noFill/>
                  </a:ln>
                  <a:solidFill>
                    <a:srgbClr val="223341"/>
                  </a:solidFill>
                  <a:effectLst/>
                  <a:uLnTx/>
                  <a:uFillTx/>
                  <a:latin typeface="Calibri" panose="020F0502020204030204"/>
                  <a:ea typeface="+mn-ea"/>
                  <a:cs typeface="Arial" charset="0"/>
                </a:rPr>
                <a:t>Median follow-up from </a:t>
              </a:r>
              <a:r>
                <a:rPr kumimoji="0" lang="en-US" sz="900" b="1" i="0" u="none" strike="noStrike" kern="1200" cap="none" spc="0" normalizeH="0" baseline="0" noProof="0">
                  <a:ln>
                    <a:noFill/>
                  </a:ln>
                  <a:solidFill>
                    <a:srgbClr val="223341"/>
                  </a:solidFill>
                  <a:effectLst/>
                  <a:uLnTx/>
                  <a:uFillTx/>
                  <a:latin typeface="Calibri" panose="020F0502020204030204"/>
                  <a:ea typeface="+mn-ea"/>
                  <a:cs typeface="Arial" charset="0"/>
                </a:rPr>
                <a:t>Random 1</a:t>
              </a:r>
              <a:r>
                <a:rPr kumimoji="0" lang="en-US" sz="900" b="0" i="0" u="none" strike="noStrike" kern="1200" cap="none" spc="0" normalizeH="0" baseline="0" noProof="0">
                  <a:ln>
                    <a:noFill/>
                  </a:ln>
                  <a:solidFill>
                    <a:srgbClr val="223341"/>
                  </a:solidFill>
                  <a:effectLst/>
                  <a:uLnTx/>
                  <a:uFillTx/>
                  <a:latin typeface="Calibri" panose="020F0502020204030204"/>
                  <a:ea typeface="+mn-ea"/>
                  <a:cs typeface="Arial" charset="0"/>
                </a:rPr>
                <a:t>: 51 months (IQR </a:t>
              </a:r>
              <a:r>
                <a:rPr kumimoji="0" lang="en-US" sz="900" b="0" i="0" u="none" strike="noStrike" kern="1200" cap="none" spc="0" normalizeH="0" baseline="0" noProof="0">
                  <a:ln>
                    <a:noFill/>
                  </a:ln>
                  <a:solidFill>
                    <a:srgbClr val="223341"/>
                  </a:solidFill>
                  <a:effectLst/>
                  <a:uLnTx/>
                  <a:uFillTx/>
                  <a:latin typeface="Calibri" panose="020F0502020204030204" pitchFamily="34" charset="0"/>
                  <a:ea typeface="+mn-ea"/>
                  <a:cs typeface="Calibri" panose="020F0502020204030204" pitchFamily="34" charset="0"/>
                </a:rPr>
                <a:t>46–5</a:t>
              </a:r>
              <a:r>
                <a:rPr kumimoji="0" lang="en-US" sz="900" b="0" i="0" u="none" strike="noStrike" kern="1200" cap="none" spc="0" normalizeH="0" baseline="0" noProof="0">
                  <a:ln>
                    <a:noFill/>
                  </a:ln>
                  <a:solidFill>
                    <a:srgbClr val="223341"/>
                  </a:solidFill>
                  <a:effectLst/>
                  <a:uLnTx/>
                  <a:uFillTx/>
                  <a:latin typeface="Calibri" panose="020F0502020204030204"/>
                  <a:ea typeface="+mn-ea"/>
                  <a:cs typeface="Arial" charset="0"/>
                </a:rPr>
                <a:t>5)</a:t>
              </a:r>
            </a:p>
          </p:txBody>
        </p:sp>
        <p:sp>
          <p:nvSpPr>
            <p:cNvPr id="46" name="TextBox 99">
              <a:extLst>
                <a:ext uri="{FF2B5EF4-FFF2-40B4-BE49-F238E27FC236}">
                  <a16:creationId xmlns:a16="http://schemas.microsoft.com/office/drawing/2014/main" id="{2DDEACD6-6707-4235-9DFC-5B5606851D7A}"/>
                </a:ext>
              </a:extLst>
            </p:cNvPr>
            <p:cNvSpPr txBox="1"/>
            <p:nvPr/>
          </p:nvSpPr>
          <p:spPr>
            <a:xfrm>
              <a:off x="3626171" y="2916389"/>
              <a:ext cx="271609" cy="222749"/>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0"/>
                </a:spcBef>
                <a:spcAft>
                  <a:spcPct val="0"/>
                </a:spcAft>
                <a:buClr>
                  <a:srgbClr val="E67225"/>
                </a:buClr>
                <a:buSzTx/>
                <a:buFontTx/>
                <a:buNone/>
                <a:tabLst/>
                <a:defRPr/>
              </a:pPr>
              <a:r>
                <a:rPr kumimoji="0" lang="en-US" sz="800" b="1" i="0" u="none" strike="noStrike" kern="1200" cap="none" spc="0" normalizeH="0" baseline="0" noProof="0">
                  <a:ln>
                    <a:noFill/>
                  </a:ln>
                  <a:solidFill>
                    <a:srgbClr val="1185AA"/>
                  </a:solidFill>
                  <a:effectLst/>
                  <a:uLnTx/>
                  <a:uFillTx/>
                  <a:latin typeface="Calibri" panose="020F0502020204030204"/>
                  <a:ea typeface="+mn-ea"/>
                  <a:cs typeface="Arial" charset="0"/>
                </a:rPr>
                <a:t>0.69</a:t>
              </a:r>
            </a:p>
          </p:txBody>
        </p:sp>
        <p:sp>
          <p:nvSpPr>
            <p:cNvPr id="47" name="TextBox 100">
              <a:extLst>
                <a:ext uri="{FF2B5EF4-FFF2-40B4-BE49-F238E27FC236}">
                  <a16:creationId xmlns:a16="http://schemas.microsoft.com/office/drawing/2014/main" id="{39E04572-F053-490B-9FE6-6F000D2A0469}"/>
                </a:ext>
              </a:extLst>
            </p:cNvPr>
            <p:cNvSpPr txBox="1"/>
            <p:nvPr/>
          </p:nvSpPr>
          <p:spPr>
            <a:xfrm>
              <a:off x="3626171" y="3211339"/>
              <a:ext cx="271609" cy="222749"/>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0"/>
                </a:spcBef>
                <a:spcAft>
                  <a:spcPct val="0"/>
                </a:spcAft>
                <a:buClr>
                  <a:srgbClr val="E67225"/>
                </a:buClr>
                <a:buSzTx/>
                <a:buFontTx/>
                <a:buNone/>
                <a:tabLst/>
                <a:defRPr/>
              </a:pPr>
              <a:r>
                <a:rPr kumimoji="0" lang="en-US" sz="800" b="1" i="0" u="none" strike="noStrike" kern="1200" cap="none" spc="0" normalizeH="0" baseline="0" noProof="0">
                  <a:ln>
                    <a:noFill/>
                  </a:ln>
                  <a:solidFill>
                    <a:srgbClr val="E67225"/>
                  </a:solidFill>
                  <a:effectLst/>
                  <a:uLnTx/>
                  <a:uFillTx/>
                  <a:latin typeface="Calibri" panose="020F0502020204030204"/>
                  <a:ea typeface="+mn-ea"/>
                  <a:cs typeface="Arial" charset="0"/>
                </a:rPr>
                <a:t>0.56</a:t>
              </a:r>
            </a:p>
          </p:txBody>
        </p:sp>
        <p:sp>
          <p:nvSpPr>
            <p:cNvPr id="48" name="TextBox 101">
              <a:extLst>
                <a:ext uri="{FF2B5EF4-FFF2-40B4-BE49-F238E27FC236}">
                  <a16:creationId xmlns:a16="http://schemas.microsoft.com/office/drawing/2014/main" id="{C749B86E-E7D1-4C8B-B77E-BEF76CD319CB}"/>
                </a:ext>
              </a:extLst>
            </p:cNvPr>
            <p:cNvSpPr txBox="1"/>
            <p:nvPr/>
          </p:nvSpPr>
          <p:spPr>
            <a:xfrm>
              <a:off x="3626171" y="3493392"/>
              <a:ext cx="271609" cy="222749"/>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0"/>
                </a:spcBef>
                <a:spcAft>
                  <a:spcPct val="0"/>
                </a:spcAft>
                <a:buClr>
                  <a:srgbClr val="E67225"/>
                </a:buClr>
                <a:buSzTx/>
                <a:buFontTx/>
                <a:buNone/>
                <a:tabLst/>
                <a:defRPr/>
              </a:pPr>
              <a:r>
                <a:rPr kumimoji="0" lang="en-US" sz="800" b="1" i="0" u="none" strike="noStrike" kern="1200" cap="none" spc="0" normalizeH="0" baseline="0" noProof="0">
                  <a:ln>
                    <a:noFill/>
                  </a:ln>
                  <a:solidFill>
                    <a:srgbClr val="298A49">
                      <a:lumMod val="60000"/>
                      <a:lumOff val="40000"/>
                    </a:srgbClr>
                  </a:solidFill>
                  <a:effectLst/>
                  <a:uLnTx/>
                  <a:uFillTx/>
                  <a:latin typeface="Calibri" panose="020F0502020204030204"/>
                  <a:ea typeface="+mn-ea"/>
                  <a:cs typeface="Arial" charset="0"/>
                </a:rPr>
                <a:t>0.51</a:t>
              </a:r>
            </a:p>
          </p:txBody>
        </p:sp>
        <p:sp>
          <p:nvSpPr>
            <p:cNvPr id="49" name="TextBox 123">
              <a:extLst>
                <a:ext uri="{FF2B5EF4-FFF2-40B4-BE49-F238E27FC236}">
                  <a16:creationId xmlns:a16="http://schemas.microsoft.com/office/drawing/2014/main" id="{2CE33705-B2B0-41F2-8F44-1EF544053859}"/>
                </a:ext>
              </a:extLst>
            </p:cNvPr>
            <p:cNvSpPr txBox="1"/>
            <p:nvPr/>
          </p:nvSpPr>
          <p:spPr>
            <a:xfrm>
              <a:off x="2363173" y="4812203"/>
              <a:ext cx="378729" cy="222749"/>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760"/>
                </a:spcBef>
                <a:spcAft>
                  <a:spcPct val="0"/>
                </a:spcAft>
                <a:buClr>
                  <a:srgbClr val="E67225"/>
                </a:buClr>
                <a:buSzTx/>
                <a:buFontTx/>
                <a:buNone/>
                <a:tabLst/>
                <a:defRPr/>
              </a:pPr>
              <a:r>
                <a:rPr kumimoji="0" lang="en-US" sz="800" b="0" i="0" u="none" strike="noStrike" kern="1200" cap="none" spc="0" normalizeH="0" baseline="0" noProof="0">
                  <a:ln>
                    <a:noFill/>
                  </a:ln>
                  <a:solidFill>
                    <a:srgbClr val="223341"/>
                  </a:solidFill>
                  <a:effectLst/>
                  <a:uLnTx/>
                  <a:uFillTx/>
                  <a:latin typeface="Calibri" panose="020F0502020204030204"/>
                  <a:ea typeface="+mn-ea"/>
                  <a:cs typeface="Arial" charset="0"/>
                </a:rPr>
                <a:t>Months</a:t>
              </a:r>
            </a:p>
          </p:txBody>
        </p:sp>
        <p:sp>
          <p:nvSpPr>
            <p:cNvPr id="50" name="TextBox 125">
              <a:extLst>
                <a:ext uri="{FF2B5EF4-FFF2-40B4-BE49-F238E27FC236}">
                  <a16:creationId xmlns:a16="http://schemas.microsoft.com/office/drawing/2014/main" id="{BA97A9AA-F0E0-41C4-83D5-B5F23D257E08}"/>
                </a:ext>
              </a:extLst>
            </p:cNvPr>
            <p:cNvSpPr txBox="1"/>
            <p:nvPr/>
          </p:nvSpPr>
          <p:spPr>
            <a:xfrm>
              <a:off x="947019" y="1863848"/>
              <a:ext cx="3627438" cy="477319"/>
            </a:xfrm>
            <a:prstGeom prst="rect">
              <a:avLst/>
            </a:prstGeom>
            <a:noFill/>
          </p:spPr>
          <p:txBody>
            <a:bodyPr wrap="squar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44" rtl="0" eaLnBrk="1" fontAlgn="base" latinLnBrk="0" hangingPunct="1">
                <a:lnSpc>
                  <a:spcPct val="100000"/>
                </a:lnSpc>
                <a:spcBef>
                  <a:spcPts val="0"/>
                </a:spcBef>
                <a:spcAft>
                  <a:spcPct val="0"/>
                </a:spcAft>
                <a:buClr>
                  <a:srgbClr val="E67225"/>
                </a:buClr>
                <a:buSzTx/>
                <a:buFontTx/>
                <a:buNone/>
                <a:tabLst/>
                <a:defRPr/>
              </a:pPr>
              <a:r>
                <a:rPr kumimoji="0" lang="en-US" sz="1200" b="1" i="0" u="none" strike="noStrike" kern="1200" cap="none" spc="0" normalizeH="0" baseline="0" noProof="0">
                  <a:ln>
                    <a:noFill/>
                  </a:ln>
                  <a:solidFill>
                    <a:srgbClr val="223341"/>
                  </a:solidFill>
                  <a:effectLst/>
                  <a:uLnTx/>
                  <a:uFillTx/>
                  <a:latin typeface="Calibri" panose="020F0502020204030204"/>
                  <a:ea typeface="+mn-ea"/>
                  <a:cs typeface="Arial" charset="0"/>
                </a:rPr>
                <a:t>Induction and consolidation:</a:t>
              </a:r>
              <a:br>
                <a:rPr kumimoji="0" lang="en-US" sz="1200" b="1" i="0" u="none" strike="noStrike" kern="1200" cap="none" spc="0" normalizeH="0" baseline="0" noProof="0">
                  <a:ln>
                    <a:noFill/>
                  </a:ln>
                  <a:solidFill>
                    <a:srgbClr val="1185AA"/>
                  </a:solidFill>
                  <a:effectLst/>
                  <a:uLnTx/>
                  <a:uFillTx/>
                  <a:latin typeface="Calibri" panose="020F0502020204030204"/>
                  <a:ea typeface="+mn-ea"/>
                  <a:cs typeface="Arial" charset="0"/>
                </a:rPr>
              </a:br>
              <a:r>
                <a:rPr kumimoji="0" lang="en-US" sz="1200" b="1" i="0" u="none" strike="noStrike" kern="1200" cap="none" spc="0" normalizeH="0" baseline="0" noProof="0">
                  <a:ln>
                    <a:noFill/>
                  </a:ln>
                  <a:solidFill>
                    <a:srgbClr val="1185AA"/>
                  </a:solidFill>
                  <a:effectLst/>
                  <a:uLnTx/>
                  <a:uFillTx/>
                  <a:latin typeface="Calibri" panose="020F0502020204030204"/>
                  <a:ea typeface="+mn-ea"/>
                  <a:cs typeface="Arial" charset="0"/>
                </a:rPr>
                <a:t>KRd-ASCT </a:t>
              </a:r>
              <a:r>
                <a:rPr kumimoji="0" lang="en-US" sz="1200" b="1" i="0" u="none" strike="noStrike" kern="1200" cap="none" spc="0" normalizeH="0" baseline="0" noProof="0">
                  <a:ln>
                    <a:noFill/>
                  </a:ln>
                  <a:solidFill>
                    <a:srgbClr val="223341"/>
                  </a:solidFill>
                  <a:effectLst/>
                  <a:uLnTx/>
                  <a:uFillTx/>
                  <a:latin typeface="Calibri" panose="020F0502020204030204"/>
                  <a:ea typeface="+mn-ea"/>
                  <a:cs typeface="Arial" charset="0"/>
                </a:rPr>
                <a:t>vs</a:t>
              </a:r>
              <a:r>
                <a:rPr kumimoji="0" lang="en-US" sz="1200" b="1" i="0" u="none" strike="noStrike" kern="1200" cap="none" spc="0" normalizeH="0" baseline="0" noProof="0">
                  <a:ln>
                    <a:noFill/>
                  </a:ln>
                  <a:solidFill>
                    <a:srgbClr val="FFFFFF"/>
                  </a:solidFill>
                  <a:effectLst/>
                  <a:uLnTx/>
                  <a:uFillTx/>
                  <a:latin typeface="Calibri" panose="020F0502020204030204"/>
                  <a:ea typeface="+mn-ea"/>
                  <a:cs typeface="Arial" charset="0"/>
                </a:rPr>
                <a:t> </a:t>
              </a:r>
              <a:r>
                <a:rPr kumimoji="0" lang="en-US" sz="1200" b="1" i="0" u="none" strike="noStrike" kern="1200" cap="none" spc="0" normalizeH="0" baseline="0" noProof="0">
                  <a:ln>
                    <a:noFill/>
                  </a:ln>
                  <a:solidFill>
                    <a:srgbClr val="E67225"/>
                  </a:solidFill>
                  <a:effectLst/>
                  <a:uLnTx/>
                  <a:uFillTx/>
                  <a:latin typeface="Calibri" panose="020F0502020204030204"/>
                  <a:ea typeface="+mn-ea"/>
                  <a:cs typeface="Arial" charset="0"/>
                </a:rPr>
                <a:t>KRd12</a:t>
              </a:r>
              <a:r>
                <a:rPr kumimoji="0" lang="en-US" sz="1200" b="1" i="0" u="none" strike="noStrike" kern="1200" cap="none" spc="0" normalizeH="0" baseline="0" noProof="0">
                  <a:ln>
                    <a:noFill/>
                  </a:ln>
                  <a:solidFill>
                    <a:srgbClr val="298A49">
                      <a:lumMod val="60000"/>
                      <a:lumOff val="40000"/>
                    </a:srgbClr>
                  </a:solidFill>
                  <a:effectLst/>
                  <a:uLnTx/>
                  <a:uFillTx/>
                  <a:latin typeface="Calibri" panose="020F0502020204030204"/>
                  <a:ea typeface="+mn-ea"/>
                  <a:cs typeface="Arial" charset="0"/>
                </a:rPr>
                <a:t> </a:t>
              </a:r>
              <a:r>
                <a:rPr kumimoji="0" lang="en-US" sz="1200" b="1" i="0" u="none" strike="noStrike" kern="1200" cap="none" spc="0" normalizeH="0" baseline="0" noProof="0">
                  <a:ln>
                    <a:noFill/>
                  </a:ln>
                  <a:solidFill>
                    <a:srgbClr val="223341"/>
                  </a:solidFill>
                  <a:effectLst/>
                  <a:uLnTx/>
                  <a:uFillTx/>
                  <a:latin typeface="Calibri" panose="020F0502020204030204"/>
                  <a:ea typeface="+mn-ea"/>
                  <a:cs typeface="Arial" charset="0"/>
                </a:rPr>
                <a:t>vs</a:t>
              </a:r>
              <a:r>
                <a:rPr kumimoji="0" lang="en-US" sz="1200" b="1" i="0" u="none" strike="noStrike" kern="1200" cap="none" spc="0" normalizeH="0" baseline="0" noProof="0">
                  <a:ln>
                    <a:noFill/>
                  </a:ln>
                  <a:solidFill>
                    <a:srgbClr val="298A49">
                      <a:lumMod val="60000"/>
                      <a:lumOff val="40000"/>
                    </a:srgbClr>
                  </a:solidFill>
                  <a:effectLst/>
                  <a:uLnTx/>
                  <a:uFillTx/>
                  <a:latin typeface="Calibri" panose="020F0502020204030204"/>
                  <a:ea typeface="+mn-ea"/>
                  <a:cs typeface="Arial" charset="0"/>
                </a:rPr>
                <a:t> KCd-ASCT</a:t>
              </a:r>
            </a:p>
          </p:txBody>
        </p:sp>
        <p:sp>
          <p:nvSpPr>
            <p:cNvPr id="88" name="TextBox 99">
              <a:extLst>
                <a:ext uri="{FF2B5EF4-FFF2-40B4-BE49-F238E27FC236}">
                  <a16:creationId xmlns:a16="http://schemas.microsoft.com/office/drawing/2014/main" id="{065A36C4-BC4C-4482-9E3A-C4E22A81B6D1}"/>
                </a:ext>
              </a:extLst>
            </p:cNvPr>
            <p:cNvSpPr txBox="1"/>
            <p:nvPr/>
          </p:nvSpPr>
          <p:spPr>
            <a:xfrm>
              <a:off x="4168417" y="3061076"/>
              <a:ext cx="446572" cy="222749"/>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0"/>
                </a:spcBef>
                <a:spcAft>
                  <a:spcPct val="0"/>
                </a:spcAft>
                <a:buClr>
                  <a:srgbClr val="E67225"/>
                </a:buClr>
                <a:buSzTx/>
                <a:buFontTx/>
                <a:buNone/>
                <a:tabLst/>
                <a:defRPr/>
              </a:pPr>
              <a:r>
                <a:rPr kumimoji="0" lang="en-US" sz="800" b="1" i="0" u="none" strike="noStrike" kern="1200" cap="none" spc="0" normalizeH="0" baseline="0" noProof="0">
                  <a:ln>
                    <a:noFill/>
                  </a:ln>
                  <a:solidFill>
                    <a:srgbClr val="1185AA"/>
                  </a:solidFill>
                  <a:effectLst/>
                  <a:uLnTx/>
                  <a:uFillTx/>
                  <a:latin typeface="Calibri" panose="020F0502020204030204"/>
                  <a:ea typeface="+mn-ea"/>
                  <a:cs typeface="Arial" charset="0"/>
                </a:rPr>
                <a:t>KRd-ASCT</a:t>
              </a:r>
            </a:p>
          </p:txBody>
        </p:sp>
        <p:sp>
          <p:nvSpPr>
            <p:cNvPr id="89" name="TextBox 99">
              <a:extLst>
                <a:ext uri="{FF2B5EF4-FFF2-40B4-BE49-F238E27FC236}">
                  <a16:creationId xmlns:a16="http://schemas.microsoft.com/office/drawing/2014/main" id="{DC5528F0-2367-436A-882D-AB51B6C5C394}"/>
                </a:ext>
              </a:extLst>
            </p:cNvPr>
            <p:cNvSpPr txBox="1"/>
            <p:nvPr/>
          </p:nvSpPr>
          <p:spPr>
            <a:xfrm>
              <a:off x="4168416" y="3367526"/>
              <a:ext cx="444191" cy="222749"/>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0"/>
                </a:spcBef>
                <a:spcAft>
                  <a:spcPct val="0"/>
                </a:spcAft>
                <a:buClr>
                  <a:srgbClr val="E67225"/>
                </a:buClr>
                <a:buSzTx/>
                <a:buFontTx/>
                <a:buNone/>
                <a:tabLst/>
                <a:defRPr/>
              </a:pPr>
              <a:r>
                <a:rPr kumimoji="0" lang="en-US" sz="800" b="1" i="0" u="none" strike="noStrike" kern="1200" cap="none" spc="0" normalizeH="0" baseline="0" noProof="0">
                  <a:ln>
                    <a:noFill/>
                  </a:ln>
                  <a:solidFill>
                    <a:srgbClr val="298A49">
                      <a:lumMod val="60000"/>
                      <a:lumOff val="40000"/>
                    </a:srgbClr>
                  </a:solidFill>
                  <a:effectLst/>
                  <a:uLnTx/>
                  <a:uFillTx/>
                  <a:latin typeface="Calibri" panose="020F0502020204030204"/>
                  <a:ea typeface="+mn-ea"/>
                  <a:cs typeface="Arial" charset="0"/>
                </a:rPr>
                <a:t>KCd-ASCT</a:t>
              </a:r>
            </a:p>
          </p:txBody>
        </p:sp>
        <p:sp>
          <p:nvSpPr>
            <p:cNvPr id="90" name="TextBox 99">
              <a:extLst>
                <a:ext uri="{FF2B5EF4-FFF2-40B4-BE49-F238E27FC236}">
                  <a16:creationId xmlns:a16="http://schemas.microsoft.com/office/drawing/2014/main" id="{00608938-34F4-4518-A6FB-8DB3394C31BA}"/>
                </a:ext>
              </a:extLst>
            </p:cNvPr>
            <p:cNvSpPr txBox="1"/>
            <p:nvPr/>
          </p:nvSpPr>
          <p:spPr>
            <a:xfrm>
              <a:off x="4168416" y="3575248"/>
              <a:ext cx="338262" cy="222749"/>
            </a:xfrm>
            <a:prstGeom prst="rect">
              <a:avLst/>
            </a:prstGeom>
            <a:noFill/>
          </p:spPr>
          <p:txBody>
            <a:bodyPr wrap="none"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578644" rtl="0" eaLnBrk="1" fontAlgn="base" latinLnBrk="0" hangingPunct="1">
                <a:lnSpc>
                  <a:spcPct val="100000"/>
                </a:lnSpc>
                <a:spcBef>
                  <a:spcPts val="0"/>
                </a:spcBef>
                <a:spcAft>
                  <a:spcPct val="0"/>
                </a:spcAft>
                <a:buClr>
                  <a:srgbClr val="E67225"/>
                </a:buClr>
                <a:buSzTx/>
                <a:buFontTx/>
                <a:buNone/>
                <a:tabLst/>
                <a:defRPr/>
              </a:pPr>
              <a:r>
                <a:rPr kumimoji="0" lang="en-US" sz="800" b="1" i="0" u="none" strike="noStrike" kern="1200" cap="none" spc="0" normalizeH="0" baseline="0" noProof="0">
                  <a:ln>
                    <a:noFill/>
                  </a:ln>
                  <a:solidFill>
                    <a:srgbClr val="E67225"/>
                  </a:solidFill>
                  <a:effectLst/>
                  <a:uLnTx/>
                  <a:uFillTx/>
                  <a:latin typeface="Calibri" panose="020F0502020204030204"/>
                  <a:ea typeface="+mn-ea"/>
                  <a:cs typeface="Arial" charset="0"/>
                </a:rPr>
                <a:t>KRd12</a:t>
              </a:r>
            </a:p>
          </p:txBody>
        </p:sp>
      </p:grpSp>
      <p:sp>
        <p:nvSpPr>
          <p:cNvPr id="91" name="TextBox 125">
            <a:extLst>
              <a:ext uri="{FF2B5EF4-FFF2-40B4-BE49-F238E27FC236}">
                <a16:creationId xmlns:a16="http://schemas.microsoft.com/office/drawing/2014/main" id="{E369CD6C-7EDA-46B1-B37C-D4B67346257C}"/>
              </a:ext>
            </a:extLst>
          </p:cNvPr>
          <p:cNvSpPr txBox="1"/>
          <p:nvPr/>
        </p:nvSpPr>
        <p:spPr>
          <a:xfrm>
            <a:off x="1097419" y="881611"/>
            <a:ext cx="6837239" cy="230832"/>
          </a:xfrm>
          <a:prstGeom prst="rect">
            <a:avLst/>
          </a:prstGeom>
          <a:noFill/>
        </p:spPr>
        <p:txBody>
          <a:bodyPr wrap="square" tIns="0" bIns="0" rtlCol="0">
            <a:sp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44" rtl="0" eaLnBrk="1" fontAlgn="base" latinLnBrk="0" hangingPunct="1">
              <a:lnSpc>
                <a:spcPct val="100000"/>
              </a:lnSpc>
              <a:spcBef>
                <a:spcPts val="0"/>
              </a:spcBef>
              <a:spcAft>
                <a:spcPct val="0"/>
              </a:spcAft>
              <a:buClr>
                <a:srgbClr val="E67225"/>
              </a:buClr>
              <a:buSzTx/>
              <a:buFontTx/>
              <a:buNone/>
              <a:tabLst/>
              <a:defRPr/>
            </a:pPr>
            <a:r>
              <a:rPr kumimoji="0" lang="en-US" sz="1500" b="1" i="0" u="none" strike="noStrike" kern="1200" cap="none" spc="0" normalizeH="0" baseline="0" noProof="0">
                <a:ln>
                  <a:noFill/>
                </a:ln>
                <a:solidFill>
                  <a:srgbClr val="223341"/>
                </a:solidFill>
                <a:effectLst/>
                <a:uLnTx/>
                <a:uFillTx/>
                <a:latin typeface="Calibri" panose="020F0502020204030204"/>
                <a:ea typeface="+mn-ea"/>
                <a:cs typeface="Arial" charset="0"/>
              </a:rPr>
              <a:t>Progression-free survival</a:t>
            </a:r>
          </a:p>
        </p:txBody>
      </p:sp>
    </p:spTree>
    <p:extLst>
      <p:ext uri="{BB962C8B-B14F-4D97-AF65-F5344CB8AC3E}">
        <p14:creationId xmlns:p14="http://schemas.microsoft.com/office/powerpoint/2010/main" val="8837911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DA0A822-A6EF-7643-B18A-072334D882EB}"/>
              </a:ext>
            </a:extLst>
          </p:cNvPr>
          <p:cNvSpPr>
            <a:spLocks noGrp="1"/>
          </p:cNvSpPr>
          <p:nvPr>
            <p:ph type="title"/>
          </p:nvPr>
        </p:nvSpPr>
        <p:spPr/>
        <p:txBody>
          <a:bodyPr/>
          <a:lstStyle/>
          <a:p>
            <a:r>
              <a:rPr lang="en-US" noProof="0"/>
              <a:t>What is the role of ASCT?</a:t>
            </a:r>
          </a:p>
        </p:txBody>
      </p:sp>
      <p:sp>
        <p:nvSpPr>
          <p:cNvPr id="5" name="Título 1">
            <a:extLst>
              <a:ext uri="{FF2B5EF4-FFF2-40B4-BE49-F238E27FC236}">
                <a16:creationId xmlns:a16="http://schemas.microsoft.com/office/drawing/2014/main" id="{9B0F2D7E-A0AA-6448-8669-05E545A4E570}"/>
              </a:ext>
            </a:extLst>
          </p:cNvPr>
          <p:cNvSpPr txBox="1">
            <a:spLocks/>
          </p:cNvSpPr>
          <p:nvPr/>
        </p:nvSpPr>
        <p:spPr>
          <a:xfrm>
            <a:off x="845586" y="1221600"/>
            <a:ext cx="7252335" cy="685800"/>
          </a:xfrm>
          <a:prstGeom prst="rect">
            <a:avLst/>
          </a:prstGeom>
        </p:spPr>
        <p:txBody>
          <a:bodyPr vert="horz" lIns="0" tIns="0" rIns="0" bIns="0" rtlCol="0" anchor="t" anchorCtr="0">
            <a:noAutofit/>
          </a:bodyPr>
          <a:lstStyle>
            <a:lvl1pPr algn="l" defTabSz="771525" rtl="0" eaLnBrk="1" latinLnBrk="0" hangingPunct="1">
              <a:lnSpc>
                <a:spcPct val="90000"/>
              </a:lnSpc>
              <a:spcBef>
                <a:spcPct val="0"/>
              </a:spcBef>
              <a:buNone/>
              <a:defRPr sz="2700" b="1" kern="1200">
                <a:solidFill>
                  <a:schemeClr val="tx1"/>
                </a:solidFill>
                <a:latin typeface="+mj-lt"/>
                <a:ea typeface="+mj-ea"/>
                <a:cs typeface="+mj-cs"/>
              </a:defRPr>
            </a:lvl1pPr>
          </a:lstStyle>
          <a:p>
            <a:pPr marL="342900" marR="0" lvl="0" indent="-342900" algn="l" defTabSz="578644"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es-ES" sz="1500" b="1" i="0" u="none" strike="noStrike" kern="1200" cap="none" spc="0" normalizeH="0" baseline="0" noProof="0">
              <a:ln>
                <a:noFill/>
              </a:ln>
              <a:solidFill>
                <a:srgbClr val="595454"/>
              </a:solidFill>
              <a:effectLst/>
              <a:uLnTx/>
              <a:uFillTx/>
              <a:latin typeface="Trebuchet MS"/>
              <a:ea typeface="+mj-ea"/>
              <a:cs typeface="+mj-cs"/>
            </a:endParaRPr>
          </a:p>
        </p:txBody>
      </p:sp>
      <p:sp>
        <p:nvSpPr>
          <p:cNvPr id="6" name="CuadroTexto 5">
            <a:extLst>
              <a:ext uri="{FF2B5EF4-FFF2-40B4-BE49-F238E27FC236}">
                <a16:creationId xmlns:a16="http://schemas.microsoft.com/office/drawing/2014/main" id="{FEA2DC09-EECB-3C4B-84B4-D7A94B1C82C6}"/>
              </a:ext>
            </a:extLst>
          </p:cNvPr>
          <p:cNvSpPr txBox="1"/>
          <p:nvPr/>
        </p:nvSpPr>
        <p:spPr>
          <a:xfrm>
            <a:off x="373713" y="864708"/>
            <a:ext cx="8404528" cy="1915909"/>
          </a:xfrm>
          <a:prstGeom prst="rect">
            <a:avLst/>
          </a:prstGeom>
          <a:noFill/>
        </p:spPr>
        <p:txBody>
          <a:bodyPr wrap="square" lIns="0" tIns="0" rIns="0" bIns="0" rtlCol="0">
            <a:spAutoFit/>
          </a:bodyPr>
          <a:lstStyle/>
          <a:p>
            <a:pPr marL="171450" marR="0" lvl="0" indent="-171450" algn="l" defTabSz="914400" rtl="0" eaLnBrk="0" fontAlgn="base" latinLnBrk="0" hangingPunct="0">
              <a:lnSpc>
                <a:spcPct val="100000"/>
              </a:lnSpc>
              <a:spcBef>
                <a:spcPts val="900"/>
              </a:spcBef>
              <a:spcAft>
                <a:spcPct val="0"/>
              </a:spcAft>
              <a:buClrTx/>
              <a:buSzPct val="100000"/>
              <a:buFont typeface="Trebuchet MS"/>
              <a:buChar char="•"/>
              <a:tabLst/>
              <a:defRPr/>
            </a:pPr>
            <a:r>
              <a:rPr kumimoji="0" lang="en-US" sz="1350" b="1" i="0" u="none" strike="noStrike" kern="1200" cap="none" spc="0" normalizeH="0" baseline="0">
                <a:ln>
                  <a:noFill/>
                </a:ln>
                <a:solidFill>
                  <a:srgbClr val="BE2BBB"/>
                </a:solidFill>
                <a:effectLst/>
                <a:uLnTx/>
                <a:uFillTx/>
                <a:latin typeface="Trebuchet MS"/>
                <a:ea typeface="+mn-ea"/>
                <a:cs typeface="+mn-cs"/>
              </a:rPr>
              <a:t>Is it possible to reserve the ASCT at relapse?</a:t>
            </a:r>
          </a:p>
          <a:p>
            <a:pPr marL="171450" marR="0" lvl="0" indent="-171450" algn="l" defTabSz="914400" rtl="0" eaLnBrk="0" fontAlgn="base" latinLnBrk="0" hangingPunct="0">
              <a:lnSpc>
                <a:spcPct val="100000"/>
              </a:lnSpc>
              <a:spcBef>
                <a:spcPts val="900"/>
              </a:spcBef>
              <a:spcAft>
                <a:spcPct val="0"/>
              </a:spcAft>
              <a:buClrTx/>
              <a:buSzPct val="100000"/>
              <a:buFont typeface="Trebuchet MS"/>
              <a:buChar char="•"/>
              <a:tabLst/>
              <a:defRPr/>
            </a:pPr>
            <a:r>
              <a:rPr kumimoji="0" lang="en-US" sz="1350" b="1" i="0" u="none" strike="noStrike" kern="1200" cap="none" spc="0" normalizeH="0" baseline="0">
                <a:ln>
                  <a:noFill/>
                </a:ln>
                <a:solidFill>
                  <a:srgbClr val="595454"/>
                </a:solidFill>
                <a:effectLst/>
                <a:uLnTx/>
                <a:uFillTx/>
                <a:latin typeface="Trebuchet MS"/>
                <a:ea typeface="+mn-ea"/>
                <a:cs typeface="+mn-cs"/>
              </a:rPr>
              <a:t>HDM-ASCT continues to be the standard of care as part of the first line of therapy</a:t>
            </a:r>
          </a:p>
          <a:p>
            <a:pPr marL="171450" marR="0" lvl="0" indent="-171450" algn="l" defTabSz="914400" rtl="0" eaLnBrk="0" fontAlgn="base" latinLnBrk="0" hangingPunct="0">
              <a:lnSpc>
                <a:spcPct val="100000"/>
              </a:lnSpc>
              <a:spcBef>
                <a:spcPts val="900"/>
              </a:spcBef>
              <a:spcAft>
                <a:spcPct val="0"/>
              </a:spcAft>
              <a:buClrTx/>
              <a:buSzPct val="100000"/>
              <a:buFont typeface="Trebuchet MS"/>
              <a:buChar char="•"/>
              <a:tabLst/>
              <a:defRPr/>
            </a:pPr>
            <a:r>
              <a:rPr kumimoji="0" lang="en-US" sz="1350" b="1" i="0" u="none" strike="noStrike" kern="1200" cap="none" spc="0" normalizeH="0" baseline="0">
                <a:ln>
                  <a:noFill/>
                </a:ln>
                <a:solidFill>
                  <a:srgbClr val="595454"/>
                </a:solidFill>
                <a:effectLst/>
                <a:uLnTx/>
                <a:uFillTx/>
                <a:latin typeface="Trebuchet MS"/>
                <a:ea typeface="+mn-ea"/>
                <a:cs typeface="+mn-cs"/>
              </a:rPr>
              <a:t>The absence of benefit in OS makes it possible to consider some patients’ preferences, but it is better to do early than delayed ASCT</a:t>
            </a:r>
          </a:p>
          <a:p>
            <a:pPr marL="171450" marR="0" lvl="0" indent="-171450" algn="l" defTabSz="914400" rtl="0" eaLnBrk="0" fontAlgn="base" latinLnBrk="0" hangingPunct="0">
              <a:lnSpc>
                <a:spcPct val="100000"/>
              </a:lnSpc>
              <a:spcBef>
                <a:spcPts val="900"/>
              </a:spcBef>
              <a:spcAft>
                <a:spcPct val="0"/>
              </a:spcAft>
              <a:buClrTx/>
              <a:buSzPct val="100000"/>
              <a:buFont typeface="Trebuchet MS"/>
              <a:buChar char="•"/>
              <a:tabLst/>
              <a:defRPr/>
            </a:pPr>
            <a:r>
              <a:rPr kumimoji="0" lang="en-US" sz="1350" b="1" i="0" u="none" strike="noStrike" kern="1200" cap="none" spc="0" normalizeH="0" baseline="0">
                <a:ln>
                  <a:noFill/>
                </a:ln>
                <a:solidFill>
                  <a:srgbClr val="595454"/>
                </a:solidFill>
                <a:effectLst/>
                <a:uLnTx/>
                <a:uFillTx/>
                <a:latin typeface="Trebuchet MS"/>
                <a:ea typeface="+mn-ea"/>
                <a:cs typeface="+mn-cs"/>
              </a:rPr>
              <a:t>In the future, will MRD and risk status be incorporated into the algorithm to answer this question: Transplant – yes or no?</a:t>
            </a:r>
          </a:p>
          <a:p>
            <a:pPr marL="171450" marR="0" lvl="0" indent="-171450" algn="l" defTabSz="914400" rtl="0" eaLnBrk="0" fontAlgn="base" latinLnBrk="0" hangingPunct="0">
              <a:lnSpc>
                <a:spcPct val="100000"/>
              </a:lnSpc>
              <a:spcBef>
                <a:spcPts val="900"/>
              </a:spcBef>
              <a:spcAft>
                <a:spcPct val="0"/>
              </a:spcAft>
              <a:buClrTx/>
              <a:buSzPct val="100000"/>
              <a:buFont typeface="Trebuchet MS"/>
              <a:buChar char="•"/>
              <a:tabLst/>
              <a:defRPr/>
            </a:pPr>
            <a:endParaRPr kumimoji="0" lang="en-US" sz="1350" b="1" i="0" u="none" strike="noStrike" kern="1200" cap="none" spc="0" normalizeH="0" baseline="0">
              <a:ln>
                <a:noFill/>
              </a:ln>
              <a:solidFill>
                <a:srgbClr val="595454"/>
              </a:solidFill>
              <a:effectLst/>
              <a:uLnTx/>
              <a:uFillTx/>
              <a:latin typeface="Trebuchet MS"/>
              <a:ea typeface="+mn-ea"/>
              <a:cs typeface="+mn-cs"/>
            </a:endParaRPr>
          </a:p>
        </p:txBody>
      </p:sp>
    </p:spTree>
    <p:extLst>
      <p:ext uri="{BB962C8B-B14F-4D97-AF65-F5344CB8AC3E}">
        <p14:creationId xmlns:p14="http://schemas.microsoft.com/office/powerpoint/2010/main" val="13150909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05711" y="230301"/>
            <a:ext cx="8766928" cy="572981"/>
          </a:xfrm>
        </p:spPr>
        <p:txBody>
          <a:bodyPr>
            <a:normAutofit/>
          </a:bodyPr>
          <a:lstStyle/>
          <a:p>
            <a:r>
              <a:rPr lang="en-US" noProof="0"/>
              <a:t>	Question 2</a:t>
            </a:r>
          </a:p>
        </p:txBody>
      </p:sp>
      <p:sp>
        <p:nvSpPr>
          <p:cNvPr id="3" name="Content Placeholder 2"/>
          <p:cNvSpPr>
            <a:spLocks noGrp="1"/>
          </p:cNvSpPr>
          <p:nvPr>
            <p:ph idx="1"/>
          </p:nvPr>
        </p:nvSpPr>
        <p:spPr>
          <a:xfrm>
            <a:off x="179109" y="943529"/>
            <a:ext cx="8846904" cy="3799804"/>
          </a:xfrm>
        </p:spPr>
        <p:txBody>
          <a:bodyPr>
            <a:normAutofit/>
          </a:bodyPr>
          <a:lstStyle/>
          <a:p>
            <a:pPr marL="0" indent="0">
              <a:spcBef>
                <a:spcPts val="600"/>
              </a:spcBef>
              <a:buNone/>
            </a:pPr>
            <a:r>
              <a:rPr lang="en-US" sz="2000" spc="-50" noProof="0">
                <a:latin typeface="Arial" panose="020B0604020202020204" pitchFamily="34" charset="0"/>
                <a:cs typeface="Arial" panose="020B0604020202020204" pitchFamily="34" charset="0"/>
              </a:rPr>
              <a:t>Which of the following is not part of the new criteria for treatment initiation in MM?</a:t>
            </a:r>
          </a:p>
          <a:p>
            <a:pPr marL="0" indent="0">
              <a:spcBef>
                <a:spcPts val="600"/>
              </a:spcBef>
              <a:buNone/>
            </a:pPr>
            <a:endParaRPr lang="en-US" sz="1800" spc="-50" noProof="0">
              <a:latin typeface="Arial" panose="020B0604020202020204" pitchFamily="34" charset="0"/>
              <a:cs typeface="Arial" panose="020B0604020202020204" pitchFamily="34" charset="0"/>
            </a:endParaRPr>
          </a:p>
          <a:p>
            <a:pPr marL="342900" indent="-342900">
              <a:spcBef>
                <a:spcPts val="600"/>
              </a:spcBef>
              <a:buFont typeface="+mj-lt"/>
              <a:buAutoNum type="arabicPeriod"/>
            </a:pPr>
            <a:r>
              <a:rPr lang="en-US" sz="1800" noProof="0">
                <a:latin typeface="Arial" panose="020B0604020202020204" pitchFamily="34" charset="0"/>
                <a:cs typeface="Arial" panose="020B0604020202020204" pitchFamily="34" charset="0"/>
              </a:rPr>
              <a:t>Plasma cells &gt;60%</a:t>
            </a:r>
          </a:p>
          <a:p>
            <a:pPr marL="342900" indent="-342900">
              <a:spcBef>
                <a:spcPts val="600"/>
              </a:spcBef>
              <a:buFont typeface="+mj-lt"/>
              <a:buAutoNum type="arabicPeriod"/>
            </a:pPr>
            <a:r>
              <a:rPr lang="en-US" sz="1800" noProof="0">
                <a:latin typeface="Arial" panose="020B0604020202020204" pitchFamily="34" charset="0"/>
                <a:cs typeface="Arial" panose="020B0604020202020204" pitchFamily="34" charset="0"/>
              </a:rPr>
              <a:t>Deletion 17p</a:t>
            </a:r>
          </a:p>
          <a:p>
            <a:pPr marL="342900" indent="-342900">
              <a:spcBef>
                <a:spcPts val="600"/>
              </a:spcBef>
              <a:buFont typeface="+mj-lt"/>
              <a:buAutoNum type="arabicPeriod"/>
            </a:pPr>
            <a:r>
              <a:rPr lang="en-US" noProof="0">
                <a:latin typeface="Arial" panose="020B0604020202020204" pitchFamily="34" charset="0"/>
                <a:cs typeface="Arial" panose="020B0604020202020204" pitchFamily="34" charset="0"/>
              </a:rPr>
              <a:t>Two</a:t>
            </a:r>
            <a:r>
              <a:rPr lang="en-US" sz="1800" noProof="0">
                <a:latin typeface="Arial" panose="020B0604020202020204" pitchFamily="34" charset="0"/>
                <a:cs typeface="Arial" panose="020B0604020202020204" pitchFamily="34" charset="0"/>
              </a:rPr>
              <a:t> or more lesions on an MRI</a:t>
            </a:r>
          </a:p>
          <a:p>
            <a:pPr marL="342900" indent="-342900">
              <a:spcBef>
                <a:spcPts val="600"/>
              </a:spcBef>
              <a:buFont typeface="+mj-lt"/>
              <a:buAutoNum type="arabicPeriod"/>
            </a:pPr>
            <a:r>
              <a:rPr lang="en-US" sz="1800" noProof="0">
                <a:latin typeface="Arial" panose="020B0604020202020204" pitchFamily="34" charset="0"/>
                <a:cs typeface="Arial" panose="020B0604020202020204" pitchFamily="34" charset="0"/>
              </a:rPr>
              <a:t>Extreme abnormalities in the free light chains</a:t>
            </a:r>
            <a:endParaRPr lang="en-US" sz="1500" noProof="0">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id="{0F206D06-BAB6-442A-985E-976D9E62C631}"/>
              </a:ext>
            </a:extLst>
          </p:cNvPr>
          <p:cNvGrpSpPr/>
          <p:nvPr/>
        </p:nvGrpSpPr>
        <p:grpSpPr>
          <a:xfrm>
            <a:off x="179109" y="151296"/>
            <a:ext cx="720000" cy="720000"/>
            <a:chOff x="8151603" y="218984"/>
            <a:chExt cx="720000" cy="720000"/>
          </a:xfrm>
        </p:grpSpPr>
        <p:sp>
          <p:nvSpPr>
            <p:cNvPr id="2" name="Teardrop 1">
              <a:extLst>
                <a:ext uri="{FF2B5EF4-FFF2-40B4-BE49-F238E27FC236}">
                  <a16:creationId xmlns:a16="http://schemas.microsoft.com/office/drawing/2014/main" id="{5E222C0A-7491-431C-9415-BB4A01BCA38D}"/>
                </a:ext>
              </a:extLst>
            </p:cNvPr>
            <p:cNvSpPr/>
            <p:nvPr/>
          </p:nvSpPr>
          <p:spPr bwMode="auto">
            <a:xfrm rot="5400000">
              <a:off x="8151603" y="218984"/>
              <a:ext cx="720000" cy="720000"/>
            </a:xfrm>
            <a:prstGeom prst="teardrop">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NL" sz="2800" b="1" i="0" u="none" strike="noStrike" kern="1200" cap="none" spc="0" normalizeH="0" baseline="0" noProof="0">
                <a:ln>
                  <a:noFill/>
                </a:ln>
                <a:solidFill>
                  <a:srgbClr val="FFFF00"/>
                </a:solidFill>
                <a:effectLst/>
                <a:uLnTx/>
                <a:uFillTx/>
                <a:latin typeface="Arial" pitchFamily="34" charset="0"/>
                <a:ea typeface="+mn-ea"/>
                <a:cs typeface="+mn-cs"/>
              </a:endParaRPr>
            </a:p>
          </p:txBody>
        </p:sp>
        <p:sp>
          <p:nvSpPr>
            <p:cNvPr id="4" name="TextBox 3">
              <a:extLst>
                <a:ext uri="{FF2B5EF4-FFF2-40B4-BE49-F238E27FC236}">
                  <a16:creationId xmlns:a16="http://schemas.microsoft.com/office/drawing/2014/main" id="{141D6643-6321-4B86-80D6-DDA03167F6C7}"/>
                </a:ext>
              </a:extLst>
            </p:cNvPr>
            <p:cNvSpPr txBox="1"/>
            <p:nvPr/>
          </p:nvSpPr>
          <p:spPr>
            <a:xfrm>
              <a:off x="8278205" y="268689"/>
              <a:ext cx="466795" cy="646331"/>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NL"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92450286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CC4DBA-1CD7-1B41-9452-0E68113E52E3}"/>
              </a:ext>
            </a:extLst>
          </p:cNvPr>
          <p:cNvSpPr>
            <a:spLocks noGrp="1"/>
          </p:cNvSpPr>
          <p:nvPr>
            <p:ph type="title"/>
          </p:nvPr>
        </p:nvSpPr>
        <p:spPr/>
        <p:txBody>
          <a:bodyPr/>
          <a:lstStyle/>
          <a:p>
            <a:r>
              <a:rPr lang="en-US" noProof="0"/>
              <a:t>MIDAS phase III clinical trial: French group</a:t>
            </a:r>
          </a:p>
        </p:txBody>
      </p:sp>
      <p:pic>
        <p:nvPicPr>
          <p:cNvPr id="4" name="Imagen 3">
            <a:extLst>
              <a:ext uri="{FF2B5EF4-FFF2-40B4-BE49-F238E27FC236}">
                <a16:creationId xmlns:a16="http://schemas.microsoft.com/office/drawing/2014/main" id="{3DC9EC11-786C-4640-A647-5D8411CE32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7033" y="898873"/>
            <a:ext cx="7546564" cy="3345754"/>
          </a:xfrm>
          <a:prstGeom prst="rect">
            <a:avLst/>
          </a:prstGeom>
        </p:spPr>
      </p:pic>
      <p:sp>
        <p:nvSpPr>
          <p:cNvPr id="6" name="Rectángulo 77">
            <a:extLst>
              <a:ext uri="{FF2B5EF4-FFF2-40B4-BE49-F238E27FC236}">
                <a16:creationId xmlns:a16="http://schemas.microsoft.com/office/drawing/2014/main" id="{FF041BE4-36F6-4B1A-8682-B983A369EBC6}"/>
              </a:ext>
            </a:extLst>
          </p:cNvPr>
          <p:cNvSpPr/>
          <p:nvPr/>
        </p:nvSpPr>
        <p:spPr>
          <a:xfrm>
            <a:off x="5127218" y="4787246"/>
            <a:ext cx="3857625" cy="246221"/>
          </a:xfrm>
          <a:prstGeom prst="rect">
            <a:avLst/>
          </a:prstGeom>
        </p:spPr>
        <p:txBody>
          <a:bodyPr>
            <a:spAutoFit/>
          </a:bodyPr>
          <a:lstStyle/>
          <a:p>
            <a:pPr marL="0" marR="0" lvl="0" indent="0" algn="r" defTabSz="771525" rtl="0" eaLnBrk="1" fontAlgn="auto" latinLnBrk="0" hangingPunct="1">
              <a:lnSpc>
                <a:spcPct val="100000"/>
              </a:lnSpc>
              <a:spcBef>
                <a:spcPts val="0"/>
              </a:spcBef>
              <a:spcAft>
                <a:spcPts val="0"/>
              </a:spcAft>
              <a:buClrTx/>
              <a:buSzTx/>
              <a:buFontTx/>
              <a:buNone/>
              <a:tabLst/>
              <a:defRPr/>
            </a:pP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 ClinicalTrials.Gov Identifier: NCT04934475.</a:t>
            </a:r>
            <a:endParaRPr kumimoji="0" lang="fr-FR" sz="1000" b="0" i="0" u="none" strike="noStrike" kern="1200" cap="none" spc="0" normalizeH="0" baseline="0" noProof="0">
              <a:ln>
                <a:noFill/>
              </a:ln>
              <a:solidFill>
                <a:srgbClr val="000020"/>
              </a:solidFill>
              <a:effectLst/>
              <a:uLnTx/>
              <a:uFillTx/>
              <a:latin typeface="Trebuchet MS"/>
              <a:ea typeface="ＭＳ Ｐゴシック" charset="0"/>
              <a:cs typeface="+mn-cs"/>
            </a:endParaRPr>
          </a:p>
        </p:txBody>
      </p:sp>
    </p:spTree>
    <p:extLst>
      <p:ext uri="{BB962C8B-B14F-4D97-AF65-F5344CB8AC3E}">
        <p14:creationId xmlns:p14="http://schemas.microsoft.com/office/powerpoint/2010/main" val="11217543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7301DBE2-39B8-EA40-9470-A31606990C0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62332" y="1331837"/>
            <a:ext cx="4678270" cy="3235910"/>
          </a:xfrm>
          <a:prstGeom prst="rect">
            <a:avLst/>
          </a:prstGeom>
        </p:spPr>
      </p:pic>
      <p:pic>
        <p:nvPicPr>
          <p:cNvPr id="5" name="Imagen 4">
            <a:extLst>
              <a:ext uri="{FF2B5EF4-FFF2-40B4-BE49-F238E27FC236}">
                <a16:creationId xmlns:a16="http://schemas.microsoft.com/office/drawing/2014/main" id="{48C429B1-471C-1A49-9557-F2D968A044A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91478" y="194317"/>
            <a:ext cx="6096846" cy="762872"/>
          </a:xfrm>
          <a:prstGeom prst="rect">
            <a:avLst/>
          </a:prstGeom>
        </p:spPr>
      </p:pic>
      <p:sp>
        <p:nvSpPr>
          <p:cNvPr id="3" name="CuadroTexto 2">
            <a:extLst>
              <a:ext uri="{FF2B5EF4-FFF2-40B4-BE49-F238E27FC236}">
                <a16:creationId xmlns:a16="http://schemas.microsoft.com/office/drawing/2014/main" id="{E1B59A99-F240-B446-921A-ACC3F7A0F50B}"/>
              </a:ext>
            </a:extLst>
          </p:cNvPr>
          <p:cNvSpPr txBox="1"/>
          <p:nvPr/>
        </p:nvSpPr>
        <p:spPr>
          <a:xfrm>
            <a:off x="899592" y="2787774"/>
            <a:ext cx="685800" cy="685800"/>
          </a:xfrm>
          <a:prstGeom prst="rect">
            <a:avLst/>
          </a:prstGeom>
          <a:noFill/>
        </p:spPr>
        <p:txBody>
          <a:bodyPr wrap="none" lIns="0" tIns="0" rIns="0" bIns="0" rtlCol="0">
            <a:noAutofit/>
          </a:bodyPr>
          <a:lstStyle/>
          <a:p>
            <a:pPr marL="0" marR="0" lvl="0" indent="0" algn="l" defTabSz="685800" rtl="0" eaLnBrk="0" fontAlgn="base" latinLnBrk="0" hangingPunct="0">
              <a:lnSpc>
                <a:spcPts val="1125"/>
              </a:lnSpc>
              <a:spcBef>
                <a:spcPts val="900"/>
              </a:spcBef>
              <a:spcAft>
                <a:spcPct val="0"/>
              </a:spcAft>
              <a:buClrTx/>
              <a:buSzPct val="100000"/>
              <a:buFontTx/>
              <a:buNone/>
              <a:tabLst/>
              <a:defRPr/>
            </a:pPr>
            <a:r>
              <a:rPr kumimoji="0" lang="es-ES" sz="1500" b="0" i="0" u="none" strike="noStrike" kern="1200" cap="none" spc="0" normalizeH="0" baseline="0" noProof="0">
                <a:ln>
                  <a:noFill/>
                </a:ln>
                <a:solidFill>
                  <a:srgbClr val="595454"/>
                </a:solidFill>
                <a:effectLst/>
                <a:uLnTx/>
                <a:uFillTx/>
                <a:latin typeface="Trebuchet MS"/>
                <a:ea typeface="ＭＳ Ｐゴシック" charset="0"/>
                <a:cs typeface="+mn-cs"/>
              </a:rPr>
              <a:t>New induction regimens using RVd </a:t>
            </a:r>
          </a:p>
          <a:p>
            <a:pPr marL="0" marR="0" lvl="0" indent="0" algn="l" defTabSz="685800" rtl="0" eaLnBrk="0" fontAlgn="base" latinLnBrk="0" hangingPunct="0">
              <a:lnSpc>
                <a:spcPts val="1125"/>
              </a:lnSpc>
              <a:spcBef>
                <a:spcPts val="900"/>
              </a:spcBef>
              <a:spcAft>
                <a:spcPct val="0"/>
              </a:spcAft>
              <a:buClrTx/>
              <a:buSzPct val="100000"/>
              <a:buFontTx/>
              <a:buNone/>
              <a:tabLst/>
              <a:defRPr/>
            </a:pPr>
            <a:r>
              <a:rPr kumimoji="0" lang="es-ES" sz="1500" b="0" i="0" u="none" strike="noStrike" kern="1200" cap="none" spc="0" normalizeH="0" baseline="0" noProof="0">
                <a:ln>
                  <a:noFill/>
                </a:ln>
                <a:solidFill>
                  <a:srgbClr val="595454"/>
                </a:solidFill>
                <a:effectLst/>
                <a:uLnTx/>
                <a:uFillTx/>
                <a:latin typeface="Trebuchet MS"/>
                <a:ea typeface="ＭＳ Ｐゴシック" charset="0"/>
                <a:cs typeface="+mn-cs"/>
              </a:rPr>
              <a:t>as control arm</a:t>
            </a:r>
          </a:p>
        </p:txBody>
      </p:sp>
      <p:sp>
        <p:nvSpPr>
          <p:cNvPr id="6" name="Rectángulo 77">
            <a:extLst>
              <a:ext uri="{FF2B5EF4-FFF2-40B4-BE49-F238E27FC236}">
                <a16:creationId xmlns:a16="http://schemas.microsoft.com/office/drawing/2014/main" id="{B724D5F8-2947-4185-BAC4-242940E6794B}"/>
              </a:ext>
            </a:extLst>
          </p:cNvPr>
          <p:cNvSpPr/>
          <p:nvPr/>
        </p:nvSpPr>
        <p:spPr>
          <a:xfrm>
            <a:off x="5127218" y="4782472"/>
            <a:ext cx="3857625" cy="246221"/>
          </a:xfrm>
          <a:prstGeom prst="rect">
            <a:avLst/>
          </a:prstGeom>
        </p:spPr>
        <p:txBody>
          <a:bodyPr>
            <a:spAutoFit/>
          </a:bodyPr>
          <a:lstStyle/>
          <a:p>
            <a:pPr marL="0" marR="0" lvl="0" indent="0" algn="r" defTabSz="771525" rtl="0" eaLnBrk="1" fontAlgn="auto" latinLnBrk="0" hangingPunct="1">
              <a:lnSpc>
                <a:spcPct val="100000"/>
              </a:lnSpc>
              <a:spcBef>
                <a:spcPts val="0"/>
              </a:spcBef>
              <a:spcAft>
                <a:spcPts val="0"/>
              </a:spcAft>
              <a:buClrTx/>
              <a:buSzTx/>
              <a:buFontTx/>
              <a:buNone/>
              <a:tabLst/>
              <a:defRPr/>
            </a:pP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Dimopoulos MA, et al. </a:t>
            </a:r>
            <a:r>
              <a:rPr kumimoji="0" lang="it-IT" sz="1000" b="0" i="1" u="none" strike="noStrike" kern="0" cap="none" spc="0" normalizeH="0" baseline="0" noProof="0">
                <a:ln>
                  <a:noFill/>
                </a:ln>
                <a:solidFill>
                  <a:srgbClr val="000020"/>
                </a:solidFill>
                <a:effectLst/>
                <a:uLnTx/>
                <a:uFillTx/>
                <a:latin typeface="Trebuchet MS"/>
                <a:ea typeface="MS PGothic" pitchFamily="34" charset="-128"/>
                <a:cs typeface="+mn-cs"/>
              </a:rPr>
              <a:t>Ann Oncol</a:t>
            </a:r>
            <a:r>
              <a:rPr kumimoji="0" lang="it-IT" sz="1000" b="0" i="0" u="none" strike="noStrike" kern="0" cap="none" spc="0" normalizeH="0" baseline="0" noProof="0">
                <a:ln>
                  <a:noFill/>
                </a:ln>
                <a:solidFill>
                  <a:srgbClr val="000020"/>
                </a:solidFill>
                <a:effectLst/>
                <a:uLnTx/>
                <a:uFillTx/>
                <a:latin typeface="Trebuchet MS"/>
                <a:ea typeface="MS PGothic" pitchFamily="34" charset="-128"/>
                <a:cs typeface="+mn-cs"/>
              </a:rPr>
              <a:t>. 2021;32(3):309-322.</a:t>
            </a:r>
            <a:endParaRPr kumimoji="0" lang="fr-FR" sz="1000" b="0" i="0" u="none" strike="noStrike" kern="1200" cap="none" spc="0" normalizeH="0" baseline="0" noProof="0">
              <a:ln>
                <a:noFill/>
              </a:ln>
              <a:solidFill>
                <a:srgbClr val="000020"/>
              </a:solidFill>
              <a:effectLst/>
              <a:uLnTx/>
              <a:uFillTx/>
              <a:latin typeface="Trebuchet MS"/>
              <a:ea typeface="ＭＳ Ｐゴシック" charset="0"/>
              <a:cs typeface="+mn-cs"/>
            </a:endParaRPr>
          </a:p>
        </p:txBody>
      </p:sp>
      <p:sp>
        <p:nvSpPr>
          <p:cNvPr id="9" name="Flecha derecha 1">
            <a:extLst>
              <a:ext uri="{FF2B5EF4-FFF2-40B4-BE49-F238E27FC236}">
                <a16:creationId xmlns:a16="http://schemas.microsoft.com/office/drawing/2014/main" id="{9B543D84-B7BE-4124-8032-4611FAA6DFD0}"/>
              </a:ext>
            </a:extLst>
          </p:cNvPr>
          <p:cNvSpPr/>
          <p:nvPr/>
        </p:nvSpPr>
        <p:spPr>
          <a:xfrm>
            <a:off x="3923928" y="2861037"/>
            <a:ext cx="486054" cy="155776"/>
          </a:xfrm>
          <a:prstGeom prst="rightArrow">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 sz="1500" b="0" i="0" u="none" strike="noStrike" kern="1200" cap="none" spc="0" normalizeH="0" baseline="0" noProof="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239729768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AB30F6-A83B-CE41-A142-0B0D43795E48}"/>
              </a:ext>
            </a:extLst>
          </p:cNvPr>
          <p:cNvSpPr>
            <a:spLocks noGrp="1"/>
          </p:cNvSpPr>
          <p:nvPr>
            <p:ph type="title"/>
          </p:nvPr>
        </p:nvSpPr>
        <p:spPr/>
        <p:txBody>
          <a:bodyPr>
            <a:noAutofit/>
          </a:bodyPr>
          <a:lstStyle/>
          <a:p>
            <a:r>
              <a:rPr lang="en-US" sz="2030" noProof="0">
                <a:latin typeface="+mj-lt"/>
              </a:rPr>
              <a:t>GMMG-HD7 trial: Addition of isatuximab to lenalidomide, bortezomib and dexamethasone</a:t>
            </a:r>
          </a:p>
        </p:txBody>
      </p:sp>
      <p:sp>
        <p:nvSpPr>
          <p:cNvPr id="2" name="Text Placeholder 1">
            <a:extLst>
              <a:ext uri="{FF2B5EF4-FFF2-40B4-BE49-F238E27FC236}">
                <a16:creationId xmlns:a16="http://schemas.microsoft.com/office/drawing/2014/main" id="{8A4669B3-632C-3C45-BC83-84D08DC1AF2D}"/>
              </a:ext>
            </a:extLst>
          </p:cNvPr>
          <p:cNvSpPr>
            <a:spLocks noGrp="1"/>
          </p:cNvSpPr>
          <p:nvPr>
            <p:ph type="body" sz="quarter" idx="13"/>
          </p:nvPr>
        </p:nvSpPr>
        <p:spPr>
          <a:xfrm>
            <a:off x="293248" y="1043580"/>
            <a:ext cx="8596313" cy="206454"/>
          </a:xfrm>
        </p:spPr>
        <p:txBody>
          <a:bodyPr/>
          <a:lstStyle/>
          <a:p>
            <a:pPr marL="0" indent="0">
              <a:buNone/>
            </a:pPr>
            <a:r>
              <a:rPr lang="en-US" sz="1266" b="1" noProof="0"/>
              <a:t>Study design</a:t>
            </a:r>
          </a:p>
        </p:txBody>
      </p:sp>
      <p:sp>
        <p:nvSpPr>
          <p:cNvPr id="4" name="Text Placeholder 3">
            <a:extLst>
              <a:ext uri="{FF2B5EF4-FFF2-40B4-BE49-F238E27FC236}">
                <a16:creationId xmlns:a16="http://schemas.microsoft.com/office/drawing/2014/main" id="{CEA17DCC-EC90-BD4F-A6AD-5DAA67272A9E}"/>
              </a:ext>
            </a:extLst>
          </p:cNvPr>
          <p:cNvSpPr>
            <a:spLocks noGrp="1"/>
          </p:cNvSpPr>
          <p:nvPr>
            <p:ph type="body" sz="quarter" idx="4294967295"/>
          </p:nvPr>
        </p:nvSpPr>
        <p:spPr>
          <a:xfrm>
            <a:off x="3933386" y="4827655"/>
            <a:ext cx="4956175" cy="230188"/>
          </a:xfrm>
        </p:spPr>
        <p:txBody>
          <a:bodyPr/>
          <a:lstStyle/>
          <a:p>
            <a:pPr marL="0" indent="0" algn="r">
              <a:buNone/>
            </a:pPr>
            <a:r>
              <a:rPr lang="en-US" sz="1000" noProof="0">
                <a:solidFill>
                  <a:srgbClr val="000020"/>
                </a:solidFill>
              </a:rPr>
              <a:t>Goldschmidt H, et al. </a:t>
            </a:r>
            <a:r>
              <a:rPr lang="en-US" sz="1000" i="1" noProof="0">
                <a:solidFill>
                  <a:srgbClr val="000020"/>
                </a:solidFill>
              </a:rPr>
              <a:t>Blood</a:t>
            </a:r>
            <a:r>
              <a:rPr lang="en-US" sz="1000" noProof="0">
                <a:solidFill>
                  <a:srgbClr val="000020"/>
                </a:solidFill>
              </a:rPr>
              <a:t>. 2021;138(suppl 1): abstract 463 (oral presentation).</a:t>
            </a:r>
          </a:p>
        </p:txBody>
      </p:sp>
      <p:pic>
        <p:nvPicPr>
          <p:cNvPr id="8" name="Picture 7">
            <a:extLst>
              <a:ext uri="{FF2B5EF4-FFF2-40B4-BE49-F238E27FC236}">
                <a16:creationId xmlns:a16="http://schemas.microsoft.com/office/drawing/2014/main" id="{BBFFFDD1-38D7-41A7-A3B6-75C4FA364E7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4807" y="1262251"/>
            <a:ext cx="7172309" cy="3023502"/>
          </a:xfrm>
          <a:prstGeom prst="rect">
            <a:avLst/>
          </a:prstGeom>
        </p:spPr>
      </p:pic>
    </p:spTree>
    <p:extLst>
      <p:ext uri="{BB962C8B-B14F-4D97-AF65-F5344CB8AC3E}">
        <p14:creationId xmlns:p14="http://schemas.microsoft.com/office/powerpoint/2010/main" val="101371733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CCA8B04D-3211-9C41-9C02-E2D30E01033C}"/>
              </a:ext>
            </a:extLst>
          </p:cNvPr>
          <p:cNvSpPr>
            <a:spLocks noGrp="1"/>
          </p:cNvSpPr>
          <p:nvPr>
            <p:ph type="title"/>
          </p:nvPr>
        </p:nvSpPr>
        <p:spPr/>
        <p:txBody>
          <a:bodyPr/>
          <a:lstStyle/>
          <a:p>
            <a:r>
              <a:rPr lang="en-US" noProof="0">
                <a:latin typeface="+mj-lt"/>
              </a:rPr>
              <a:t>Response rates after induction therapy</a:t>
            </a:r>
          </a:p>
        </p:txBody>
      </p:sp>
      <p:sp>
        <p:nvSpPr>
          <p:cNvPr id="2" name="Text Placeholder 1">
            <a:extLst>
              <a:ext uri="{FF2B5EF4-FFF2-40B4-BE49-F238E27FC236}">
                <a16:creationId xmlns:a16="http://schemas.microsoft.com/office/drawing/2014/main" id="{C5C9BAE3-3E7D-462F-AEBD-285FE226F244}"/>
              </a:ext>
            </a:extLst>
          </p:cNvPr>
          <p:cNvSpPr>
            <a:spLocks noGrp="1"/>
          </p:cNvSpPr>
          <p:nvPr>
            <p:ph type="body" sz="quarter" idx="13"/>
          </p:nvPr>
        </p:nvSpPr>
        <p:spPr>
          <a:xfrm>
            <a:off x="87461" y="4183730"/>
            <a:ext cx="8870157" cy="601497"/>
          </a:xfrm>
        </p:spPr>
        <p:txBody>
          <a:bodyPr/>
          <a:lstStyle/>
          <a:p>
            <a:pPr algn="l" defTabSz="685800">
              <a:defRPr/>
            </a:pPr>
            <a:r>
              <a:rPr lang="en-US" sz="800" b="0" noProof="0">
                <a:solidFill>
                  <a:srgbClr val="000020"/>
                </a:solidFill>
                <a:ea typeface="MS Mincho" panose="02020609040205080304" pitchFamily="49" charset="-128"/>
                <a:cs typeface="Arial" panose="020B0604020202020204" pitchFamily="34" charset="0"/>
              </a:rPr>
              <a:t>*</a:t>
            </a:r>
            <a:r>
              <a:rPr lang="en-US" sz="800" b="0" i="1" noProof="0">
                <a:solidFill>
                  <a:srgbClr val="000020"/>
                </a:solidFill>
                <a:ea typeface="MS Mincho" panose="02020609040205080304" pitchFamily="49" charset="-128"/>
                <a:cs typeface="Arial" panose="020B0604020202020204" pitchFamily="34" charset="0"/>
              </a:rPr>
              <a:t>P</a:t>
            </a:r>
            <a:r>
              <a:rPr lang="en-US" sz="800" b="0" noProof="0">
                <a:solidFill>
                  <a:srgbClr val="000020"/>
                </a:solidFill>
                <a:ea typeface="MS Mincho" panose="02020609040205080304" pitchFamily="49" charset="-128"/>
                <a:cs typeface="Arial" panose="020B0604020202020204" pitchFamily="34" charset="0"/>
              </a:rPr>
              <a:t> values derived from Fisher’s exact test.</a:t>
            </a:r>
          </a:p>
          <a:p>
            <a:pPr algn="l" defTabSz="685800">
              <a:defRPr/>
            </a:pPr>
            <a:r>
              <a:rPr lang="en-US" sz="800" noProof="0">
                <a:solidFill>
                  <a:srgbClr val="000020"/>
                </a:solidFill>
                <a:ea typeface="MS Mincho" panose="02020609040205080304" pitchFamily="49" charset="-128"/>
                <a:cs typeface="Arial" panose="020B0604020202020204" pitchFamily="34" charset="0"/>
              </a:rPr>
              <a:t>†</a:t>
            </a:r>
            <a:r>
              <a:rPr lang="en-US" sz="800" b="0" noProof="0">
                <a:solidFill>
                  <a:srgbClr val="000020"/>
                </a:solidFill>
                <a:ea typeface="MS Mincho" panose="02020609040205080304" pitchFamily="49" charset="-128"/>
                <a:cs typeface="Arial" panose="020B0604020202020204" pitchFamily="34" charset="0"/>
              </a:rPr>
              <a:t>Data adjusted per M-protein interference.</a:t>
            </a:r>
          </a:p>
          <a:p>
            <a:pPr algn="l" defTabSz="685800">
              <a:defRPr/>
            </a:pPr>
            <a:r>
              <a:rPr lang="en-US" sz="800" b="0" noProof="0">
                <a:solidFill>
                  <a:srgbClr val="000020"/>
                </a:solidFill>
                <a:ea typeface="MS Mincho" panose="02020609040205080304" pitchFamily="49" charset="-128"/>
                <a:cs typeface="Arial" panose="020B0604020202020204" pitchFamily="34" charset="0"/>
              </a:rPr>
              <a:t>CR, complete response; d, dexamethasone; Isa, isatuximab; nCR; near-complete response; ORR, overall response rate; PR, partial response; R, lenalidomide; V, bortezomib; VGPR, very good partial response. </a:t>
            </a:r>
          </a:p>
        </p:txBody>
      </p:sp>
      <p:sp>
        <p:nvSpPr>
          <p:cNvPr id="10" name="TextBox 53">
            <a:extLst>
              <a:ext uri="{FF2B5EF4-FFF2-40B4-BE49-F238E27FC236}">
                <a16:creationId xmlns:a16="http://schemas.microsoft.com/office/drawing/2014/main" id="{1EE5B7CC-71B5-3248-95E1-98F2200ADFA3}"/>
              </a:ext>
            </a:extLst>
          </p:cNvPr>
          <p:cNvSpPr txBox="1"/>
          <p:nvPr/>
        </p:nvSpPr>
        <p:spPr>
          <a:xfrm>
            <a:off x="869192" y="3599700"/>
            <a:ext cx="7405617" cy="507831"/>
          </a:xfrm>
          <a:prstGeom prst="rect">
            <a:avLst/>
          </a:prstGeom>
          <a:noFill/>
          <a:ln>
            <a:noFill/>
          </a:ln>
        </p:spPr>
        <p:txBody>
          <a:bodyPr wrap="square" rtlCol="0">
            <a:spAutoFit/>
          </a:bodyPr>
          <a:lstStyle/>
          <a:p>
            <a:pPr marL="0" marR="0" lvl="0" indent="0" algn="ctr" defTabSz="685800" rtl="0" eaLnBrk="0" fontAlgn="base" latinLnBrk="0" hangingPunct="0">
              <a:lnSpc>
                <a:spcPct val="100000"/>
              </a:lnSpc>
              <a:spcBef>
                <a:spcPct val="20000"/>
              </a:spcBef>
              <a:spcAft>
                <a:spcPct val="0"/>
              </a:spcAft>
              <a:buClrTx/>
              <a:buSzTx/>
              <a:buFontTx/>
              <a:buNone/>
              <a:tabLst/>
              <a:defRPr/>
            </a:pPr>
            <a:r>
              <a:rPr kumimoji="0" lang="en-GB" sz="1350" b="1" i="0" u="none" strike="noStrike" kern="1200" cap="none" spc="0" normalizeH="0" baseline="0" noProof="0">
                <a:ln>
                  <a:noFill/>
                </a:ln>
                <a:solidFill>
                  <a:srgbClr val="BE2BBB"/>
                </a:solidFill>
                <a:effectLst/>
                <a:uLnTx/>
                <a:uFillTx/>
                <a:latin typeface="Trebuchet MS"/>
                <a:ea typeface="ＭＳ Ｐゴシック" charset="0"/>
                <a:cs typeface="Arial" panose="020B0604020202020204" pitchFamily="34" charset="0"/>
              </a:rPr>
              <a:t>Although the rates of CR after induction therapy did not differ between the Isa-RVd and RVd arms, there was a significant increase in ≥VGPR rates and ORR with Isa-RVd</a:t>
            </a:r>
            <a:endParaRPr kumimoji="0" lang="en-GB" sz="1350" b="1" i="0" u="none" strike="sngStrike" kern="1200" cap="none" spc="0" normalizeH="0" baseline="0" noProof="0">
              <a:ln>
                <a:noFill/>
              </a:ln>
              <a:solidFill>
                <a:srgbClr val="BE2BBB"/>
              </a:solidFill>
              <a:effectLst/>
              <a:uLnTx/>
              <a:uFillTx/>
              <a:latin typeface="Trebuchet MS"/>
              <a:ea typeface="ＭＳ Ｐゴシック" charset="0"/>
              <a:cs typeface="Arial" panose="020B0604020202020204" pitchFamily="34" charset="0"/>
            </a:endParaRPr>
          </a:p>
        </p:txBody>
      </p:sp>
      <p:sp>
        <p:nvSpPr>
          <p:cNvPr id="22" name="Text Placeholder 3">
            <a:extLst>
              <a:ext uri="{FF2B5EF4-FFF2-40B4-BE49-F238E27FC236}">
                <a16:creationId xmlns:a16="http://schemas.microsoft.com/office/drawing/2014/main" id="{90A12939-FA9B-4E58-AF81-8B6FF9A20E0F}"/>
              </a:ext>
            </a:extLst>
          </p:cNvPr>
          <p:cNvSpPr txBox="1">
            <a:spLocks/>
          </p:cNvSpPr>
          <p:nvPr/>
        </p:nvSpPr>
        <p:spPr>
          <a:xfrm>
            <a:off x="3933386" y="4827655"/>
            <a:ext cx="4956175" cy="230188"/>
          </a:xfrm>
          <a:prstGeom prst="rect">
            <a:avLst/>
          </a:prstGeom>
        </p:spPr>
        <p:txBody>
          <a:bodyPr vert="horz" lIns="0" tIns="0" rIns="0" bIns="0" spcCol="301752" rtlCol="0">
            <a:noAutofit/>
          </a:bodyPr>
          <a:lstStyle>
            <a:lvl1pPr marL="144661"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1pPr>
            <a:lvl2pPr marL="289322"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2pPr>
            <a:lvl3pPr marL="433983"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3pPr>
            <a:lvl4pPr marL="578644"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4pPr>
            <a:lvl5pPr marL="723305"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5pPr>
            <a:lvl6pPr marL="867966"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6pPr>
            <a:lvl7pPr marL="1012627"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7pPr>
            <a:lvl8pPr marL="115728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8pPr>
            <a:lvl9pPr marL="130194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9pPr>
          </a:lstStyle>
          <a:p>
            <a:pPr marL="0" marR="0" lvl="0" indent="0" algn="r" defTabSz="578644" rtl="0" eaLnBrk="1" fontAlgn="auto" latinLnBrk="0" hangingPunct="1">
              <a:lnSpc>
                <a:spcPct val="100000"/>
              </a:lnSpc>
              <a:spcBef>
                <a:spcPts val="380"/>
              </a:spcBef>
              <a:spcAft>
                <a:spcPts val="0"/>
              </a:spcAft>
              <a:buClrTx/>
              <a:buSzTx/>
              <a:buFont typeface="Trebuchet MS" panose="020B0603020202020204" pitchFamily="34" charset="0"/>
              <a:buNone/>
              <a:tabLst/>
              <a:defRPr/>
            </a:pPr>
            <a:r>
              <a:rPr kumimoji="0" lang="en-US" sz="1000" b="0" i="0" u="none" strike="noStrike" kern="1200" cap="none" spc="0" normalizeH="0" baseline="0" noProof="0">
                <a:ln>
                  <a:noFill/>
                </a:ln>
                <a:solidFill>
                  <a:srgbClr val="000020"/>
                </a:solidFill>
                <a:effectLst/>
                <a:uLnTx/>
                <a:uFillTx/>
                <a:latin typeface="Trebuchet MS"/>
                <a:ea typeface="+mn-ea"/>
                <a:cs typeface="+mn-cs"/>
              </a:rPr>
              <a:t>Goldschmidt H, et al. </a:t>
            </a:r>
            <a:r>
              <a:rPr kumimoji="0" lang="en-US" sz="1000" b="0" i="1" u="none" strike="noStrike" kern="1200" cap="none" spc="0" normalizeH="0" baseline="0" noProof="0">
                <a:ln>
                  <a:noFill/>
                </a:ln>
                <a:solidFill>
                  <a:srgbClr val="000020"/>
                </a:solidFill>
                <a:effectLst/>
                <a:uLnTx/>
                <a:uFillTx/>
                <a:latin typeface="Trebuchet MS"/>
                <a:ea typeface="+mn-ea"/>
                <a:cs typeface="+mn-cs"/>
              </a:rPr>
              <a:t>Blood</a:t>
            </a:r>
            <a:r>
              <a:rPr kumimoji="0" lang="en-US" sz="1000" b="0" i="0" u="none" strike="noStrike" kern="1200" cap="none" spc="0" normalizeH="0" baseline="0" noProof="0">
                <a:ln>
                  <a:noFill/>
                </a:ln>
                <a:solidFill>
                  <a:srgbClr val="000020"/>
                </a:solidFill>
                <a:effectLst/>
                <a:uLnTx/>
                <a:uFillTx/>
                <a:latin typeface="Trebuchet MS"/>
                <a:ea typeface="+mn-ea"/>
                <a:cs typeface="+mn-cs"/>
              </a:rPr>
              <a:t>. 2021;138(suppl 1): abstract 463 (oral presentation).</a:t>
            </a:r>
          </a:p>
        </p:txBody>
      </p:sp>
      <p:grpSp>
        <p:nvGrpSpPr>
          <p:cNvPr id="4" name="Group 3">
            <a:extLst>
              <a:ext uri="{FF2B5EF4-FFF2-40B4-BE49-F238E27FC236}">
                <a16:creationId xmlns:a16="http://schemas.microsoft.com/office/drawing/2014/main" id="{5EA629F9-20CB-4A0A-8931-A9357E87F4B2}"/>
              </a:ext>
            </a:extLst>
          </p:cNvPr>
          <p:cNvGrpSpPr/>
          <p:nvPr/>
        </p:nvGrpSpPr>
        <p:grpSpPr>
          <a:xfrm>
            <a:off x="1311965" y="755511"/>
            <a:ext cx="6488265" cy="2896360"/>
            <a:chOff x="1311965" y="755511"/>
            <a:chExt cx="6488265" cy="2896360"/>
          </a:xfrm>
        </p:grpSpPr>
        <p:grpSp>
          <p:nvGrpSpPr>
            <p:cNvPr id="5" name="Group 24">
              <a:extLst>
                <a:ext uri="{FF2B5EF4-FFF2-40B4-BE49-F238E27FC236}">
                  <a16:creationId xmlns:a16="http://schemas.microsoft.com/office/drawing/2014/main" id="{E28ACF40-F63D-4842-A624-00620D5E8ECC}"/>
                </a:ext>
              </a:extLst>
            </p:cNvPr>
            <p:cNvGrpSpPr/>
            <p:nvPr/>
          </p:nvGrpSpPr>
          <p:grpSpPr>
            <a:xfrm>
              <a:off x="1311965" y="755511"/>
              <a:ext cx="6488265" cy="2896360"/>
              <a:chOff x="1391419" y="1383842"/>
              <a:chExt cx="6142596" cy="2746950"/>
            </a:xfrm>
          </p:grpSpPr>
          <p:graphicFrame>
            <p:nvGraphicFramePr>
              <p:cNvPr id="6" name="Chart 25">
                <a:extLst>
                  <a:ext uri="{FF2B5EF4-FFF2-40B4-BE49-F238E27FC236}">
                    <a16:creationId xmlns:a16="http://schemas.microsoft.com/office/drawing/2014/main" id="{A391B69C-B756-2848-AB06-31814BC430D3}"/>
                  </a:ext>
                </a:extLst>
              </p:cNvPr>
              <p:cNvGraphicFramePr/>
              <p:nvPr/>
            </p:nvGraphicFramePr>
            <p:xfrm>
              <a:off x="1391419" y="1383842"/>
              <a:ext cx="6142596" cy="274695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26">
                <a:extLst>
                  <a:ext uri="{FF2B5EF4-FFF2-40B4-BE49-F238E27FC236}">
                    <a16:creationId xmlns:a16="http://schemas.microsoft.com/office/drawing/2014/main" id="{62A28A43-EA2C-6C48-B024-31D1B0573648}"/>
                  </a:ext>
                </a:extLst>
              </p:cNvPr>
              <p:cNvSpPr txBox="1"/>
              <p:nvPr/>
            </p:nvSpPr>
            <p:spPr>
              <a:xfrm>
                <a:off x="3517025" y="3826801"/>
                <a:ext cx="86568" cy="153248"/>
              </a:xfrm>
              <a:prstGeom prst="rect">
                <a:avLst/>
              </a:prstGeom>
              <a:solidFill>
                <a:schemeClr val="bg1"/>
              </a:solidFill>
            </p:spPr>
            <p:txBody>
              <a:bodyPr wrap="square" lIns="0" tIns="0" rIns="0" bIns="0" rtlCol="0" anchor="ctr">
                <a:spAutoFit/>
              </a:bodyPr>
              <a:lstStyle/>
              <a:p>
                <a:pPr marL="0" marR="0" lvl="0" indent="0" algn="r" defTabSz="685800" rtl="0" eaLnBrk="0" fontAlgn="base" latinLnBrk="0" hangingPunct="0">
                  <a:lnSpc>
                    <a:spcPct val="100000"/>
                  </a:lnSpc>
                  <a:spcBef>
                    <a:spcPct val="20000"/>
                  </a:spcBef>
                  <a:spcAft>
                    <a:spcPct val="0"/>
                  </a:spcAft>
                  <a:buClrTx/>
                  <a:buSzTx/>
                  <a:buFontTx/>
                  <a:buNone/>
                  <a:tabLst/>
                  <a:defRPr/>
                </a:pPr>
                <a:r>
                  <a:rPr kumimoji="0" lang="en-GB" sz="1050" b="0" i="0" u="none" strike="noStrike" kern="1200" cap="none" spc="0" normalizeH="0" baseline="0" noProof="0">
                    <a:ln>
                      <a:noFill/>
                    </a:ln>
                    <a:solidFill>
                      <a:srgbClr val="595454"/>
                    </a:solidFill>
                    <a:effectLst/>
                    <a:uLnTx/>
                    <a:uFillTx/>
                    <a:latin typeface="Trebuchet MS"/>
                    <a:ea typeface="ＭＳ Ｐゴシック" charset="0"/>
                    <a:cs typeface="+mn-cs"/>
                  </a:rPr>
                  <a:t>≥</a:t>
                </a:r>
              </a:p>
            </p:txBody>
          </p:sp>
        </p:grpSp>
        <p:grpSp>
          <p:nvGrpSpPr>
            <p:cNvPr id="12" name="Group 29">
              <a:extLst>
                <a:ext uri="{FF2B5EF4-FFF2-40B4-BE49-F238E27FC236}">
                  <a16:creationId xmlns:a16="http://schemas.microsoft.com/office/drawing/2014/main" id="{39D4880E-490F-1941-85C6-8E1116D68C9C}"/>
                </a:ext>
              </a:extLst>
            </p:cNvPr>
            <p:cNvGrpSpPr/>
            <p:nvPr/>
          </p:nvGrpSpPr>
          <p:grpSpPr>
            <a:xfrm>
              <a:off x="2107096" y="950562"/>
              <a:ext cx="4500438" cy="1173881"/>
              <a:chOff x="10396232" y="1118455"/>
              <a:chExt cx="4122424" cy="1565173"/>
            </a:xfrm>
          </p:grpSpPr>
          <p:sp>
            <p:nvSpPr>
              <p:cNvPr id="13" name="Right Bracket 45">
                <a:extLst>
                  <a:ext uri="{FF2B5EF4-FFF2-40B4-BE49-F238E27FC236}">
                    <a16:creationId xmlns:a16="http://schemas.microsoft.com/office/drawing/2014/main" id="{26406055-7194-3741-968B-99DA83681EE9}"/>
                  </a:ext>
                </a:extLst>
              </p:cNvPr>
              <p:cNvSpPr/>
              <p:nvPr/>
            </p:nvSpPr>
            <p:spPr>
              <a:xfrm rot="16200000">
                <a:off x="10650569" y="2467604"/>
                <a:ext cx="72008" cy="36004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n-US" sz="1500" b="0" i="0" u="none" strike="noStrike" kern="1200" cap="none" spc="0" normalizeH="0" baseline="0" noProof="0">
                  <a:ln>
                    <a:noFill/>
                  </a:ln>
                  <a:solidFill>
                    <a:srgbClr val="595454"/>
                  </a:solidFill>
                  <a:effectLst/>
                  <a:uLnTx/>
                  <a:uFillTx/>
                  <a:latin typeface="Trebuchet MS"/>
                  <a:ea typeface="+mn-ea"/>
                  <a:cs typeface="+mn-cs"/>
                </a:endParaRPr>
              </a:p>
            </p:txBody>
          </p:sp>
          <p:sp>
            <p:nvSpPr>
              <p:cNvPr id="14" name="TextBox 46">
                <a:extLst>
                  <a:ext uri="{FF2B5EF4-FFF2-40B4-BE49-F238E27FC236}">
                    <a16:creationId xmlns:a16="http://schemas.microsoft.com/office/drawing/2014/main" id="{7A094C19-339E-FB49-AE6E-BB1E0F12FD14}"/>
                  </a:ext>
                </a:extLst>
              </p:cNvPr>
              <p:cNvSpPr txBox="1"/>
              <p:nvPr/>
            </p:nvSpPr>
            <p:spPr>
              <a:xfrm>
                <a:off x="10396232" y="2342589"/>
                <a:ext cx="585616" cy="292388"/>
              </a:xfrm>
              <a:prstGeom prst="rect">
                <a:avLst/>
              </a:prstGeom>
              <a:noFill/>
            </p:spPr>
            <p:txBody>
              <a:bodyPr wrap="none" rtlCol="0">
                <a:spAutoFit/>
              </a:bodyPr>
              <a:lstStyle/>
              <a:p>
                <a:pPr marL="0" marR="0" lvl="0" indent="0" algn="l" defTabSz="685800" rtl="0" eaLnBrk="0" fontAlgn="base" latinLnBrk="0" hangingPunct="0">
                  <a:lnSpc>
                    <a:spcPct val="100000"/>
                  </a:lnSpc>
                  <a:spcBef>
                    <a:spcPct val="20000"/>
                  </a:spcBef>
                  <a:spcAft>
                    <a:spcPct val="0"/>
                  </a:spcAft>
                  <a:buClrTx/>
                  <a:buSzTx/>
                  <a:buFontTx/>
                  <a:buNone/>
                  <a:tabLst/>
                  <a:defRPr/>
                </a:pPr>
                <a:r>
                  <a:rPr kumimoji="0" lang="en-US" sz="825" b="1" i="1" u="none" strike="noStrike" kern="1200" cap="none" spc="0" normalizeH="0" baseline="0" noProof="0">
                    <a:ln>
                      <a:noFill/>
                    </a:ln>
                    <a:solidFill>
                      <a:srgbClr val="595454"/>
                    </a:solidFill>
                    <a:effectLst/>
                    <a:uLnTx/>
                    <a:uFillTx/>
                    <a:latin typeface="Arial" charset="0"/>
                    <a:ea typeface="ＭＳ Ｐゴシック" charset="0"/>
                    <a:cs typeface="Arial" panose="020B0604020202020204" pitchFamily="34" charset="0"/>
                  </a:rPr>
                  <a:t>P </a:t>
                </a:r>
                <a:r>
                  <a:rPr kumimoji="0" lang="en-US" sz="825" b="1" i="0" u="none" strike="noStrike" kern="1200" cap="none" spc="0" normalizeH="0" baseline="0" noProof="0">
                    <a:ln>
                      <a:noFill/>
                    </a:ln>
                    <a:solidFill>
                      <a:srgbClr val="595454"/>
                    </a:solidFill>
                    <a:effectLst/>
                    <a:uLnTx/>
                    <a:uFillTx/>
                    <a:latin typeface="Arial" charset="0"/>
                    <a:ea typeface="ＭＳ Ｐゴシック" charset="0"/>
                    <a:cs typeface="Arial" panose="020B0604020202020204" pitchFamily="34" charset="0"/>
                  </a:rPr>
                  <a:t>= .46*</a:t>
                </a:r>
              </a:p>
            </p:txBody>
          </p:sp>
          <p:sp>
            <p:nvSpPr>
              <p:cNvPr id="15" name="Right Bracket 47">
                <a:extLst>
                  <a:ext uri="{FF2B5EF4-FFF2-40B4-BE49-F238E27FC236}">
                    <a16:creationId xmlns:a16="http://schemas.microsoft.com/office/drawing/2014/main" id="{8D1B02B1-B9F9-EF49-9F77-EB7E4953115B}"/>
                  </a:ext>
                </a:extLst>
              </p:cNvPr>
              <p:cNvSpPr/>
              <p:nvPr/>
            </p:nvSpPr>
            <p:spPr>
              <a:xfrm rot="16200000">
                <a:off x="11810275" y="2179572"/>
                <a:ext cx="72008" cy="36004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n-US" sz="1500" b="0" i="0" u="none" strike="noStrike" kern="1200" cap="none" spc="0" normalizeH="0" baseline="0" noProof="0">
                  <a:ln>
                    <a:noFill/>
                  </a:ln>
                  <a:solidFill>
                    <a:srgbClr val="595454"/>
                  </a:solidFill>
                  <a:effectLst/>
                  <a:uLnTx/>
                  <a:uFillTx/>
                  <a:latin typeface="Trebuchet MS"/>
                  <a:ea typeface="+mn-ea"/>
                  <a:cs typeface="+mn-cs"/>
                </a:endParaRPr>
              </a:p>
            </p:txBody>
          </p:sp>
          <p:sp>
            <p:nvSpPr>
              <p:cNvPr id="16" name="TextBox 48">
                <a:extLst>
                  <a:ext uri="{FF2B5EF4-FFF2-40B4-BE49-F238E27FC236}">
                    <a16:creationId xmlns:a16="http://schemas.microsoft.com/office/drawing/2014/main" id="{C9D3E561-53ED-094F-AD7B-3E02BA86D4D8}"/>
                  </a:ext>
                </a:extLst>
              </p:cNvPr>
              <p:cNvSpPr txBox="1"/>
              <p:nvPr/>
            </p:nvSpPr>
            <p:spPr>
              <a:xfrm>
                <a:off x="11556776" y="2054557"/>
                <a:ext cx="585616" cy="292388"/>
              </a:xfrm>
              <a:prstGeom prst="rect">
                <a:avLst/>
              </a:prstGeom>
              <a:noFill/>
            </p:spPr>
            <p:txBody>
              <a:bodyPr wrap="none" rtlCol="0">
                <a:spAutoFit/>
              </a:bodyPr>
              <a:lstStyle/>
              <a:p>
                <a:pPr marL="0" marR="0" lvl="0" indent="0" algn="l" defTabSz="685800" rtl="0" eaLnBrk="0" fontAlgn="base" latinLnBrk="0" hangingPunct="0">
                  <a:lnSpc>
                    <a:spcPct val="100000"/>
                  </a:lnSpc>
                  <a:spcBef>
                    <a:spcPct val="20000"/>
                  </a:spcBef>
                  <a:spcAft>
                    <a:spcPct val="0"/>
                  </a:spcAft>
                  <a:buClrTx/>
                  <a:buSzTx/>
                  <a:buFontTx/>
                  <a:buNone/>
                  <a:tabLst/>
                  <a:defRPr/>
                </a:pPr>
                <a:r>
                  <a:rPr kumimoji="0" lang="en-US" sz="825" b="1" i="1" u="none" strike="noStrike" kern="1200" cap="none" spc="0" normalizeH="0" baseline="0" noProof="0">
                    <a:ln>
                      <a:noFill/>
                    </a:ln>
                    <a:solidFill>
                      <a:srgbClr val="595454"/>
                    </a:solidFill>
                    <a:effectLst/>
                    <a:uLnTx/>
                    <a:uFillTx/>
                    <a:latin typeface="Arial" charset="0"/>
                    <a:ea typeface="ＭＳ Ｐゴシック" charset="0"/>
                    <a:cs typeface="Arial" panose="020B0604020202020204" pitchFamily="34" charset="0"/>
                  </a:rPr>
                  <a:t>P </a:t>
                </a:r>
                <a:r>
                  <a:rPr kumimoji="0" lang="en-US" sz="825" b="1" i="0" u="none" strike="noStrike" kern="1200" cap="none" spc="0" normalizeH="0" baseline="0" noProof="0">
                    <a:ln>
                      <a:noFill/>
                    </a:ln>
                    <a:solidFill>
                      <a:srgbClr val="595454"/>
                    </a:solidFill>
                    <a:effectLst/>
                    <a:uLnTx/>
                    <a:uFillTx/>
                    <a:latin typeface="Arial" charset="0"/>
                    <a:ea typeface="ＭＳ Ｐゴシック" charset="0"/>
                    <a:cs typeface="Arial" panose="020B0604020202020204" pitchFamily="34" charset="0"/>
                  </a:rPr>
                  <a:t>= .15*</a:t>
                </a:r>
              </a:p>
            </p:txBody>
          </p:sp>
          <p:sp>
            <p:nvSpPr>
              <p:cNvPr id="17" name="Right Bracket 49">
                <a:extLst>
                  <a:ext uri="{FF2B5EF4-FFF2-40B4-BE49-F238E27FC236}">
                    <a16:creationId xmlns:a16="http://schemas.microsoft.com/office/drawing/2014/main" id="{4B82E719-D0A1-914E-9813-4240E37666A2}"/>
                  </a:ext>
                </a:extLst>
              </p:cNvPr>
              <p:cNvSpPr/>
              <p:nvPr/>
            </p:nvSpPr>
            <p:spPr>
              <a:xfrm rot="16200000">
                <a:off x="12962403" y="1531500"/>
                <a:ext cx="72008" cy="36004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n-US" sz="1500" b="0" i="0" u="none" strike="noStrike" kern="1200" cap="none" spc="0" normalizeH="0" baseline="0" noProof="0">
                  <a:ln>
                    <a:noFill/>
                  </a:ln>
                  <a:solidFill>
                    <a:srgbClr val="595454"/>
                  </a:solidFill>
                  <a:effectLst/>
                  <a:uLnTx/>
                  <a:uFillTx/>
                  <a:latin typeface="Trebuchet MS"/>
                  <a:ea typeface="+mn-ea"/>
                  <a:cs typeface="+mn-cs"/>
                </a:endParaRPr>
              </a:p>
            </p:txBody>
          </p:sp>
          <p:sp>
            <p:nvSpPr>
              <p:cNvPr id="18" name="TextBox 50">
                <a:extLst>
                  <a:ext uri="{FF2B5EF4-FFF2-40B4-BE49-F238E27FC236}">
                    <a16:creationId xmlns:a16="http://schemas.microsoft.com/office/drawing/2014/main" id="{C299E7F3-E73A-5449-9D1D-436FDA8F642A}"/>
                  </a:ext>
                </a:extLst>
              </p:cNvPr>
              <p:cNvSpPr txBox="1"/>
              <p:nvPr/>
            </p:nvSpPr>
            <p:spPr>
              <a:xfrm>
                <a:off x="12708904" y="1406485"/>
                <a:ext cx="617207" cy="292388"/>
              </a:xfrm>
              <a:prstGeom prst="rect">
                <a:avLst/>
              </a:prstGeom>
              <a:noFill/>
            </p:spPr>
            <p:txBody>
              <a:bodyPr wrap="none" rtlCol="0">
                <a:spAutoFit/>
              </a:bodyPr>
              <a:lstStyle/>
              <a:p>
                <a:pPr marL="0" marR="0" lvl="0" indent="0" algn="l" defTabSz="685800" rtl="0" eaLnBrk="0" fontAlgn="base" latinLnBrk="0" hangingPunct="0">
                  <a:lnSpc>
                    <a:spcPct val="100000"/>
                  </a:lnSpc>
                  <a:spcBef>
                    <a:spcPct val="20000"/>
                  </a:spcBef>
                  <a:spcAft>
                    <a:spcPct val="0"/>
                  </a:spcAft>
                  <a:buClrTx/>
                  <a:buSzTx/>
                  <a:buFontTx/>
                  <a:buNone/>
                  <a:tabLst/>
                  <a:defRPr/>
                </a:pPr>
                <a:r>
                  <a:rPr kumimoji="0" lang="en-US" sz="825" b="1" i="1" u="none" strike="noStrike" kern="1200" cap="none" spc="0" normalizeH="0" baseline="0" noProof="0">
                    <a:ln>
                      <a:noFill/>
                    </a:ln>
                    <a:solidFill>
                      <a:srgbClr val="595454"/>
                    </a:solidFill>
                    <a:effectLst/>
                    <a:uLnTx/>
                    <a:uFillTx/>
                    <a:latin typeface="Arial" charset="0"/>
                    <a:ea typeface="ＭＳ Ｐゴシック" charset="0"/>
                    <a:cs typeface="Arial" panose="020B0604020202020204" pitchFamily="34" charset="0"/>
                  </a:rPr>
                  <a:t>P </a:t>
                </a:r>
                <a:r>
                  <a:rPr kumimoji="0" lang="en-US" sz="825" b="1" i="0" u="none" strike="noStrike" kern="1200" cap="none" spc="0" normalizeH="0" baseline="0" noProof="0">
                    <a:ln>
                      <a:noFill/>
                    </a:ln>
                    <a:solidFill>
                      <a:srgbClr val="595454"/>
                    </a:solidFill>
                    <a:effectLst/>
                    <a:uLnTx/>
                    <a:uFillTx/>
                    <a:latin typeface="Arial" charset="0"/>
                    <a:ea typeface="ＭＳ Ｐゴシック" charset="0"/>
                    <a:cs typeface="Arial" panose="020B0604020202020204" pitchFamily="34" charset="0"/>
                  </a:rPr>
                  <a:t>&lt;.001*</a:t>
                </a:r>
              </a:p>
            </p:txBody>
          </p:sp>
          <p:sp>
            <p:nvSpPr>
              <p:cNvPr id="19" name="Right Bracket 51">
                <a:extLst>
                  <a:ext uri="{FF2B5EF4-FFF2-40B4-BE49-F238E27FC236}">
                    <a16:creationId xmlns:a16="http://schemas.microsoft.com/office/drawing/2014/main" id="{A802CD02-BE70-A44D-8445-A8D237433E14}"/>
                  </a:ext>
                </a:extLst>
              </p:cNvPr>
              <p:cNvSpPr/>
              <p:nvPr/>
            </p:nvSpPr>
            <p:spPr>
              <a:xfrm rot="16200000">
                <a:off x="14186539" y="1243468"/>
                <a:ext cx="72008" cy="360040"/>
              </a:xfrm>
              <a:prstGeom prst="righ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n-US" sz="1500" b="0" i="0" u="none" strike="noStrike" kern="1200" cap="none" spc="0" normalizeH="0" baseline="0" noProof="0">
                  <a:ln>
                    <a:noFill/>
                  </a:ln>
                  <a:solidFill>
                    <a:srgbClr val="595454"/>
                  </a:solidFill>
                  <a:effectLst/>
                  <a:uLnTx/>
                  <a:uFillTx/>
                  <a:latin typeface="Trebuchet MS"/>
                  <a:ea typeface="+mn-ea"/>
                  <a:cs typeface="+mn-cs"/>
                </a:endParaRPr>
              </a:p>
            </p:txBody>
          </p:sp>
          <p:sp>
            <p:nvSpPr>
              <p:cNvPr id="20" name="TextBox 52">
                <a:extLst>
                  <a:ext uri="{FF2B5EF4-FFF2-40B4-BE49-F238E27FC236}">
                    <a16:creationId xmlns:a16="http://schemas.microsoft.com/office/drawing/2014/main" id="{587471DC-E3B3-214E-B507-C74937D1D3AA}"/>
                  </a:ext>
                </a:extLst>
              </p:cNvPr>
              <p:cNvSpPr txBox="1"/>
              <p:nvPr/>
            </p:nvSpPr>
            <p:spPr>
              <a:xfrm>
                <a:off x="13933040" y="1118455"/>
                <a:ext cx="585616" cy="292388"/>
              </a:xfrm>
              <a:prstGeom prst="rect">
                <a:avLst/>
              </a:prstGeom>
              <a:noFill/>
            </p:spPr>
            <p:txBody>
              <a:bodyPr wrap="none" rtlCol="0">
                <a:spAutoFit/>
              </a:bodyPr>
              <a:lstStyle/>
              <a:p>
                <a:pPr marL="0" marR="0" lvl="0" indent="0" algn="l" defTabSz="685800" rtl="0" eaLnBrk="0" fontAlgn="base" latinLnBrk="0" hangingPunct="0">
                  <a:lnSpc>
                    <a:spcPct val="100000"/>
                  </a:lnSpc>
                  <a:spcBef>
                    <a:spcPct val="20000"/>
                  </a:spcBef>
                  <a:spcAft>
                    <a:spcPct val="0"/>
                  </a:spcAft>
                  <a:buClrTx/>
                  <a:buSzTx/>
                  <a:buFontTx/>
                  <a:buNone/>
                  <a:tabLst/>
                  <a:defRPr/>
                </a:pPr>
                <a:r>
                  <a:rPr kumimoji="0" lang="en-US" sz="825" b="1" i="1" u="none" strike="noStrike" kern="1200" cap="none" spc="0" normalizeH="0" baseline="0" noProof="0">
                    <a:ln>
                      <a:noFill/>
                    </a:ln>
                    <a:solidFill>
                      <a:srgbClr val="595454"/>
                    </a:solidFill>
                    <a:effectLst/>
                    <a:uLnTx/>
                    <a:uFillTx/>
                    <a:latin typeface="Arial" charset="0"/>
                    <a:ea typeface="ＭＳ Ｐゴシック" charset="0"/>
                    <a:cs typeface="Arial" panose="020B0604020202020204" pitchFamily="34" charset="0"/>
                  </a:rPr>
                  <a:t>P </a:t>
                </a:r>
                <a:r>
                  <a:rPr kumimoji="0" lang="en-US" sz="825" b="1" i="0" u="none" strike="noStrike" kern="1200" cap="none" spc="0" normalizeH="0" baseline="0" noProof="0">
                    <a:ln>
                      <a:noFill/>
                    </a:ln>
                    <a:solidFill>
                      <a:srgbClr val="595454"/>
                    </a:solidFill>
                    <a:effectLst/>
                    <a:uLnTx/>
                    <a:uFillTx/>
                    <a:latin typeface="Arial" charset="0"/>
                    <a:ea typeface="ＭＳ Ｐゴシック" charset="0"/>
                    <a:cs typeface="Arial" panose="020B0604020202020204" pitchFamily="34" charset="0"/>
                  </a:rPr>
                  <a:t>= .02*</a:t>
                </a:r>
              </a:p>
            </p:txBody>
          </p:sp>
        </p:grpSp>
        <p:sp>
          <p:nvSpPr>
            <p:cNvPr id="23" name="TextBox 26">
              <a:extLst>
                <a:ext uri="{FF2B5EF4-FFF2-40B4-BE49-F238E27FC236}">
                  <a16:creationId xmlns:a16="http://schemas.microsoft.com/office/drawing/2014/main" id="{1F397A5E-335B-46FF-B781-E584EA6A1265}"/>
                </a:ext>
              </a:extLst>
            </p:cNvPr>
            <p:cNvSpPr txBox="1"/>
            <p:nvPr/>
          </p:nvSpPr>
          <p:spPr>
            <a:xfrm>
              <a:off x="4808998" y="3327177"/>
              <a:ext cx="91440" cy="161583"/>
            </a:xfrm>
            <a:prstGeom prst="rect">
              <a:avLst/>
            </a:prstGeom>
            <a:solidFill>
              <a:schemeClr val="bg1"/>
            </a:solidFill>
          </p:spPr>
          <p:txBody>
            <a:bodyPr wrap="square" lIns="0" tIns="0" rIns="0" bIns="0" rtlCol="0" anchor="ctr">
              <a:spAutoFit/>
            </a:bodyPr>
            <a:lstStyle/>
            <a:p>
              <a:pPr marL="0" marR="0" lvl="0" indent="0" algn="r" defTabSz="685800" rtl="0" eaLnBrk="0" fontAlgn="base" latinLnBrk="0" hangingPunct="0">
                <a:lnSpc>
                  <a:spcPct val="100000"/>
                </a:lnSpc>
                <a:spcBef>
                  <a:spcPct val="20000"/>
                </a:spcBef>
                <a:spcAft>
                  <a:spcPct val="0"/>
                </a:spcAft>
                <a:buClrTx/>
                <a:buSzTx/>
                <a:buFontTx/>
                <a:buNone/>
                <a:tabLst/>
                <a:defRPr/>
              </a:pPr>
              <a:r>
                <a:rPr kumimoji="0" lang="en-GB" sz="1050" b="0" i="0" u="none" strike="noStrike" kern="1200" cap="none" spc="0" normalizeH="0" baseline="0" noProof="0">
                  <a:ln>
                    <a:noFill/>
                  </a:ln>
                  <a:solidFill>
                    <a:srgbClr val="595454"/>
                  </a:solidFill>
                  <a:effectLst/>
                  <a:uLnTx/>
                  <a:uFillTx/>
                  <a:latin typeface="Trebuchet MS"/>
                  <a:ea typeface="ＭＳ Ｐゴシック" charset="0"/>
                  <a:cs typeface="+mn-cs"/>
                </a:rPr>
                <a:t>≥</a:t>
              </a:r>
            </a:p>
          </p:txBody>
        </p:sp>
        <p:sp>
          <p:nvSpPr>
            <p:cNvPr id="24" name="TextBox 26">
              <a:extLst>
                <a:ext uri="{FF2B5EF4-FFF2-40B4-BE49-F238E27FC236}">
                  <a16:creationId xmlns:a16="http://schemas.microsoft.com/office/drawing/2014/main" id="{5C4BA36E-EEB7-473F-B614-94D649D38A61}"/>
                </a:ext>
              </a:extLst>
            </p:cNvPr>
            <p:cNvSpPr txBox="1"/>
            <p:nvPr/>
          </p:nvSpPr>
          <p:spPr>
            <a:xfrm>
              <a:off x="6176926" y="3334325"/>
              <a:ext cx="91440" cy="161583"/>
            </a:xfrm>
            <a:prstGeom prst="rect">
              <a:avLst/>
            </a:prstGeom>
            <a:solidFill>
              <a:schemeClr val="bg1"/>
            </a:solidFill>
          </p:spPr>
          <p:txBody>
            <a:bodyPr wrap="square" lIns="0" tIns="0" rIns="0" bIns="0" rtlCol="0" anchor="ctr">
              <a:spAutoFit/>
            </a:bodyPr>
            <a:lstStyle/>
            <a:p>
              <a:pPr marL="0" marR="0" lvl="0" indent="0" algn="r" defTabSz="685800" rtl="0" eaLnBrk="0" fontAlgn="base" latinLnBrk="0" hangingPunct="0">
                <a:lnSpc>
                  <a:spcPct val="100000"/>
                </a:lnSpc>
                <a:spcBef>
                  <a:spcPct val="20000"/>
                </a:spcBef>
                <a:spcAft>
                  <a:spcPct val="0"/>
                </a:spcAft>
                <a:buClrTx/>
                <a:buSzTx/>
                <a:buFontTx/>
                <a:buNone/>
                <a:tabLst/>
                <a:defRPr/>
              </a:pPr>
              <a:r>
                <a:rPr kumimoji="0" lang="en-GB" sz="1050" b="0" i="0" u="none" strike="noStrike" kern="1200" cap="none" spc="0" normalizeH="0" baseline="0" noProof="0">
                  <a:ln>
                    <a:noFill/>
                  </a:ln>
                  <a:solidFill>
                    <a:srgbClr val="595454"/>
                  </a:solidFill>
                  <a:effectLst/>
                  <a:uLnTx/>
                  <a:uFillTx/>
                  <a:latin typeface="Trebuchet MS"/>
                  <a:ea typeface="ＭＳ Ｐゴシック" charset="0"/>
                  <a:cs typeface="+mn-cs"/>
                </a:rPr>
                <a:t>≥</a:t>
              </a:r>
            </a:p>
          </p:txBody>
        </p:sp>
      </p:grpSp>
    </p:spTree>
    <p:extLst>
      <p:ext uri="{BB962C8B-B14F-4D97-AF65-F5344CB8AC3E}">
        <p14:creationId xmlns:p14="http://schemas.microsoft.com/office/powerpoint/2010/main" val="374062770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AB30F6-A83B-CE41-A142-0B0D43795E48}"/>
              </a:ext>
            </a:extLst>
          </p:cNvPr>
          <p:cNvSpPr>
            <a:spLocks noGrp="1"/>
          </p:cNvSpPr>
          <p:nvPr>
            <p:ph type="title"/>
          </p:nvPr>
        </p:nvSpPr>
        <p:spPr/>
        <p:txBody>
          <a:bodyPr>
            <a:noAutofit/>
          </a:bodyPr>
          <a:lstStyle/>
          <a:p>
            <a:r>
              <a:rPr lang="en-US" sz="2030" noProof="0">
                <a:latin typeface="+mj-lt"/>
              </a:rPr>
              <a:t>GMMG-HD7 trial: MRD negativity</a:t>
            </a:r>
          </a:p>
        </p:txBody>
      </p:sp>
      <p:sp>
        <p:nvSpPr>
          <p:cNvPr id="2" name="Text Placeholder 1">
            <a:extLst>
              <a:ext uri="{FF2B5EF4-FFF2-40B4-BE49-F238E27FC236}">
                <a16:creationId xmlns:a16="http://schemas.microsoft.com/office/drawing/2014/main" id="{8A4669B3-632C-3C45-BC83-84D08DC1AF2D}"/>
              </a:ext>
            </a:extLst>
          </p:cNvPr>
          <p:cNvSpPr>
            <a:spLocks noGrp="1"/>
          </p:cNvSpPr>
          <p:nvPr>
            <p:ph type="body" sz="quarter" idx="13"/>
          </p:nvPr>
        </p:nvSpPr>
        <p:spPr>
          <a:xfrm>
            <a:off x="377211" y="829170"/>
            <a:ext cx="8596313" cy="206454"/>
          </a:xfrm>
        </p:spPr>
        <p:txBody>
          <a:bodyPr/>
          <a:lstStyle/>
          <a:p>
            <a:pPr marL="0" indent="0">
              <a:buNone/>
            </a:pPr>
            <a:r>
              <a:rPr lang="en-US" sz="1519" noProof="0"/>
              <a:t>First primary endpoint, end of induction MRD negativity by NGF (10</a:t>
            </a:r>
            <a:r>
              <a:rPr lang="en-US" sz="1519" baseline="30000" noProof="0"/>
              <a:t>-5</a:t>
            </a:r>
            <a:r>
              <a:rPr lang="en-US" sz="1519" noProof="0"/>
              <a:t>), was met in ITT analysis</a:t>
            </a:r>
          </a:p>
        </p:txBody>
      </p:sp>
      <p:grpSp>
        <p:nvGrpSpPr>
          <p:cNvPr id="14" name="Group 14">
            <a:extLst>
              <a:ext uri="{FF2B5EF4-FFF2-40B4-BE49-F238E27FC236}">
                <a16:creationId xmlns:a16="http://schemas.microsoft.com/office/drawing/2014/main" id="{78BBD9E4-DF29-504D-B7E0-240C719ADF8A}"/>
              </a:ext>
            </a:extLst>
          </p:cNvPr>
          <p:cNvGrpSpPr/>
          <p:nvPr/>
        </p:nvGrpSpPr>
        <p:grpSpPr>
          <a:xfrm>
            <a:off x="2087724" y="1167594"/>
            <a:ext cx="4698522" cy="2706902"/>
            <a:chOff x="2217268" y="1038211"/>
            <a:chExt cx="4663440" cy="2746950"/>
          </a:xfrm>
        </p:grpSpPr>
        <p:graphicFrame>
          <p:nvGraphicFramePr>
            <p:cNvPr id="15" name="Chart 15">
              <a:extLst>
                <a:ext uri="{FF2B5EF4-FFF2-40B4-BE49-F238E27FC236}">
                  <a16:creationId xmlns:a16="http://schemas.microsoft.com/office/drawing/2014/main" id="{34BE5357-ECC8-4E4D-B71F-F1CD059FFA9E}"/>
                </a:ext>
              </a:extLst>
            </p:cNvPr>
            <p:cNvGraphicFramePr/>
            <p:nvPr/>
          </p:nvGraphicFramePr>
          <p:xfrm>
            <a:off x="2217268" y="1038211"/>
            <a:ext cx="4663440" cy="2746950"/>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Group 16">
              <a:extLst>
                <a:ext uri="{FF2B5EF4-FFF2-40B4-BE49-F238E27FC236}">
                  <a16:creationId xmlns:a16="http://schemas.microsoft.com/office/drawing/2014/main" id="{F6F69613-5A81-3C4F-91CB-3B31F8E8BC09}"/>
                </a:ext>
              </a:extLst>
            </p:cNvPr>
            <p:cNvGrpSpPr/>
            <p:nvPr/>
          </p:nvGrpSpPr>
          <p:grpSpPr>
            <a:xfrm>
              <a:off x="3237322" y="1270527"/>
              <a:ext cx="2332588" cy="489686"/>
              <a:chOff x="10932306" y="1023667"/>
              <a:chExt cx="2332588" cy="489686"/>
            </a:xfrm>
          </p:grpSpPr>
          <p:sp>
            <p:nvSpPr>
              <p:cNvPr id="17" name="Right Bracket 17">
                <a:extLst>
                  <a:ext uri="{FF2B5EF4-FFF2-40B4-BE49-F238E27FC236}">
                    <a16:creationId xmlns:a16="http://schemas.microsoft.com/office/drawing/2014/main" id="{2FCDCB67-FF8F-5F46-BB91-AB61E60BFEA9}"/>
                  </a:ext>
                </a:extLst>
              </p:cNvPr>
              <p:cNvSpPr/>
              <p:nvPr/>
            </p:nvSpPr>
            <p:spPr>
              <a:xfrm rot="16200000">
                <a:off x="12039052" y="964315"/>
                <a:ext cx="119096" cy="978979"/>
              </a:xfrm>
              <a:prstGeom prst="rightBracket">
                <a:avLst/>
              </a:prstGeom>
              <a:noFill/>
              <a:ln w="9525"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a:ea typeface="ＭＳ Ｐゴシック" charset="0"/>
                  <a:cs typeface="+mn-cs"/>
                </a:endParaRPr>
              </a:p>
            </p:txBody>
          </p:sp>
          <p:sp>
            <p:nvSpPr>
              <p:cNvPr id="18" name="TextBox 19">
                <a:extLst>
                  <a:ext uri="{FF2B5EF4-FFF2-40B4-BE49-F238E27FC236}">
                    <a16:creationId xmlns:a16="http://schemas.microsoft.com/office/drawing/2014/main" id="{FAD33D13-FB76-F544-B6F0-5AA9223136AC}"/>
                  </a:ext>
                </a:extLst>
              </p:cNvPr>
              <p:cNvSpPr txBox="1"/>
              <p:nvPr/>
            </p:nvSpPr>
            <p:spPr>
              <a:xfrm>
                <a:off x="10932306" y="1023667"/>
                <a:ext cx="2332588" cy="23424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1" u="none" strike="noStrike" kern="0" cap="none" spc="0" normalizeH="0" baseline="0" noProof="0">
                    <a:ln>
                      <a:noFill/>
                    </a:ln>
                    <a:solidFill>
                      <a:prstClr val="black">
                        <a:lumMod val="65000"/>
                        <a:lumOff val="35000"/>
                      </a:prstClr>
                    </a:solidFill>
                    <a:effectLst/>
                    <a:uLnTx/>
                    <a:uFillTx/>
                    <a:latin typeface="Calibri"/>
                    <a:ea typeface="ＭＳ Ｐゴシック" charset="0"/>
                    <a:cs typeface="Arial" panose="020B0604020202020204" pitchFamily="34" charset="0"/>
                  </a:rPr>
                  <a:t>P </a:t>
                </a:r>
                <a:r>
                  <a:rPr kumimoji="0" lang="en-US" sz="900" b="1" i="0" u="none" strike="noStrike" kern="0" cap="none" spc="0" normalizeH="0" baseline="0" noProof="0">
                    <a:ln>
                      <a:noFill/>
                    </a:ln>
                    <a:solidFill>
                      <a:prstClr val="black">
                        <a:lumMod val="65000"/>
                        <a:lumOff val="35000"/>
                      </a:prstClr>
                    </a:solidFill>
                    <a:effectLst/>
                    <a:uLnTx/>
                    <a:uFillTx/>
                    <a:latin typeface="Calibri"/>
                    <a:ea typeface="ＭＳ Ｐゴシック" charset="0"/>
                    <a:cs typeface="Arial" panose="020B0604020202020204" pitchFamily="34" charset="0"/>
                  </a:rPr>
                  <a:t>&lt;.0</a:t>
                </a:r>
                <a:r>
                  <a:rPr kumimoji="0" lang="en-US" sz="900" b="1" i="0" u="none" strike="noStrike" kern="0" cap="none" spc="0" normalizeH="0" baseline="0" noProof="0">
                    <a:ln>
                      <a:noFill/>
                    </a:ln>
                    <a:solidFill>
                      <a:srgbClr val="595959"/>
                    </a:solidFill>
                    <a:effectLst/>
                    <a:uLnTx/>
                    <a:uFillTx/>
                    <a:latin typeface="Calibri"/>
                    <a:ea typeface="ＭＳ Ｐゴシック" charset="0"/>
                    <a:cs typeface="Arial" panose="020B0604020202020204" pitchFamily="34" charset="0"/>
                  </a:rPr>
                  <a:t>0</a:t>
                </a:r>
                <a:r>
                  <a:rPr kumimoji="0" lang="en-US" sz="900" b="1" i="0" u="none" strike="noStrike" kern="0" cap="none" spc="0" normalizeH="0" baseline="0" noProof="0">
                    <a:ln>
                      <a:noFill/>
                    </a:ln>
                    <a:solidFill>
                      <a:prstClr val="black">
                        <a:lumMod val="65000"/>
                        <a:lumOff val="35000"/>
                      </a:prstClr>
                    </a:solidFill>
                    <a:effectLst/>
                    <a:uLnTx/>
                    <a:uFillTx/>
                    <a:latin typeface="Calibri"/>
                    <a:ea typeface="ＭＳ Ｐゴシック" charset="0"/>
                    <a:cs typeface="Arial" panose="020B0604020202020204" pitchFamily="34" charset="0"/>
                  </a:rPr>
                  <a:t>1*</a:t>
                </a:r>
              </a:p>
            </p:txBody>
          </p:sp>
        </p:grpSp>
      </p:grpSp>
      <p:sp>
        <p:nvSpPr>
          <p:cNvPr id="19" name="TextBox 21">
            <a:extLst>
              <a:ext uri="{FF2B5EF4-FFF2-40B4-BE49-F238E27FC236}">
                <a16:creationId xmlns:a16="http://schemas.microsoft.com/office/drawing/2014/main" id="{79C699FA-CA0D-B041-BAA1-DB78C0245EED}"/>
              </a:ext>
            </a:extLst>
          </p:cNvPr>
          <p:cNvSpPr txBox="1"/>
          <p:nvPr/>
        </p:nvSpPr>
        <p:spPr>
          <a:xfrm>
            <a:off x="2196890" y="1115568"/>
            <a:ext cx="4399898" cy="276999"/>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altLang="de-DE" sz="1200" b="0" i="0" u="none" strike="noStrike" kern="1200" cap="none" spc="0" normalizeH="0" baseline="0" noProof="0">
                <a:ln>
                  <a:noFill/>
                </a:ln>
                <a:solidFill>
                  <a:srgbClr val="595454"/>
                </a:solidFill>
                <a:effectLst/>
                <a:uLnTx/>
                <a:uFillTx/>
                <a:latin typeface="Trebuchet MS"/>
                <a:ea typeface="ＭＳ Ｐゴシック" charset="0"/>
                <a:cs typeface="+mn-cs"/>
              </a:rPr>
              <a:t>Patients with MRD negativity at the end of induction therapy</a:t>
            </a:r>
            <a:endParaRPr kumimoji="0" lang="en-US" sz="1200" b="0" i="0" u="none" strike="noStrike" kern="1200" cap="none" spc="0" normalizeH="0" baseline="0" noProof="0">
              <a:ln>
                <a:noFill/>
              </a:ln>
              <a:solidFill>
                <a:srgbClr val="595454"/>
              </a:solidFill>
              <a:effectLst/>
              <a:uLnTx/>
              <a:uFillTx/>
              <a:latin typeface="Trebuchet MS"/>
              <a:ea typeface="ＭＳ Ｐゴシック" charset="0"/>
              <a:cs typeface="+mn-cs"/>
            </a:endParaRPr>
          </a:p>
        </p:txBody>
      </p:sp>
      <p:sp>
        <p:nvSpPr>
          <p:cNvPr id="20" name="TextBox 27">
            <a:extLst>
              <a:ext uri="{FF2B5EF4-FFF2-40B4-BE49-F238E27FC236}">
                <a16:creationId xmlns:a16="http://schemas.microsoft.com/office/drawing/2014/main" id="{FC95246C-A69C-6E49-8CB6-47D25DE67008}"/>
              </a:ext>
            </a:extLst>
          </p:cNvPr>
          <p:cNvSpPr txBox="1"/>
          <p:nvPr/>
        </p:nvSpPr>
        <p:spPr>
          <a:xfrm>
            <a:off x="2124510" y="1536634"/>
            <a:ext cx="4427834" cy="23083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595959"/>
                </a:solidFill>
                <a:effectLst/>
                <a:uLnTx/>
                <a:uFillTx/>
                <a:latin typeface="Calibri"/>
                <a:ea typeface="ＭＳ Ｐゴシック" charset="0"/>
                <a:cs typeface="Arial" panose="020B0604020202020204" pitchFamily="34" charset="0"/>
              </a:rPr>
              <a:t>OR 1.83 (95% CI 1.34–2.51)</a:t>
            </a:r>
          </a:p>
        </p:txBody>
      </p:sp>
      <p:sp>
        <p:nvSpPr>
          <p:cNvPr id="4" name="Rectángulo 3">
            <a:extLst>
              <a:ext uri="{FF2B5EF4-FFF2-40B4-BE49-F238E27FC236}">
                <a16:creationId xmlns:a16="http://schemas.microsoft.com/office/drawing/2014/main" id="{694A69AB-070B-F447-BF62-B993B2DFBE86}"/>
              </a:ext>
            </a:extLst>
          </p:cNvPr>
          <p:cNvSpPr/>
          <p:nvPr/>
        </p:nvSpPr>
        <p:spPr>
          <a:xfrm>
            <a:off x="367510" y="3964324"/>
            <a:ext cx="8408980" cy="461665"/>
          </a:xfrm>
          <a:prstGeom prst="rect">
            <a:avLst/>
          </a:prstGeom>
        </p:spPr>
        <p:txBody>
          <a:bodyPr wrap="square">
            <a:spAutoFit/>
          </a:bodyPr>
          <a:lstStyle/>
          <a:p>
            <a:pPr marL="0" marR="0" lvl="0" indent="0" algn="ctr" defTabSz="685800" rtl="0" eaLnBrk="0" fontAlgn="base" latinLnBrk="0" hangingPunct="0">
              <a:lnSpc>
                <a:spcPct val="100000"/>
              </a:lnSpc>
              <a:spcBef>
                <a:spcPct val="20000"/>
              </a:spcBef>
              <a:spcAft>
                <a:spcPct val="0"/>
              </a:spcAft>
              <a:buClrTx/>
              <a:buSzTx/>
              <a:buFontTx/>
              <a:buNone/>
              <a:tabLst/>
              <a:defRPr/>
            </a:pPr>
            <a:r>
              <a:rPr kumimoji="0" lang="en-US" sz="1200" b="1" i="0" u="none" strike="noStrike" kern="1200" cap="none" spc="0" normalizeH="0" baseline="0" noProof="0">
                <a:ln>
                  <a:noFill/>
                </a:ln>
                <a:solidFill>
                  <a:srgbClr val="BE2BBB"/>
                </a:solidFill>
                <a:effectLst/>
                <a:uLnTx/>
                <a:uFillTx/>
                <a:latin typeface="Trebuchet MS"/>
                <a:ea typeface="ＭＳ Ｐゴシック" charset="0"/>
                <a:cs typeface="Arial" panose="020B0604020202020204" pitchFamily="34" charset="0"/>
              </a:rPr>
              <a:t>Isa-RVd is the first regimen to demonstrate a rapid and statistically significant benefit from treatment by reaching MRD negativity of 50.1% at the end of induction and to show superiority vs RVd in a phase III trial </a:t>
            </a:r>
            <a:endParaRPr kumimoji="0" lang="en-GB" sz="1200" b="1" i="0" u="none" strike="noStrike" kern="1200" cap="none" spc="0" normalizeH="0" baseline="0" noProof="0">
              <a:ln>
                <a:noFill/>
              </a:ln>
              <a:solidFill>
                <a:srgbClr val="BE2BBB"/>
              </a:solidFill>
              <a:effectLst/>
              <a:uLnTx/>
              <a:uFillTx/>
              <a:latin typeface="Trebuchet MS"/>
              <a:ea typeface="ＭＳ Ｐゴシック" charset="0"/>
              <a:cs typeface="Arial" panose="020B0604020202020204" pitchFamily="34" charset="0"/>
            </a:endParaRPr>
          </a:p>
        </p:txBody>
      </p:sp>
      <p:sp>
        <p:nvSpPr>
          <p:cNvPr id="22" name="Text Placeholder 3">
            <a:extLst>
              <a:ext uri="{FF2B5EF4-FFF2-40B4-BE49-F238E27FC236}">
                <a16:creationId xmlns:a16="http://schemas.microsoft.com/office/drawing/2014/main" id="{2A2CB41B-96B8-462C-9A9D-16B4656AD46A}"/>
              </a:ext>
            </a:extLst>
          </p:cNvPr>
          <p:cNvSpPr txBox="1">
            <a:spLocks/>
          </p:cNvSpPr>
          <p:nvPr/>
        </p:nvSpPr>
        <p:spPr>
          <a:xfrm>
            <a:off x="3940760" y="4827655"/>
            <a:ext cx="4956175" cy="230188"/>
          </a:xfrm>
          <a:prstGeom prst="rect">
            <a:avLst/>
          </a:prstGeom>
        </p:spPr>
        <p:txBody>
          <a:bodyPr vert="horz" lIns="0" tIns="0" rIns="0" bIns="0" spcCol="301752" rtlCol="0">
            <a:noAutofit/>
          </a:bodyPr>
          <a:lstStyle>
            <a:lvl1pPr marL="144661"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1pPr>
            <a:lvl2pPr marL="289322"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2pPr>
            <a:lvl3pPr marL="433983"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3pPr>
            <a:lvl4pPr marL="578644"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4pPr>
            <a:lvl5pPr marL="723305"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5pPr>
            <a:lvl6pPr marL="867966"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6pPr>
            <a:lvl7pPr marL="1012627"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7pPr>
            <a:lvl8pPr marL="115728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8pPr>
            <a:lvl9pPr marL="130194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9pPr>
          </a:lstStyle>
          <a:p>
            <a:pPr marL="0" marR="0" lvl="0" indent="0" algn="r" defTabSz="578644" rtl="0" eaLnBrk="1" fontAlgn="auto" latinLnBrk="0" hangingPunct="1">
              <a:lnSpc>
                <a:spcPct val="100000"/>
              </a:lnSpc>
              <a:spcBef>
                <a:spcPts val="380"/>
              </a:spcBef>
              <a:spcAft>
                <a:spcPts val="0"/>
              </a:spcAft>
              <a:buClrTx/>
              <a:buSzTx/>
              <a:buFont typeface="Trebuchet MS" panose="020B0603020202020204" pitchFamily="34" charset="0"/>
              <a:buNone/>
              <a:tabLst/>
              <a:defRPr/>
            </a:pPr>
            <a:r>
              <a:rPr kumimoji="0" lang="en-US" sz="1000" b="0" i="0" u="none" strike="noStrike" kern="1200" cap="none" spc="0" normalizeH="0" baseline="0" noProof="0">
                <a:ln>
                  <a:noFill/>
                </a:ln>
                <a:solidFill>
                  <a:srgbClr val="000020"/>
                </a:solidFill>
                <a:effectLst/>
                <a:uLnTx/>
                <a:uFillTx/>
                <a:latin typeface="Trebuchet MS"/>
                <a:ea typeface="+mn-ea"/>
                <a:cs typeface="+mn-cs"/>
              </a:rPr>
              <a:t>Goldschmidt H, et al. </a:t>
            </a:r>
            <a:r>
              <a:rPr kumimoji="0" lang="en-US" sz="1000" b="0" i="1" u="none" strike="noStrike" kern="1200" cap="none" spc="0" normalizeH="0" baseline="0" noProof="0">
                <a:ln>
                  <a:noFill/>
                </a:ln>
                <a:solidFill>
                  <a:srgbClr val="000020"/>
                </a:solidFill>
                <a:effectLst/>
                <a:uLnTx/>
                <a:uFillTx/>
                <a:latin typeface="Trebuchet MS"/>
                <a:ea typeface="+mn-ea"/>
                <a:cs typeface="+mn-cs"/>
              </a:rPr>
              <a:t>Blood</a:t>
            </a:r>
            <a:r>
              <a:rPr kumimoji="0" lang="en-US" sz="1000" b="0" i="0" u="none" strike="noStrike" kern="1200" cap="none" spc="0" normalizeH="0" baseline="0" noProof="0">
                <a:ln>
                  <a:noFill/>
                </a:ln>
                <a:solidFill>
                  <a:srgbClr val="000020"/>
                </a:solidFill>
                <a:effectLst/>
                <a:uLnTx/>
                <a:uFillTx/>
                <a:latin typeface="Trebuchet MS"/>
                <a:ea typeface="+mn-ea"/>
                <a:cs typeface="+mn-cs"/>
              </a:rPr>
              <a:t>. 2021;138(suppl 1): abstract 463 (oral presentation).</a:t>
            </a:r>
          </a:p>
        </p:txBody>
      </p:sp>
    </p:spTree>
    <p:extLst>
      <p:ext uri="{BB962C8B-B14F-4D97-AF65-F5344CB8AC3E}">
        <p14:creationId xmlns:p14="http://schemas.microsoft.com/office/powerpoint/2010/main" val="161380052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60C6DE-6176-BA42-907C-C353DDE799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8483" y="1514232"/>
            <a:ext cx="7535213" cy="2367989"/>
          </a:xfrm>
          <a:prstGeom prst="rect">
            <a:avLst/>
          </a:prstGeom>
        </p:spPr>
      </p:pic>
      <p:sp>
        <p:nvSpPr>
          <p:cNvPr id="9" name="Text Placeholder 3">
            <a:extLst>
              <a:ext uri="{FF2B5EF4-FFF2-40B4-BE49-F238E27FC236}">
                <a16:creationId xmlns:a16="http://schemas.microsoft.com/office/drawing/2014/main" id="{97C845E6-F12E-304A-A8E9-ACDF6AC3812A}"/>
              </a:ext>
            </a:extLst>
          </p:cNvPr>
          <p:cNvSpPr txBox="1">
            <a:spLocks/>
          </p:cNvSpPr>
          <p:nvPr/>
        </p:nvSpPr>
        <p:spPr>
          <a:xfrm>
            <a:off x="0" y="4210104"/>
            <a:ext cx="8869679" cy="511993"/>
          </a:xfrm>
          <a:prstGeom prst="rect">
            <a:avLst/>
          </a:prstGeom>
        </p:spPr>
        <p:txBody>
          <a:bodyPr vert="horz" anchor="b" anchorCtr="0"/>
          <a:lstStyle>
            <a:lvl1pPr marL="0" indent="0" algn="r" defTabSz="912813" rtl="0" eaLnBrk="0" fontAlgn="base" hangingPunct="0">
              <a:spcBef>
                <a:spcPct val="20000"/>
              </a:spcBef>
              <a:spcAft>
                <a:spcPct val="0"/>
              </a:spcAft>
              <a:buClr>
                <a:schemeClr val="accent1"/>
              </a:buClr>
              <a:buSzPct val="85000"/>
              <a:buFont typeface="Wingdings" pitchFamily="2" charset="2"/>
              <a:buNone/>
              <a:defRPr lang="en-US" sz="1200" kern="1200" baseline="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22313" indent="-277813" algn="l" defTabSz="912813" rtl="0" eaLnBrk="0" fontAlgn="base" hangingPunct="0">
              <a:spcBef>
                <a:spcPct val="20000"/>
              </a:spcBef>
              <a:spcAft>
                <a:spcPct val="0"/>
              </a:spcAft>
              <a:buClr>
                <a:schemeClr val="accent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2pPr>
            <a:lvl3pPr marL="989013" indent="-176213" algn="l" defTabSz="912813" rtl="0" eaLnBrk="0" fontAlgn="base" hangingPunct="0">
              <a:spcBef>
                <a:spcPct val="20000"/>
              </a:spcBef>
              <a:spcAft>
                <a:spcPct val="0"/>
              </a:spcAft>
              <a:buClr>
                <a:srgbClr val="F9560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3pPr>
            <a:lvl4pPr marL="1344613" indent="-265113" algn="l" defTabSz="912813" rtl="0" eaLnBrk="0" fontAlgn="base" hangingPunct="0">
              <a:spcBef>
                <a:spcPct val="20000"/>
              </a:spcBef>
              <a:spcAft>
                <a:spcPct val="0"/>
              </a:spcAft>
              <a:buClr>
                <a:srgbClr val="60605B"/>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4pPr>
            <a:lvl5pPr marL="1611313" indent="-176213" algn="l" defTabSz="912813" rtl="0" eaLnBrk="0" fontAlgn="base" hangingPunct="0">
              <a:spcBef>
                <a:spcPct val="20000"/>
              </a:spcBef>
              <a:spcAft>
                <a:spcPct val="0"/>
              </a:spcAft>
              <a:buClr>
                <a:srgbClr val="4BACC6"/>
              </a:buClr>
              <a:buFont typeface="Arial" panose="020B0604020202020204" pitchFamily="34" charset="0"/>
              <a:buChar char="•"/>
              <a:defRPr lang="en-GB" sz="1600" kern="1200">
                <a:solidFill>
                  <a:schemeClr val="accent4"/>
                </a:solidFill>
                <a:latin typeface="Arial"/>
                <a:ea typeface="MS PGothic" panose="020B0600070205080204" pitchFamily="34" charset="-128"/>
                <a:cs typeface="Arial"/>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84610" rtl="0" eaLnBrk="0" fontAlgn="base" latinLnBrk="0" hangingPunct="0">
              <a:lnSpc>
                <a:spcPct val="100000"/>
              </a:lnSpc>
              <a:spcBef>
                <a:spcPct val="20000"/>
              </a:spcBef>
              <a:spcAft>
                <a:spcPct val="0"/>
              </a:spcAft>
              <a:buClr>
                <a:srgbClr val="595454"/>
              </a:buClr>
              <a:buSzPct val="85000"/>
              <a:buFont typeface="Wingdings" pitchFamily="2" charset="2"/>
              <a:buNone/>
              <a:tabLst/>
              <a:defRPr/>
            </a:pPr>
            <a:r>
              <a:rPr kumimoji="0" lang="en-GB" sz="800" b="0" i="0" u="none" strike="noStrike" kern="1200" cap="none" spc="0" normalizeH="0" baseline="30000" noProof="0">
                <a:ln>
                  <a:noFill/>
                </a:ln>
                <a:solidFill>
                  <a:srgbClr val="000020"/>
                </a:solidFill>
                <a:effectLst/>
                <a:uLnTx/>
                <a:uFillTx/>
                <a:latin typeface="Trebuchet MS"/>
                <a:ea typeface="MS PGothic" panose="020B0600070205080204" pitchFamily="34" charset="-128"/>
                <a:cs typeface="Arial" panose="020B0604020202020204" pitchFamily="34" charset="0"/>
              </a:rPr>
              <a:t>a</a:t>
            </a:r>
            <a:r>
              <a:rPr kumimoji="0" lang="en-GB" sz="8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Lenalidomide dose adjustments were made for patients with CrCL ≤50 mL/min. </a:t>
            </a:r>
            <a:r>
              <a:rPr kumimoji="0" lang="en-GB" sz="800" b="0" i="0" u="none" strike="noStrike" kern="1200" cap="none" spc="0" normalizeH="0" baseline="30000" noProof="0">
                <a:ln>
                  <a:noFill/>
                </a:ln>
                <a:solidFill>
                  <a:srgbClr val="000020"/>
                </a:solidFill>
                <a:effectLst/>
                <a:uLnTx/>
                <a:uFillTx/>
                <a:latin typeface="Trebuchet MS"/>
                <a:ea typeface="MS PGothic" panose="020B0600070205080204" pitchFamily="34" charset="-128"/>
                <a:cs typeface="Arial" panose="020B0604020202020204" pitchFamily="34" charset="0"/>
              </a:rPr>
              <a:t>b</a:t>
            </a:r>
            <a:r>
              <a:rPr kumimoji="0" lang="en-GB" sz="8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Cyclophosphamide-based mobilization was permitted if unsuccessful. </a:t>
            </a:r>
            <a:r>
              <a:rPr kumimoji="0" lang="en-GB" sz="800" b="0" i="0" u="none" strike="noStrike" kern="1200" cap="none" spc="0" normalizeH="0" baseline="30000" noProof="0">
                <a:ln>
                  <a:noFill/>
                </a:ln>
                <a:solidFill>
                  <a:srgbClr val="000020"/>
                </a:solidFill>
                <a:effectLst/>
                <a:uLnTx/>
                <a:uFillTx/>
                <a:latin typeface="Trebuchet MS"/>
                <a:ea typeface="MS PGothic" panose="020B0600070205080204" pitchFamily="34" charset="-128"/>
                <a:cs typeface="Arial" panose="020B0604020202020204" pitchFamily="34" charset="0"/>
              </a:rPr>
              <a:t>c</a:t>
            </a:r>
            <a:r>
              <a:rPr kumimoji="0" lang="en-GB" sz="8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Consolidation was initiated 60-100 days post-transplant. </a:t>
            </a:r>
            <a:r>
              <a:rPr kumimoji="0" lang="en-GB" sz="800" b="0" i="0" u="none" strike="noStrike" kern="1200" cap="none" spc="0" normalizeH="0" baseline="30000" noProof="0">
                <a:ln>
                  <a:noFill/>
                </a:ln>
                <a:solidFill>
                  <a:srgbClr val="000020"/>
                </a:solidFill>
                <a:effectLst/>
                <a:uLnTx/>
                <a:uFillTx/>
                <a:latin typeface="Trebuchet MS"/>
                <a:ea typeface="MS PGothic" panose="020B0600070205080204" pitchFamily="34" charset="-128"/>
                <a:cs typeface="Arial" panose="020B0604020202020204" pitchFamily="34" charset="0"/>
              </a:rPr>
              <a:t>d</a:t>
            </a:r>
            <a:r>
              <a:rPr kumimoji="0" lang="en-GB" sz="8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Patients who completed maintenance cycles 7–32 may continue single-agent lenalidomide thereafter. </a:t>
            </a:r>
            <a:r>
              <a:rPr kumimoji="0" lang="en-GB" sz="800" b="0" i="0" u="none" strike="noStrike" kern="1200" cap="none" spc="0" normalizeH="0" baseline="30000" noProof="0">
                <a:ln>
                  <a:noFill/>
                </a:ln>
                <a:solidFill>
                  <a:srgbClr val="000020"/>
                </a:solidFill>
                <a:effectLst/>
                <a:uLnTx/>
                <a:uFillTx/>
                <a:latin typeface="Trebuchet MS"/>
                <a:ea typeface="MS PGothic" panose="020B0600070205080204" pitchFamily="34" charset="-128"/>
                <a:cs typeface="Arial" panose="020B0604020202020204" pitchFamily="34" charset="0"/>
              </a:rPr>
              <a:t>e</a:t>
            </a:r>
            <a:r>
              <a:rPr kumimoji="0" lang="en-GB" sz="8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Protocol Amendment 2 allowed for the option to dose DARA Q4W on the basis of PK results from study SMM2001). In GRIFFIN, among the D-RVd group who received DR maintenance, 9 patients received DARA Q8W dosing, 57 received DARA Q4W dosing, and 23 switched from DARA Q8W to Q4W dosing.</a:t>
            </a:r>
          </a:p>
        </p:txBody>
      </p:sp>
      <p:sp>
        <p:nvSpPr>
          <p:cNvPr id="13" name="Title 2">
            <a:extLst>
              <a:ext uri="{FF2B5EF4-FFF2-40B4-BE49-F238E27FC236}">
                <a16:creationId xmlns:a16="http://schemas.microsoft.com/office/drawing/2014/main" id="{C5A29F79-BD3B-C24B-98B5-3DE41F487DBA}"/>
              </a:ext>
            </a:extLst>
          </p:cNvPr>
          <p:cNvSpPr>
            <a:spLocks noGrp="1"/>
          </p:cNvSpPr>
          <p:nvPr>
            <p:ph type="title"/>
          </p:nvPr>
        </p:nvSpPr>
        <p:spPr/>
        <p:txBody>
          <a:bodyPr>
            <a:noAutofit/>
          </a:bodyPr>
          <a:lstStyle/>
          <a:p>
            <a:r>
              <a:rPr lang="en-US" sz="2030" noProof="0">
                <a:latin typeface="+mj-lt"/>
              </a:rPr>
              <a:t>Updated analysis of GRIFFIN after 24 months of maintenance</a:t>
            </a:r>
          </a:p>
        </p:txBody>
      </p:sp>
      <p:sp>
        <p:nvSpPr>
          <p:cNvPr id="12" name="Text Placeholder 1">
            <a:extLst>
              <a:ext uri="{FF2B5EF4-FFF2-40B4-BE49-F238E27FC236}">
                <a16:creationId xmlns:a16="http://schemas.microsoft.com/office/drawing/2014/main" id="{F71C82EB-76C4-134B-B18F-727C26D0615F}"/>
              </a:ext>
            </a:extLst>
          </p:cNvPr>
          <p:cNvSpPr>
            <a:spLocks noGrp="1"/>
          </p:cNvSpPr>
          <p:nvPr>
            <p:ph type="body" sz="quarter" idx="13"/>
          </p:nvPr>
        </p:nvSpPr>
        <p:spPr>
          <a:xfrm>
            <a:off x="368782" y="1202396"/>
            <a:ext cx="8596313" cy="206454"/>
          </a:xfrm>
        </p:spPr>
        <p:txBody>
          <a:bodyPr>
            <a:noAutofit/>
          </a:bodyPr>
          <a:lstStyle/>
          <a:p>
            <a:pPr marL="0" indent="0">
              <a:buNone/>
            </a:pPr>
            <a:r>
              <a:rPr lang="en-US" sz="1400" noProof="0"/>
              <a:t>Phase II study of D-RVd vs RVd in transplant-eligible NDMM; 35 sites in the United States with enrollment between December 2016 and April 2018 </a:t>
            </a:r>
          </a:p>
        </p:txBody>
      </p:sp>
      <p:sp>
        <p:nvSpPr>
          <p:cNvPr id="10" name="Text Placeholder 3">
            <a:extLst>
              <a:ext uri="{FF2B5EF4-FFF2-40B4-BE49-F238E27FC236}">
                <a16:creationId xmlns:a16="http://schemas.microsoft.com/office/drawing/2014/main" id="{BE44BF7A-7F22-6947-862C-61CC752A4A7C}"/>
              </a:ext>
            </a:extLst>
          </p:cNvPr>
          <p:cNvSpPr txBox="1">
            <a:spLocks/>
          </p:cNvSpPr>
          <p:nvPr/>
        </p:nvSpPr>
        <p:spPr>
          <a:xfrm>
            <a:off x="4027924" y="4834853"/>
            <a:ext cx="4957316" cy="194493"/>
          </a:xfrm>
          <a:prstGeom prst="rect">
            <a:avLst/>
          </a:prstGeom>
        </p:spPr>
        <p:txBody>
          <a:bodyPr vert="horz" anchor="b" anchorCtr="0"/>
          <a:lstStyle>
            <a:lvl1pPr marL="0" indent="0" algn="r" defTabSz="912813" rtl="0" eaLnBrk="0" fontAlgn="base" hangingPunct="0">
              <a:spcBef>
                <a:spcPct val="20000"/>
              </a:spcBef>
              <a:spcAft>
                <a:spcPct val="0"/>
              </a:spcAft>
              <a:buClr>
                <a:schemeClr val="accent1"/>
              </a:buClr>
              <a:buSzPct val="85000"/>
              <a:buFont typeface="Wingdings" pitchFamily="2" charset="2"/>
              <a:buNone/>
              <a:defRPr lang="en-US" sz="1200" kern="1200" baseline="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22313" indent="-277813" algn="l" defTabSz="912813" rtl="0" eaLnBrk="0" fontAlgn="base" hangingPunct="0">
              <a:spcBef>
                <a:spcPct val="20000"/>
              </a:spcBef>
              <a:spcAft>
                <a:spcPct val="0"/>
              </a:spcAft>
              <a:buClr>
                <a:schemeClr val="accent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2pPr>
            <a:lvl3pPr marL="989013" indent="-176213" algn="l" defTabSz="912813" rtl="0" eaLnBrk="0" fontAlgn="base" hangingPunct="0">
              <a:spcBef>
                <a:spcPct val="20000"/>
              </a:spcBef>
              <a:spcAft>
                <a:spcPct val="0"/>
              </a:spcAft>
              <a:buClr>
                <a:srgbClr val="F9560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3pPr>
            <a:lvl4pPr marL="1344613" indent="-265113" algn="l" defTabSz="912813" rtl="0" eaLnBrk="0" fontAlgn="base" hangingPunct="0">
              <a:spcBef>
                <a:spcPct val="20000"/>
              </a:spcBef>
              <a:spcAft>
                <a:spcPct val="0"/>
              </a:spcAft>
              <a:buClr>
                <a:srgbClr val="60605B"/>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4pPr>
            <a:lvl5pPr marL="1611313" indent="-176213" algn="l" defTabSz="912813" rtl="0" eaLnBrk="0" fontAlgn="base" hangingPunct="0">
              <a:spcBef>
                <a:spcPct val="20000"/>
              </a:spcBef>
              <a:spcAft>
                <a:spcPct val="0"/>
              </a:spcAft>
              <a:buClr>
                <a:srgbClr val="4BACC6"/>
              </a:buClr>
              <a:buFont typeface="Arial" panose="020B0604020202020204" pitchFamily="34" charset="0"/>
              <a:buChar char="•"/>
              <a:defRPr lang="en-GB" sz="1600" kern="1200">
                <a:solidFill>
                  <a:schemeClr val="accent4"/>
                </a:solidFill>
                <a:latin typeface="Arial"/>
                <a:ea typeface="MS PGothic" panose="020B0600070205080204" pitchFamily="34" charset="-128"/>
                <a:cs typeface="Arial"/>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684610" rtl="0" eaLnBrk="0" fontAlgn="base" latinLnBrk="0" hangingPunct="0">
              <a:lnSpc>
                <a:spcPct val="100000"/>
              </a:lnSpc>
              <a:spcBef>
                <a:spcPct val="20000"/>
              </a:spcBef>
              <a:spcAft>
                <a:spcPct val="0"/>
              </a:spcAft>
              <a:buClr>
                <a:srgbClr val="595454"/>
              </a:buClr>
              <a:buSzPct val="85000"/>
              <a:buFont typeface="Wingdings" pitchFamily="2" charset="2"/>
              <a:buNone/>
              <a:tabLst/>
              <a:defRPr/>
            </a:pPr>
            <a:r>
              <a:rPr kumimoji="0" lang="en-GB" sz="10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Laubach JP, et al. </a:t>
            </a:r>
            <a:r>
              <a:rPr kumimoji="0" lang="en-GB" sz="1000" b="0" i="1"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Blood</a:t>
            </a:r>
            <a:r>
              <a:rPr kumimoji="0" lang="en-GB" sz="10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 2021;138(suppl 1): abstract 79 (oral presentation).</a:t>
            </a:r>
          </a:p>
        </p:txBody>
      </p:sp>
    </p:spTree>
    <p:extLst>
      <p:ext uri="{BB962C8B-B14F-4D97-AF65-F5344CB8AC3E}">
        <p14:creationId xmlns:p14="http://schemas.microsoft.com/office/powerpoint/2010/main" val="256033760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AB30F6-A83B-CE41-A142-0B0D43795E48}"/>
              </a:ext>
            </a:extLst>
          </p:cNvPr>
          <p:cNvSpPr>
            <a:spLocks noGrp="1"/>
          </p:cNvSpPr>
          <p:nvPr>
            <p:ph type="title"/>
          </p:nvPr>
        </p:nvSpPr>
        <p:spPr/>
        <p:txBody>
          <a:bodyPr>
            <a:noAutofit/>
          </a:bodyPr>
          <a:lstStyle/>
          <a:p>
            <a:r>
              <a:rPr lang="en-US" sz="2030" noProof="0">
                <a:latin typeface="+mj-lt"/>
              </a:rPr>
              <a:t>Updated analysis of GRIFFIN after 24 months of maintenance:</a:t>
            </a:r>
            <a:br>
              <a:rPr lang="en-US" sz="2030" noProof="0">
                <a:latin typeface="+mj-lt"/>
              </a:rPr>
            </a:br>
            <a:r>
              <a:rPr lang="en-US" sz="2030" noProof="0">
                <a:latin typeface="+mj-lt"/>
              </a:rPr>
              <a:t>Response rates</a:t>
            </a:r>
          </a:p>
        </p:txBody>
      </p:sp>
      <p:pic>
        <p:nvPicPr>
          <p:cNvPr id="5" name="Picture 4">
            <a:extLst>
              <a:ext uri="{FF2B5EF4-FFF2-40B4-BE49-F238E27FC236}">
                <a16:creationId xmlns:a16="http://schemas.microsoft.com/office/drawing/2014/main" id="{3660616A-7755-9B47-AB95-970F92178714}"/>
              </a:ext>
            </a:extLst>
          </p:cNvPr>
          <p:cNvPicPr>
            <a:picLocks noChangeAspect="1"/>
          </p:cNvPicPr>
          <p:nvPr/>
        </p:nvPicPr>
        <p:blipFill>
          <a:blip r:embed="rId3"/>
          <a:stretch>
            <a:fillRect/>
          </a:stretch>
        </p:blipFill>
        <p:spPr>
          <a:xfrm>
            <a:off x="1510772" y="1008130"/>
            <a:ext cx="6098823" cy="2420077"/>
          </a:xfrm>
          <a:prstGeom prst="rect">
            <a:avLst/>
          </a:prstGeom>
        </p:spPr>
      </p:pic>
      <p:sp>
        <p:nvSpPr>
          <p:cNvPr id="8" name="Text Placeholder 3">
            <a:extLst>
              <a:ext uri="{FF2B5EF4-FFF2-40B4-BE49-F238E27FC236}">
                <a16:creationId xmlns:a16="http://schemas.microsoft.com/office/drawing/2014/main" id="{8E18BB77-9527-0A47-99D3-7FE629CAD1E9}"/>
              </a:ext>
            </a:extLst>
          </p:cNvPr>
          <p:cNvSpPr txBox="1">
            <a:spLocks/>
          </p:cNvSpPr>
          <p:nvPr/>
        </p:nvSpPr>
        <p:spPr>
          <a:xfrm>
            <a:off x="0" y="4460131"/>
            <a:ext cx="8869680" cy="263799"/>
          </a:xfrm>
          <a:prstGeom prst="rect">
            <a:avLst/>
          </a:prstGeom>
        </p:spPr>
        <p:txBody>
          <a:bodyPr vert="horz" anchor="b" anchorCtr="0"/>
          <a:lstStyle>
            <a:lvl1pPr marL="0" indent="0" algn="r" defTabSz="912813" rtl="0" eaLnBrk="0" fontAlgn="base" hangingPunct="0">
              <a:spcBef>
                <a:spcPct val="20000"/>
              </a:spcBef>
              <a:spcAft>
                <a:spcPct val="0"/>
              </a:spcAft>
              <a:buClr>
                <a:schemeClr val="accent1"/>
              </a:buClr>
              <a:buSzPct val="85000"/>
              <a:buFont typeface="Wingdings" pitchFamily="2" charset="2"/>
              <a:buNone/>
              <a:defRPr lang="en-US" sz="1200" kern="1200" baseline="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22313" indent="-277813" algn="l" defTabSz="912813" rtl="0" eaLnBrk="0" fontAlgn="base" hangingPunct="0">
              <a:spcBef>
                <a:spcPct val="20000"/>
              </a:spcBef>
              <a:spcAft>
                <a:spcPct val="0"/>
              </a:spcAft>
              <a:buClr>
                <a:schemeClr val="accent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2pPr>
            <a:lvl3pPr marL="989013" indent="-176213" algn="l" defTabSz="912813" rtl="0" eaLnBrk="0" fontAlgn="base" hangingPunct="0">
              <a:spcBef>
                <a:spcPct val="20000"/>
              </a:spcBef>
              <a:spcAft>
                <a:spcPct val="0"/>
              </a:spcAft>
              <a:buClr>
                <a:srgbClr val="F9560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3pPr>
            <a:lvl4pPr marL="1344613" indent="-265113" algn="l" defTabSz="912813" rtl="0" eaLnBrk="0" fontAlgn="base" hangingPunct="0">
              <a:spcBef>
                <a:spcPct val="20000"/>
              </a:spcBef>
              <a:spcAft>
                <a:spcPct val="0"/>
              </a:spcAft>
              <a:buClr>
                <a:srgbClr val="60605B"/>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4pPr>
            <a:lvl5pPr marL="1611313" indent="-176213" algn="l" defTabSz="912813" rtl="0" eaLnBrk="0" fontAlgn="base" hangingPunct="0">
              <a:spcBef>
                <a:spcPct val="20000"/>
              </a:spcBef>
              <a:spcAft>
                <a:spcPct val="0"/>
              </a:spcAft>
              <a:buClr>
                <a:srgbClr val="4BACC6"/>
              </a:buClr>
              <a:buFont typeface="Arial" panose="020B0604020202020204" pitchFamily="34" charset="0"/>
              <a:buChar char="•"/>
              <a:defRPr lang="en-GB" sz="1600" kern="1200">
                <a:solidFill>
                  <a:schemeClr val="accent4"/>
                </a:solidFill>
                <a:latin typeface="Arial"/>
                <a:ea typeface="MS PGothic" panose="020B0600070205080204" pitchFamily="34" charset="-128"/>
                <a:cs typeface="Arial"/>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84610" rtl="0" eaLnBrk="0" fontAlgn="base" latinLnBrk="0" hangingPunct="0">
              <a:lnSpc>
                <a:spcPct val="100000"/>
              </a:lnSpc>
              <a:spcBef>
                <a:spcPct val="20000"/>
              </a:spcBef>
              <a:spcAft>
                <a:spcPct val="0"/>
              </a:spcAft>
              <a:buClr>
                <a:srgbClr val="595454"/>
              </a:buClr>
              <a:buSzPct val="85000"/>
              <a:buFont typeface="Wingdings" pitchFamily="2" charset="2"/>
              <a:buNone/>
              <a:tabLst/>
              <a:defRPr/>
            </a:pPr>
            <a:r>
              <a:rPr kumimoji="0" lang="en-GB" sz="800" b="0" i="0" u="none" strike="noStrike" kern="1200" cap="none" spc="0" normalizeH="0" baseline="30000" noProof="0">
                <a:ln>
                  <a:noFill/>
                </a:ln>
                <a:solidFill>
                  <a:srgbClr val="000020"/>
                </a:solidFill>
                <a:effectLst/>
                <a:uLnTx/>
                <a:uFillTx/>
                <a:latin typeface="Trebuchet MS"/>
                <a:ea typeface="MS PGothic" panose="020B0600070205080204" pitchFamily="34" charset="-128"/>
                <a:cs typeface="Arial" panose="020B0604020202020204" pitchFamily="34" charset="0"/>
              </a:rPr>
              <a:t>a</a:t>
            </a:r>
            <a:r>
              <a:rPr kumimoji="0" lang="en-GB" sz="8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Data are shown for the response-evaluable population. </a:t>
            </a:r>
            <a:r>
              <a:rPr kumimoji="0" lang="en-GB" sz="800" b="0" i="0" u="none" strike="noStrike" kern="1200" cap="none" spc="0" normalizeH="0" baseline="30000" noProof="0">
                <a:ln>
                  <a:noFill/>
                </a:ln>
                <a:solidFill>
                  <a:srgbClr val="000020"/>
                </a:solidFill>
                <a:effectLst/>
                <a:uLnTx/>
                <a:uFillTx/>
                <a:latin typeface="Trebuchet MS"/>
                <a:ea typeface="MS PGothic" panose="020B0600070205080204" pitchFamily="34" charset="-128"/>
                <a:cs typeface="Arial" panose="020B0604020202020204" pitchFamily="34" charset="0"/>
              </a:rPr>
              <a:t>b</a:t>
            </a:r>
            <a:r>
              <a:rPr kumimoji="0" lang="en-GB" sz="800" b="0" i="1"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P</a:t>
            </a:r>
            <a:r>
              <a:rPr kumimoji="0" lang="en-GB" sz="8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 values (2-sided) were calculated using the Cochran-Mantel-Haenszel chi-squared test. </a:t>
            </a:r>
            <a:r>
              <a:rPr kumimoji="0" lang="en-GB" sz="800" b="0" i="0" u="none" strike="noStrike" kern="1200" cap="none" spc="0" normalizeH="0" baseline="30000" noProof="0">
                <a:ln>
                  <a:noFill/>
                </a:ln>
                <a:solidFill>
                  <a:srgbClr val="000020"/>
                </a:solidFill>
                <a:effectLst/>
                <a:uLnTx/>
                <a:uFillTx/>
                <a:latin typeface="Trebuchet MS"/>
                <a:ea typeface="MS PGothic" panose="020B0600070205080204" pitchFamily="34" charset="-128"/>
                <a:cs typeface="Arial" panose="020B0604020202020204" pitchFamily="34" charset="0"/>
              </a:rPr>
              <a:t>c</a:t>
            </a:r>
            <a:r>
              <a:rPr kumimoji="0" lang="en-GB" sz="8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Response rates are from the primary analysis cutoff (median follow-up: 13.5 months), and the response-evaluable population included 196 patients (D-RVd, n = 99; RVd, n = 97). </a:t>
            </a:r>
            <a:r>
              <a:rPr kumimoji="0" lang="en-GB" sz="800" b="0" i="0" u="none" strike="noStrike" kern="1200" cap="none" spc="0" normalizeH="0" baseline="30000" noProof="0">
                <a:ln>
                  <a:noFill/>
                </a:ln>
                <a:solidFill>
                  <a:srgbClr val="000020"/>
                </a:solidFill>
                <a:effectLst/>
                <a:uLnTx/>
                <a:uFillTx/>
                <a:latin typeface="Trebuchet MS"/>
                <a:ea typeface="MS PGothic" panose="020B0600070205080204" pitchFamily="34" charset="-128"/>
                <a:cs typeface="Arial" panose="020B0604020202020204" pitchFamily="34" charset="0"/>
              </a:rPr>
              <a:t>d</a:t>
            </a:r>
            <a:r>
              <a:rPr kumimoji="0" lang="en-GB" sz="8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Response rates for the maintenance phase have longer follow-up (median 38.6 months), and the response-evaluable population included 197 patients (D-RVd, n = 100; RVd, n = 97). Percentages may not add up due to rounding.</a:t>
            </a:r>
          </a:p>
        </p:txBody>
      </p:sp>
      <p:sp>
        <p:nvSpPr>
          <p:cNvPr id="9" name="Text Placeholder 1">
            <a:extLst>
              <a:ext uri="{FF2B5EF4-FFF2-40B4-BE49-F238E27FC236}">
                <a16:creationId xmlns:a16="http://schemas.microsoft.com/office/drawing/2014/main" id="{E1492D1F-6B9F-4834-B99F-7DF4C96FFB42}"/>
              </a:ext>
            </a:extLst>
          </p:cNvPr>
          <p:cNvSpPr txBox="1">
            <a:spLocks/>
          </p:cNvSpPr>
          <p:nvPr/>
        </p:nvSpPr>
        <p:spPr>
          <a:xfrm>
            <a:off x="800529" y="3590225"/>
            <a:ext cx="7519309" cy="448500"/>
          </a:xfrm>
          <a:prstGeom prst="rect">
            <a:avLst/>
          </a:prstGeom>
          <a:solidFill>
            <a:srgbClr val="FFD186"/>
          </a:solidFill>
          <a:ln>
            <a:solidFill>
              <a:srgbClr val="002060"/>
            </a:solidFill>
          </a:ln>
          <a:scene3d>
            <a:camera prst="orthographicFront"/>
            <a:lightRig rig="threePt" dir="t"/>
          </a:scene3d>
          <a:sp3d>
            <a:bevelT/>
          </a:sp3d>
        </p:spPr>
        <p:txBody>
          <a:bodyPr>
            <a:normAutofit fontScale="92500"/>
          </a:bodyPr>
          <a:lstStyle>
            <a:lvl1pPr marL="144661"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1pPr>
            <a:lvl2pPr marL="289322"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2pPr>
            <a:lvl3pPr marL="433983"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3pPr>
            <a:lvl4pPr marL="578644"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4pPr>
            <a:lvl5pPr marL="723305"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5pPr>
            <a:lvl6pPr marL="867966"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6pPr>
            <a:lvl7pPr marL="1012627"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7pPr>
            <a:lvl8pPr marL="115728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8pPr>
            <a:lvl9pPr marL="130194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9pPr>
          </a:lstStyle>
          <a:p>
            <a:pPr marL="0" marR="0" lvl="0" indent="0" algn="ctr" defTabSz="578644" rtl="0" eaLnBrk="1" fontAlgn="auto" latinLnBrk="0" hangingPunct="1">
              <a:lnSpc>
                <a:spcPct val="110000"/>
              </a:lnSpc>
              <a:spcBef>
                <a:spcPts val="0"/>
              </a:spcBef>
              <a:spcAft>
                <a:spcPts val="0"/>
              </a:spcAft>
              <a:buClrTx/>
              <a:buSzTx/>
              <a:buFont typeface="Trebuchet MS" panose="020B0603020202020204" pitchFamily="34" charset="0"/>
              <a:buNone/>
              <a:tabLst/>
              <a:defRPr/>
            </a:pPr>
            <a:r>
              <a:rPr kumimoji="0" lang="en-US" sz="1200" b="0" i="0" u="none" strike="noStrike" kern="1200" cap="none" spc="0" normalizeH="0" baseline="0" noProof="0">
                <a:ln>
                  <a:noFill/>
                </a:ln>
                <a:solidFill>
                  <a:srgbClr val="595454"/>
                </a:solidFill>
                <a:effectLst/>
                <a:uLnTx/>
                <a:uFillTx/>
                <a:latin typeface="Trebuchet MS"/>
                <a:ea typeface="+mn-ea"/>
                <a:cs typeface="+mn-cs"/>
              </a:rPr>
              <a:t>Response rates for sCR and ≥CR were greater for D-RVd vs RVd at all time points. </a:t>
            </a:r>
          </a:p>
          <a:p>
            <a:pPr marL="0" marR="0" lvl="0" indent="0" algn="ctr" defTabSz="578644" rtl="0" eaLnBrk="1" fontAlgn="auto" latinLnBrk="0" hangingPunct="1">
              <a:lnSpc>
                <a:spcPct val="110000"/>
              </a:lnSpc>
              <a:spcBef>
                <a:spcPts val="0"/>
              </a:spcBef>
              <a:spcAft>
                <a:spcPts val="0"/>
              </a:spcAft>
              <a:buClrTx/>
              <a:buSzTx/>
              <a:buFont typeface="Trebuchet MS" panose="020B0603020202020204" pitchFamily="34" charset="0"/>
              <a:buNone/>
              <a:tabLst/>
              <a:defRPr/>
            </a:pPr>
            <a:r>
              <a:rPr kumimoji="0" lang="en-US" sz="1200" b="0" i="0" u="none" strike="noStrike" kern="1200" cap="none" spc="0" normalizeH="0" baseline="0" noProof="0">
                <a:ln>
                  <a:noFill/>
                </a:ln>
                <a:solidFill>
                  <a:srgbClr val="595454"/>
                </a:solidFill>
                <a:effectLst/>
                <a:uLnTx/>
                <a:uFillTx/>
                <a:latin typeface="Trebuchet MS"/>
                <a:ea typeface="+mn-ea"/>
                <a:cs typeface="+mn-cs"/>
              </a:rPr>
              <a:t>Deepest responses occurring after 2 years of maintenance therapy.</a:t>
            </a:r>
          </a:p>
        </p:txBody>
      </p:sp>
      <p:sp>
        <p:nvSpPr>
          <p:cNvPr id="12" name="Text Placeholder 3">
            <a:extLst>
              <a:ext uri="{FF2B5EF4-FFF2-40B4-BE49-F238E27FC236}">
                <a16:creationId xmlns:a16="http://schemas.microsoft.com/office/drawing/2014/main" id="{5B078D5E-AFB1-48BD-AC06-753A21953896}"/>
              </a:ext>
            </a:extLst>
          </p:cNvPr>
          <p:cNvSpPr txBox="1">
            <a:spLocks/>
          </p:cNvSpPr>
          <p:nvPr/>
        </p:nvSpPr>
        <p:spPr>
          <a:xfrm>
            <a:off x="4027924" y="4834853"/>
            <a:ext cx="4957316" cy="194493"/>
          </a:xfrm>
          <a:prstGeom prst="rect">
            <a:avLst/>
          </a:prstGeom>
        </p:spPr>
        <p:txBody>
          <a:bodyPr vert="horz" anchor="b" anchorCtr="0"/>
          <a:lstStyle>
            <a:lvl1pPr marL="0" indent="0" algn="r" defTabSz="912813" rtl="0" eaLnBrk="0" fontAlgn="base" hangingPunct="0">
              <a:spcBef>
                <a:spcPct val="20000"/>
              </a:spcBef>
              <a:spcAft>
                <a:spcPct val="0"/>
              </a:spcAft>
              <a:buClr>
                <a:schemeClr val="accent1"/>
              </a:buClr>
              <a:buSzPct val="85000"/>
              <a:buFont typeface="Wingdings" pitchFamily="2" charset="2"/>
              <a:buNone/>
              <a:defRPr lang="en-US" sz="1200" kern="1200" baseline="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22313" indent="-277813" algn="l" defTabSz="912813" rtl="0" eaLnBrk="0" fontAlgn="base" hangingPunct="0">
              <a:spcBef>
                <a:spcPct val="20000"/>
              </a:spcBef>
              <a:spcAft>
                <a:spcPct val="0"/>
              </a:spcAft>
              <a:buClr>
                <a:schemeClr val="accent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2pPr>
            <a:lvl3pPr marL="989013" indent="-176213" algn="l" defTabSz="912813" rtl="0" eaLnBrk="0" fontAlgn="base" hangingPunct="0">
              <a:spcBef>
                <a:spcPct val="20000"/>
              </a:spcBef>
              <a:spcAft>
                <a:spcPct val="0"/>
              </a:spcAft>
              <a:buClr>
                <a:srgbClr val="F9560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3pPr>
            <a:lvl4pPr marL="1344613" indent="-265113" algn="l" defTabSz="912813" rtl="0" eaLnBrk="0" fontAlgn="base" hangingPunct="0">
              <a:spcBef>
                <a:spcPct val="20000"/>
              </a:spcBef>
              <a:spcAft>
                <a:spcPct val="0"/>
              </a:spcAft>
              <a:buClr>
                <a:srgbClr val="60605B"/>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4pPr>
            <a:lvl5pPr marL="1611313" indent="-176213" algn="l" defTabSz="912813" rtl="0" eaLnBrk="0" fontAlgn="base" hangingPunct="0">
              <a:spcBef>
                <a:spcPct val="20000"/>
              </a:spcBef>
              <a:spcAft>
                <a:spcPct val="0"/>
              </a:spcAft>
              <a:buClr>
                <a:srgbClr val="4BACC6"/>
              </a:buClr>
              <a:buFont typeface="Arial" panose="020B0604020202020204" pitchFamily="34" charset="0"/>
              <a:buChar char="•"/>
              <a:defRPr lang="en-GB" sz="1600" kern="1200">
                <a:solidFill>
                  <a:schemeClr val="accent4"/>
                </a:solidFill>
                <a:latin typeface="Arial"/>
                <a:ea typeface="MS PGothic" panose="020B0600070205080204" pitchFamily="34" charset="-128"/>
                <a:cs typeface="Arial"/>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684610" rtl="0" eaLnBrk="0" fontAlgn="base" latinLnBrk="0" hangingPunct="0">
              <a:lnSpc>
                <a:spcPct val="100000"/>
              </a:lnSpc>
              <a:spcBef>
                <a:spcPct val="20000"/>
              </a:spcBef>
              <a:spcAft>
                <a:spcPct val="0"/>
              </a:spcAft>
              <a:buClr>
                <a:srgbClr val="595454"/>
              </a:buClr>
              <a:buSzPct val="85000"/>
              <a:buFont typeface="Wingdings" pitchFamily="2" charset="2"/>
              <a:buNone/>
              <a:tabLst/>
              <a:defRPr/>
            </a:pPr>
            <a:r>
              <a:rPr kumimoji="0" lang="en-GB" sz="10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Laubach JP, et al. </a:t>
            </a:r>
            <a:r>
              <a:rPr kumimoji="0" lang="en-GB" sz="1000" b="0" i="1"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Blood</a:t>
            </a:r>
            <a:r>
              <a:rPr kumimoji="0" lang="en-GB" sz="10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 2021;138(suppl 1): abstract 79 (oral presentation).</a:t>
            </a:r>
          </a:p>
        </p:txBody>
      </p:sp>
    </p:spTree>
    <p:extLst>
      <p:ext uri="{BB962C8B-B14F-4D97-AF65-F5344CB8AC3E}">
        <p14:creationId xmlns:p14="http://schemas.microsoft.com/office/powerpoint/2010/main" val="111032984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BCCB8790-792B-504A-A155-2E930FDA9D87}"/>
              </a:ext>
            </a:extLst>
          </p:cNvPr>
          <p:cNvSpPr>
            <a:spLocks noGrp="1"/>
          </p:cNvSpPr>
          <p:nvPr>
            <p:ph type="title"/>
          </p:nvPr>
        </p:nvSpPr>
        <p:spPr/>
        <p:txBody>
          <a:bodyPr/>
          <a:lstStyle/>
          <a:p>
            <a:r>
              <a:rPr lang="en-US" noProof="0">
                <a:latin typeface="+mj-lt"/>
              </a:rPr>
              <a:t>GRIFFIN: PFS in the ITT population</a:t>
            </a:r>
          </a:p>
        </p:txBody>
      </p:sp>
      <p:sp>
        <p:nvSpPr>
          <p:cNvPr id="5" name="object 4">
            <a:extLst>
              <a:ext uri="{FF2B5EF4-FFF2-40B4-BE49-F238E27FC236}">
                <a16:creationId xmlns:a16="http://schemas.microsoft.com/office/drawing/2014/main" id="{962BE906-5510-B04F-A0F3-02D6A9C67BB1}"/>
              </a:ext>
            </a:extLst>
          </p:cNvPr>
          <p:cNvSpPr txBox="1"/>
          <p:nvPr/>
        </p:nvSpPr>
        <p:spPr>
          <a:xfrm>
            <a:off x="237553" y="1141718"/>
            <a:ext cx="2890697" cy="192360"/>
          </a:xfrm>
          <a:prstGeom prst="rect">
            <a:avLst/>
          </a:prstGeom>
        </p:spPr>
        <p:txBody>
          <a:bodyPr vert="horz" wrap="square" lIns="0" tIns="0" rIns="0" bIns="0" rtlCol="0">
            <a:spAutoFit/>
          </a:bodyPr>
          <a:lstStyle/>
          <a:p>
            <a:pPr marL="9525" marR="0" lvl="0" indent="0" algn="l" defTabSz="685800" rtl="0" eaLnBrk="1" fontAlgn="auto" latinLnBrk="0" hangingPunct="1">
              <a:lnSpc>
                <a:spcPts val="1454"/>
              </a:lnSpc>
              <a:spcBef>
                <a:spcPts val="0"/>
              </a:spcBef>
              <a:spcAft>
                <a:spcPts val="0"/>
              </a:spcAft>
              <a:buClr>
                <a:srgbClr val="FFFF00"/>
              </a:buClr>
              <a:buSzTx/>
              <a:buFontTx/>
              <a:buNone/>
              <a:tabLst>
                <a:tab pos="135731" algn="l"/>
              </a:tabLst>
              <a:defRPr/>
            </a:pPr>
            <a:r>
              <a:rPr kumimoji="0" sz="1275" b="0" i="0" u="none" strike="noStrike" kern="1200" cap="none" normalizeH="0" noProof="0">
                <a:ln>
                  <a:noFill/>
                </a:ln>
                <a:solidFill>
                  <a:srgbClr val="595454"/>
                </a:solidFill>
                <a:effectLst/>
                <a:uLnTx/>
                <a:uFillTx/>
                <a:latin typeface="Trebuchet MS"/>
                <a:ea typeface="ＭＳ Ｐゴシック" charset="0"/>
                <a:cs typeface="Arial"/>
              </a:rPr>
              <a:t>Median follow-up:</a:t>
            </a:r>
            <a:r>
              <a:rPr kumimoji="0" lang="en-US" sz="1275" b="0" i="0" u="none" strike="noStrike" kern="1200" cap="none" normalizeH="0" noProof="0">
                <a:ln>
                  <a:noFill/>
                </a:ln>
                <a:solidFill>
                  <a:srgbClr val="595454"/>
                </a:solidFill>
                <a:effectLst/>
                <a:uLnTx/>
                <a:uFillTx/>
                <a:latin typeface="Trebuchet MS"/>
                <a:ea typeface="ＭＳ Ｐゴシック" charset="0"/>
                <a:cs typeface="Arial"/>
              </a:rPr>
              <a:t> </a:t>
            </a:r>
            <a:r>
              <a:rPr kumimoji="0" sz="1275" b="0" i="0" u="none" strike="noStrike" kern="1200" cap="none" normalizeH="0" noProof="0">
                <a:ln>
                  <a:noFill/>
                </a:ln>
                <a:solidFill>
                  <a:srgbClr val="595454"/>
                </a:solidFill>
                <a:effectLst/>
                <a:uLnTx/>
                <a:uFillTx/>
                <a:latin typeface="Trebuchet MS"/>
                <a:ea typeface="ＭＳ Ｐゴシック" charset="0"/>
                <a:cs typeface="Arial"/>
              </a:rPr>
              <a:t>38.6 months</a:t>
            </a:r>
          </a:p>
        </p:txBody>
      </p:sp>
      <p:sp>
        <p:nvSpPr>
          <p:cNvPr id="6" name="object 5">
            <a:extLst>
              <a:ext uri="{FF2B5EF4-FFF2-40B4-BE49-F238E27FC236}">
                <a16:creationId xmlns:a16="http://schemas.microsoft.com/office/drawing/2014/main" id="{89C9B6F1-7689-7445-9B2E-E31E3525F310}"/>
              </a:ext>
            </a:extLst>
          </p:cNvPr>
          <p:cNvSpPr txBox="1"/>
          <p:nvPr/>
        </p:nvSpPr>
        <p:spPr>
          <a:xfrm>
            <a:off x="237553" y="1745140"/>
            <a:ext cx="3362339" cy="179536"/>
          </a:xfrm>
          <a:prstGeom prst="rect">
            <a:avLst/>
          </a:prstGeom>
        </p:spPr>
        <p:txBody>
          <a:bodyPr vert="horz" wrap="square" lIns="0" tIns="0" rIns="0" bIns="0" rtlCol="0">
            <a:spAutoFit/>
          </a:bodyPr>
          <a:lstStyle/>
          <a:p>
            <a:pPr marL="9525" marR="3810" lvl="0" indent="0" algn="l" defTabSz="685800" rtl="0" eaLnBrk="1" fontAlgn="auto" latinLnBrk="0" hangingPunct="1">
              <a:lnSpc>
                <a:spcPts val="1379"/>
              </a:lnSpc>
              <a:spcBef>
                <a:spcPts val="0"/>
              </a:spcBef>
              <a:spcAft>
                <a:spcPts val="0"/>
              </a:spcAft>
              <a:buClr>
                <a:srgbClr val="FFFF00"/>
              </a:buClr>
              <a:buSzTx/>
              <a:buFontTx/>
              <a:buNone/>
              <a:tabLst>
                <a:tab pos="135731" algn="l"/>
              </a:tabLst>
              <a:defRPr/>
            </a:pPr>
            <a:r>
              <a:rPr kumimoji="0" sz="1275" b="0" i="0" u="none" strike="noStrike" kern="1200" cap="none" normalizeH="0" noProof="0">
                <a:ln>
                  <a:noFill/>
                </a:ln>
                <a:solidFill>
                  <a:srgbClr val="595454"/>
                </a:solidFill>
                <a:effectLst/>
                <a:uLnTx/>
                <a:uFillTx/>
                <a:latin typeface="Trebuchet MS"/>
                <a:ea typeface="ＭＳ Ｐゴシック" charset="0"/>
                <a:cs typeface="Arial"/>
              </a:rPr>
              <a:t>Median PFS was not reached in either group</a:t>
            </a:r>
          </a:p>
        </p:txBody>
      </p:sp>
      <p:sp>
        <p:nvSpPr>
          <p:cNvPr id="7" name="object 6">
            <a:extLst>
              <a:ext uri="{FF2B5EF4-FFF2-40B4-BE49-F238E27FC236}">
                <a16:creationId xmlns:a16="http://schemas.microsoft.com/office/drawing/2014/main" id="{783A475D-24EA-E44C-B5BB-FCB3DA55F7CF}"/>
              </a:ext>
            </a:extLst>
          </p:cNvPr>
          <p:cNvSpPr txBox="1"/>
          <p:nvPr/>
        </p:nvSpPr>
        <p:spPr>
          <a:xfrm>
            <a:off x="237553" y="2326844"/>
            <a:ext cx="3441849" cy="1140056"/>
          </a:xfrm>
          <a:prstGeom prst="rect">
            <a:avLst/>
          </a:prstGeom>
        </p:spPr>
        <p:txBody>
          <a:bodyPr vert="horz" wrap="square" lIns="0" tIns="0" rIns="0" bIns="0" rtlCol="0">
            <a:spAutoFit/>
          </a:bodyPr>
          <a:lstStyle/>
          <a:p>
            <a:pPr marL="9525" marR="154305" lvl="0" indent="0" algn="l" defTabSz="685800" rtl="0" eaLnBrk="1" fontAlgn="auto" latinLnBrk="0" hangingPunct="1">
              <a:lnSpc>
                <a:spcPts val="1379"/>
              </a:lnSpc>
              <a:spcBef>
                <a:spcPts val="0"/>
              </a:spcBef>
              <a:spcAft>
                <a:spcPts val="0"/>
              </a:spcAft>
              <a:buClr>
                <a:srgbClr val="FFFF00"/>
              </a:buClr>
              <a:buSzTx/>
              <a:buFontTx/>
              <a:buNone/>
              <a:tabLst>
                <a:tab pos="135731" algn="l"/>
              </a:tabLst>
              <a:defRPr/>
            </a:pPr>
            <a:r>
              <a:rPr kumimoji="0" sz="1275" b="0" i="0" u="none" strike="noStrike" kern="1200" cap="none" normalizeH="0" noProof="0">
                <a:ln>
                  <a:noFill/>
                </a:ln>
                <a:solidFill>
                  <a:srgbClr val="595454"/>
                </a:solidFill>
                <a:effectLst/>
                <a:uLnTx/>
                <a:uFillTx/>
                <a:latin typeface="Trebuchet MS"/>
                <a:ea typeface="ＭＳ Ｐゴシック" charset="0"/>
                <a:cs typeface="Arial"/>
              </a:rPr>
              <a:t>There is a positive trend toward improved PFS for D-RVd/DR vs RVd/R</a:t>
            </a:r>
          </a:p>
          <a:p>
            <a:pPr marL="0" marR="0" lvl="0" indent="0" algn="l" defTabSz="685800" rtl="0" eaLnBrk="1" fontAlgn="auto" latinLnBrk="0" hangingPunct="1">
              <a:lnSpc>
                <a:spcPct val="100000"/>
              </a:lnSpc>
              <a:spcBef>
                <a:spcPts val="11"/>
              </a:spcBef>
              <a:spcAft>
                <a:spcPts val="0"/>
              </a:spcAft>
              <a:buClr>
                <a:srgbClr val="FFFF00"/>
              </a:buClr>
              <a:buSzTx/>
              <a:buFontTx/>
              <a:buNone/>
              <a:tabLst/>
              <a:defRPr/>
            </a:pPr>
            <a:endParaRPr kumimoji="0" sz="1575" b="0" i="0" u="none" strike="noStrike" kern="1200" cap="none" normalizeH="0" noProof="0">
              <a:ln>
                <a:noFill/>
              </a:ln>
              <a:solidFill>
                <a:srgbClr val="595454"/>
              </a:solidFill>
              <a:effectLst/>
              <a:uLnTx/>
              <a:uFillTx/>
              <a:latin typeface="Trebuchet MS"/>
              <a:ea typeface="ＭＳ Ｐゴシック" charset="0"/>
              <a:cs typeface="Times New Roman"/>
            </a:endParaRPr>
          </a:p>
          <a:p>
            <a:pPr marL="9525" marR="99536" lvl="0" indent="0" algn="l" defTabSz="685800" rtl="0" eaLnBrk="1" fontAlgn="auto" latinLnBrk="0" hangingPunct="1">
              <a:lnSpc>
                <a:spcPts val="1379"/>
              </a:lnSpc>
              <a:spcBef>
                <a:spcPts val="0"/>
              </a:spcBef>
              <a:spcAft>
                <a:spcPts val="0"/>
              </a:spcAft>
              <a:buClr>
                <a:srgbClr val="FFFF00"/>
              </a:buClr>
              <a:buSzTx/>
              <a:buFontTx/>
              <a:buNone/>
              <a:tabLst>
                <a:tab pos="135731" algn="l"/>
              </a:tabLst>
              <a:defRPr/>
            </a:pPr>
            <a:r>
              <a:rPr kumimoji="0" sz="1275" b="0" i="0" u="none" strike="noStrike" kern="1200" cap="none" normalizeH="0" noProof="0">
                <a:ln>
                  <a:noFill/>
                </a:ln>
                <a:solidFill>
                  <a:srgbClr val="595454"/>
                </a:solidFill>
                <a:effectLst/>
                <a:uLnTx/>
                <a:uFillTx/>
                <a:latin typeface="Trebuchet MS"/>
                <a:ea typeface="ＭＳ Ｐゴシック" charset="0"/>
                <a:cs typeface="Arial"/>
              </a:rPr>
              <a:t>The separation of the PFS curves begins beyond</a:t>
            </a:r>
            <a:r>
              <a:rPr kumimoji="0" lang="es-ES" sz="1275" b="0" i="0" u="none" strike="noStrike" kern="1200" cap="none" normalizeH="0" noProof="0">
                <a:ln>
                  <a:noFill/>
                </a:ln>
                <a:solidFill>
                  <a:srgbClr val="595454"/>
                </a:solidFill>
                <a:effectLst/>
                <a:uLnTx/>
                <a:uFillTx/>
                <a:latin typeface="Trebuchet MS"/>
                <a:ea typeface="ＭＳ Ｐゴシック" charset="0"/>
                <a:cs typeface="Arial"/>
              </a:rPr>
              <a:t> </a:t>
            </a:r>
            <a:r>
              <a:rPr kumimoji="0" sz="1275" b="0" i="0" u="none" strike="noStrike" kern="1200" cap="none" normalizeH="0" noProof="0">
                <a:ln>
                  <a:noFill/>
                </a:ln>
                <a:solidFill>
                  <a:srgbClr val="595454"/>
                </a:solidFill>
                <a:effectLst/>
                <a:uLnTx/>
                <a:uFillTx/>
                <a:latin typeface="Trebuchet MS"/>
                <a:ea typeface="ＭＳ Ｐゴシック" charset="0"/>
                <a:cs typeface="Arial"/>
              </a:rPr>
              <a:t>1 year of maintenance and</a:t>
            </a:r>
            <a:r>
              <a:rPr kumimoji="0" lang="es-ES" sz="1275" b="0" i="0" u="none" strike="noStrike" kern="1200" cap="none" normalizeH="0" noProof="0">
                <a:ln>
                  <a:noFill/>
                </a:ln>
                <a:solidFill>
                  <a:srgbClr val="595454"/>
                </a:solidFill>
                <a:effectLst/>
                <a:uLnTx/>
                <a:uFillTx/>
                <a:latin typeface="Trebuchet MS"/>
                <a:ea typeface="ＭＳ Ｐゴシック" charset="0"/>
                <a:cs typeface="Arial"/>
              </a:rPr>
              <a:t> </a:t>
            </a:r>
            <a:r>
              <a:rPr kumimoji="0" sz="1275" b="0" i="0" u="none" strike="noStrike" kern="1200" cap="none" normalizeH="0" noProof="0">
                <a:ln>
                  <a:noFill/>
                </a:ln>
                <a:solidFill>
                  <a:srgbClr val="595454"/>
                </a:solidFill>
                <a:effectLst/>
                <a:uLnTx/>
                <a:uFillTx/>
                <a:latin typeface="Trebuchet MS"/>
                <a:ea typeface="ＭＳ Ｐゴシック" charset="0"/>
                <a:cs typeface="Arial"/>
              </a:rPr>
              <a:t>suggests a benefit of prolonged DR therapy</a:t>
            </a:r>
          </a:p>
        </p:txBody>
      </p:sp>
      <p:pic>
        <p:nvPicPr>
          <p:cNvPr id="866" name="Imagen 865">
            <a:extLst>
              <a:ext uri="{FF2B5EF4-FFF2-40B4-BE49-F238E27FC236}">
                <a16:creationId xmlns:a16="http://schemas.microsoft.com/office/drawing/2014/main" id="{D85ACDC7-560A-AB42-90BF-50DED47F005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70237" y="960120"/>
            <a:ext cx="4974268" cy="3030725"/>
          </a:xfrm>
          <a:prstGeom prst="rect">
            <a:avLst/>
          </a:prstGeom>
          <a:solidFill>
            <a:srgbClr val="0070C0"/>
          </a:solidFill>
        </p:spPr>
      </p:pic>
      <p:sp>
        <p:nvSpPr>
          <p:cNvPr id="10" name="Text Placeholder 3">
            <a:extLst>
              <a:ext uri="{FF2B5EF4-FFF2-40B4-BE49-F238E27FC236}">
                <a16:creationId xmlns:a16="http://schemas.microsoft.com/office/drawing/2014/main" id="{CF59B97E-CBD5-43BE-AC73-F89CBA8A2B73}"/>
              </a:ext>
            </a:extLst>
          </p:cNvPr>
          <p:cNvSpPr txBox="1">
            <a:spLocks/>
          </p:cNvSpPr>
          <p:nvPr/>
        </p:nvSpPr>
        <p:spPr>
          <a:xfrm>
            <a:off x="4027924" y="4834853"/>
            <a:ext cx="4957316" cy="194493"/>
          </a:xfrm>
          <a:prstGeom prst="rect">
            <a:avLst/>
          </a:prstGeom>
        </p:spPr>
        <p:txBody>
          <a:bodyPr vert="horz" anchor="b" anchorCtr="0"/>
          <a:lstStyle>
            <a:lvl1pPr marL="0" indent="0" algn="r" defTabSz="912813" rtl="0" eaLnBrk="0" fontAlgn="base" hangingPunct="0">
              <a:spcBef>
                <a:spcPct val="20000"/>
              </a:spcBef>
              <a:spcAft>
                <a:spcPct val="0"/>
              </a:spcAft>
              <a:buClr>
                <a:schemeClr val="accent1"/>
              </a:buClr>
              <a:buSzPct val="85000"/>
              <a:buFont typeface="Wingdings" pitchFamily="2" charset="2"/>
              <a:buNone/>
              <a:defRPr lang="en-US" sz="1200" kern="1200" baseline="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22313" indent="-277813" algn="l" defTabSz="912813" rtl="0" eaLnBrk="0" fontAlgn="base" hangingPunct="0">
              <a:spcBef>
                <a:spcPct val="20000"/>
              </a:spcBef>
              <a:spcAft>
                <a:spcPct val="0"/>
              </a:spcAft>
              <a:buClr>
                <a:schemeClr val="accent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2pPr>
            <a:lvl3pPr marL="989013" indent="-176213" algn="l" defTabSz="912813" rtl="0" eaLnBrk="0" fontAlgn="base" hangingPunct="0">
              <a:spcBef>
                <a:spcPct val="20000"/>
              </a:spcBef>
              <a:spcAft>
                <a:spcPct val="0"/>
              </a:spcAft>
              <a:buClr>
                <a:srgbClr val="F95602"/>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3pPr>
            <a:lvl4pPr marL="1344613" indent="-265113" algn="l" defTabSz="912813" rtl="0" eaLnBrk="0" fontAlgn="base" hangingPunct="0">
              <a:spcBef>
                <a:spcPct val="20000"/>
              </a:spcBef>
              <a:spcAft>
                <a:spcPct val="0"/>
              </a:spcAft>
              <a:buClr>
                <a:srgbClr val="60605B"/>
              </a:buClr>
              <a:buFont typeface="Arial" panose="020B0604020202020204" pitchFamily="34" charset="0"/>
              <a:buChar char="»"/>
              <a:defRPr lang="en-US" sz="1600" kern="1200">
                <a:solidFill>
                  <a:schemeClr val="accent4"/>
                </a:solidFill>
                <a:latin typeface="Arial"/>
                <a:ea typeface="MS PGothic" panose="020B0600070205080204" pitchFamily="34" charset="-128"/>
                <a:cs typeface="Arial"/>
              </a:defRPr>
            </a:lvl4pPr>
            <a:lvl5pPr marL="1611313" indent="-176213" algn="l" defTabSz="912813" rtl="0" eaLnBrk="0" fontAlgn="base" hangingPunct="0">
              <a:spcBef>
                <a:spcPct val="20000"/>
              </a:spcBef>
              <a:spcAft>
                <a:spcPct val="0"/>
              </a:spcAft>
              <a:buClr>
                <a:srgbClr val="4BACC6"/>
              </a:buClr>
              <a:buFont typeface="Arial" panose="020B0604020202020204" pitchFamily="34" charset="0"/>
              <a:buChar char="•"/>
              <a:defRPr lang="en-GB" sz="1600" kern="1200">
                <a:solidFill>
                  <a:schemeClr val="accent4"/>
                </a:solidFill>
                <a:latin typeface="Arial"/>
                <a:ea typeface="MS PGothic" panose="020B0600070205080204" pitchFamily="34" charset="-128"/>
                <a:cs typeface="Arial"/>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684610" rtl="0" eaLnBrk="0" fontAlgn="base" latinLnBrk="0" hangingPunct="0">
              <a:lnSpc>
                <a:spcPct val="100000"/>
              </a:lnSpc>
              <a:spcBef>
                <a:spcPct val="20000"/>
              </a:spcBef>
              <a:spcAft>
                <a:spcPct val="0"/>
              </a:spcAft>
              <a:buClr>
                <a:srgbClr val="595454"/>
              </a:buClr>
              <a:buSzPct val="85000"/>
              <a:buFont typeface="Wingdings" pitchFamily="2" charset="2"/>
              <a:buNone/>
              <a:tabLst/>
              <a:defRPr/>
            </a:pPr>
            <a:r>
              <a:rPr kumimoji="0" lang="en-GB" sz="10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Laubach JP, et al. </a:t>
            </a:r>
            <a:r>
              <a:rPr kumimoji="0" lang="en-GB" sz="1000" b="0" i="1"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Blood</a:t>
            </a:r>
            <a:r>
              <a:rPr kumimoji="0" lang="en-GB" sz="1000" b="0" i="0" u="none" strike="noStrike" kern="1200" cap="none" spc="0" normalizeH="0" baseline="0" noProof="0">
                <a:ln>
                  <a:noFill/>
                </a:ln>
                <a:solidFill>
                  <a:srgbClr val="000020"/>
                </a:solidFill>
                <a:effectLst/>
                <a:uLnTx/>
                <a:uFillTx/>
                <a:latin typeface="Trebuchet MS"/>
                <a:ea typeface="MS PGothic" panose="020B0600070205080204" pitchFamily="34" charset="-128"/>
                <a:cs typeface="Arial" panose="020B0604020202020204" pitchFamily="34" charset="0"/>
              </a:rPr>
              <a:t>. 2021;138(suppl 1): abstract 79 (oral presentation).</a:t>
            </a:r>
          </a:p>
        </p:txBody>
      </p:sp>
    </p:spTree>
    <p:extLst>
      <p:ext uri="{BB962C8B-B14F-4D97-AF65-F5344CB8AC3E}">
        <p14:creationId xmlns:p14="http://schemas.microsoft.com/office/powerpoint/2010/main" val="212380789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AB30F6-A83B-CE41-A142-0B0D43795E48}"/>
              </a:ext>
            </a:extLst>
          </p:cNvPr>
          <p:cNvSpPr>
            <a:spLocks noGrp="1"/>
          </p:cNvSpPr>
          <p:nvPr>
            <p:ph type="title"/>
          </p:nvPr>
        </p:nvSpPr>
        <p:spPr/>
        <p:txBody>
          <a:bodyPr>
            <a:noAutofit/>
          </a:bodyPr>
          <a:lstStyle/>
          <a:p>
            <a:r>
              <a:rPr lang="en-US" sz="2030" noProof="0"/>
              <a:t>A subgroup analysis of GRIFFIN: sCR and MRD rates by subgroup </a:t>
            </a:r>
          </a:p>
        </p:txBody>
      </p:sp>
      <p:sp>
        <p:nvSpPr>
          <p:cNvPr id="4" name="Text Placeholder 3">
            <a:extLst>
              <a:ext uri="{FF2B5EF4-FFF2-40B4-BE49-F238E27FC236}">
                <a16:creationId xmlns:a16="http://schemas.microsoft.com/office/drawing/2014/main" id="{CEA17DCC-EC90-BD4F-A6AD-5DAA67272A9E}"/>
              </a:ext>
            </a:extLst>
          </p:cNvPr>
          <p:cNvSpPr>
            <a:spLocks noGrp="1"/>
          </p:cNvSpPr>
          <p:nvPr>
            <p:ph type="body" sz="quarter" idx="13"/>
          </p:nvPr>
        </p:nvSpPr>
        <p:spPr>
          <a:xfrm>
            <a:off x="297697" y="4824431"/>
            <a:ext cx="8596313" cy="262943"/>
          </a:xfrm>
        </p:spPr>
        <p:txBody>
          <a:bodyPr/>
          <a:lstStyle/>
          <a:p>
            <a:pPr algn="r"/>
            <a:r>
              <a:rPr lang="en-US" sz="1000" noProof="0">
                <a:solidFill>
                  <a:srgbClr val="000020"/>
                </a:solidFill>
              </a:rPr>
              <a:t>Andersen L, et al. </a:t>
            </a:r>
            <a:r>
              <a:rPr lang="en-US" sz="1000" i="1" noProof="0">
                <a:solidFill>
                  <a:srgbClr val="000020"/>
                </a:solidFill>
              </a:rPr>
              <a:t>Blood</a:t>
            </a:r>
            <a:r>
              <a:rPr lang="en-US" sz="1000" noProof="0">
                <a:solidFill>
                  <a:srgbClr val="000020"/>
                </a:solidFill>
              </a:rPr>
              <a:t>. 2021;138(suppl 1): abstract 2723 (poster presentation).</a:t>
            </a:r>
          </a:p>
        </p:txBody>
      </p:sp>
      <p:sp>
        <p:nvSpPr>
          <p:cNvPr id="11" name="TextBox 10">
            <a:extLst>
              <a:ext uri="{FF2B5EF4-FFF2-40B4-BE49-F238E27FC236}">
                <a16:creationId xmlns:a16="http://schemas.microsoft.com/office/drawing/2014/main" id="{6E30748B-1D9F-FC40-B9D0-A32F8F8F0A08}"/>
              </a:ext>
            </a:extLst>
          </p:cNvPr>
          <p:cNvSpPr txBox="1"/>
          <p:nvPr/>
        </p:nvSpPr>
        <p:spPr>
          <a:xfrm>
            <a:off x="4572000" y="3546722"/>
            <a:ext cx="4560184" cy="1169551"/>
          </a:xfrm>
          <a:prstGeom prst="rect">
            <a:avLst/>
          </a:prstGeom>
          <a:noFill/>
          <a:ln>
            <a:noFill/>
          </a:ln>
        </p:spPr>
        <p:txBody>
          <a:bodyPr wrap="square">
            <a:spAutoFit/>
          </a:bodyPr>
          <a:lstStyle/>
          <a:p>
            <a:pPr marL="0" marR="0" lvl="0" indent="0" algn="l" defTabSz="685800" rtl="0" eaLnBrk="0" fontAlgn="base" latinLnBrk="0" hangingPunct="0">
              <a:lnSpc>
                <a:spcPct val="100000"/>
              </a:lnSpc>
              <a:spcBef>
                <a:spcPct val="20000"/>
              </a:spcBef>
              <a:spcAft>
                <a:spcPct val="0"/>
              </a:spcAft>
              <a:buClrTx/>
              <a:buSzTx/>
              <a:buFontTx/>
              <a:buNone/>
              <a:tabLst/>
              <a:defRPr/>
            </a:pPr>
            <a:r>
              <a:rPr kumimoji="0" lang="en-GB" sz="700" b="0" i="0" u="none" strike="noStrike" kern="1200" cap="none" spc="0" normalizeH="0" baseline="30000" noProof="0" dirty="0" err="1">
                <a:ln>
                  <a:noFill/>
                </a:ln>
                <a:solidFill>
                  <a:srgbClr val="000020"/>
                </a:solidFill>
                <a:effectLst/>
                <a:uLnTx/>
                <a:uFillTx/>
                <a:latin typeface="Trebuchet MS"/>
                <a:ea typeface="ＭＳ Ｐゴシック" charset="0"/>
                <a:cs typeface="+mn-cs"/>
              </a:rPr>
              <a:t>a</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A</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total of 4 patients in GRIFFIN (D-</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RVd</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n = 1; </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RVd</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n = 3) met the criteria for the 3 clinically relevant subgroups: ≥65 years of age, ISS stage III disease, and high cytogenetic risk. </a:t>
            </a:r>
            <a:r>
              <a:rPr kumimoji="0" lang="en-GB" sz="700" b="0" i="0" u="none" strike="noStrike" kern="1200" cap="none" spc="0" normalizeH="0" baseline="30000" noProof="0" dirty="0" err="1">
                <a:ln>
                  <a:noFill/>
                </a:ln>
                <a:solidFill>
                  <a:srgbClr val="000020"/>
                </a:solidFill>
                <a:effectLst/>
                <a:uLnTx/>
                <a:uFillTx/>
                <a:latin typeface="Trebuchet MS"/>
                <a:ea typeface="ＭＳ Ｐゴシック" charset="0"/>
                <a:cs typeface="+mn-cs"/>
              </a:rPr>
              <a:t>b</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ECOG</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PS is scored on a scale from 0 to 5, with 0 indicating no symptoms and higher scores indicating increasing disability. Percentages are out of evaluable patients (D-</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RVd</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n = 101; </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RVd</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n = 102). </a:t>
            </a:r>
            <a:r>
              <a:rPr kumimoji="0" lang="en-GB" sz="700" b="0" i="0" u="none" strike="noStrike" kern="1200" cap="none" spc="0" normalizeH="0" baseline="30000" noProof="0" dirty="0" err="1">
                <a:ln>
                  <a:noFill/>
                </a:ln>
                <a:solidFill>
                  <a:srgbClr val="000020"/>
                </a:solidFill>
                <a:effectLst/>
                <a:uLnTx/>
                <a:uFillTx/>
                <a:latin typeface="Trebuchet MS"/>
                <a:ea typeface="ＭＳ Ｐゴシック" charset="0"/>
                <a:cs typeface="+mn-cs"/>
              </a:rPr>
              <a:t>c</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ISS</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disease stage is based on the combination of serum </a:t>
            </a:r>
            <a:r>
              <a:rPr kumimoji="0" lang="el-GR" sz="700" b="0" i="0" u="none" strike="noStrike" kern="1200" cap="none" spc="0" normalizeH="0" baseline="0" noProof="0" dirty="0">
                <a:ln>
                  <a:noFill/>
                </a:ln>
                <a:solidFill>
                  <a:srgbClr val="000020"/>
                </a:solidFill>
                <a:effectLst/>
                <a:uLnTx/>
                <a:uFillTx/>
                <a:latin typeface="Trebuchet MS"/>
                <a:ea typeface="ＭＳ Ｐゴシック" charset="0"/>
                <a:cs typeface="+mn-cs"/>
              </a:rPr>
              <a:t>β2-</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microglobulin</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and albumin levels. Higher stages indicate more-advanced disease. </a:t>
            </a:r>
            <a:r>
              <a:rPr kumimoji="0" lang="en-GB" sz="700" b="0" i="0" u="none" strike="noStrike" kern="1200" cap="none" spc="0" normalizeH="0" baseline="30000" noProof="0" dirty="0" err="1">
                <a:ln>
                  <a:noFill/>
                </a:ln>
                <a:solidFill>
                  <a:srgbClr val="000020"/>
                </a:solidFill>
                <a:effectLst/>
                <a:uLnTx/>
                <a:uFillTx/>
                <a:latin typeface="Trebuchet MS"/>
                <a:ea typeface="ＭＳ Ｐゴシック" charset="0"/>
                <a:cs typeface="+mn-cs"/>
              </a:rPr>
              <a:t>d</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Cytogenetic</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risk was assessed by fluorescence in situ hybridization (local testing); high risk was defined as the presence of del17p, t(4;14), or t(14;16) among patients with available cytogenetic risk data, while revised high risk was defined as the presence of del17p, t(4;14), t(14;16), t(14;20), or gain 1q (≥3 copies of chromosome 1q21) among those patients. Percentages are out of evaluable patients (D-</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RVd</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n = 98; </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RVd</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n = 97). </a:t>
            </a:r>
            <a:r>
              <a:rPr kumimoji="0" lang="en-GB" sz="700" b="0" i="0" u="none" strike="noStrike" kern="1200" cap="none" spc="0" normalizeH="0" baseline="30000" noProof="0" dirty="0" err="1">
                <a:ln>
                  <a:noFill/>
                </a:ln>
                <a:solidFill>
                  <a:srgbClr val="000020"/>
                </a:solidFill>
                <a:effectLst/>
                <a:uLnTx/>
                <a:uFillTx/>
                <a:latin typeface="Trebuchet MS"/>
                <a:ea typeface="ＭＳ Ｐゴシック" charset="0"/>
                <a:cs typeface="+mn-cs"/>
              </a:rPr>
              <a:t>e</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Data</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are reported for evaluable patients (D-</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RVd</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n = 103; </a:t>
            </a:r>
            <a:r>
              <a:rPr kumimoji="0" lang="en-GB" sz="700" b="0" i="0" u="none" strike="noStrike" kern="1200" cap="none" spc="0" normalizeH="0" baseline="0" noProof="0" dirty="0" err="1">
                <a:ln>
                  <a:noFill/>
                </a:ln>
                <a:solidFill>
                  <a:srgbClr val="000020"/>
                </a:solidFill>
                <a:effectLst/>
                <a:uLnTx/>
                <a:uFillTx/>
                <a:latin typeface="Trebuchet MS"/>
                <a:ea typeface="ＭＳ Ｐゴシック" charset="0"/>
                <a:cs typeface="+mn-cs"/>
              </a:rPr>
              <a:t>RVd</a:t>
            </a:r>
            <a:r>
              <a:rPr kumimoji="0" lang="en-GB" sz="700" b="0" i="0" u="none" strike="noStrike" kern="1200" cap="none" spc="0" normalizeH="0" baseline="0" noProof="0" dirty="0">
                <a:ln>
                  <a:noFill/>
                </a:ln>
                <a:solidFill>
                  <a:srgbClr val="000020"/>
                </a:solidFill>
                <a:effectLst/>
                <a:uLnTx/>
                <a:uFillTx/>
                <a:latin typeface="Trebuchet MS"/>
                <a:ea typeface="ＭＳ Ｐゴシック" charset="0"/>
                <a:cs typeface="+mn-cs"/>
              </a:rPr>
              <a:t>, n = 102). </a:t>
            </a:r>
          </a:p>
        </p:txBody>
      </p:sp>
      <p:pic>
        <p:nvPicPr>
          <p:cNvPr id="12" name="Picture 11">
            <a:extLst>
              <a:ext uri="{FF2B5EF4-FFF2-40B4-BE49-F238E27FC236}">
                <a16:creationId xmlns:a16="http://schemas.microsoft.com/office/drawing/2014/main" id="{5114D729-A12F-2043-B413-9A1942B15AC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0153" y="960120"/>
            <a:ext cx="4017625" cy="1936495"/>
          </a:xfrm>
          <a:prstGeom prst="rect">
            <a:avLst/>
          </a:prstGeom>
        </p:spPr>
      </p:pic>
      <p:sp>
        <p:nvSpPr>
          <p:cNvPr id="13" name="TextBox 12">
            <a:extLst>
              <a:ext uri="{FF2B5EF4-FFF2-40B4-BE49-F238E27FC236}">
                <a16:creationId xmlns:a16="http://schemas.microsoft.com/office/drawing/2014/main" id="{A5F2D778-0EC8-6641-A990-ECF44561AC46}"/>
              </a:ext>
            </a:extLst>
          </p:cNvPr>
          <p:cNvSpPr txBox="1"/>
          <p:nvPr/>
        </p:nvSpPr>
        <p:spPr>
          <a:xfrm>
            <a:off x="1" y="3760284"/>
            <a:ext cx="4560184" cy="954107"/>
          </a:xfrm>
          <a:prstGeom prst="rect">
            <a:avLst/>
          </a:prstGeom>
          <a:noFill/>
          <a:ln>
            <a:noFill/>
          </a:ln>
        </p:spPr>
        <p:txBody>
          <a:bodyPr wrap="square" anchor="b">
            <a:spAutoFit/>
          </a:bodyPr>
          <a:lstStyle/>
          <a:p>
            <a:pPr marL="0" marR="0" lvl="0" indent="0" algn="l" defTabSz="685800" rtl="0" eaLnBrk="0" fontAlgn="base" latinLnBrk="0" hangingPunct="0">
              <a:lnSpc>
                <a:spcPct val="100000"/>
              </a:lnSpc>
              <a:spcBef>
                <a:spcPct val="20000"/>
              </a:spcBef>
              <a:spcAft>
                <a:spcPct val="0"/>
              </a:spcAft>
              <a:buClrTx/>
              <a:buSzTx/>
              <a:buFontTx/>
              <a:buNone/>
              <a:tabLst/>
              <a:defRPr/>
            </a:pPr>
            <a:r>
              <a:rPr kumimoji="0" lang="en-GB" sz="700" b="0" i="0" u="none" strike="noStrike" kern="1200" cap="none" spc="0" normalizeH="0" baseline="30000" noProof="0">
                <a:ln>
                  <a:noFill/>
                </a:ln>
                <a:solidFill>
                  <a:srgbClr val="000020"/>
                </a:solidFill>
                <a:effectLst/>
                <a:uLnTx/>
                <a:uFillTx/>
                <a:latin typeface="Trebuchet MS"/>
                <a:ea typeface="ＭＳ Ｐゴシック" charset="0"/>
                <a:cs typeface="+mn-cs"/>
              </a:rPr>
              <a:t>a</a:t>
            </a:r>
            <a:r>
              <a:rPr kumimoji="0" lang="en-GB" sz="700" b="0" i="0" u="none" strike="noStrike" kern="1200" cap="none" spc="0" normalizeH="0" baseline="0" noProof="0">
                <a:ln>
                  <a:noFill/>
                </a:ln>
                <a:solidFill>
                  <a:srgbClr val="000020"/>
                </a:solidFill>
                <a:effectLst/>
                <a:uLnTx/>
                <a:uFillTx/>
                <a:latin typeface="Trebuchet MS"/>
                <a:ea typeface="ＭＳ Ｐゴシック" charset="0"/>
                <a:cs typeface="+mn-cs"/>
              </a:rPr>
              <a:t>This analysis includes patients from the response-evaluable population of all randomized patients who had a confirmed diagnosis of multiple myeloma, had measurable disease at baseline, received ≥1 dose of study treatment, and had ≥1 postbaseline disease assessment for patients who were ≥65 years of age (D-RVd, n = 27; RVd, n = 27), had ISS stage III disease (D-RVd, n = 14; RVd, n = 13), had high cytogenetic risk (D-RVd, n = 16; RVd, n = 13), or had revised high cytogenetic risk (D-RVd, n = 41; RVd, n = 36). </a:t>
            </a:r>
            <a:r>
              <a:rPr kumimoji="0" lang="en-GB" sz="700" b="0" i="0" u="none" strike="noStrike" kern="1200" cap="none" spc="0" normalizeH="0" baseline="30000" noProof="0">
                <a:ln>
                  <a:noFill/>
                </a:ln>
                <a:solidFill>
                  <a:srgbClr val="000020"/>
                </a:solidFill>
                <a:effectLst/>
                <a:uLnTx/>
                <a:uFillTx/>
                <a:latin typeface="Trebuchet MS"/>
                <a:ea typeface="ＭＳ Ｐゴシック" charset="0"/>
                <a:cs typeface="+mn-cs"/>
              </a:rPr>
              <a:t>b</a:t>
            </a:r>
            <a:r>
              <a:rPr kumimoji="0" lang="en-GB" sz="700" b="0" i="0" u="none" strike="noStrike" kern="1200" cap="none" spc="0" normalizeH="0" baseline="0" noProof="0">
                <a:ln>
                  <a:noFill/>
                </a:ln>
                <a:solidFill>
                  <a:srgbClr val="000020"/>
                </a:solidFill>
                <a:effectLst/>
                <a:uLnTx/>
                <a:uFillTx/>
                <a:latin typeface="Trebuchet MS"/>
                <a:ea typeface="ＭＳ Ｐゴシック" charset="0"/>
                <a:cs typeface="+mn-cs"/>
              </a:rPr>
              <a:t>sCR rates for the end of consolidation are from the primary endpoint analysis date (median follow-up, 13.5 months). csCR rates with longer follow-up (median follow-up, 38.6 months) are shown for 12 months of maintenance therapy and after 24 months of maintenance therapy. </a:t>
            </a:r>
          </a:p>
        </p:txBody>
      </p:sp>
      <p:pic>
        <p:nvPicPr>
          <p:cNvPr id="14" name="Picture 13">
            <a:extLst>
              <a:ext uri="{FF2B5EF4-FFF2-40B4-BE49-F238E27FC236}">
                <a16:creationId xmlns:a16="http://schemas.microsoft.com/office/drawing/2014/main" id="{DC0D9688-F2D5-7F49-B56C-03299419C61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72000" y="1027232"/>
            <a:ext cx="4017625" cy="1936495"/>
          </a:xfrm>
          <a:prstGeom prst="rect">
            <a:avLst/>
          </a:prstGeom>
        </p:spPr>
      </p:pic>
      <p:sp>
        <p:nvSpPr>
          <p:cNvPr id="10" name="Rectangle 9">
            <a:extLst>
              <a:ext uri="{FF2B5EF4-FFF2-40B4-BE49-F238E27FC236}">
                <a16:creationId xmlns:a16="http://schemas.microsoft.com/office/drawing/2014/main" id="{9C2BA4AA-AF18-1B4B-8C18-37E4345D7B13}"/>
              </a:ext>
            </a:extLst>
          </p:cNvPr>
          <p:cNvSpPr/>
          <p:nvPr/>
        </p:nvSpPr>
        <p:spPr>
          <a:xfrm>
            <a:off x="885841" y="3098645"/>
            <a:ext cx="7422284" cy="287130"/>
          </a:xfrm>
          <a:prstGeom prst="rect">
            <a:avLst/>
          </a:prstGeom>
          <a:solidFill>
            <a:srgbClr val="002060"/>
          </a:solidFill>
          <a:ln>
            <a:solidFill>
              <a:srgbClr val="002060"/>
            </a:solidFill>
          </a:ln>
          <a:scene3d>
            <a:camera prst="orthographicFront"/>
            <a:lightRig rig="threePt" dir="t"/>
          </a:scene3d>
          <a:sp3d>
            <a:bevelT/>
          </a:sp3d>
        </p:spPr>
        <p:txBody>
          <a:bodyPr wrap="square">
            <a:spAutoFit/>
          </a:bodyPr>
          <a:lstStyle/>
          <a:p>
            <a:pPr marL="0" marR="0" lvl="0" indent="0" algn="ctr" defTabSz="685800" rtl="0" eaLnBrk="0" fontAlgn="base" latinLnBrk="0" hangingPunct="0">
              <a:lnSpc>
                <a:spcPct val="100000"/>
              </a:lnSpc>
              <a:spcBef>
                <a:spcPct val="20000"/>
              </a:spcBef>
              <a:spcAft>
                <a:spcPct val="0"/>
              </a:spcAft>
              <a:buClrTx/>
              <a:buSzTx/>
              <a:buFontTx/>
              <a:buNone/>
              <a:tabLst/>
              <a:defRPr/>
            </a:pPr>
            <a:r>
              <a:rPr kumimoji="0" lang="en-GB" sz="1266" b="1" i="0" u="none" strike="noStrike" kern="1200" cap="none" spc="0" normalizeH="0" baseline="0" noProof="0">
                <a:ln>
                  <a:noFill/>
                </a:ln>
                <a:solidFill>
                  <a:srgbClr val="FFFFFF"/>
                </a:solidFill>
                <a:effectLst/>
                <a:uLnTx/>
                <a:uFillTx/>
                <a:latin typeface="Trebuchet MS"/>
                <a:ea typeface="ＭＳ Ｐゴシック" charset="0"/>
                <a:cs typeface="+mn-cs"/>
              </a:rPr>
              <a:t>With continued therapy, rates of sCR and MRD negativity deepened for all subgroups </a:t>
            </a:r>
          </a:p>
        </p:txBody>
      </p:sp>
    </p:spTree>
    <p:extLst>
      <p:ext uri="{BB962C8B-B14F-4D97-AF65-F5344CB8AC3E}">
        <p14:creationId xmlns:p14="http://schemas.microsoft.com/office/powerpoint/2010/main" val="294635582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7301DBE2-39B8-EA40-9470-A31606990C0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62332" y="1331837"/>
            <a:ext cx="4678270" cy="3235910"/>
          </a:xfrm>
          <a:prstGeom prst="rect">
            <a:avLst/>
          </a:prstGeom>
        </p:spPr>
      </p:pic>
      <p:pic>
        <p:nvPicPr>
          <p:cNvPr id="5" name="Imagen 4">
            <a:extLst>
              <a:ext uri="{FF2B5EF4-FFF2-40B4-BE49-F238E27FC236}">
                <a16:creationId xmlns:a16="http://schemas.microsoft.com/office/drawing/2014/main" id="{48C429B1-471C-1A49-9557-F2D968A044A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19916" y="194317"/>
            <a:ext cx="6168407" cy="762872"/>
          </a:xfrm>
          <a:prstGeom prst="rect">
            <a:avLst/>
          </a:prstGeom>
        </p:spPr>
      </p:pic>
      <p:sp>
        <p:nvSpPr>
          <p:cNvPr id="2" name="Flecha derecha 1">
            <a:extLst>
              <a:ext uri="{FF2B5EF4-FFF2-40B4-BE49-F238E27FC236}">
                <a16:creationId xmlns:a16="http://schemas.microsoft.com/office/drawing/2014/main" id="{A91A5E23-B5B8-BC49-852B-668D85339BCD}"/>
              </a:ext>
            </a:extLst>
          </p:cNvPr>
          <p:cNvSpPr/>
          <p:nvPr/>
        </p:nvSpPr>
        <p:spPr>
          <a:xfrm>
            <a:off x="3923928" y="2861037"/>
            <a:ext cx="486054" cy="155776"/>
          </a:xfrm>
          <a:prstGeom prst="rightArrow">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 sz="1500" b="0" i="0" u="none" strike="noStrike" kern="1200" cap="none" spc="0" normalizeH="0" baseline="0" noProof="0">
              <a:ln>
                <a:noFill/>
              </a:ln>
              <a:solidFill>
                <a:srgbClr val="FFFFFF"/>
              </a:solidFill>
              <a:effectLst/>
              <a:uLnTx/>
              <a:uFillTx/>
              <a:latin typeface="Trebuchet MS"/>
              <a:ea typeface="+mn-ea"/>
              <a:cs typeface="+mn-cs"/>
            </a:endParaRPr>
          </a:p>
        </p:txBody>
      </p:sp>
      <p:sp>
        <p:nvSpPr>
          <p:cNvPr id="3" name="CuadroTexto 2">
            <a:extLst>
              <a:ext uri="{FF2B5EF4-FFF2-40B4-BE49-F238E27FC236}">
                <a16:creationId xmlns:a16="http://schemas.microsoft.com/office/drawing/2014/main" id="{E1B59A99-F240-B446-921A-ACC3F7A0F50B}"/>
              </a:ext>
            </a:extLst>
          </p:cNvPr>
          <p:cNvSpPr txBox="1"/>
          <p:nvPr/>
        </p:nvSpPr>
        <p:spPr>
          <a:xfrm>
            <a:off x="747423" y="2480231"/>
            <a:ext cx="3176505" cy="907941"/>
          </a:xfrm>
          <a:prstGeom prst="rect">
            <a:avLst/>
          </a:prstGeom>
          <a:solidFill>
            <a:srgbClr val="FFD186"/>
          </a:solidFill>
        </p:spPr>
        <p:txBody>
          <a:bodyPr wrap="square" lIns="91440" tIns="91440" rIns="91440" bIns="91440" rtlCol="0" anchor="ctr">
            <a:spAutoFit/>
          </a:bodyPr>
          <a:lstStyle/>
          <a:p>
            <a:pPr marL="174625" marR="0" lvl="0" indent="-174625" algn="l" defTabSz="685800"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Isa-RVd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might</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be incorporated as a new SOC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when</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data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on</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outcome</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are more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mature</a:t>
            </a:r>
            <a:endPar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endParaRPr>
          </a:p>
          <a:p>
            <a:pPr marL="174625" marR="0" lvl="0" indent="-174625" algn="l" defTabSz="685800"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Dara-RVd is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pending</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results</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of PERSEUS study</a:t>
            </a:r>
          </a:p>
          <a:p>
            <a:pPr marL="174625" marR="0" lvl="0" indent="-174625" algn="l" defTabSz="685800"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Elo-RVd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will</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not</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be a new SOC</a:t>
            </a:r>
          </a:p>
        </p:txBody>
      </p:sp>
      <p:sp>
        <p:nvSpPr>
          <p:cNvPr id="6" name="Rectángulo 77">
            <a:extLst>
              <a:ext uri="{FF2B5EF4-FFF2-40B4-BE49-F238E27FC236}">
                <a16:creationId xmlns:a16="http://schemas.microsoft.com/office/drawing/2014/main" id="{616823D0-6C33-45EA-8B8D-274752C7B54A}"/>
              </a:ext>
            </a:extLst>
          </p:cNvPr>
          <p:cNvSpPr/>
          <p:nvPr/>
        </p:nvSpPr>
        <p:spPr>
          <a:xfrm>
            <a:off x="5127219" y="4787243"/>
            <a:ext cx="3857625" cy="246221"/>
          </a:xfrm>
          <a:prstGeom prst="rect">
            <a:avLst/>
          </a:prstGeom>
        </p:spPr>
        <p:txBody>
          <a:bodyPr>
            <a:spAutoFit/>
          </a:bodyPr>
          <a:lstStyle/>
          <a:p>
            <a:pPr marL="0" marR="0" lvl="0" indent="0" algn="r" defTabSz="771525" rtl="0" eaLnBrk="1" fontAlgn="auto" latinLnBrk="0" hangingPunct="1">
              <a:lnSpc>
                <a:spcPct val="100000"/>
              </a:lnSpc>
              <a:spcBef>
                <a:spcPts val="0"/>
              </a:spcBef>
              <a:spcAft>
                <a:spcPts val="0"/>
              </a:spcAft>
              <a:buClrTx/>
              <a:buSzTx/>
              <a:buFontTx/>
              <a:buNone/>
              <a:tabLst/>
              <a:defRPr/>
            </a:pP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Dimopoulos MA, et al. </a:t>
            </a:r>
            <a:r>
              <a:rPr kumimoji="0" lang="it-IT" sz="1000" b="0" i="1" u="none" strike="noStrike" kern="0" cap="none" spc="0" normalizeH="0" baseline="0" noProof="0">
                <a:ln>
                  <a:noFill/>
                </a:ln>
                <a:solidFill>
                  <a:srgbClr val="000020"/>
                </a:solidFill>
                <a:effectLst/>
                <a:uLnTx/>
                <a:uFillTx/>
                <a:latin typeface="Trebuchet MS"/>
                <a:ea typeface="MS PGothic" pitchFamily="34" charset="-128"/>
                <a:cs typeface="+mn-cs"/>
              </a:rPr>
              <a:t>Ann Oncol</a:t>
            </a:r>
            <a:r>
              <a:rPr kumimoji="0" lang="it-IT" sz="1000" b="0" i="0" u="none" strike="noStrike" kern="0" cap="none" spc="0" normalizeH="0" baseline="0" noProof="0">
                <a:ln>
                  <a:noFill/>
                </a:ln>
                <a:solidFill>
                  <a:srgbClr val="000020"/>
                </a:solidFill>
                <a:effectLst/>
                <a:uLnTx/>
                <a:uFillTx/>
                <a:latin typeface="Trebuchet MS"/>
                <a:ea typeface="MS PGothic" pitchFamily="34" charset="-128"/>
                <a:cs typeface="+mn-cs"/>
              </a:rPr>
              <a:t>. 2021;32(3):309-322.</a:t>
            </a:r>
            <a:endParaRPr kumimoji="0" lang="fr-FR" sz="1000" b="0" i="0" u="none" strike="noStrike" kern="1200" cap="none" spc="0" normalizeH="0" baseline="0" noProof="0">
              <a:ln>
                <a:noFill/>
              </a:ln>
              <a:solidFill>
                <a:srgbClr val="000020"/>
              </a:solidFill>
              <a:effectLst/>
              <a:uLnTx/>
              <a:uFillTx/>
              <a:latin typeface="Trebuchet MS"/>
              <a:ea typeface="ＭＳ Ｐゴシック" charset="0"/>
              <a:cs typeface="+mn-cs"/>
            </a:endParaRPr>
          </a:p>
        </p:txBody>
      </p:sp>
    </p:spTree>
    <p:extLst>
      <p:ext uri="{BB962C8B-B14F-4D97-AF65-F5344CB8AC3E}">
        <p14:creationId xmlns:p14="http://schemas.microsoft.com/office/powerpoint/2010/main" val="35281646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04402" y="231057"/>
            <a:ext cx="8766928" cy="572981"/>
          </a:xfrm>
        </p:spPr>
        <p:txBody>
          <a:bodyPr>
            <a:normAutofit/>
          </a:bodyPr>
          <a:lstStyle/>
          <a:p>
            <a:r>
              <a:rPr lang="en-US" noProof="0"/>
              <a:t>	Question 3</a:t>
            </a:r>
          </a:p>
        </p:txBody>
      </p:sp>
      <p:sp>
        <p:nvSpPr>
          <p:cNvPr id="3" name="Content Placeholder 2"/>
          <p:cNvSpPr>
            <a:spLocks noGrp="1"/>
          </p:cNvSpPr>
          <p:nvPr>
            <p:ph idx="1"/>
          </p:nvPr>
        </p:nvSpPr>
        <p:spPr>
          <a:xfrm>
            <a:off x="179109" y="943529"/>
            <a:ext cx="8776355" cy="3799804"/>
          </a:xfrm>
        </p:spPr>
        <p:txBody>
          <a:bodyPr>
            <a:normAutofit/>
          </a:bodyPr>
          <a:lstStyle/>
          <a:p>
            <a:pPr marL="0" indent="0">
              <a:spcBef>
                <a:spcPts val="600"/>
              </a:spcBef>
              <a:buNone/>
            </a:pPr>
            <a:r>
              <a:rPr lang="en-US" sz="2000" spc="-50" noProof="0">
                <a:latin typeface="Arial" panose="020B0604020202020204" pitchFamily="34" charset="0"/>
                <a:cs typeface="Arial" panose="020B0604020202020204" pitchFamily="34" charset="0"/>
              </a:rPr>
              <a:t>Which of the following is not true in the treatment of newly diagnosed MM?</a:t>
            </a:r>
          </a:p>
          <a:p>
            <a:pPr marL="0" indent="0">
              <a:spcBef>
                <a:spcPts val="600"/>
              </a:spcBef>
              <a:buNone/>
            </a:pPr>
            <a:endParaRPr lang="en-US" sz="1800" noProof="0">
              <a:latin typeface="Arial" panose="020B0604020202020204" pitchFamily="34" charset="0"/>
              <a:cs typeface="Arial" panose="020B0604020202020204" pitchFamily="34" charset="0"/>
            </a:endParaRPr>
          </a:p>
          <a:p>
            <a:pPr marL="342900" indent="-342900">
              <a:spcBef>
                <a:spcPts val="600"/>
              </a:spcBef>
              <a:buFont typeface="+mj-lt"/>
              <a:buAutoNum type="arabicPeriod"/>
            </a:pPr>
            <a:r>
              <a:rPr lang="en-US" sz="1800" noProof="0">
                <a:latin typeface="Arial" panose="020B0604020202020204" pitchFamily="34" charset="0"/>
                <a:cs typeface="Arial" panose="020B0604020202020204" pitchFamily="34" charset="0"/>
              </a:rPr>
              <a:t>Deep responses are associated with better outcomes</a:t>
            </a:r>
            <a:endParaRPr lang="en-US" noProof="0">
              <a:latin typeface="Arial" panose="020B0604020202020204" pitchFamily="34" charset="0"/>
              <a:cs typeface="Arial" panose="020B0604020202020204" pitchFamily="34" charset="0"/>
            </a:endParaRPr>
          </a:p>
          <a:p>
            <a:pPr marL="342900" indent="-342900">
              <a:spcBef>
                <a:spcPts val="600"/>
              </a:spcBef>
              <a:buFont typeface="+mj-lt"/>
              <a:buAutoNum type="arabicPeriod"/>
            </a:pPr>
            <a:r>
              <a:rPr lang="en-US" sz="1800" noProof="0">
                <a:latin typeface="Arial" panose="020B0604020202020204" pitchFamily="34" charset="0"/>
                <a:cs typeface="Arial" panose="020B0604020202020204" pitchFamily="34" charset="0"/>
              </a:rPr>
              <a:t>VGPR is an accepted benchmark as evidence of a good response</a:t>
            </a:r>
          </a:p>
          <a:p>
            <a:pPr marL="342900" indent="-342900">
              <a:spcBef>
                <a:spcPts val="600"/>
              </a:spcBef>
              <a:buFont typeface="+mj-lt"/>
              <a:buAutoNum type="arabicPeriod"/>
            </a:pPr>
            <a:r>
              <a:rPr lang="en-US" sz="1800" noProof="0">
                <a:latin typeface="Arial" panose="020B0604020202020204" pitchFamily="34" charset="0"/>
                <a:cs typeface="Arial" panose="020B0604020202020204" pitchFamily="34" charset="0"/>
              </a:rPr>
              <a:t>Clinical trials are considering risk stratification</a:t>
            </a:r>
          </a:p>
          <a:p>
            <a:pPr marL="342900" indent="-342900">
              <a:spcBef>
                <a:spcPts val="600"/>
              </a:spcBef>
              <a:buFont typeface="+mj-lt"/>
              <a:buAutoNum type="arabicPeriod"/>
            </a:pPr>
            <a:r>
              <a:rPr lang="en-US" sz="1800" noProof="0">
                <a:latin typeface="Arial" panose="020B0604020202020204" pitchFamily="34" charset="0"/>
                <a:cs typeface="Arial" panose="020B0604020202020204" pitchFamily="34" charset="0"/>
              </a:rPr>
              <a:t>Regimens that contain daratumumab have further increased response rates</a:t>
            </a:r>
          </a:p>
          <a:p>
            <a:pPr marL="342900" indent="-342900">
              <a:spcBef>
                <a:spcPts val="600"/>
              </a:spcBef>
              <a:buFont typeface="+mj-lt"/>
              <a:buAutoNum type="arabicPeriod"/>
            </a:pPr>
            <a:r>
              <a:rPr lang="en-US" sz="1800" noProof="0">
                <a:latin typeface="Arial" panose="020B0604020202020204" pitchFamily="34" charset="0"/>
                <a:cs typeface="Arial" panose="020B0604020202020204" pitchFamily="34" charset="0"/>
              </a:rPr>
              <a:t>Maintenance prolongs overall survival for MM patients</a:t>
            </a:r>
          </a:p>
          <a:p>
            <a:pPr marL="914400" lvl="1" indent="-457200" fontAlgn="auto">
              <a:lnSpc>
                <a:spcPct val="100000"/>
              </a:lnSpc>
              <a:spcAft>
                <a:spcPts val="0"/>
              </a:spcAft>
              <a:buClr>
                <a:schemeClr val="tx1"/>
              </a:buClr>
              <a:buFont typeface="+mj-lt"/>
              <a:buAutoNum type="alphaLcParenR"/>
            </a:pPr>
            <a:endParaRPr lang="en-US" sz="1800" noProof="0"/>
          </a:p>
        </p:txBody>
      </p:sp>
      <p:grpSp>
        <p:nvGrpSpPr>
          <p:cNvPr id="6" name="Group 5">
            <a:extLst>
              <a:ext uri="{FF2B5EF4-FFF2-40B4-BE49-F238E27FC236}">
                <a16:creationId xmlns:a16="http://schemas.microsoft.com/office/drawing/2014/main" id="{0F206D06-BAB6-442A-985E-976D9E62C631}"/>
              </a:ext>
            </a:extLst>
          </p:cNvPr>
          <p:cNvGrpSpPr/>
          <p:nvPr/>
        </p:nvGrpSpPr>
        <p:grpSpPr>
          <a:xfrm>
            <a:off x="179109" y="151296"/>
            <a:ext cx="720000" cy="720000"/>
            <a:chOff x="8151603" y="218984"/>
            <a:chExt cx="720000" cy="720000"/>
          </a:xfrm>
        </p:grpSpPr>
        <p:sp>
          <p:nvSpPr>
            <p:cNvPr id="2" name="Teardrop 1">
              <a:extLst>
                <a:ext uri="{FF2B5EF4-FFF2-40B4-BE49-F238E27FC236}">
                  <a16:creationId xmlns:a16="http://schemas.microsoft.com/office/drawing/2014/main" id="{5E222C0A-7491-431C-9415-BB4A01BCA38D}"/>
                </a:ext>
              </a:extLst>
            </p:cNvPr>
            <p:cNvSpPr/>
            <p:nvPr/>
          </p:nvSpPr>
          <p:spPr bwMode="auto">
            <a:xfrm rot="5400000">
              <a:off x="8151603" y="218984"/>
              <a:ext cx="720000" cy="720000"/>
            </a:xfrm>
            <a:prstGeom prst="teardrop">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NL" sz="2800" b="1" i="0" u="none" strike="noStrike" kern="1200" cap="none" spc="0" normalizeH="0" baseline="0" noProof="0">
                <a:ln>
                  <a:noFill/>
                </a:ln>
                <a:solidFill>
                  <a:srgbClr val="FFFF00"/>
                </a:solidFill>
                <a:effectLst/>
                <a:uLnTx/>
                <a:uFillTx/>
                <a:latin typeface="Arial" pitchFamily="34" charset="0"/>
                <a:ea typeface="+mn-ea"/>
                <a:cs typeface="+mn-cs"/>
              </a:endParaRPr>
            </a:p>
          </p:txBody>
        </p:sp>
        <p:sp>
          <p:nvSpPr>
            <p:cNvPr id="4" name="TextBox 3">
              <a:extLst>
                <a:ext uri="{FF2B5EF4-FFF2-40B4-BE49-F238E27FC236}">
                  <a16:creationId xmlns:a16="http://schemas.microsoft.com/office/drawing/2014/main" id="{141D6643-6321-4B86-80D6-DDA03167F6C7}"/>
                </a:ext>
              </a:extLst>
            </p:cNvPr>
            <p:cNvSpPr txBox="1"/>
            <p:nvPr/>
          </p:nvSpPr>
          <p:spPr>
            <a:xfrm>
              <a:off x="8348761" y="255260"/>
              <a:ext cx="325684" cy="646331"/>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NL"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52179937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6D78B-2CAB-483C-AFEE-443B76408847}"/>
              </a:ext>
            </a:extLst>
          </p:cNvPr>
          <p:cNvSpPr>
            <a:spLocks noGrp="1"/>
          </p:cNvSpPr>
          <p:nvPr>
            <p:ph type="title"/>
          </p:nvPr>
        </p:nvSpPr>
        <p:spPr>
          <a:xfrm>
            <a:off x="274319" y="314075"/>
            <a:ext cx="8790165" cy="685800"/>
          </a:xfrm>
        </p:spPr>
        <p:txBody>
          <a:bodyPr/>
          <a:lstStyle/>
          <a:p>
            <a:r>
              <a:rPr lang="en-US" sz="1700" noProof="0">
                <a:solidFill>
                  <a:srgbClr val="595454"/>
                </a:solidFill>
              </a:rPr>
              <a:t>GMMG-HD6: Phase III randomized trial of elotuzumab in combination with lenalidomide, bortezomib, dexamethasone and autologous transplantation for NDMM</a:t>
            </a:r>
          </a:p>
        </p:txBody>
      </p:sp>
      <p:sp>
        <p:nvSpPr>
          <p:cNvPr id="4" name="Text Placeholder 3">
            <a:extLst>
              <a:ext uri="{FF2B5EF4-FFF2-40B4-BE49-F238E27FC236}">
                <a16:creationId xmlns:a16="http://schemas.microsoft.com/office/drawing/2014/main" id="{2CDECFD9-A0C7-4D37-A48B-B942966C66C4}"/>
              </a:ext>
            </a:extLst>
          </p:cNvPr>
          <p:cNvSpPr>
            <a:spLocks noGrp="1"/>
          </p:cNvSpPr>
          <p:nvPr>
            <p:ph type="body" sz="quarter" idx="13"/>
          </p:nvPr>
        </p:nvSpPr>
        <p:spPr>
          <a:xfrm>
            <a:off x="87945" y="4545111"/>
            <a:ext cx="8790164" cy="232165"/>
          </a:xfrm>
        </p:spPr>
        <p:txBody>
          <a:bodyPr/>
          <a:lstStyle/>
          <a:p>
            <a:r>
              <a:rPr lang="en-US" altLang="de-DE" sz="800" baseline="30000" noProof="0">
                <a:solidFill>
                  <a:srgbClr val="000020"/>
                </a:solidFill>
                <a:sym typeface="Wingdings" pitchFamily="2" charset="2"/>
              </a:rPr>
              <a:t>a</a:t>
            </a:r>
            <a:r>
              <a:rPr lang="en-US" altLang="de-DE" sz="800" noProof="0">
                <a:solidFill>
                  <a:srgbClr val="000020"/>
                </a:solidFill>
                <a:sym typeface="Wingdings" pitchFamily="2" charset="2"/>
              </a:rPr>
              <a:t>Adjusted log-rank </a:t>
            </a:r>
            <a:r>
              <a:rPr lang="en-US" altLang="de-DE" sz="800" i="1" noProof="0">
                <a:solidFill>
                  <a:srgbClr val="000020"/>
                </a:solidFill>
                <a:sym typeface="Wingdings" pitchFamily="2" charset="2"/>
              </a:rPr>
              <a:t>P</a:t>
            </a:r>
            <a:r>
              <a:rPr lang="en-US" altLang="de-DE" sz="800" noProof="0">
                <a:solidFill>
                  <a:srgbClr val="000020"/>
                </a:solidFill>
                <a:sym typeface="Wingdings" pitchFamily="2" charset="2"/>
              </a:rPr>
              <a:t> value stratified by ISS at randomization; </a:t>
            </a:r>
            <a:r>
              <a:rPr lang="en-US" altLang="de-DE" sz="800" baseline="30000" noProof="0">
                <a:solidFill>
                  <a:srgbClr val="000020"/>
                </a:solidFill>
                <a:sym typeface="Wingdings" pitchFamily="2" charset="2"/>
              </a:rPr>
              <a:t>b</a:t>
            </a:r>
            <a:r>
              <a:rPr lang="en-US" altLang="de-DE" sz="800" noProof="0">
                <a:solidFill>
                  <a:srgbClr val="000020"/>
                </a:solidFill>
                <a:sym typeface="Wingdings" pitchFamily="2" charset="2"/>
              </a:rPr>
              <a:t>Stratified log-rank 4-arm comparison.</a:t>
            </a:r>
            <a:endParaRPr lang="en-US" sz="800" noProof="0">
              <a:solidFill>
                <a:srgbClr val="000020"/>
              </a:solidFill>
            </a:endParaRPr>
          </a:p>
        </p:txBody>
      </p:sp>
      <p:sp>
        <p:nvSpPr>
          <p:cNvPr id="155" name="TextBox 154">
            <a:extLst>
              <a:ext uri="{FF2B5EF4-FFF2-40B4-BE49-F238E27FC236}">
                <a16:creationId xmlns:a16="http://schemas.microsoft.com/office/drawing/2014/main" id="{35AFB08F-5127-4C4B-BF90-B5DACE336CA7}"/>
              </a:ext>
            </a:extLst>
          </p:cNvPr>
          <p:cNvSpPr txBox="1"/>
          <p:nvPr/>
        </p:nvSpPr>
        <p:spPr>
          <a:xfrm>
            <a:off x="1698985" y="758634"/>
            <a:ext cx="2076466" cy="379463"/>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1266" b="1" i="0" u="none" strike="noStrike" kern="1200" cap="none" spc="0" normalizeH="0" baseline="0" noProof="0">
                <a:ln>
                  <a:noFill/>
                </a:ln>
                <a:solidFill>
                  <a:srgbClr val="223341"/>
                </a:solidFill>
                <a:effectLst/>
                <a:uLnTx/>
                <a:uFillTx/>
                <a:latin typeface="Trebuchet MS"/>
                <a:ea typeface="ＭＳ Ｐゴシック" charset="0"/>
                <a:cs typeface="+mn-cs"/>
              </a:rPr>
              <a:t>Progression-free survival</a:t>
            </a:r>
            <a:endParaRPr kumimoji="0" lang="en-GB" sz="1266" b="1" i="0" u="none" strike="noStrike" kern="1200" cap="none" spc="0" normalizeH="0" baseline="0" noProof="0">
              <a:ln>
                <a:noFill/>
              </a:ln>
              <a:solidFill>
                <a:srgbClr val="223341"/>
              </a:solidFill>
              <a:effectLst/>
              <a:uLnTx/>
              <a:uFillTx/>
              <a:latin typeface="Trebuchet MS"/>
              <a:ea typeface="ＭＳ Ｐゴシック" charset="0"/>
              <a:cs typeface="+mn-cs"/>
            </a:endParaRPr>
          </a:p>
        </p:txBody>
      </p:sp>
      <p:grpSp>
        <p:nvGrpSpPr>
          <p:cNvPr id="198" name="Group 197">
            <a:extLst>
              <a:ext uri="{FF2B5EF4-FFF2-40B4-BE49-F238E27FC236}">
                <a16:creationId xmlns:a16="http://schemas.microsoft.com/office/drawing/2014/main" id="{D4C470B8-3374-424F-A6BE-D15A4973FDD1}"/>
              </a:ext>
            </a:extLst>
          </p:cNvPr>
          <p:cNvGrpSpPr/>
          <p:nvPr/>
        </p:nvGrpSpPr>
        <p:grpSpPr>
          <a:xfrm>
            <a:off x="1288951" y="2056696"/>
            <a:ext cx="1107046" cy="652486"/>
            <a:chOff x="2488191" y="2758529"/>
            <a:chExt cx="1749407" cy="1031090"/>
          </a:xfrm>
        </p:grpSpPr>
        <p:sp>
          <p:nvSpPr>
            <p:cNvPr id="175" name="TextBox 174">
              <a:extLst>
                <a:ext uri="{FF2B5EF4-FFF2-40B4-BE49-F238E27FC236}">
                  <a16:creationId xmlns:a16="http://schemas.microsoft.com/office/drawing/2014/main" id="{76F99192-C763-4189-9B79-11E9033EA734}"/>
                </a:ext>
              </a:extLst>
            </p:cNvPr>
            <p:cNvSpPr txBox="1"/>
            <p:nvPr/>
          </p:nvSpPr>
          <p:spPr>
            <a:xfrm>
              <a:off x="2724806" y="2758529"/>
              <a:ext cx="1512792" cy="1031090"/>
            </a:xfrm>
            <a:prstGeom prst="rect">
              <a:avLst/>
            </a:prstGeom>
            <a:noFill/>
          </p:spPr>
          <p:txBody>
            <a:bodyPr wrap="none" lIns="91440" tIns="91440" rIns="91440" bIns="91440" rtlCol="0" anchor="ctr">
              <a:spAutoFit/>
            </a:bodyPr>
            <a:lstStyle/>
            <a:p>
              <a:pPr marL="0" marR="0" lvl="0" indent="0" algn="l" defTabSz="685800" rtl="0" eaLnBrk="0" fontAlgn="base" latinLnBrk="0" hangingPunct="0">
                <a:lnSpc>
                  <a:spcPct val="100000"/>
                </a:lnSpc>
                <a:spcBef>
                  <a:spcPts val="0"/>
                </a:spcBef>
                <a:spcAft>
                  <a:spcPct val="0"/>
                </a:spcAft>
                <a:buClr>
                  <a:srgbClr val="59FFB9"/>
                </a:buClr>
                <a:buSzTx/>
                <a:buFontTx/>
                <a:buNone/>
                <a:tabLst/>
                <a:defRPr/>
              </a:pP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mn-cs"/>
                </a:rPr>
                <a:t>A1: </a:t>
              </a:r>
              <a:r>
                <a:rPr kumimoji="0" lang="en-US" sz="760" b="1" i="0" u="none" strike="noStrike" kern="1200" cap="none" spc="0" normalizeH="0" baseline="0" noProof="0">
                  <a:ln>
                    <a:noFill/>
                  </a:ln>
                  <a:solidFill>
                    <a:srgbClr val="FFD186"/>
                  </a:solidFill>
                  <a:effectLst/>
                  <a:uLnTx/>
                  <a:uFillTx/>
                  <a:latin typeface="Trebuchet MS"/>
                  <a:ea typeface="ＭＳ Ｐゴシック" charset="0"/>
                  <a:cs typeface="+mn-cs"/>
                </a:rPr>
                <a:t>VRd+R</a:t>
              </a:r>
            </a:p>
            <a:p>
              <a:pPr marL="0" marR="0" lvl="0" indent="0" algn="l" defTabSz="685800" rtl="0" eaLnBrk="0" fontAlgn="base" latinLnBrk="0" hangingPunct="0">
                <a:lnSpc>
                  <a:spcPct val="100000"/>
                </a:lnSpc>
                <a:spcBef>
                  <a:spcPts val="0"/>
                </a:spcBef>
                <a:spcAft>
                  <a:spcPct val="0"/>
                </a:spcAft>
                <a:buClr>
                  <a:srgbClr val="59FFB9"/>
                </a:buClr>
                <a:buSzTx/>
                <a:buFontTx/>
                <a:buNone/>
                <a:tabLst/>
                <a:defRPr/>
              </a:pP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mn-cs"/>
                </a:rPr>
                <a:t>A2: VRd+</a:t>
              </a:r>
              <a:r>
                <a:rPr kumimoji="0" lang="en-US" sz="760" b="1" i="0" u="none" strike="noStrike" kern="1200" cap="none" spc="0" normalizeH="0" baseline="0" noProof="0">
                  <a:ln>
                    <a:noFill/>
                  </a:ln>
                  <a:solidFill>
                    <a:srgbClr val="59FFB9"/>
                  </a:solidFill>
                  <a:effectLst/>
                  <a:uLnTx/>
                  <a:uFillTx/>
                  <a:latin typeface="Trebuchet MS"/>
                  <a:ea typeface="ＭＳ Ｐゴシック" charset="0"/>
                  <a:cs typeface="+mn-cs"/>
                </a:rPr>
                <a:t>EloR</a:t>
              </a:r>
            </a:p>
            <a:p>
              <a:pPr marL="0" marR="0" lvl="0" indent="0" algn="l" defTabSz="685800" rtl="0" eaLnBrk="0" fontAlgn="base" latinLnBrk="0" hangingPunct="0">
                <a:lnSpc>
                  <a:spcPct val="100000"/>
                </a:lnSpc>
                <a:spcBef>
                  <a:spcPts val="0"/>
                </a:spcBef>
                <a:spcAft>
                  <a:spcPct val="0"/>
                </a:spcAft>
                <a:buClr>
                  <a:srgbClr val="59FFB9"/>
                </a:buClr>
                <a:buSzTx/>
                <a:buFontTx/>
                <a:buNone/>
                <a:tabLst/>
                <a:defRPr/>
              </a:pP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mn-cs"/>
                </a:rPr>
                <a:t>B1: Elo</a:t>
              </a: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Arial" panose="020B0604020202020204" pitchFamily="34" charset="0"/>
                </a:rPr>
                <a:t>–</a:t>
              </a:r>
              <a:r>
                <a:rPr kumimoji="0" lang="en-US" sz="760" b="1" i="0" u="none" strike="noStrike" kern="1200" cap="none" spc="0" normalizeH="0" baseline="0" noProof="0">
                  <a:ln>
                    <a:noFill/>
                  </a:ln>
                  <a:solidFill>
                    <a:srgbClr val="FFD186"/>
                  </a:solidFill>
                  <a:effectLst/>
                  <a:uLnTx/>
                  <a:uFillTx/>
                  <a:latin typeface="Trebuchet MS"/>
                  <a:ea typeface="ＭＳ Ｐゴシック" charset="0"/>
                  <a:cs typeface="+mn-cs"/>
                </a:rPr>
                <a:t>VRd+R</a:t>
              </a:r>
            </a:p>
            <a:p>
              <a:pPr marL="0" marR="0" lvl="0" indent="0" algn="l" defTabSz="685800" rtl="0" eaLnBrk="0" fontAlgn="base" latinLnBrk="0" hangingPunct="0">
                <a:lnSpc>
                  <a:spcPct val="100000"/>
                </a:lnSpc>
                <a:spcBef>
                  <a:spcPts val="0"/>
                </a:spcBef>
                <a:spcAft>
                  <a:spcPct val="0"/>
                </a:spcAft>
                <a:buClr>
                  <a:srgbClr val="59FFB9"/>
                </a:buClr>
                <a:buSzTx/>
                <a:buFontTx/>
                <a:buNone/>
                <a:tabLst/>
                <a:defRPr/>
              </a:pP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mn-cs"/>
                </a:rPr>
                <a:t>B2: Elo</a:t>
              </a: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Arial" panose="020B0604020202020204" pitchFamily="34" charset="0"/>
                </a:rPr>
                <a:t>–</a:t>
              </a:r>
              <a:r>
                <a:rPr kumimoji="0" lang="en-US" sz="760" b="1" i="0" u="none" strike="noStrike" kern="1200" cap="none" spc="0" normalizeH="0" baseline="0" noProof="0">
                  <a:ln>
                    <a:noFill/>
                  </a:ln>
                  <a:solidFill>
                    <a:srgbClr val="59FFB9"/>
                  </a:solidFill>
                  <a:effectLst/>
                  <a:uLnTx/>
                  <a:uFillTx/>
                  <a:latin typeface="Trebuchet MS"/>
                  <a:ea typeface="ＭＳ Ｐゴシック" charset="0"/>
                  <a:cs typeface="+mn-cs"/>
                </a:rPr>
                <a:t>VRd+EloR</a:t>
              </a:r>
              <a:endParaRPr kumimoji="0" lang="en-GB" sz="760" b="1" i="0" u="none" strike="noStrike" kern="1200" cap="none" spc="0" normalizeH="0" baseline="0" noProof="0">
                <a:ln>
                  <a:noFill/>
                </a:ln>
                <a:solidFill>
                  <a:srgbClr val="59FFB9"/>
                </a:solidFill>
                <a:effectLst/>
                <a:uLnTx/>
                <a:uFillTx/>
                <a:latin typeface="Trebuchet MS"/>
                <a:ea typeface="ＭＳ Ｐゴシック" charset="0"/>
                <a:cs typeface="+mn-cs"/>
              </a:endParaRPr>
            </a:p>
          </p:txBody>
        </p:sp>
        <p:cxnSp>
          <p:nvCxnSpPr>
            <p:cNvPr id="177" name="Straight Connector 176">
              <a:extLst>
                <a:ext uri="{FF2B5EF4-FFF2-40B4-BE49-F238E27FC236}">
                  <a16:creationId xmlns:a16="http://schemas.microsoft.com/office/drawing/2014/main" id="{E6B78AA1-3235-4AB7-A4CF-6404F3059F7D}"/>
                </a:ext>
              </a:extLst>
            </p:cNvPr>
            <p:cNvCxnSpPr/>
            <p:nvPr/>
          </p:nvCxnSpPr>
          <p:spPr>
            <a:xfrm>
              <a:off x="2488191" y="2995994"/>
              <a:ext cx="177158" cy="0"/>
            </a:xfrm>
            <a:prstGeom prst="line">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5B6C23FD-B62D-4141-A4CC-6AF4D4A8A633}"/>
                </a:ext>
              </a:extLst>
            </p:cNvPr>
            <p:cNvCxnSpPr/>
            <p:nvPr/>
          </p:nvCxnSpPr>
          <p:spPr>
            <a:xfrm>
              <a:off x="2488191" y="3178271"/>
              <a:ext cx="177158" cy="0"/>
            </a:xfrm>
            <a:prstGeom prst="line">
              <a:avLst/>
            </a:prstGeom>
            <a:ln w="19050">
              <a:solidFill>
                <a:schemeClr val="accent3"/>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04FBB730-D55D-41FE-A82D-5DA063F8C501}"/>
                </a:ext>
              </a:extLst>
            </p:cNvPr>
            <p:cNvCxnSpPr/>
            <p:nvPr/>
          </p:nvCxnSpPr>
          <p:spPr>
            <a:xfrm>
              <a:off x="2488191" y="3370778"/>
              <a:ext cx="177158" cy="0"/>
            </a:xfrm>
            <a:prstGeom prst="line">
              <a:avLst/>
            </a:prstGeom>
            <a:ln w="19050">
              <a:solidFill>
                <a:schemeClr val="accent2"/>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C516BF48-D643-4865-B051-05B85E8B98C4}"/>
                </a:ext>
              </a:extLst>
            </p:cNvPr>
            <p:cNvCxnSpPr/>
            <p:nvPr/>
          </p:nvCxnSpPr>
          <p:spPr>
            <a:xfrm>
              <a:off x="2488191" y="3553055"/>
              <a:ext cx="177158" cy="0"/>
            </a:xfrm>
            <a:prstGeom prst="line">
              <a:avLst/>
            </a:prstGeom>
            <a:ln w="19050">
              <a:solidFill>
                <a:schemeClr val="accent3"/>
              </a:solidFill>
              <a:prstDash val="solid"/>
              <a:tailEnd type="none"/>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53371201-4C65-487C-B98C-D255D1CB7564}"/>
              </a:ext>
            </a:extLst>
          </p:cNvPr>
          <p:cNvGrpSpPr/>
          <p:nvPr/>
        </p:nvGrpSpPr>
        <p:grpSpPr>
          <a:xfrm>
            <a:off x="510617" y="953448"/>
            <a:ext cx="3721648" cy="2051482"/>
            <a:chOff x="385400" y="1658670"/>
            <a:chExt cx="5251986" cy="2924130"/>
          </a:xfrm>
        </p:grpSpPr>
        <p:cxnSp>
          <p:nvCxnSpPr>
            <p:cNvPr id="13" name="Straight Connector 12">
              <a:extLst>
                <a:ext uri="{FF2B5EF4-FFF2-40B4-BE49-F238E27FC236}">
                  <a16:creationId xmlns:a16="http://schemas.microsoft.com/office/drawing/2014/main" id="{9E3894ED-6F98-45B7-9CF8-69FAEA9AFD49}"/>
                </a:ext>
              </a:extLst>
            </p:cNvPr>
            <p:cNvCxnSpPr>
              <a:cxnSpLocks/>
            </p:cNvCxnSpPr>
            <p:nvPr/>
          </p:nvCxnSpPr>
          <p:spPr>
            <a:xfrm>
              <a:off x="1339818" y="1933130"/>
              <a:ext cx="0" cy="219978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ABECC6-F645-455B-99D7-4E43A089D47A}"/>
                </a:ext>
              </a:extLst>
            </p:cNvPr>
            <p:cNvCxnSpPr>
              <a:cxnSpLocks/>
            </p:cNvCxnSpPr>
            <p:nvPr/>
          </p:nvCxnSpPr>
          <p:spPr>
            <a:xfrm>
              <a:off x="1338699" y="4134427"/>
              <a:ext cx="4214313"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7BD600D-63EE-4F42-97CF-D97B81B2201B}"/>
                </a:ext>
              </a:extLst>
            </p:cNvPr>
            <p:cNvCxnSpPr>
              <a:cxnSpLocks/>
            </p:cNvCxnSpPr>
            <p:nvPr/>
          </p:nvCxnSpPr>
          <p:spPr>
            <a:xfrm flipH="1">
              <a:off x="1496307"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77F5DAB-AA82-4EE8-BEEA-F9474CAFD48B}"/>
                </a:ext>
              </a:extLst>
            </p:cNvPr>
            <p:cNvSpPr txBox="1"/>
            <p:nvPr/>
          </p:nvSpPr>
          <p:spPr>
            <a:xfrm>
              <a:off x="1302738" y="4075564"/>
              <a:ext cx="385545"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7" name="Straight Connector 26">
              <a:extLst>
                <a:ext uri="{FF2B5EF4-FFF2-40B4-BE49-F238E27FC236}">
                  <a16:creationId xmlns:a16="http://schemas.microsoft.com/office/drawing/2014/main" id="{5CC8E60B-67FF-4E0D-8D92-B4F78EE7F818}"/>
                </a:ext>
              </a:extLst>
            </p:cNvPr>
            <p:cNvCxnSpPr>
              <a:cxnSpLocks/>
            </p:cNvCxnSpPr>
            <p:nvPr/>
          </p:nvCxnSpPr>
          <p:spPr>
            <a:xfrm flipH="1">
              <a:off x="1849827"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135CA71-BAB8-4CA8-ACB6-73E6412DC841}"/>
                </a:ext>
              </a:extLst>
            </p:cNvPr>
            <p:cNvSpPr txBox="1"/>
            <p:nvPr/>
          </p:nvSpPr>
          <p:spPr>
            <a:xfrm>
              <a:off x="1656258" y="4075563"/>
              <a:ext cx="385545"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6</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9" name="Straight Connector 28">
              <a:extLst>
                <a:ext uri="{FF2B5EF4-FFF2-40B4-BE49-F238E27FC236}">
                  <a16:creationId xmlns:a16="http://schemas.microsoft.com/office/drawing/2014/main" id="{7712383A-AFA9-435C-8A15-1BF62659C6D6}"/>
                </a:ext>
              </a:extLst>
            </p:cNvPr>
            <p:cNvCxnSpPr>
              <a:cxnSpLocks/>
            </p:cNvCxnSpPr>
            <p:nvPr/>
          </p:nvCxnSpPr>
          <p:spPr>
            <a:xfrm flipH="1">
              <a:off x="2204143"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F67723A-E3EB-499F-B311-0CB524D287E3}"/>
                </a:ext>
              </a:extLst>
            </p:cNvPr>
            <p:cNvSpPr txBox="1"/>
            <p:nvPr/>
          </p:nvSpPr>
          <p:spPr>
            <a:xfrm>
              <a:off x="1963712"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12</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31" name="Straight Connector 30">
              <a:extLst>
                <a:ext uri="{FF2B5EF4-FFF2-40B4-BE49-F238E27FC236}">
                  <a16:creationId xmlns:a16="http://schemas.microsoft.com/office/drawing/2014/main" id="{69037C95-6E2E-419F-9D1A-7D3A46E533A9}"/>
                </a:ext>
              </a:extLst>
            </p:cNvPr>
            <p:cNvCxnSpPr>
              <a:cxnSpLocks/>
            </p:cNvCxnSpPr>
            <p:nvPr/>
          </p:nvCxnSpPr>
          <p:spPr>
            <a:xfrm flipH="1">
              <a:off x="2559256"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F1E6678-26EF-42CC-B38F-F72429F2BFC3}"/>
                </a:ext>
              </a:extLst>
            </p:cNvPr>
            <p:cNvSpPr txBox="1"/>
            <p:nvPr/>
          </p:nvSpPr>
          <p:spPr>
            <a:xfrm>
              <a:off x="2318824"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18</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5" name="Straight Connector 14">
              <a:extLst>
                <a:ext uri="{FF2B5EF4-FFF2-40B4-BE49-F238E27FC236}">
                  <a16:creationId xmlns:a16="http://schemas.microsoft.com/office/drawing/2014/main" id="{B8B4AEF8-B4A0-4B28-8386-39D6B15B14D6}"/>
                </a:ext>
              </a:extLst>
            </p:cNvPr>
            <p:cNvCxnSpPr/>
            <p:nvPr/>
          </p:nvCxnSpPr>
          <p:spPr>
            <a:xfrm flipH="1">
              <a:off x="1280798" y="3519055"/>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3B20A68-17C0-4683-B3D6-5FBC1BDB9804}"/>
                </a:ext>
              </a:extLst>
            </p:cNvPr>
            <p:cNvSpPr txBox="1"/>
            <p:nvPr/>
          </p:nvSpPr>
          <p:spPr>
            <a:xfrm>
              <a:off x="755683" y="3244597"/>
              <a:ext cx="479270"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25</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7" name="Straight Connector 16">
              <a:extLst>
                <a:ext uri="{FF2B5EF4-FFF2-40B4-BE49-F238E27FC236}">
                  <a16:creationId xmlns:a16="http://schemas.microsoft.com/office/drawing/2014/main" id="{B4AE1655-6D6D-458B-8EB9-B6D079A8F5E1}"/>
                </a:ext>
              </a:extLst>
            </p:cNvPr>
            <p:cNvCxnSpPr/>
            <p:nvPr/>
          </p:nvCxnSpPr>
          <p:spPr>
            <a:xfrm flipH="1">
              <a:off x="1280798" y="2989049"/>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73AC842-5705-4713-9E46-86CFE2533991}"/>
                </a:ext>
              </a:extLst>
            </p:cNvPr>
            <p:cNvSpPr txBox="1"/>
            <p:nvPr/>
          </p:nvSpPr>
          <p:spPr>
            <a:xfrm>
              <a:off x="755683" y="2714592"/>
              <a:ext cx="479270"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5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1" name="Straight Connector 20">
              <a:extLst>
                <a:ext uri="{FF2B5EF4-FFF2-40B4-BE49-F238E27FC236}">
                  <a16:creationId xmlns:a16="http://schemas.microsoft.com/office/drawing/2014/main" id="{AE177309-C014-4CAE-B157-7752FA92BC46}"/>
                </a:ext>
              </a:extLst>
            </p:cNvPr>
            <p:cNvCxnSpPr/>
            <p:nvPr/>
          </p:nvCxnSpPr>
          <p:spPr>
            <a:xfrm flipH="1">
              <a:off x="1280798" y="2461312"/>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7F7CEE5-0590-4EB2-A0BF-AD5A4B5B9631}"/>
                </a:ext>
              </a:extLst>
            </p:cNvPr>
            <p:cNvSpPr txBox="1"/>
            <p:nvPr/>
          </p:nvSpPr>
          <p:spPr>
            <a:xfrm>
              <a:off x="755683" y="2186852"/>
              <a:ext cx="479270"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75</a:t>
              </a:r>
            </a:p>
          </p:txBody>
        </p:sp>
        <p:cxnSp>
          <p:nvCxnSpPr>
            <p:cNvPr id="23" name="Straight Connector 22">
              <a:extLst>
                <a:ext uri="{FF2B5EF4-FFF2-40B4-BE49-F238E27FC236}">
                  <a16:creationId xmlns:a16="http://schemas.microsoft.com/office/drawing/2014/main" id="{AA3A07F7-39E6-48F7-BBBF-FE9D944901E6}"/>
                </a:ext>
              </a:extLst>
            </p:cNvPr>
            <p:cNvCxnSpPr/>
            <p:nvPr/>
          </p:nvCxnSpPr>
          <p:spPr>
            <a:xfrm flipH="1">
              <a:off x="1280798" y="1933130"/>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9CA8050-695F-4EAA-ABDA-A64FC21651A9}"/>
                </a:ext>
              </a:extLst>
            </p:cNvPr>
            <p:cNvSpPr txBox="1"/>
            <p:nvPr/>
          </p:nvSpPr>
          <p:spPr>
            <a:xfrm>
              <a:off x="661959" y="1658670"/>
              <a:ext cx="572997"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10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33" name="Straight Connector 32">
              <a:extLst>
                <a:ext uri="{FF2B5EF4-FFF2-40B4-BE49-F238E27FC236}">
                  <a16:creationId xmlns:a16="http://schemas.microsoft.com/office/drawing/2014/main" id="{DEEE1C23-5F31-4A3A-BA92-8752D2C64EC6}"/>
                </a:ext>
              </a:extLst>
            </p:cNvPr>
            <p:cNvCxnSpPr/>
            <p:nvPr/>
          </p:nvCxnSpPr>
          <p:spPr>
            <a:xfrm flipH="1">
              <a:off x="1280798" y="4047812"/>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ACA4BAF-BB5D-477E-831C-DBD826A1F851}"/>
                </a:ext>
              </a:extLst>
            </p:cNvPr>
            <p:cNvSpPr txBox="1"/>
            <p:nvPr/>
          </p:nvSpPr>
          <p:spPr>
            <a:xfrm>
              <a:off x="849414" y="3773354"/>
              <a:ext cx="385544"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sp>
          <p:nvSpPr>
            <p:cNvPr id="35" name="TextBox 34">
              <a:extLst>
                <a:ext uri="{FF2B5EF4-FFF2-40B4-BE49-F238E27FC236}">
                  <a16:creationId xmlns:a16="http://schemas.microsoft.com/office/drawing/2014/main" id="{86470574-9978-4C1B-A7CE-85762EBC6FBB}"/>
                </a:ext>
              </a:extLst>
            </p:cNvPr>
            <p:cNvSpPr txBox="1"/>
            <p:nvPr/>
          </p:nvSpPr>
          <p:spPr>
            <a:xfrm rot="16200000">
              <a:off x="-418324" y="2764606"/>
              <a:ext cx="2114681" cy="507234"/>
            </a:xfrm>
            <a:prstGeom prst="rect">
              <a:avLst/>
            </a:prstGeom>
            <a:noFill/>
          </p:spPr>
          <p:txBody>
            <a:bodyPr wrap="squar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PFS probability</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59" name="Straight Connector 158">
              <a:extLst>
                <a:ext uri="{FF2B5EF4-FFF2-40B4-BE49-F238E27FC236}">
                  <a16:creationId xmlns:a16="http://schemas.microsoft.com/office/drawing/2014/main" id="{FA6115DB-6A38-47DC-92FA-52D7536BBF0F}"/>
                </a:ext>
              </a:extLst>
            </p:cNvPr>
            <p:cNvCxnSpPr>
              <a:cxnSpLocks/>
            </p:cNvCxnSpPr>
            <p:nvPr/>
          </p:nvCxnSpPr>
          <p:spPr>
            <a:xfrm flipH="1">
              <a:off x="2914760"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2D553B72-C9EA-41F8-92D7-A5F11EF056DE}"/>
                </a:ext>
              </a:extLst>
            </p:cNvPr>
            <p:cNvSpPr txBox="1"/>
            <p:nvPr/>
          </p:nvSpPr>
          <p:spPr>
            <a:xfrm>
              <a:off x="2674325"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24</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61" name="Straight Connector 160">
              <a:extLst>
                <a:ext uri="{FF2B5EF4-FFF2-40B4-BE49-F238E27FC236}">
                  <a16:creationId xmlns:a16="http://schemas.microsoft.com/office/drawing/2014/main" id="{2ACEB8E7-ADCF-4215-89C7-469529E82AE1}"/>
                </a:ext>
              </a:extLst>
            </p:cNvPr>
            <p:cNvCxnSpPr>
              <a:cxnSpLocks/>
            </p:cNvCxnSpPr>
            <p:nvPr/>
          </p:nvCxnSpPr>
          <p:spPr>
            <a:xfrm flipH="1">
              <a:off x="3268280"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AF3320CE-3529-4074-8AF3-BEE5E84A3426}"/>
                </a:ext>
              </a:extLst>
            </p:cNvPr>
            <p:cNvSpPr txBox="1"/>
            <p:nvPr/>
          </p:nvSpPr>
          <p:spPr>
            <a:xfrm>
              <a:off x="3027849"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3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63" name="Straight Connector 162">
              <a:extLst>
                <a:ext uri="{FF2B5EF4-FFF2-40B4-BE49-F238E27FC236}">
                  <a16:creationId xmlns:a16="http://schemas.microsoft.com/office/drawing/2014/main" id="{969745F8-5125-4946-B78E-CA1685E589D6}"/>
                </a:ext>
              </a:extLst>
            </p:cNvPr>
            <p:cNvCxnSpPr>
              <a:cxnSpLocks/>
            </p:cNvCxnSpPr>
            <p:nvPr/>
          </p:nvCxnSpPr>
          <p:spPr>
            <a:xfrm flipH="1">
              <a:off x="3622596"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F0797A89-E111-4971-B6E8-182E6BC5F625}"/>
                </a:ext>
              </a:extLst>
            </p:cNvPr>
            <p:cNvSpPr txBox="1"/>
            <p:nvPr/>
          </p:nvSpPr>
          <p:spPr>
            <a:xfrm>
              <a:off x="3382165"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36</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65" name="Straight Connector 164">
              <a:extLst>
                <a:ext uri="{FF2B5EF4-FFF2-40B4-BE49-F238E27FC236}">
                  <a16:creationId xmlns:a16="http://schemas.microsoft.com/office/drawing/2014/main" id="{E2B75440-CE43-436E-BC53-62C2D9180FD3}"/>
                </a:ext>
              </a:extLst>
            </p:cNvPr>
            <p:cNvCxnSpPr>
              <a:cxnSpLocks/>
            </p:cNvCxnSpPr>
            <p:nvPr/>
          </p:nvCxnSpPr>
          <p:spPr>
            <a:xfrm flipH="1">
              <a:off x="3977709"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5BDD5EAD-615C-4B6A-8EB7-2F4BF7F8E176}"/>
                </a:ext>
              </a:extLst>
            </p:cNvPr>
            <p:cNvSpPr txBox="1"/>
            <p:nvPr/>
          </p:nvSpPr>
          <p:spPr>
            <a:xfrm>
              <a:off x="3737278"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42</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67" name="Straight Connector 166">
              <a:extLst>
                <a:ext uri="{FF2B5EF4-FFF2-40B4-BE49-F238E27FC236}">
                  <a16:creationId xmlns:a16="http://schemas.microsoft.com/office/drawing/2014/main" id="{24BB19EB-C23E-4EFE-97F2-9C2E91FC441D}"/>
                </a:ext>
              </a:extLst>
            </p:cNvPr>
            <p:cNvCxnSpPr>
              <a:cxnSpLocks/>
            </p:cNvCxnSpPr>
            <p:nvPr/>
          </p:nvCxnSpPr>
          <p:spPr>
            <a:xfrm flipH="1">
              <a:off x="4335599"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0E4BEADC-A221-4C5B-A543-0E9591544CFE}"/>
                </a:ext>
              </a:extLst>
            </p:cNvPr>
            <p:cNvSpPr txBox="1"/>
            <p:nvPr/>
          </p:nvSpPr>
          <p:spPr>
            <a:xfrm>
              <a:off x="4095166"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48</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69" name="Straight Connector 168">
              <a:extLst>
                <a:ext uri="{FF2B5EF4-FFF2-40B4-BE49-F238E27FC236}">
                  <a16:creationId xmlns:a16="http://schemas.microsoft.com/office/drawing/2014/main" id="{FDDA1DE3-D81E-4957-AA00-D3B1162BE0BA}"/>
                </a:ext>
              </a:extLst>
            </p:cNvPr>
            <p:cNvCxnSpPr>
              <a:cxnSpLocks/>
            </p:cNvCxnSpPr>
            <p:nvPr/>
          </p:nvCxnSpPr>
          <p:spPr>
            <a:xfrm flipH="1">
              <a:off x="4689119"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93F2E3C4-6AB5-4F5B-9C76-152A7FE888D6}"/>
                </a:ext>
              </a:extLst>
            </p:cNvPr>
            <p:cNvSpPr txBox="1"/>
            <p:nvPr/>
          </p:nvSpPr>
          <p:spPr>
            <a:xfrm>
              <a:off x="4448688"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54</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71" name="Straight Connector 170">
              <a:extLst>
                <a:ext uri="{FF2B5EF4-FFF2-40B4-BE49-F238E27FC236}">
                  <a16:creationId xmlns:a16="http://schemas.microsoft.com/office/drawing/2014/main" id="{6D8723A7-CFFE-4D5B-BC22-4D9F510C28B3}"/>
                </a:ext>
              </a:extLst>
            </p:cNvPr>
            <p:cNvCxnSpPr>
              <a:cxnSpLocks/>
            </p:cNvCxnSpPr>
            <p:nvPr/>
          </p:nvCxnSpPr>
          <p:spPr>
            <a:xfrm flipH="1">
              <a:off x="5043435"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B94135EB-2F67-404B-B00B-BFA9DFD9D897}"/>
                </a:ext>
              </a:extLst>
            </p:cNvPr>
            <p:cNvSpPr txBox="1"/>
            <p:nvPr/>
          </p:nvSpPr>
          <p:spPr>
            <a:xfrm>
              <a:off x="4803003"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6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173" name="Straight Connector 172">
              <a:extLst>
                <a:ext uri="{FF2B5EF4-FFF2-40B4-BE49-F238E27FC236}">
                  <a16:creationId xmlns:a16="http://schemas.microsoft.com/office/drawing/2014/main" id="{707D98A2-7137-431C-9FA0-5BB3E78E57A3}"/>
                </a:ext>
              </a:extLst>
            </p:cNvPr>
            <p:cNvCxnSpPr>
              <a:cxnSpLocks/>
            </p:cNvCxnSpPr>
            <p:nvPr/>
          </p:nvCxnSpPr>
          <p:spPr>
            <a:xfrm flipH="1">
              <a:off x="5398548"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921E2F32-0FD0-4D20-B174-F609F968C45E}"/>
                </a:ext>
              </a:extLst>
            </p:cNvPr>
            <p:cNvSpPr txBox="1"/>
            <p:nvPr/>
          </p:nvSpPr>
          <p:spPr>
            <a:xfrm>
              <a:off x="5158116"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66</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grpSp>
          <p:nvGrpSpPr>
            <p:cNvPr id="185" name="Group 184">
              <a:extLst>
                <a:ext uri="{FF2B5EF4-FFF2-40B4-BE49-F238E27FC236}">
                  <a16:creationId xmlns:a16="http://schemas.microsoft.com/office/drawing/2014/main" id="{7D3D7A98-2610-4AA6-8628-515502AE024B}"/>
                </a:ext>
              </a:extLst>
            </p:cNvPr>
            <p:cNvGrpSpPr/>
            <p:nvPr/>
          </p:nvGrpSpPr>
          <p:grpSpPr>
            <a:xfrm>
              <a:off x="1486138" y="1933129"/>
              <a:ext cx="3792616" cy="1036765"/>
              <a:chOff x="1487766" y="1933575"/>
              <a:chExt cx="3790989" cy="1036320"/>
            </a:xfrm>
          </p:grpSpPr>
          <p:sp>
            <p:nvSpPr>
              <p:cNvPr id="183" name="Freeform: Shape 182">
                <a:extLst>
                  <a:ext uri="{FF2B5EF4-FFF2-40B4-BE49-F238E27FC236}">
                    <a16:creationId xmlns:a16="http://schemas.microsoft.com/office/drawing/2014/main" id="{A214C3AC-9DD4-44EA-A927-4867AD62548B}"/>
                  </a:ext>
                </a:extLst>
              </p:cNvPr>
              <p:cNvSpPr/>
              <p:nvPr/>
            </p:nvSpPr>
            <p:spPr>
              <a:xfrm>
                <a:off x="2585085" y="2329815"/>
                <a:ext cx="2693670" cy="640080"/>
              </a:xfrm>
              <a:custGeom>
                <a:avLst/>
                <a:gdLst>
                  <a:gd name="connsiteX0" fmla="*/ 2693670 w 2693670"/>
                  <a:gd name="connsiteY0" fmla="*/ 640080 h 640080"/>
                  <a:gd name="connsiteX1" fmla="*/ 2114550 w 2693670"/>
                  <a:gd name="connsiteY1" fmla="*/ 640080 h 640080"/>
                  <a:gd name="connsiteX2" fmla="*/ 2114550 w 2693670"/>
                  <a:gd name="connsiteY2" fmla="*/ 572453 h 640080"/>
                  <a:gd name="connsiteX3" fmla="*/ 2073593 w 2693670"/>
                  <a:gd name="connsiteY3" fmla="*/ 572453 h 640080"/>
                  <a:gd name="connsiteX4" fmla="*/ 2073593 w 2693670"/>
                  <a:gd name="connsiteY4" fmla="*/ 510540 h 640080"/>
                  <a:gd name="connsiteX5" fmla="*/ 1779270 w 2693670"/>
                  <a:gd name="connsiteY5" fmla="*/ 510540 h 640080"/>
                  <a:gd name="connsiteX6" fmla="*/ 1779270 w 2693670"/>
                  <a:gd name="connsiteY6" fmla="*/ 480060 h 640080"/>
                  <a:gd name="connsiteX7" fmla="*/ 1609725 w 2693670"/>
                  <a:gd name="connsiteY7" fmla="*/ 480060 h 640080"/>
                  <a:gd name="connsiteX8" fmla="*/ 1609725 w 2693670"/>
                  <a:gd name="connsiteY8" fmla="*/ 453390 h 640080"/>
                  <a:gd name="connsiteX9" fmla="*/ 1596390 w 2693670"/>
                  <a:gd name="connsiteY9" fmla="*/ 453390 h 640080"/>
                  <a:gd name="connsiteX10" fmla="*/ 1596390 w 2693670"/>
                  <a:gd name="connsiteY10" fmla="*/ 427673 h 640080"/>
                  <a:gd name="connsiteX11" fmla="*/ 1544003 w 2693670"/>
                  <a:gd name="connsiteY11" fmla="*/ 427673 h 640080"/>
                  <a:gd name="connsiteX12" fmla="*/ 1544003 w 2693670"/>
                  <a:gd name="connsiteY12" fmla="*/ 408623 h 640080"/>
                  <a:gd name="connsiteX13" fmla="*/ 1446848 w 2693670"/>
                  <a:gd name="connsiteY13" fmla="*/ 408623 h 640080"/>
                  <a:gd name="connsiteX14" fmla="*/ 1446848 w 2693670"/>
                  <a:gd name="connsiteY14" fmla="*/ 386715 h 640080"/>
                  <a:gd name="connsiteX15" fmla="*/ 1323975 w 2693670"/>
                  <a:gd name="connsiteY15" fmla="*/ 386715 h 640080"/>
                  <a:gd name="connsiteX16" fmla="*/ 1323975 w 2693670"/>
                  <a:gd name="connsiteY16" fmla="*/ 370523 h 640080"/>
                  <a:gd name="connsiteX17" fmla="*/ 1286828 w 2693670"/>
                  <a:gd name="connsiteY17" fmla="*/ 370523 h 640080"/>
                  <a:gd name="connsiteX18" fmla="*/ 1286828 w 2693670"/>
                  <a:gd name="connsiteY18" fmla="*/ 345758 h 640080"/>
                  <a:gd name="connsiteX19" fmla="*/ 1274445 w 2693670"/>
                  <a:gd name="connsiteY19" fmla="*/ 345758 h 640080"/>
                  <a:gd name="connsiteX20" fmla="*/ 1274445 w 2693670"/>
                  <a:gd name="connsiteY20" fmla="*/ 329565 h 640080"/>
                  <a:gd name="connsiteX21" fmla="*/ 1246823 w 2693670"/>
                  <a:gd name="connsiteY21" fmla="*/ 329565 h 640080"/>
                  <a:gd name="connsiteX22" fmla="*/ 1246823 w 2693670"/>
                  <a:gd name="connsiteY22" fmla="*/ 316230 h 640080"/>
                  <a:gd name="connsiteX23" fmla="*/ 1232535 w 2693670"/>
                  <a:gd name="connsiteY23" fmla="*/ 316230 h 640080"/>
                  <a:gd name="connsiteX24" fmla="*/ 1232535 w 2693670"/>
                  <a:gd name="connsiteY24" fmla="*/ 300990 h 640080"/>
                  <a:gd name="connsiteX25" fmla="*/ 1160145 w 2693670"/>
                  <a:gd name="connsiteY25" fmla="*/ 300990 h 640080"/>
                  <a:gd name="connsiteX26" fmla="*/ 1160145 w 2693670"/>
                  <a:gd name="connsiteY26" fmla="*/ 279083 h 640080"/>
                  <a:gd name="connsiteX27" fmla="*/ 1048703 w 2693670"/>
                  <a:gd name="connsiteY27" fmla="*/ 279083 h 640080"/>
                  <a:gd name="connsiteX28" fmla="*/ 1048703 w 2693670"/>
                  <a:gd name="connsiteY28" fmla="*/ 262890 h 640080"/>
                  <a:gd name="connsiteX29" fmla="*/ 993458 w 2693670"/>
                  <a:gd name="connsiteY29" fmla="*/ 262890 h 640080"/>
                  <a:gd name="connsiteX30" fmla="*/ 993458 w 2693670"/>
                  <a:gd name="connsiteY30" fmla="*/ 247650 h 640080"/>
                  <a:gd name="connsiteX31" fmla="*/ 926783 w 2693670"/>
                  <a:gd name="connsiteY31" fmla="*/ 247650 h 640080"/>
                  <a:gd name="connsiteX32" fmla="*/ 926783 w 2693670"/>
                  <a:gd name="connsiteY32" fmla="*/ 230505 h 640080"/>
                  <a:gd name="connsiteX33" fmla="*/ 892493 w 2693670"/>
                  <a:gd name="connsiteY33" fmla="*/ 230505 h 640080"/>
                  <a:gd name="connsiteX34" fmla="*/ 892493 w 2693670"/>
                  <a:gd name="connsiteY34" fmla="*/ 213360 h 640080"/>
                  <a:gd name="connsiteX35" fmla="*/ 751523 w 2693670"/>
                  <a:gd name="connsiteY35" fmla="*/ 213360 h 640080"/>
                  <a:gd name="connsiteX36" fmla="*/ 751523 w 2693670"/>
                  <a:gd name="connsiteY36" fmla="*/ 197168 h 640080"/>
                  <a:gd name="connsiteX37" fmla="*/ 730568 w 2693670"/>
                  <a:gd name="connsiteY37" fmla="*/ 197168 h 640080"/>
                  <a:gd name="connsiteX38" fmla="*/ 730568 w 2693670"/>
                  <a:gd name="connsiteY38" fmla="*/ 183833 h 640080"/>
                  <a:gd name="connsiteX39" fmla="*/ 682943 w 2693670"/>
                  <a:gd name="connsiteY39" fmla="*/ 183833 h 640080"/>
                  <a:gd name="connsiteX40" fmla="*/ 682943 w 2693670"/>
                  <a:gd name="connsiteY40" fmla="*/ 164783 h 640080"/>
                  <a:gd name="connsiteX41" fmla="*/ 407670 w 2693670"/>
                  <a:gd name="connsiteY41" fmla="*/ 164783 h 640080"/>
                  <a:gd name="connsiteX42" fmla="*/ 407670 w 2693670"/>
                  <a:gd name="connsiteY42" fmla="*/ 133350 h 640080"/>
                  <a:gd name="connsiteX43" fmla="*/ 206693 w 2693670"/>
                  <a:gd name="connsiteY43" fmla="*/ 133350 h 640080"/>
                  <a:gd name="connsiteX44" fmla="*/ 206693 w 2693670"/>
                  <a:gd name="connsiteY44" fmla="*/ 115253 h 640080"/>
                  <a:gd name="connsiteX45" fmla="*/ 189548 w 2693670"/>
                  <a:gd name="connsiteY45" fmla="*/ 115253 h 640080"/>
                  <a:gd name="connsiteX46" fmla="*/ 189548 w 2693670"/>
                  <a:gd name="connsiteY46" fmla="*/ 102870 h 640080"/>
                  <a:gd name="connsiteX47" fmla="*/ 183833 w 2693670"/>
                  <a:gd name="connsiteY47" fmla="*/ 102870 h 640080"/>
                  <a:gd name="connsiteX48" fmla="*/ 183833 w 2693670"/>
                  <a:gd name="connsiteY48" fmla="*/ 84773 h 640080"/>
                  <a:gd name="connsiteX49" fmla="*/ 130493 w 2693670"/>
                  <a:gd name="connsiteY49" fmla="*/ 84773 h 640080"/>
                  <a:gd name="connsiteX50" fmla="*/ 130493 w 2693670"/>
                  <a:gd name="connsiteY50" fmla="*/ 67628 h 640080"/>
                  <a:gd name="connsiteX51" fmla="*/ 121920 w 2693670"/>
                  <a:gd name="connsiteY51" fmla="*/ 67628 h 640080"/>
                  <a:gd name="connsiteX52" fmla="*/ 121920 w 2693670"/>
                  <a:gd name="connsiteY52" fmla="*/ 52388 h 640080"/>
                  <a:gd name="connsiteX53" fmla="*/ 70485 w 2693670"/>
                  <a:gd name="connsiteY53" fmla="*/ 52388 h 640080"/>
                  <a:gd name="connsiteX54" fmla="*/ 70485 w 2693670"/>
                  <a:gd name="connsiteY54" fmla="*/ 38100 h 640080"/>
                  <a:gd name="connsiteX55" fmla="*/ 33338 w 2693670"/>
                  <a:gd name="connsiteY55" fmla="*/ 38100 h 640080"/>
                  <a:gd name="connsiteX56" fmla="*/ 33338 w 2693670"/>
                  <a:gd name="connsiteY56" fmla="*/ 19050 h 640080"/>
                  <a:gd name="connsiteX57" fmla="*/ 0 w 2693670"/>
                  <a:gd name="connsiteY57" fmla="*/ 19050 h 640080"/>
                  <a:gd name="connsiteX58" fmla="*/ 0 w 2693670"/>
                  <a:gd name="connsiteY58"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693670" h="640080">
                    <a:moveTo>
                      <a:pt x="2693670" y="640080"/>
                    </a:moveTo>
                    <a:lnTo>
                      <a:pt x="2114550" y="640080"/>
                    </a:lnTo>
                    <a:lnTo>
                      <a:pt x="2114550" y="572453"/>
                    </a:lnTo>
                    <a:lnTo>
                      <a:pt x="2073593" y="572453"/>
                    </a:lnTo>
                    <a:lnTo>
                      <a:pt x="2073593" y="510540"/>
                    </a:lnTo>
                    <a:lnTo>
                      <a:pt x="1779270" y="510540"/>
                    </a:lnTo>
                    <a:lnTo>
                      <a:pt x="1779270" y="480060"/>
                    </a:lnTo>
                    <a:lnTo>
                      <a:pt x="1609725" y="480060"/>
                    </a:lnTo>
                    <a:lnTo>
                      <a:pt x="1609725" y="453390"/>
                    </a:lnTo>
                    <a:lnTo>
                      <a:pt x="1596390" y="453390"/>
                    </a:lnTo>
                    <a:lnTo>
                      <a:pt x="1596390" y="427673"/>
                    </a:lnTo>
                    <a:lnTo>
                      <a:pt x="1544003" y="427673"/>
                    </a:lnTo>
                    <a:lnTo>
                      <a:pt x="1544003" y="408623"/>
                    </a:lnTo>
                    <a:lnTo>
                      <a:pt x="1446848" y="408623"/>
                    </a:lnTo>
                    <a:lnTo>
                      <a:pt x="1446848" y="386715"/>
                    </a:lnTo>
                    <a:lnTo>
                      <a:pt x="1323975" y="386715"/>
                    </a:lnTo>
                    <a:lnTo>
                      <a:pt x="1323975" y="370523"/>
                    </a:lnTo>
                    <a:lnTo>
                      <a:pt x="1286828" y="370523"/>
                    </a:lnTo>
                    <a:lnTo>
                      <a:pt x="1286828" y="345758"/>
                    </a:lnTo>
                    <a:lnTo>
                      <a:pt x="1274445" y="345758"/>
                    </a:lnTo>
                    <a:lnTo>
                      <a:pt x="1274445" y="329565"/>
                    </a:lnTo>
                    <a:lnTo>
                      <a:pt x="1246823" y="329565"/>
                    </a:lnTo>
                    <a:lnTo>
                      <a:pt x="1246823" y="316230"/>
                    </a:lnTo>
                    <a:lnTo>
                      <a:pt x="1232535" y="316230"/>
                    </a:lnTo>
                    <a:lnTo>
                      <a:pt x="1232535" y="300990"/>
                    </a:lnTo>
                    <a:lnTo>
                      <a:pt x="1160145" y="300990"/>
                    </a:lnTo>
                    <a:lnTo>
                      <a:pt x="1160145" y="279083"/>
                    </a:lnTo>
                    <a:lnTo>
                      <a:pt x="1048703" y="279083"/>
                    </a:lnTo>
                    <a:lnTo>
                      <a:pt x="1048703" y="262890"/>
                    </a:lnTo>
                    <a:lnTo>
                      <a:pt x="993458" y="262890"/>
                    </a:lnTo>
                    <a:lnTo>
                      <a:pt x="993458" y="247650"/>
                    </a:lnTo>
                    <a:lnTo>
                      <a:pt x="926783" y="247650"/>
                    </a:lnTo>
                    <a:lnTo>
                      <a:pt x="926783" y="230505"/>
                    </a:lnTo>
                    <a:lnTo>
                      <a:pt x="892493" y="230505"/>
                    </a:lnTo>
                    <a:lnTo>
                      <a:pt x="892493" y="213360"/>
                    </a:lnTo>
                    <a:lnTo>
                      <a:pt x="751523" y="213360"/>
                    </a:lnTo>
                    <a:lnTo>
                      <a:pt x="751523" y="197168"/>
                    </a:lnTo>
                    <a:lnTo>
                      <a:pt x="730568" y="197168"/>
                    </a:lnTo>
                    <a:lnTo>
                      <a:pt x="730568" y="183833"/>
                    </a:lnTo>
                    <a:lnTo>
                      <a:pt x="682943" y="183833"/>
                    </a:lnTo>
                    <a:lnTo>
                      <a:pt x="682943" y="164783"/>
                    </a:lnTo>
                    <a:lnTo>
                      <a:pt x="407670" y="164783"/>
                    </a:lnTo>
                    <a:lnTo>
                      <a:pt x="407670" y="133350"/>
                    </a:lnTo>
                    <a:lnTo>
                      <a:pt x="206693" y="133350"/>
                    </a:lnTo>
                    <a:lnTo>
                      <a:pt x="206693" y="115253"/>
                    </a:lnTo>
                    <a:lnTo>
                      <a:pt x="189548" y="115253"/>
                    </a:lnTo>
                    <a:lnTo>
                      <a:pt x="189548" y="102870"/>
                    </a:lnTo>
                    <a:lnTo>
                      <a:pt x="183833" y="102870"/>
                    </a:lnTo>
                    <a:lnTo>
                      <a:pt x="183833" y="84773"/>
                    </a:lnTo>
                    <a:lnTo>
                      <a:pt x="130493" y="84773"/>
                    </a:lnTo>
                    <a:lnTo>
                      <a:pt x="130493" y="67628"/>
                    </a:lnTo>
                    <a:lnTo>
                      <a:pt x="121920" y="67628"/>
                    </a:lnTo>
                    <a:lnTo>
                      <a:pt x="121920" y="52388"/>
                    </a:lnTo>
                    <a:lnTo>
                      <a:pt x="70485" y="52388"/>
                    </a:lnTo>
                    <a:lnTo>
                      <a:pt x="70485" y="38100"/>
                    </a:lnTo>
                    <a:lnTo>
                      <a:pt x="33338" y="38100"/>
                    </a:lnTo>
                    <a:lnTo>
                      <a:pt x="33338" y="19050"/>
                    </a:lnTo>
                    <a:lnTo>
                      <a:pt x="0" y="19050"/>
                    </a:lnTo>
                    <a:lnTo>
                      <a:pt x="0" y="0"/>
                    </a:lnTo>
                  </a:path>
                </a:pathLst>
              </a:custGeom>
              <a:noFill/>
              <a:ln w="19050">
                <a:solidFill>
                  <a:schemeClr val="accent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sp>
            <p:nvSpPr>
              <p:cNvPr id="184" name="Freeform: Shape 183">
                <a:extLst>
                  <a:ext uri="{FF2B5EF4-FFF2-40B4-BE49-F238E27FC236}">
                    <a16:creationId xmlns:a16="http://schemas.microsoft.com/office/drawing/2014/main" id="{571B886A-BEED-4386-98D8-CD673B9536F6}"/>
                  </a:ext>
                </a:extLst>
              </p:cNvPr>
              <p:cNvSpPr/>
              <p:nvPr/>
            </p:nvSpPr>
            <p:spPr>
              <a:xfrm>
                <a:off x="1487766" y="1933575"/>
                <a:ext cx="1098273" cy="398145"/>
              </a:xfrm>
              <a:custGeom>
                <a:avLst/>
                <a:gdLst>
                  <a:gd name="connsiteX0" fmla="*/ 0 w 1189673"/>
                  <a:gd name="connsiteY0" fmla="*/ 0 h 398145"/>
                  <a:gd name="connsiteX1" fmla="*/ 113348 w 1189673"/>
                  <a:gd name="connsiteY1" fmla="*/ 0 h 398145"/>
                  <a:gd name="connsiteX2" fmla="*/ 113348 w 1189673"/>
                  <a:gd name="connsiteY2" fmla="*/ 19050 h 398145"/>
                  <a:gd name="connsiteX3" fmla="*/ 221933 w 1189673"/>
                  <a:gd name="connsiteY3" fmla="*/ 19050 h 398145"/>
                  <a:gd name="connsiteX4" fmla="*/ 221933 w 1189673"/>
                  <a:gd name="connsiteY4" fmla="*/ 60960 h 398145"/>
                  <a:gd name="connsiteX5" fmla="*/ 320040 w 1189673"/>
                  <a:gd name="connsiteY5" fmla="*/ 60960 h 398145"/>
                  <a:gd name="connsiteX6" fmla="*/ 320040 w 1189673"/>
                  <a:gd name="connsiteY6" fmla="*/ 91440 h 398145"/>
                  <a:gd name="connsiteX7" fmla="*/ 331470 w 1189673"/>
                  <a:gd name="connsiteY7" fmla="*/ 91440 h 398145"/>
                  <a:gd name="connsiteX8" fmla="*/ 331470 w 1189673"/>
                  <a:gd name="connsiteY8" fmla="*/ 111443 h 398145"/>
                  <a:gd name="connsiteX9" fmla="*/ 345758 w 1189673"/>
                  <a:gd name="connsiteY9" fmla="*/ 111443 h 398145"/>
                  <a:gd name="connsiteX10" fmla="*/ 345758 w 1189673"/>
                  <a:gd name="connsiteY10" fmla="*/ 124778 h 398145"/>
                  <a:gd name="connsiteX11" fmla="*/ 358140 w 1189673"/>
                  <a:gd name="connsiteY11" fmla="*/ 124778 h 398145"/>
                  <a:gd name="connsiteX12" fmla="*/ 358140 w 1189673"/>
                  <a:gd name="connsiteY12" fmla="*/ 159068 h 398145"/>
                  <a:gd name="connsiteX13" fmla="*/ 389573 w 1189673"/>
                  <a:gd name="connsiteY13" fmla="*/ 159068 h 398145"/>
                  <a:gd name="connsiteX14" fmla="*/ 389573 w 1189673"/>
                  <a:gd name="connsiteY14" fmla="*/ 187643 h 398145"/>
                  <a:gd name="connsiteX15" fmla="*/ 506730 w 1189673"/>
                  <a:gd name="connsiteY15" fmla="*/ 187643 h 398145"/>
                  <a:gd name="connsiteX16" fmla="*/ 506730 w 1189673"/>
                  <a:gd name="connsiteY16" fmla="*/ 203835 h 398145"/>
                  <a:gd name="connsiteX17" fmla="*/ 638175 w 1189673"/>
                  <a:gd name="connsiteY17" fmla="*/ 203835 h 398145"/>
                  <a:gd name="connsiteX18" fmla="*/ 638175 w 1189673"/>
                  <a:gd name="connsiteY18" fmla="*/ 219075 h 398145"/>
                  <a:gd name="connsiteX19" fmla="*/ 834390 w 1189673"/>
                  <a:gd name="connsiteY19" fmla="*/ 219075 h 398145"/>
                  <a:gd name="connsiteX20" fmla="*/ 834390 w 1189673"/>
                  <a:gd name="connsiteY20" fmla="*/ 236220 h 398145"/>
                  <a:gd name="connsiteX21" fmla="*/ 870585 w 1189673"/>
                  <a:gd name="connsiteY21" fmla="*/ 236220 h 398145"/>
                  <a:gd name="connsiteX22" fmla="*/ 870585 w 1189673"/>
                  <a:gd name="connsiteY22" fmla="*/ 254318 h 398145"/>
                  <a:gd name="connsiteX23" fmla="*/ 900113 w 1189673"/>
                  <a:gd name="connsiteY23" fmla="*/ 254318 h 398145"/>
                  <a:gd name="connsiteX24" fmla="*/ 900113 w 1189673"/>
                  <a:gd name="connsiteY24" fmla="*/ 269558 h 398145"/>
                  <a:gd name="connsiteX25" fmla="*/ 928688 w 1189673"/>
                  <a:gd name="connsiteY25" fmla="*/ 269558 h 398145"/>
                  <a:gd name="connsiteX26" fmla="*/ 928688 w 1189673"/>
                  <a:gd name="connsiteY26" fmla="*/ 286703 h 398145"/>
                  <a:gd name="connsiteX27" fmla="*/ 942023 w 1189673"/>
                  <a:gd name="connsiteY27" fmla="*/ 286703 h 398145"/>
                  <a:gd name="connsiteX28" fmla="*/ 942023 w 1189673"/>
                  <a:gd name="connsiteY28" fmla="*/ 301943 h 398145"/>
                  <a:gd name="connsiteX29" fmla="*/ 963930 w 1189673"/>
                  <a:gd name="connsiteY29" fmla="*/ 301943 h 398145"/>
                  <a:gd name="connsiteX30" fmla="*/ 963930 w 1189673"/>
                  <a:gd name="connsiteY30" fmla="*/ 318135 h 398145"/>
                  <a:gd name="connsiteX31" fmla="*/ 986790 w 1189673"/>
                  <a:gd name="connsiteY31" fmla="*/ 318135 h 398145"/>
                  <a:gd name="connsiteX32" fmla="*/ 986790 w 1189673"/>
                  <a:gd name="connsiteY32" fmla="*/ 331470 h 398145"/>
                  <a:gd name="connsiteX33" fmla="*/ 1000125 w 1189673"/>
                  <a:gd name="connsiteY33" fmla="*/ 331470 h 398145"/>
                  <a:gd name="connsiteX34" fmla="*/ 1000125 w 1189673"/>
                  <a:gd name="connsiteY34" fmla="*/ 351473 h 398145"/>
                  <a:gd name="connsiteX35" fmla="*/ 1063943 w 1189673"/>
                  <a:gd name="connsiteY35" fmla="*/ 351473 h 398145"/>
                  <a:gd name="connsiteX36" fmla="*/ 1063943 w 1189673"/>
                  <a:gd name="connsiteY36" fmla="*/ 363855 h 398145"/>
                  <a:gd name="connsiteX37" fmla="*/ 1120140 w 1189673"/>
                  <a:gd name="connsiteY37" fmla="*/ 363855 h 398145"/>
                  <a:gd name="connsiteX38" fmla="*/ 1120140 w 1189673"/>
                  <a:gd name="connsiteY38" fmla="*/ 380048 h 398145"/>
                  <a:gd name="connsiteX39" fmla="*/ 1137285 w 1189673"/>
                  <a:gd name="connsiteY39" fmla="*/ 380048 h 398145"/>
                  <a:gd name="connsiteX40" fmla="*/ 1137285 w 1189673"/>
                  <a:gd name="connsiteY40" fmla="*/ 398145 h 398145"/>
                  <a:gd name="connsiteX41" fmla="*/ 1189673 w 1189673"/>
                  <a:gd name="connsiteY41" fmla="*/ 398145 h 398145"/>
                  <a:gd name="connsiteX0" fmla="*/ 0 w 1097321"/>
                  <a:gd name="connsiteY0" fmla="*/ 0 h 401001"/>
                  <a:gd name="connsiteX1" fmla="*/ 20996 w 1097321"/>
                  <a:gd name="connsiteY1" fmla="*/ 2856 h 401001"/>
                  <a:gd name="connsiteX2" fmla="*/ 20996 w 1097321"/>
                  <a:gd name="connsiteY2" fmla="*/ 21906 h 401001"/>
                  <a:gd name="connsiteX3" fmla="*/ 129581 w 1097321"/>
                  <a:gd name="connsiteY3" fmla="*/ 21906 h 401001"/>
                  <a:gd name="connsiteX4" fmla="*/ 129581 w 1097321"/>
                  <a:gd name="connsiteY4" fmla="*/ 63816 h 401001"/>
                  <a:gd name="connsiteX5" fmla="*/ 227688 w 1097321"/>
                  <a:gd name="connsiteY5" fmla="*/ 63816 h 401001"/>
                  <a:gd name="connsiteX6" fmla="*/ 227688 w 1097321"/>
                  <a:gd name="connsiteY6" fmla="*/ 94296 h 401001"/>
                  <a:gd name="connsiteX7" fmla="*/ 239118 w 1097321"/>
                  <a:gd name="connsiteY7" fmla="*/ 94296 h 401001"/>
                  <a:gd name="connsiteX8" fmla="*/ 239118 w 1097321"/>
                  <a:gd name="connsiteY8" fmla="*/ 114299 h 401001"/>
                  <a:gd name="connsiteX9" fmla="*/ 253406 w 1097321"/>
                  <a:gd name="connsiteY9" fmla="*/ 114299 h 401001"/>
                  <a:gd name="connsiteX10" fmla="*/ 253406 w 1097321"/>
                  <a:gd name="connsiteY10" fmla="*/ 127634 h 401001"/>
                  <a:gd name="connsiteX11" fmla="*/ 265788 w 1097321"/>
                  <a:gd name="connsiteY11" fmla="*/ 127634 h 401001"/>
                  <a:gd name="connsiteX12" fmla="*/ 265788 w 1097321"/>
                  <a:gd name="connsiteY12" fmla="*/ 161924 h 401001"/>
                  <a:gd name="connsiteX13" fmla="*/ 297221 w 1097321"/>
                  <a:gd name="connsiteY13" fmla="*/ 161924 h 401001"/>
                  <a:gd name="connsiteX14" fmla="*/ 297221 w 1097321"/>
                  <a:gd name="connsiteY14" fmla="*/ 190499 h 401001"/>
                  <a:gd name="connsiteX15" fmla="*/ 414378 w 1097321"/>
                  <a:gd name="connsiteY15" fmla="*/ 190499 h 401001"/>
                  <a:gd name="connsiteX16" fmla="*/ 414378 w 1097321"/>
                  <a:gd name="connsiteY16" fmla="*/ 206691 h 401001"/>
                  <a:gd name="connsiteX17" fmla="*/ 545823 w 1097321"/>
                  <a:gd name="connsiteY17" fmla="*/ 206691 h 401001"/>
                  <a:gd name="connsiteX18" fmla="*/ 545823 w 1097321"/>
                  <a:gd name="connsiteY18" fmla="*/ 221931 h 401001"/>
                  <a:gd name="connsiteX19" fmla="*/ 742038 w 1097321"/>
                  <a:gd name="connsiteY19" fmla="*/ 221931 h 401001"/>
                  <a:gd name="connsiteX20" fmla="*/ 742038 w 1097321"/>
                  <a:gd name="connsiteY20" fmla="*/ 239076 h 401001"/>
                  <a:gd name="connsiteX21" fmla="*/ 778233 w 1097321"/>
                  <a:gd name="connsiteY21" fmla="*/ 239076 h 401001"/>
                  <a:gd name="connsiteX22" fmla="*/ 778233 w 1097321"/>
                  <a:gd name="connsiteY22" fmla="*/ 257174 h 401001"/>
                  <a:gd name="connsiteX23" fmla="*/ 807761 w 1097321"/>
                  <a:gd name="connsiteY23" fmla="*/ 257174 h 401001"/>
                  <a:gd name="connsiteX24" fmla="*/ 807761 w 1097321"/>
                  <a:gd name="connsiteY24" fmla="*/ 272414 h 401001"/>
                  <a:gd name="connsiteX25" fmla="*/ 836336 w 1097321"/>
                  <a:gd name="connsiteY25" fmla="*/ 272414 h 401001"/>
                  <a:gd name="connsiteX26" fmla="*/ 836336 w 1097321"/>
                  <a:gd name="connsiteY26" fmla="*/ 289559 h 401001"/>
                  <a:gd name="connsiteX27" fmla="*/ 849671 w 1097321"/>
                  <a:gd name="connsiteY27" fmla="*/ 289559 h 401001"/>
                  <a:gd name="connsiteX28" fmla="*/ 849671 w 1097321"/>
                  <a:gd name="connsiteY28" fmla="*/ 304799 h 401001"/>
                  <a:gd name="connsiteX29" fmla="*/ 871578 w 1097321"/>
                  <a:gd name="connsiteY29" fmla="*/ 304799 h 401001"/>
                  <a:gd name="connsiteX30" fmla="*/ 871578 w 1097321"/>
                  <a:gd name="connsiteY30" fmla="*/ 320991 h 401001"/>
                  <a:gd name="connsiteX31" fmla="*/ 894438 w 1097321"/>
                  <a:gd name="connsiteY31" fmla="*/ 320991 h 401001"/>
                  <a:gd name="connsiteX32" fmla="*/ 894438 w 1097321"/>
                  <a:gd name="connsiteY32" fmla="*/ 334326 h 401001"/>
                  <a:gd name="connsiteX33" fmla="*/ 907773 w 1097321"/>
                  <a:gd name="connsiteY33" fmla="*/ 334326 h 401001"/>
                  <a:gd name="connsiteX34" fmla="*/ 907773 w 1097321"/>
                  <a:gd name="connsiteY34" fmla="*/ 354329 h 401001"/>
                  <a:gd name="connsiteX35" fmla="*/ 971591 w 1097321"/>
                  <a:gd name="connsiteY35" fmla="*/ 354329 h 401001"/>
                  <a:gd name="connsiteX36" fmla="*/ 971591 w 1097321"/>
                  <a:gd name="connsiteY36" fmla="*/ 366711 h 401001"/>
                  <a:gd name="connsiteX37" fmla="*/ 1027788 w 1097321"/>
                  <a:gd name="connsiteY37" fmla="*/ 366711 h 401001"/>
                  <a:gd name="connsiteX38" fmla="*/ 1027788 w 1097321"/>
                  <a:gd name="connsiteY38" fmla="*/ 382904 h 401001"/>
                  <a:gd name="connsiteX39" fmla="*/ 1044933 w 1097321"/>
                  <a:gd name="connsiteY39" fmla="*/ 382904 h 401001"/>
                  <a:gd name="connsiteX40" fmla="*/ 1044933 w 1097321"/>
                  <a:gd name="connsiteY40" fmla="*/ 401001 h 401001"/>
                  <a:gd name="connsiteX41" fmla="*/ 1097321 w 1097321"/>
                  <a:gd name="connsiteY41" fmla="*/ 401001 h 401001"/>
                  <a:gd name="connsiteX0" fmla="*/ 0 w 1097321"/>
                  <a:gd name="connsiteY0" fmla="*/ 0 h 399097"/>
                  <a:gd name="connsiteX1" fmla="*/ 20996 w 1097321"/>
                  <a:gd name="connsiteY1" fmla="*/ 952 h 399097"/>
                  <a:gd name="connsiteX2" fmla="*/ 20996 w 1097321"/>
                  <a:gd name="connsiteY2" fmla="*/ 20002 h 399097"/>
                  <a:gd name="connsiteX3" fmla="*/ 129581 w 1097321"/>
                  <a:gd name="connsiteY3" fmla="*/ 20002 h 399097"/>
                  <a:gd name="connsiteX4" fmla="*/ 129581 w 1097321"/>
                  <a:gd name="connsiteY4" fmla="*/ 61912 h 399097"/>
                  <a:gd name="connsiteX5" fmla="*/ 227688 w 1097321"/>
                  <a:gd name="connsiteY5" fmla="*/ 61912 h 399097"/>
                  <a:gd name="connsiteX6" fmla="*/ 227688 w 1097321"/>
                  <a:gd name="connsiteY6" fmla="*/ 92392 h 399097"/>
                  <a:gd name="connsiteX7" fmla="*/ 239118 w 1097321"/>
                  <a:gd name="connsiteY7" fmla="*/ 92392 h 399097"/>
                  <a:gd name="connsiteX8" fmla="*/ 239118 w 1097321"/>
                  <a:gd name="connsiteY8" fmla="*/ 112395 h 399097"/>
                  <a:gd name="connsiteX9" fmla="*/ 253406 w 1097321"/>
                  <a:gd name="connsiteY9" fmla="*/ 112395 h 399097"/>
                  <a:gd name="connsiteX10" fmla="*/ 253406 w 1097321"/>
                  <a:gd name="connsiteY10" fmla="*/ 125730 h 399097"/>
                  <a:gd name="connsiteX11" fmla="*/ 265788 w 1097321"/>
                  <a:gd name="connsiteY11" fmla="*/ 125730 h 399097"/>
                  <a:gd name="connsiteX12" fmla="*/ 265788 w 1097321"/>
                  <a:gd name="connsiteY12" fmla="*/ 160020 h 399097"/>
                  <a:gd name="connsiteX13" fmla="*/ 297221 w 1097321"/>
                  <a:gd name="connsiteY13" fmla="*/ 160020 h 399097"/>
                  <a:gd name="connsiteX14" fmla="*/ 297221 w 1097321"/>
                  <a:gd name="connsiteY14" fmla="*/ 188595 h 399097"/>
                  <a:gd name="connsiteX15" fmla="*/ 414378 w 1097321"/>
                  <a:gd name="connsiteY15" fmla="*/ 188595 h 399097"/>
                  <a:gd name="connsiteX16" fmla="*/ 414378 w 1097321"/>
                  <a:gd name="connsiteY16" fmla="*/ 204787 h 399097"/>
                  <a:gd name="connsiteX17" fmla="*/ 545823 w 1097321"/>
                  <a:gd name="connsiteY17" fmla="*/ 204787 h 399097"/>
                  <a:gd name="connsiteX18" fmla="*/ 545823 w 1097321"/>
                  <a:gd name="connsiteY18" fmla="*/ 220027 h 399097"/>
                  <a:gd name="connsiteX19" fmla="*/ 742038 w 1097321"/>
                  <a:gd name="connsiteY19" fmla="*/ 220027 h 399097"/>
                  <a:gd name="connsiteX20" fmla="*/ 742038 w 1097321"/>
                  <a:gd name="connsiteY20" fmla="*/ 237172 h 399097"/>
                  <a:gd name="connsiteX21" fmla="*/ 778233 w 1097321"/>
                  <a:gd name="connsiteY21" fmla="*/ 237172 h 399097"/>
                  <a:gd name="connsiteX22" fmla="*/ 778233 w 1097321"/>
                  <a:gd name="connsiteY22" fmla="*/ 255270 h 399097"/>
                  <a:gd name="connsiteX23" fmla="*/ 807761 w 1097321"/>
                  <a:gd name="connsiteY23" fmla="*/ 255270 h 399097"/>
                  <a:gd name="connsiteX24" fmla="*/ 807761 w 1097321"/>
                  <a:gd name="connsiteY24" fmla="*/ 270510 h 399097"/>
                  <a:gd name="connsiteX25" fmla="*/ 836336 w 1097321"/>
                  <a:gd name="connsiteY25" fmla="*/ 270510 h 399097"/>
                  <a:gd name="connsiteX26" fmla="*/ 836336 w 1097321"/>
                  <a:gd name="connsiteY26" fmla="*/ 287655 h 399097"/>
                  <a:gd name="connsiteX27" fmla="*/ 849671 w 1097321"/>
                  <a:gd name="connsiteY27" fmla="*/ 287655 h 399097"/>
                  <a:gd name="connsiteX28" fmla="*/ 849671 w 1097321"/>
                  <a:gd name="connsiteY28" fmla="*/ 302895 h 399097"/>
                  <a:gd name="connsiteX29" fmla="*/ 871578 w 1097321"/>
                  <a:gd name="connsiteY29" fmla="*/ 302895 h 399097"/>
                  <a:gd name="connsiteX30" fmla="*/ 871578 w 1097321"/>
                  <a:gd name="connsiteY30" fmla="*/ 319087 h 399097"/>
                  <a:gd name="connsiteX31" fmla="*/ 894438 w 1097321"/>
                  <a:gd name="connsiteY31" fmla="*/ 319087 h 399097"/>
                  <a:gd name="connsiteX32" fmla="*/ 894438 w 1097321"/>
                  <a:gd name="connsiteY32" fmla="*/ 332422 h 399097"/>
                  <a:gd name="connsiteX33" fmla="*/ 907773 w 1097321"/>
                  <a:gd name="connsiteY33" fmla="*/ 332422 h 399097"/>
                  <a:gd name="connsiteX34" fmla="*/ 907773 w 1097321"/>
                  <a:gd name="connsiteY34" fmla="*/ 352425 h 399097"/>
                  <a:gd name="connsiteX35" fmla="*/ 971591 w 1097321"/>
                  <a:gd name="connsiteY35" fmla="*/ 352425 h 399097"/>
                  <a:gd name="connsiteX36" fmla="*/ 971591 w 1097321"/>
                  <a:gd name="connsiteY36" fmla="*/ 364807 h 399097"/>
                  <a:gd name="connsiteX37" fmla="*/ 1027788 w 1097321"/>
                  <a:gd name="connsiteY37" fmla="*/ 364807 h 399097"/>
                  <a:gd name="connsiteX38" fmla="*/ 1027788 w 1097321"/>
                  <a:gd name="connsiteY38" fmla="*/ 381000 h 399097"/>
                  <a:gd name="connsiteX39" fmla="*/ 1044933 w 1097321"/>
                  <a:gd name="connsiteY39" fmla="*/ 381000 h 399097"/>
                  <a:gd name="connsiteX40" fmla="*/ 1044933 w 1097321"/>
                  <a:gd name="connsiteY40" fmla="*/ 399097 h 399097"/>
                  <a:gd name="connsiteX41" fmla="*/ 1097321 w 1097321"/>
                  <a:gd name="connsiteY41" fmla="*/ 399097 h 399097"/>
                  <a:gd name="connsiteX0" fmla="*/ 0 w 1097321"/>
                  <a:gd name="connsiteY0" fmla="*/ 0 h 399097"/>
                  <a:gd name="connsiteX1" fmla="*/ 20996 w 1097321"/>
                  <a:gd name="connsiteY1" fmla="*/ 952 h 399097"/>
                  <a:gd name="connsiteX2" fmla="*/ 20996 w 1097321"/>
                  <a:gd name="connsiteY2" fmla="*/ 20002 h 399097"/>
                  <a:gd name="connsiteX3" fmla="*/ 129581 w 1097321"/>
                  <a:gd name="connsiteY3" fmla="*/ 20002 h 399097"/>
                  <a:gd name="connsiteX4" fmla="*/ 129581 w 1097321"/>
                  <a:gd name="connsiteY4" fmla="*/ 61912 h 399097"/>
                  <a:gd name="connsiteX5" fmla="*/ 227688 w 1097321"/>
                  <a:gd name="connsiteY5" fmla="*/ 61912 h 399097"/>
                  <a:gd name="connsiteX6" fmla="*/ 227688 w 1097321"/>
                  <a:gd name="connsiteY6" fmla="*/ 92392 h 399097"/>
                  <a:gd name="connsiteX7" fmla="*/ 239118 w 1097321"/>
                  <a:gd name="connsiteY7" fmla="*/ 92392 h 399097"/>
                  <a:gd name="connsiteX8" fmla="*/ 239118 w 1097321"/>
                  <a:gd name="connsiteY8" fmla="*/ 112395 h 399097"/>
                  <a:gd name="connsiteX9" fmla="*/ 253406 w 1097321"/>
                  <a:gd name="connsiteY9" fmla="*/ 112395 h 399097"/>
                  <a:gd name="connsiteX10" fmla="*/ 253406 w 1097321"/>
                  <a:gd name="connsiteY10" fmla="*/ 125730 h 399097"/>
                  <a:gd name="connsiteX11" fmla="*/ 265788 w 1097321"/>
                  <a:gd name="connsiteY11" fmla="*/ 125730 h 399097"/>
                  <a:gd name="connsiteX12" fmla="*/ 265788 w 1097321"/>
                  <a:gd name="connsiteY12" fmla="*/ 160020 h 399097"/>
                  <a:gd name="connsiteX13" fmla="*/ 297221 w 1097321"/>
                  <a:gd name="connsiteY13" fmla="*/ 160020 h 399097"/>
                  <a:gd name="connsiteX14" fmla="*/ 297221 w 1097321"/>
                  <a:gd name="connsiteY14" fmla="*/ 188595 h 399097"/>
                  <a:gd name="connsiteX15" fmla="*/ 414378 w 1097321"/>
                  <a:gd name="connsiteY15" fmla="*/ 188595 h 399097"/>
                  <a:gd name="connsiteX16" fmla="*/ 414378 w 1097321"/>
                  <a:gd name="connsiteY16" fmla="*/ 204787 h 399097"/>
                  <a:gd name="connsiteX17" fmla="*/ 545823 w 1097321"/>
                  <a:gd name="connsiteY17" fmla="*/ 204787 h 399097"/>
                  <a:gd name="connsiteX18" fmla="*/ 545823 w 1097321"/>
                  <a:gd name="connsiteY18" fmla="*/ 220027 h 399097"/>
                  <a:gd name="connsiteX19" fmla="*/ 742038 w 1097321"/>
                  <a:gd name="connsiteY19" fmla="*/ 220027 h 399097"/>
                  <a:gd name="connsiteX20" fmla="*/ 742038 w 1097321"/>
                  <a:gd name="connsiteY20" fmla="*/ 237172 h 399097"/>
                  <a:gd name="connsiteX21" fmla="*/ 778233 w 1097321"/>
                  <a:gd name="connsiteY21" fmla="*/ 237172 h 399097"/>
                  <a:gd name="connsiteX22" fmla="*/ 778233 w 1097321"/>
                  <a:gd name="connsiteY22" fmla="*/ 255270 h 399097"/>
                  <a:gd name="connsiteX23" fmla="*/ 807761 w 1097321"/>
                  <a:gd name="connsiteY23" fmla="*/ 255270 h 399097"/>
                  <a:gd name="connsiteX24" fmla="*/ 807761 w 1097321"/>
                  <a:gd name="connsiteY24" fmla="*/ 270510 h 399097"/>
                  <a:gd name="connsiteX25" fmla="*/ 836336 w 1097321"/>
                  <a:gd name="connsiteY25" fmla="*/ 270510 h 399097"/>
                  <a:gd name="connsiteX26" fmla="*/ 836336 w 1097321"/>
                  <a:gd name="connsiteY26" fmla="*/ 287655 h 399097"/>
                  <a:gd name="connsiteX27" fmla="*/ 849671 w 1097321"/>
                  <a:gd name="connsiteY27" fmla="*/ 287655 h 399097"/>
                  <a:gd name="connsiteX28" fmla="*/ 849671 w 1097321"/>
                  <a:gd name="connsiteY28" fmla="*/ 302895 h 399097"/>
                  <a:gd name="connsiteX29" fmla="*/ 871578 w 1097321"/>
                  <a:gd name="connsiteY29" fmla="*/ 302895 h 399097"/>
                  <a:gd name="connsiteX30" fmla="*/ 871578 w 1097321"/>
                  <a:gd name="connsiteY30" fmla="*/ 319087 h 399097"/>
                  <a:gd name="connsiteX31" fmla="*/ 894438 w 1097321"/>
                  <a:gd name="connsiteY31" fmla="*/ 319087 h 399097"/>
                  <a:gd name="connsiteX32" fmla="*/ 894438 w 1097321"/>
                  <a:gd name="connsiteY32" fmla="*/ 332422 h 399097"/>
                  <a:gd name="connsiteX33" fmla="*/ 907773 w 1097321"/>
                  <a:gd name="connsiteY33" fmla="*/ 332422 h 399097"/>
                  <a:gd name="connsiteX34" fmla="*/ 907773 w 1097321"/>
                  <a:gd name="connsiteY34" fmla="*/ 352425 h 399097"/>
                  <a:gd name="connsiteX35" fmla="*/ 971591 w 1097321"/>
                  <a:gd name="connsiteY35" fmla="*/ 352425 h 399097"/>
                  <a:gd name="connsiteX36" fmla="*/ 971591 w 1097321"/>
                  <a:gd name="connsiteY36" fmla="*/ 364807 h 399097"/>
                  <a:gd name="connsiteX37" fmla="*/ 1027788 w 1097321"/>
                  <a:gd name="connsiteY37" fmla="*/ 364807 h 399097"/>
                  <a:gd name="connsiteX38" fmla="*/ 1027788 w 1097321"/>
                  <a:gd name="connsiteY38" fmla="*/ 381000 h 399097"/>
                  <a:gd name="connsiteX39" fmla="*/ 1044933 w 1097321"/>
                  <a:gd name="connsiteY39" fmla="*/ 381000 h 399097"/>
                  <a:gd name="connsiteX40" fmla="*/ 1044933 w 1097321"/>
                  <a:gd name="connsiteY40" fmla="*/ 399097 h 399097"/>
                  <a:gd name="connsiteX41" fmla="*/ 1097321 w 1097321"/>
                  <a:gd name="connsiteY41" fmla="*/ 399097 h 399097"/>
                  <a:gd name="connsiteX0" fmla="*/ 0 w 1098273"/>
                  <a:gd name="connsiteY0" fmla="*/ 0 h 398145"/>
                  <a:gd name="connsiteX1" fmla="*/ 21948 w 1098273"/>
                  <a:gd name="connsiteY1" fmla="*/ 0 h 398145"/>
                  <a:gd name="connsiteX2" fmla="*/ 21948 w 1098273"/>
                  <a:gd name="connsiteY2" fmla="*/ 19050 h 398145"/>
                  <a:gd name="connsiteX3" fmla="*/ 130533 w 1098273"/>
                  <a:gd name="connsiteY3" fmla="*/ 19050 h 398145"/>
                  <a:gd name="connsiteX4" fmla="*/ 130533 w 1098273"/>
                  <a:gd name="connsiteY4" fmla="*/ 60960 h 398145"/>
                  <a:gd name="connsiteX5" fmla="*/ 228640 w 1098273"/>
                  <a:gd name="connsiteY5" fmla="*/ 60960 h 398145"/>
                  <a:gd name="connsiteX6" fmla="*/ 228640 w 1098273"/>
                  <a:gd name="connsiteY6" fmla="*/ 91440 h 398145"/>
                  <a:gd name="connsiteX7" fmla="*/ 240070 w 1098273"/>
                  <a:gd name="connsiteY7" fmla="*/ 91440 h 398145"/>
                  <a:gd name="connsiteX8" fmla="*/ 240070 w 1098273"/>
                  <a:gd name="connsiteY8" fmla="*/ 111443 h 398145"/>
                  <a:gd name="connsiteX9" fmla="*/ 254358 w 1098273"/>
                  <a:gd name="connsiteY9" fmla="*/ 111443 h 398145"/>
                  <a:gd name="connsiteX10" fmla="*/ 254358 w 1098273"/>
                  <a:gd name="connsiteY10" fmla="*/ 124778 h 398145"/>
                  <a:gd name="connsiteX11" fmla="*/ 266740 w 1098273"/>
                  <a:gd name="connsiteY11" fmla="*/ 124778 h 398145"/>
                  <a:gd name="connsiteX12" fmla="*/ 266740 w 1098273"/>
                  <a:gd name="connsiteY12" fmla="*/ 159068 h 398145"/>
                  <a:gd name="connsiteX13" fmla="*/ 298173 w 1098273"/>
                  <a:gd name="connsiteY13" fmla="*/ 159068 h 398145"/>
                  <a:gd name="connsiteX14" fmla="*/ 298173 w 1098273"/>
                  <a:gd name="connsiteY14" fmla="*/ 187643 h 398145"/>
                  <a:gd name="connsiteX15" fmla="*/ 415330 w 1098273"/>
                  <a:gd name="connsiteY15" fmla="*/ 187643 h 398145"/>
                  <a:gd name="connsiteX16" fmla="*/ 415330 w 1098273"/>
                  <a:gd name="connsiteY16" fmla="*/ 203835 h 398145"/>
                  <a:gd name="connsiteX17" fmla="*/ 546775 w 1098273"/>
                  <a:gd name="connsiteY17" fmla="*/ 203835 h 398145"/>
                  <a:gd name="connsiteX18" fmla="*/ 546775 w 1098273"/>
                  <a:gd name="connsiteY18" fmla="*/ 219075 h 398145"/>
                  <a:gd name="connsiteX19" fmla="*/ 742990 w 1098273"/>
                  <a:gd name="connsiteY19" fmla="*/ 219075 h 398145"/>
                  <a:gd name="connsiteX20" fmla="*/ 742990 w 1098273"/>
                  <a:gd name="connsiteY20" fmla="*/ 236220 h 398145"/>
                  <a:gd name="connsiteX21" fmla="*/ 779185 w 1098273"/>
                  <a:gd name="connsiteY21" fmla="*/ 236220 h 398145"/>
                  <a:gd name="connsiteX22" fmla="*/ 779185 w 1098273"/>
                  <a:gd name="connsiteY22" fmla="*/ 254318 h 398145"/>
                  <a:gd name="connsiteX23" fmla="*/ 808713 w 1098273"/>
                  <a:gd name="connsiteY23" fmla="*/ 254318 h 398145"/>
                  <a:gd name="connsiteX24" fmla="*/ 808713 w 1098273"/>
                  <a:gd name="connsiteY24" fmla="*/ 269558 h 398145"/>
                  <a:gd name="connsiteX25" fmla="*/ 837288 w 1098273"/>
                  <a:gd name="connsiteY25" fmla="*/ 269558 h 398145"/>
                  <a:gd name="connsiteX26" fmla="*/ 837288 w 1098273"/>
                  <a:gd name="connsiteY26" fmla="*/ 286703 h 398145"/>
                  <a:gd name="connsiteX27" fmla="*/ 850623 w 1098273"/>
                  <a:gd name="connsiteY27" fmla="*/ 286703 h 398145"/>
                  <a:gd name="connsiteX28" fmla="*/ 850623 w 1098273"/>
                  <a:gd name="connsiteY28" fmla="*/ 301943 h 398145"/>
                  <a:gd name="connsiteX29" fmla="*/ 872530 w 1098273"/>
                  <a:gd name="connsiteY29" fmla="*/ 301943 h 398145"/>
                  <a:gd name="connsiteX30" fmla="*/ 872530 w 1098273"/>
                  <a:gd name="connsiteY30" fmla="*/ 318135 h 398145"/>
                  <a:gd name="connsiteX31" fmla="*/ 895390 w 1098273"/>
                  <a:gd name="connsiteY31" fmla="*/ 318135 h 398145"/>
                  <a:gd name="connsiteX32" fmla="*/ 895390 w 1098273"/>
                  <a:gd name="connsiteY32" fmla="*/ 331470 h 398145"/>
                  <a:gd name="connsiteX33" fmla="*/ 908725 w 1098273"/>
                  <a:gd name="connsiteY33" fmla="*/ 331470 h 398145"/>
                  <a:gd name="connsiteX34" fmla="*/ 908725 w 1098273"/>
                  <a:gd name="connsiteY34" fmla="*/ 351473 h 398145"/>
                  <a:gd name="connsiteX35" fmla="*/ 972543 w 1098273"/>
                  <a:gd name="connsiteY35" fmla="*/ 351473 h 398145"/>
                  <a:gd name="connsiteX36" fmla="*/ 972543 w 1098273"/>
                  <a:gd name="connsiteY36" fmla="*/ 363855 h 398145"/>
                  <a:gd name="connsiteX37" fmla="*/ 1028740 w 1098273"/>
                  <a:gd name="connsiteY37" fmla="*/ 363855 h 398145"/>
                  <a:gd name="connsiteX38" fmla="*/ 1028740 w 1098273"/>
                  <a:gd name="connsiteY38" fmla="*/ 380048 h 398145"/>
                  <a:gd name="connsiteX39" fmla="*/ 1045885 w 1098273"/>
                  <a:gd name="connsiteY39" fmla="*/ 380048 h 398145"/>
                  <a:gd name="connsiteX40" fmla="*/ 1045885 w 1098273"/>
                  <a:gd name="connsiteY40" fmla="*/ 398145 h 398145"/>
                  <a:gd name="connsiteX41" fmla="*/ 1098273 w 1098273"/>
                  <a:gd name="connsiteY41" fmla="*/ 398145 h 39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98273" h="398145">
                    <a:moveTo>
                      <a:pt x="0" y="0"/>
                    </a:moveTo>
                    <a:lnTo>
                      <a:pt x="21948" y="0"/>
                    </a:lnTo>
                    <a:lnTo>
                      <a:pt x="21948" y="19050"/>
                    </a:lnTo>
                    <a:lnTo>
                      <a:pt x="130533" y="19050"/>
                    </a:lnTo>
                    <a:lnTo>
                      <a:pt x="130533" y="60960"/>
                    </a:lnTo>
                    <a:lnTo>
                      <a:pt x="228640" y="60960"/>
                    </a:lnTo>
                    <a:lnTo>
                      <a:pt x="228640" y="91440"/>
                    </a:lnTo>
                    <a:lnTo>
                      <a:pt x="240070" y="91440"/>
                    </a:lnTo>
                    <a:lnTo>
                      <a:pt x="240070" y="111443"/>
                    </a:lnTo>
                    <a:lnTo>
                      <a:pt x="254358" y="111443"/>
                    </a:lnTo>
                    <a:lnTo>
                      <a:pt x="254358" y="124778"/>
                    </a:lnTo>
                    <a:lnTo>
                      <a:pt x="266740" y="124778"/>
                    </a:lnTo>
                    <a:lnTo>
                      <a:pt x="266740" y="159068"/>
                    </a:lnTo>
                    <a:lnTo>
                      <a:pt x="298173" y="159068"/>
                    </a:lnTo>
                    <a:lnTo>
                      <a:pt x="298173" y="187643"/>
                    </a:lnTo>
                    <a:lnTo>
                      <a:pt x="415330" y="187643"/>
                    </a:lnTo>
                    <a:lnTo>
                      <a:pt x="415330" y="203835"/>
                    </a:lnTo>
                    <a:lnTo>
                      <a:pt x="546775" y="203835"/>
                    </a:lnTo>
                    <a:lnTo>
                      <a:pt x="546775" y="219075"/>
                    </a:lnTo>
                    <a:lnTo>
                      <a:pt x="742990" y="219075"/>
                    </a:lnTo>
                    <a:lnTo>
                      <a:pt x="742990" y="236220"/>
                    </a:lnTo>
                    <a:lnTo>
                      <a:pt x="779185" y="236220"/>
                    </a:lnTo>
                    <a:lnTo>
                      <a:pt x="779185" y="254318"/>
                    </a:lnTo>
                    <a:lnTo>
                      <a:pt x="808713" y="254318"/>
                    </a:lnTo>
                    <a:lnTo>
                      <a:pt x="808713" y="269558"/>
                    </a:lnTo>
                    <a:lnTo>
                      <a:pt x="837288" y="269558"/>
                    </a:lnTo>
                    <a:lnTo>
                      <a:pt x="837288" y="286703"/>
                    </a:lnTo>
                    <a:lnTo>
                      <a:pt x="850623" y="286703"/>
                    </a:lnTo>
                    <a:lnTo>
                      <a:pt x="850623" y="301943"/>
                    </a:lnTo>
                    <a:lnTo>
                      <a:pt x="872530" y="301943"/>
                    </a:lnTo>
                    <a:lnTo>
                      <a:pt x="872530" y="318135"/>
                    </a:lnTo>
                    <a:lnTo>
                      <a:pt x="895390" y="318135"/>
                    </a:lnTo>
                    <a:lnTo>
                      <a:pt x="895390" y="331470"/>
                    </a:lnTo>
                    <a:lnTo>
                      <a:pt x="908725" y="331470"/>
                    </a:lnTo>
                    <a:lnTo>
                      <a:pt x="908725" y="351473"/>
                    </a:lnTo>
                    <a:lnTo>
                      <a:pt x="972543" y="351473"/>
                    </a:lnTo>
                    <a:lnTo>
                      <a:pt x="972543" y="363855"/>
                    </a:lnTo>
                    <a:lnTo>
                      <a:pt x="1028740" y="363855"/>
                    </a:lnTo>
                    <a:lnTo>
                      <a:pt x="1028740" y="380048"/>
                    </a:lnTo>
                    <a:lnTo>
                      <a:pt x="1045885" y="380048"/>
                    </a:lnTo>
                    <a:lnTo>
                      <a:pt x="1045885" y="398145"/>
                    </a:lnTo>
                    <a:lnTo>
                      <a:pt x="1098273" y="398145"/>
                    </a:lnTo>
                  </a:path>
                </a:pathLst>
              </a:custGeom>
              <a:noFill/>
              <a:ln w="19050">
                <a:solidFill>
                  <a:schemeClr val="accent2"/>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grpSp>
        <p:grpSp>
          <p:nvGrpSpPr>
            <p:cNvPr id="190" name="Group 189">
              <a:extLst>
                <a:ext uri="{FF2B5EF4-FFF2-40B4-BE49-F238E27FC236}">
                  <a16:creationId xmlns:a16="http://schemas.microsoft.com/office/drawing/2014/main" id="{8EA8DB56-C14E-4DFA-8FAE-3557F4DFC026}"/>
                </a:ext>
              </a:extLst>
            </p:cNvPr>
            <p:cNvGrpSpPr/>
            <p:nvPr/>
          </p:nvGrpSpPr>
          <p:grpSpPr>
            <a:xfrm>
              <a:off x="1486853" y="1934528"/>
              <a:ext cx="3711892" cy="1302067"/>
              <a:chOff x="1486853" y="1934528"/>
              <a:chExt cx="3711892" cy="1302067"/>
            </a:xfrm>
          </p:grpSpPr>
          <p:sp>
            <p:nvSpPr>
              <p:cNvPr id="186" name="Freeform: Shape 185">
                <a:extLst>
                  <a:ext uri="{FF2B5EF4-FFF2-40B4-BE49-F238E27FC236}">
                    <a16:creationId xmlns:a16="http://schemas.microsoft.com/office/drawing/2014/main" id="{52AD35F2-94B3-4C67-81E1-42EE00414D7B}"/>
                  </a:ext>
                </a:extLst>
              </p:cNvPr>
              <p:cNvSpPr/>
              <p:nvPr/>
            </p:nvSpPr>
            <p:spPr>
              <a:xfrm>
                <a:off x="3196590" y="2439353"/>
                <a:ext cx="2002155" cy="797242"/>
              </a:xfrm>
              <a:custGeom>
                <a:avLst/>
                <a:gdLst>
                  <a:gd name="connsiteX0" fmla="*/ 2002155 w 2002155"/>
                  <a:gd name="connsiteY0" fmla="*/ 797242 h 797242"/>
                  <a:gd name="connsiteX1" fmla="*/ 1899285 w 2002155"/>
                  <a:gd name="connsiteY1" fmla="*/ 797242 h 797242"/>
                  <a:gd name="connsiteX2" fmla="*/ 1899285 w 2002155"/>
                  <a:gd name="connsiteY2" fmla="*/ 389572 h 797242"/>
                  <a:gd name="connsiteX3" fmla="*/ 1303020 w 2002155"/>
                  <a:gd name="connsiteY3" fmla="*/ 389572 h 797242"/>
                  <a:gd name="connsiteX4" fmla="*/ 1303020 w 2002155"/>
                  <a:gd name="connsiteY4" fmla="*/ 359092 h 797242"/>
                  <a:gd name="connsiteX5" fmla="*/ 1274445 w 2002155"/>
                  <a:gd name="connsiteY5" fmla="*/ 359092 h 797242"/>
                  <a:gd name="connsiteX6" fmla="*/ 1274445 w 2002155"/>
                  <a:gd name="connsiteY6" fmla="*/ 298132 h 797242"/>
                  <a:gd name="connsiteX7" fmla="*/ 1191578 w 2002155"/>
                  <a:gd name="connsiteY7" fmla="*/ 298132 h 797242"/>
                  <a:gd name="connsiteX8" fmla="*/ 1191578 w 2002155"/>
                  <a:gd name="connsiteY8" fmla="*/ 271462 h 797242"/>
                  <a:gd name="connsiteX9" fmla="*/ 940118 w 2002155"/>
                  <a:gd name="connsiteY9" fmla="*/ 271462 h 797242"/>
                  <a:gd name="connsiteX10" fmla="*/ 940118 w 2002155"/>
                  <a:gd name="connsiteY10" fmla="*/ 249555 h 797242"/>
                  <a:gd name="connsiteX11" fmla="*/ 831533 w 2002155"/>
                  <a:gd name="connsiteY11" fmla="*/ 249555 h 797242"/>
                  <a:gd name="connsiteX12" fmla="*/ 831533 w 2002155"/>
                  <a:gd name="connsiteY12" fmla="*/ 216217 h 797242"/>
                  <a:gd name="connsiteX13" fmla="*/ 802958 w 2002155"/>
                  <a:gd name="connsiteY13" fmla="*/ 216217 h 797242"/>
                  <a:gd name="connsiteX14" fmla="*/ 802958 w 2002155"/>
                  <a:gd name="connsiteY14" fmla="*/ 195262 h 797242"/>
                  <a:gd name="connsiteX15" fmla="*/ 757238 w 2002155"/>
                  <a:gd name="connsiteY15" fmla="*/ 195262 h 797242"/>
                  <a:gd name="connsiteX16" fmla="*/ 757238 w 2002155"/>
                  <a:gd name="connsiteY16" fmla="*/ 179070 h 797242"/>
                  <a:gd name="connsiteX17" fmla="*/ 634365 w 2002155"/>
                  <a:gd name="connsiteY17" fmla="*/ 179070 h 797242"/>
                  <a:gd name="connsiteX18" fmla="*/ 634365 w 2002155"/>
                  <a:gd name="connsiteY18" fmla="*/ 158115 h 797242"/>
                  <a:gd name="connsiteX19" fmla="*/ 396240 w 2002155"/>
                  <a:gd name="connsiteY19" fmla="*/ 158115 h 797242"/>
                  <a:gd name="connsiteX20" fmla="*/ 396240 w 2002155"/>
                  <a:gd name="connsiteY20" fmla="*/ 126682 h 797242"/>
                  <a:gd name="connsiteX21" fmla="*/ 364808 w 2002155"/>
                  <a:gd name="connsiteY21" fmla="*/ 126682 h 797242"/>
                  <a:gd name="connsiteX22" fmla="*/ 364808 w 2002155"/>
                  <a:gd name="connsiteY22" fmla="*/ 112395 h 797242"/>
                  <a:gd name="connsiteX23" fmla="*/ 315278 w 2002155"/>
                  <a:gd name="connsiteY23" fmla="*/ 112395 h 797242"/>
                  <a:gd name="connsiteX24" fmla="*/ 315278 w 2002155"/>
                  <a:gd name="connsiteY24" fmla="*/ 93345 h 797242"/>
                  <a:gd name="connsiteX25" fmla="*/ 269558 w 2002155"/>
                  <a:gd name="connsiteY25" fmla="*/ 93345 h 797242"/>
                  <a:gd name="connsiteX26" fmla="*/ 269558 w 2002155"/>
                  <a:gd name="connsiteY26" fmla="*/ 80010 h 797242"/>
                  <a:gd name="connsiteX27" fmla="*/ 149543 w 2002155"/>
                  <a:gd name="connsiteY27" fmla="*/ 80010 h 797242"/>
                  <a:gd name="connsiteX28" fmla="*/ 149543 w 2002155"/>
                  <a:gd name="connsiteY28" fmla="*/ 50482 h 797242"/>
                  <a:gd name="connsiteX29" fmla="*/ 84773 w 2002155"/>
                  <a:gd name="connsiteY29" fmla="*/ 50482 h 797242"/>
                  <a:gd name="connsiteX30" fmla="*/ 84773 w 2002155"/>
                  <a:gd name="connsiteY30" fmla="*/ 29527 h 797242"/>
                  <a:gd name="connsiteX31" fmla="*/ 33338 w 2002155"/>
                  <a:gd name="connsiteY31" fmla="*/ 29527 h 797242"/>
                  <a:gd name="connsiteX32" fmla="*/ 33338 w 2002155"/>
                  <a:gd name="connsiteY32" fmla="*/ 14287 h 797242"/>
                  <a:gd name="connsiteX33" fmla="*/ 0 w 2002155"/>
                  <a:gd name="connsiteY33" fmla="*/ 14287 h 797242"/>
                  <a:gd name="connsiteX34" fmla="*/ 0 w 2002155"/>
                  <a:gd name="connsiteY34" fmla="*/ 0 h 79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02155" h="797242">
                    <a:moveTo>
                      <a:pt x="2002155" y="797242"/>
                    </a:moveTo>
                    <a:lnTo>
                      <a:pt x="1899285" y="797242"/>
                    </a:lnTo>
                    <a:lnTo>
                      <a:pt x="1899285" y="389572"/>
                    </a:lnTo>
                    <a:lnTo>
                      <a:pt x="1303020" y="389572"/>
                    </a:lnTo>
                    <a:lnTo>
                      <a:pt x="1303020" y="359092"/>
                    </a:lnTo>
                    <a:lnTo>
                      <a:pt x="1274445" y="359092"/>
                    </a:lnTo>
                    <a:lnTo>
                      <a:pt x="1274445" y="298132"/>
                    </a:lnTo>
                    <a:lnTo>
                      <a:pt x="1191578" y="298132"/>
                    </a:lnTo>
                    <a:lnTo>
                      <a:pt x="1191578" y="271462"/>
                    </a:lnTo>
                    <a:lnTo>
                      <a:pt x="940118" y="271462"/>
                    </a:lnTo>
                    <a:lnTo>
                      <a:pt x="940118" y="249555"/>
                    </a:lnTo>
                    <a:lnTo>
                      <a:pt x="831533" y="249555"/>
                    </a:lnTo>
                    <a:lnTo>
                      <a:pt x="831533" y="216217"/>
                    </a:lnTo>
                    <a:lnTo>
                      <a:pt x="802958" y="216217"/>
                    </a:lnTo>
                    <a:lnTo>
                      <a:pt x="802958" y="195262"/>
                    </a:lnTo>
                    <a:lnTo>
                      <a:pt x="757238" y="195262"/>
                    </a:lnTo>
                    <a:lnTo>
                      <a:pt x="757238" y="179070"/>
                    </a:lnTo>
                    <a:lnTo>
                      <a:pt x="634365" y="179070"/>
                    </a:lnTo>
                    <a:lnTo>
                      <a:pt x="634365" y="158115"/>
                    </a:lnTo>
                    <a:lnTo>
                      <a:pt x="396240" y="158115"/>
                    </a:lnTo>
                    <a:lnTo>
                      <a:pt x="396240" y="126682"/>
                    </a:lnTo>
                    <a:lnTo>
                      <a:pt x="364808" y="126682"/>
                    </a:lnTo>
                    <a:lnTo>
                      <a:pt x="364808" y="112395"/>
                    </a:lnTo>
                    <a:lnTo>
                      <a:pt x="315278" y="112395"/>
                    </a:lnTo>
                    <a:lnTo>
                      <a:pt x="315278" y="93345"/>
                    </a:lnTo>
                    <a:lnTo>
                      <a:pt x="269558" y="93345"/>
                    </a:lnTo>
                    <a:lnTo>
                      <a:pt x="269558" y="80010"/>
                    </a:lnTo>
                    <a:lnTo>
                      <a:pt x="149543" y="80010"/>
                    </a:lnTo>
                    <a:lnTo>
                      <a:pt x="149543" y="50482"/>
                    </a:lnTo>
                    <a:lnTo>
                      <a:pt x="84773" y="50482"/>
                    </a:lnTo>
                    <a:lnTo>
                      <a:pt x="84773" y="29527"/>
                    </a:lnTo>
                    <a:lnTo>
                      <a:pt x="33338" y="29527"/>
                    </a:lnTo>
                    <a:lnTo>
                      <a:pt x="33338" y="14287"/>
                    </a:lnTo>
                    <a:lnTo>
                      <a:pt x="0" y="14287"/>
                    </a:lnTo>
                    <a:lnTo>
                      <a:pt x="0" y="0"/>
                    </a:lnTo>
                  </a:path>
                </a:pathLst>
              </a:custGeom>
              <a:noFill/>
              <a:ln w="19050">
                <a:solidFill>
                  <a:schemeClr val="accent3"/>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sp>
            <p:nvSpPr>
              <p:cNvPr id="189" name="Freeform: Shape 188">
                <a:extLst>
                  <a:ext uri="{FF2B5EF4-FFF2-40B4-BE49-F238E27FC236}">
                    <a16:creationId xmlns:a16="http://schemas.microsoft.com/office/drawing/2014/main" id="{61D6BD01-34E8-4686-B7B9-21A6D37A48FE}"/>
                  </a:ext>
                </a:extLst>
              </p:cNvPr>
              <p:cNvSpPr/>
              <p:nvPr/>
            </p:nvSpPr>
            <p:spPr>
              <a:xfrm>
                <a:off x="1486853" y="1934528"/>
                <a:ext cx="1710690" cy="504825"/>
              </a:xfrm>
              <a:custGeom>
                <a:avLst/>
                <a:gdLst>
                  <a:gd name="connsiteX0" fmla="*/ 0 w 1710690"/>
                  <a:gd name="connsiteY0" fmla="*/ 0 h 504825"/>
                  <a:gd name="connsiteX1" fmla="*/ 95250 w 1710690"/>
                  <a:gd name="connsiteY1" fmla="*/ 0 h 504825"/>
                  <a:gd name="connsiteX2" fmla="*/ 95250 w 1710690"/>
                  <a:gd name="connsiteY2" fmla="*/ 17145 h 504825"/>
                  <a:gd name="connsiteX3" fmla="*/ 129540 w 1710690"/>
                  <a:gd name="connsiteY3" fmla="*/ 17145 h 504825"/>
                  <a:gd name="connsiteX4" fmla="*/ 129540 w 1710690"/>
                  <a:gd name="connsiteY4" fmla="*/ 48577 h 504825"/>
                  <a:gd name="connsiteX5" fmla="*/ 172402 w 1710690"/>
                  <a:gd name="connsiteY5" fmla="*/ 48577 h 504825"/>
                  <a:gd name="connsiteX6" fmla="*/ 172402 w 1710690"/>
                  <a:gd name="connsiteY6" fmla="*/ 61912 h 504825"/>
                  <a:gd name="connsiteX7" fmla="*/ 200025 w 1710690"/>
                  <a:gd name="connsiteY7" fmla="*/ 61912 h 504825"/>
                  <a:gd name="connsiteX8" fmla="*/ 200025 w 1710690"/>
                  <a:gd name="connsiteY8" fmla="*/ 88582 h 504825"/>
                  <a:gd name="connsiteX9" fmla="*/ 244792 w 1710690"/>
                  <a:gd name="connsiteY9" fmla="*/ 88582 h 504825"/>
                  <a:gd name="connsiteX10" fmla="*/ 244792 w 1710690"/>
                  <a:gd name="connsiteY10" fmla="*/ 120967 h 504825"/>
                  <a:gd name="connsiteX11" fmla="*/ 265747 w 1710690"/>
                  <a:gd name="connsiteY11" fmla="*/ 120967 h 504825"/>
                  <a:gd name="connsiteX12" fmla="*/ 265747 w 1710690"/>
                  <a:gd name="connsiteY12" fmla="*/ 154305 h 504825"/>
                  <a:gd name="connsiteX13" fmla="*/ 297180 w 1710690"/>
                  <a:gd name="connsiteY13" fmla="*/ 154305 h 504825"/>
                  <a:gd name="connsiteX14" fmla="*/ 297180 w 1710690"/>
                  <a:gd name="connsiteY14" fmla="*/ 188595 h 504825"/>
                  <a:gd name="connsiteX15" fmla="*/ 339090 w 1710690"/>
                  <a:gd name="connsiteY15" fmla="*/ 188595 h 504825"/>
                  <a:gd name="connsiteX16" fmla="*/ 339090 w 1710690"/>
                  <a:gd name="connsiteY16" fmla="*/ 218122 h 504825"/>
                  <a:gd name="connsiteX17" fmla="*/ 379095 w 1710690"/>
                  <a:gd name="connsiteY17" fmla="*/ 218122 h 504825"/>
                  <a:gd name="connsiteX18" fmla="*/ 379095 w 1710690"/>
                  <a:gd name="connsiteY18" fmla="*/ 244792 h 504825"/>
                  <a:gd name="connsiteX19" fmla="*/ 409575 w 1710690"/>
                  <a:gd name="connsiteY19" fmla="*/ 244792 h 504825"/>
                  <a:gd name="connsiteX20" fmla="*/ 409575 w 1710690"/>
                  <a:gd name="connsiteY20" fmla="*/ 272415 h 504825"/>
                  <a:gd name="connsiteX21" fmla="*/ 481965 w 1710690"/>
                  <a:gd name="connsiteY21" fmla="*/ 272415 h 504825"/>
                  <a:gd name="connsiteX22" fmla="*/ 481965 w 1710690"/>
                  <a:gd name="connsiteY22" fmla="*/ 286702 h 504825"/>
                  <a:gd name="connsiteX23" fmla="*/ 658177 w 1710690"/>
                  <a:gd name="connsiteY23" fmla="*/ 286702 h 504825"/>
                  <a:gd name="connsiteX24" fmla="*/ 658177 w 1710690"/>
                  <a:gd name="connsiteY24" fmla="*/ 316230 h 504825"/>
                  <a:gd name="connsiteX25" fmla="*/ 863917 w 1710690"/>
                  <a:gd name="connsiteY25" fmla="*/ 316230 h 504825"/>
                  <a:gd name="connsiteX26" fmla="*/ 863917 w 1710690"/>
                  <a:gd name="connsiteY26" fmla="*/ 334327 h 504825"/>
                  <a:gd name="connsiteX27" fmla="*/ 939165 w 1710690"/>
                  <a:gd name="connsiteY27" fmla="*/ 334327 h 504825"/>
                  <a:gd name="connsiteX28" fmla="*/ 939165 w 1710690"/>
                  <a:gd name="connsiteY28" fmla="*/ 350520 h 504825"/>
                  <a:gd name="connsiteX29" fmla="*/ 975360 w 1710690"/>
                  <a:gd name="connsiteY29" fmla="*/ 350520 h 504825"/>
                  <a:gd name="connsiteX30" fmla="*/ 975360 w 1710690"/>
                  <a:gd name="connsiteY30" fmla="*/ 377190 h 504825"/>
                  <a:gd name="connsiteX31" fmla="*/ 1029652 w 1710690"/>
                  <a:gd name="connsiteY31" fmla="*/ 377190 h 504825"/>
                  <a:gd name="connsiteX32" fmla="*/ 1029652 w 1710690"/>
                  <a:gd name="connsiteY32" fmla="*/ 388620 h 504825"/>
                  <a:gd name="connsiteX33" fmla="*/ 1045845 w 1710690"/>
                  <a:gd name="connsiteY33" fmla="*/ 388620 h 504825"/>
                  <a:gd name="connsiteX34" fmla="*/ 1045845 w 1710690"/>
                  <a:gd name="connsiteY34" fmla="*/ 397192 h 504825"/>
                  <a:gd name="connsiteX35" fmla="*/ 1139190 w 1710690"/>
                  <a:gd name="connsiteY35" fmla="*/ 397192 h 504825"/>
                  <a:gd name="connsiteX36" fmla="*/ 1139190 w 1710690"/>
                  <a:gd name="connsiteY36" fmla="*/ 430530 h 504825"/>
                  <a:gd name="connsiteX37" fmla="*/ 1171575 w 1710690"/>
                  <a:gd name="connsiteY37" fmla="*/ 430530 h 504825"/>
                  <a:gd name="connsiteX38" fmla="*/ 1171575 w 1710690"/>
                  <a:gd name="connsiteY38" fmla="*/ 446722 h 504825"/>
                  <a:gd name="connsiteX39" fmla="*/ 1281112 w 1710690"/>
                  <a:gd name="connsiteY39" fmla="*/ 446722 h 504825"/>
                  <a:gd name="connsiteX40" fmla="*/ 1281112 w 1710690"/>
                  <a:gd name="connsiteY40" fmla="*/ 456247 h 504825"/>
                  <a:gd name="connsiteX41" fmla="*/ 1346835 w 1710690"/>
                  <a:gd name="connsiteY41" fmla="*/ 456247 h 504825"/>
                  <a:gd name="connsiteX42" fmla="*/ 1346835 w 1710690"/>
                  <a:gd name="connsiteY42" fmla="*/ 474345 h 504825"/>
                  <a:gd name="connsiteX43" fmla="*/ 1651635 w 1710690"/>
                  <a:gd name="connsiteY43" fmla="*/ 474345 h 504825"/>
                  <a:gd name="connsiteX44" fmla="*/ 1651635 w 1710690"/>
                  <a:gd name="connsiteY44" fmla="*/ 489585 h 504825"/>
                  <a:gd name="connsiteX45" fmla="*/ 1692592 w 1710690"/>
                  <a:gd name="connsiteY45" fmla="*/ 489585 h 504825"/>
                  <a:gd name="connsiteX46" fmla="*/ 1692592 w 1710690"/>
                  <a:gd name="connsiteY46" fmla="*/ 504825 h 504825"/>
                  <a:gd name="connsiteX47" fmla="*/ 1710690 w 1710690"/>
                  <a:gd name="connsiteY47" fmla="*/ 50482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10690" h="504825">
                    <a:moveTo>
                      <a:pt x="0" y="0"/>
                    </a:moveTo>
                    <a:lnTo>
                      <a:pt x="95250" y="0"/>
                    </a:lnTo>
                    <a:lnTo>
                      <a:pt x="95250" y="17145"/>
                    </a:lnTo>
                    <a:lnTo>
                      <a:pt x="129540" y="17145"/>
                    </a:lnTo>
                    <a:lnTo>
                      <a:pt x="129540" y="48577"/>
                    </a:lnTo>
                    <a:lnTo>
                      <a:pt x="172402" y="48577"/>
                    </a:lnTo>
                    <a:lnTo>
                      <a:pt x="172402" y="61912"/>
                    </a:lnTo>
                    <a:lnTo>
                      <a:pt x="200025" y="61912"/>
                    </a:lnTo>
                    <a:lnTo>
                      <a:pt x="200025" y="88582"/>
                    </a:lnTo>
                    <a:lnTo>
                      <a:pt x="244792" y="88582"/>
                    </a:lnTo>
                    <a:lnTo>
                      <a:pt x="244792" y="120967"/>
                    </a:lnTo>
                    <a:lnTo>
                      <a:pt x="265747" y="120967"/>
                    </a:lnTo>
                    <a:lnTo>
                      <a:pt x="265747" y="154305"/>
                    </a:lnTo>
                    <a:lnTo>
                      <a:pt x="297180" y="154305"/>
                    </a:lnTo>
                    <a:lnTo>
                      <a:pt x="297180" y="188595"/>
                    </a:lnTo>
                    <a:lnTo>
                      <a:pt x="339090" y="188595"/>
                    </a:lnTo>
                    <a:lnTo>
                      <a:pt x="339090" y="218122"/>
                    </a:lnTo>
                    <a:lnTo>
                      <a:pt x="379095" y="218122"/>
                    </a:lnTo>
                    <a:lnTo>
                      <a:pt x="379095" y="244792"/>
                    </a:lnTo>
                    <a:lnTo>
                      <a:pt x="409575" y="244792"/>
                    </a:lnTo>
                    <a:lnTo>
                      <a:pt x="409575" y="272415"/>
                    </a:lnTo>
                    <a:lnTo>
                      <a:pt x="481965" y="272415"/>
                    </a:lnTo>
                    <a:lnTo>
                      <a:pt x="481965" y="286702"/>
                    </a:lnTo>
                    <a:lnTo>
                      <a:pt x="658177" y="286702"/>
                    </a:lnTo>
                    <a:lnTo>
                      <a:pt x="658177" y="316230"/>
                    </a:lnTo>
                    <a:lnTo>
                      <a:pt x="863917" y="316230"/>
                    </a:lnTo>
                    <a:lnTo>
                      <a:pt x="863917" y="334327"/>
                    </a:lnTo>
                    <a:lnTo>
                      <a:pt x="939165" y="334327"/>
                    </a:lnTo>
                    <a:lnTo>
                      <a:pt x="939165" y="350520"/>
                    </a:lnTo>
                    <a:lnTo>
                      <a:pt x="975360" y="350520"/>
                    </a:lnTo>
                    <a:lnTo>
                      <a:pt x="975360" y="377190"/>
                    </a:lnTo>
                    <a:lnTo>
                      <a:pt x="1029652" y="377190"/>
                    </a:lnTo>
                    <a:lnTo>
                      <a:pt x="1029652" y="388620"/>
                    </a:lnTo>
                    <a:lnTo>
                      <a:pt x="1045845" y="388620"/>
                    </a:lnTo>
                    <a:lnTo>
                      <a:pt x="1045845" y="397192"/>
                    </a:lnTo>
                    <a:lnTo>
                      <a:pt x="1139190" y="397192"/>
                    </a:lnTo>
                    <a:lnTo>
                      <a:pt x="1139190" y="430530"/>
                    </a:lnTo>
                    <a:lnTo>
                      <a:pt x="1171575" y="430530"/>
                    </a:lnTo>
                    <a:lnTo>
                      <a:pt x="1171575" y="446722"/>
                    </a:lnTo>
                    <a:lnTo>
                      <a:pt x="1281112" y="446722"/>
                    </a:lnTo>
                    <a:lnTo>
                      <a:pt x="1281112" y="456247"/>
                    </a:lnTo>
                    <a:lnTo>
                      <a:pt x="1346835" y="456247"/>
                    </a:lnTo>
                    <a:lnTo>
                      <a:pt x="1346835" y="474345"/>
                    </a:lnTo>
                    <a:lnTo>
                      <a:pt x="1651635" y="474345"/>
                    </a:lnTo>
                    <a:lnTo>
                      <a:pt x="1651635" y="489585"/>
                    </a:lnTo>
                    <a:lnTo>
                      <a:pt x="1692592" y="489585"/>
                    </a:lnTo>
                    <a:lnTo>
                      <a:pt x="1692592" y="504825"/>
                    </a:lnTo>
                    <a:lnTo>
                      <a:pt x="1710690" y="504825"/>
                    </a:lnTo>
                  </a:path>
                </a:pathLst>
              </a:custGeom>
              <a:noFill/>
              <a:ln w="19050">
                <a:solidFill>
                  <a:schemeClr val="accent3"/>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grpSp>
        <p:grpSp>
          <p:nvGrpSpPr>
            <p:cNvPr id="193" name="Group 192">
              <a:extLst>
                <a:ext uri="{FF2B5EF4-FFF2-40B4-BE49-F238E27FC236}">
                  <a16:creationId xmlns:a16="http://schemas.microsoft.com/office/drawing/2014/main" id="{F3FCBAAD-A69F-491E-B6F2-98CBA5BDDCDE}"/>
                </a:ext>
              </a:extLst>
            </p:cNvPr>
            <p:cNvGrpSpPr/>
            <p:nvPr/>
          </p:nvGrpSpPr>
          <p:grpSpPr>
            <a:xfrm>
              <a:off x="1495425" y="1932623"/>
              <a:ext cx="3653790" cy="1208722"/>
              <a:chOff x="1495425" y="1932623"/>
              <a:chExt cx="3653790" cy="1208722"/>
            </a:xfrm>
          </p:grpSpPr>
          <p:sp>
            <p:nvSpPr>
              <p:cNvPr id="191" name="Freeform: Shape 190">
                <a:extLst>
                  <a:ext uri="{FF2B5EF4-FFF2-40B4-BE49-F238E27FC236}">
                    <a16:creationId xmlns:a16="http://schemas.microsoft.com/office/drawing/2014/main" id="{616CB1B3-94DF-48F4-BE73-A5DFE1622D20}"/>
                  </a:ext>
                </a:extLst>
              </p:cNvPr>
              <p:cNvSpPr/>
              <p:nvPr/>
            </p:nvSpPr>
            <p:spPr>
              <a:xfrm>
                <a:off x="2827020" y="2328863"/>
                <a:ext cx="2322195" cy="812482"/>
              </a:xfrm>
              <a:custGeom>
                <a:avLst/>
                <a:gdLst>
                  <a:gd name="connsiteX0" fmla="*/ 2322195 w 2322195"/>
                  <a:gd name="connsiteY0" fmla="*/ 812482 h 812482"/>
                  <a:gd name="connsiteX1" fmla="*/ 2129790 w 2322195"/>
                  <a:gd name="connsiteY1" fmla="*/ 812482 h 812482"/>
                  <a:gd name="connsiteX2" fmla="*/ 2129790 w 2322195"/>
                  <a:gd name="connsiteY2" fmla="*/ 723900 h 812482"/>
                  <a:gd name="connsiteX3" fmla="*/ 2022158 w 2322195"/>
                  <a:gd name="connsiteY3" fmla="*/ 723900 h 812482"/>
                  <a:gd name="connsiteX4" fmla="*/ 2022158 w 2322195"/>
                  <a:gd name="connsiteY4" fmla="*/ 655320 h 812482"/>
                  <a:gd name="connsiteX5" fmla="*/ 1984058 w 2322195"/>
                  <a:gd name="connsiteY5" fmla="*/ 655320 h 812482"/>
                  <a:gd name="connsiteX6" fmla="*/ 1984058 w 2322195"/>
                  <a:gd name="connsiteY6" fmla="*/ 598170 h 812482"/>
                  <a:gd name="connsiteX7" fmla="*/ 1891665 w 2322195"/>
                  <a:gd name="connsiteY7" fmla="*/ 598170 h 812482"/>
                  <a:gd name="connsiteX8" fmla="*/ 1891665 w 2322195"/>
                  <a:gd name="connsiteY8" fmla="*/ 547687 h 812482"/>
                  <a:gd name="connsiteX9" fmla="*/ 1664018 w 2322195"/>
                  <a:gd name="connsiteY9" fmla="*/ 547687 h 812482"/>
                  <a:gd name="connsiteX10" fmla="*/ 1664018 w 2322195"/>
                  <a:gd name="connsiteY10" fmla="*/ 518160 h 812482"/>
                  <a:gd name="connsiteX11" fmla="*/ 1638300 w 2322195"/>
                  <a:gd name="connsiteY11" fmla="*/ 518160 h 812482"/>
                  <a:gd name="connsiteX12" fmla="*/ 1638300 w 2322195"/>
                  <a:gd name="connsiteY12" fmla="*/ 491490 h 812482"/>
                  <a:gd name="connsiteX13" fmla="*/ 1622108 w 2322195"/>
                  <a:gd name="connsiteY13" fmla="*/ 491490 h 812482"/>
                  <a:gd name="connsiteX14" fmla="*/ 1622108 w 2322195"/>
                  <a:gd name="connsiteY14" fmla="*/ 461010 h 812482"/>
                  <a:gd name="connsiteX15" fmla="*/ 1605915 w 2322195"/>
                  <a:gd name="connsiteY15" fmla="*/ 461010 h 812482"/>
                  <a:gd name="connsiteX16" fmla="*/ 1605915 w 2322195"/>
                  <a:gd name="connsiteY16" fmla="*/ 434340 h 812482"/>
                  <a:gd name="connsiteX17" fmla="*/ 1599248 w 2322195"/>
                  <a:gd name="connsiteY17" fmla="*/ 434340 h 812482"/>
                  <a:gd name="connsiteX18" fmla="*/ 1599248 w 2322195"/>
                  <a:gd name="connsiteY18" fmla="*/ 409575 h 812482"/>
                  <a:gd name="connsiteX19" fmla="*/ 1259205 w 2322195"/>
                  <a:gd name="connsiteY19" fmla="*/ 409575 h 812482"/>
                  <a:gd name="connsiteX20" fmla="*/ 1259205 w 2322195"/>
                  <a:gd name="connsiteY20" fmla="*/ 389572 h 812482"/>
                  <a:gd name="connsiteX21" fmla="*/ 1179195 w 2322195"/>
                  <a:gd name="connsiteY21" fmla="*/ 389572 h 812482"/>
                  <a:gd name="connsiteX22" fmla="*/ 1179195 w 2322195"/>
                  <a:gd name="connsiteY22" fmla="*/ 371475 h 812482"/>
                  <a:gd name="connsiteX23" fmla="*/ 1100138 w 2322195"/>
                  <a:gd name="connsiteY23" fmla="*/ 371475 h 812482"/>
                  <a:gd name="connsiteX24" fmla="*/ 1100138 w 2322195"/>
                  <a:gd name="connsiteY24" fmla="*/ 353377 h 812482"/>
                  <a:gd name="connsiteX25" fmla="*/ 1089660 w 2322195"/>
                  <a:gd name="connsiteY25" fmla="*/ 353377 h 812482"/>
                  <a:gd name="connsiteX26" fmla="*/ 1089660 w 2322195"/>
                  <a:gd name="connsiteY26" fmla="*/ 338137 h 812482"/>
                  <a:gd name="connsiteX27" fmla="*/ 831533 w 2322195"/>
                  <a:gd name="connsiteY27" fmla="*/ 338137 h 812482"/>
                  <a:gd name="connsiteX28" fmla="*/ 831533 w 2322195"/>
                  <a:gd name="connsiteY28" fmla="*/ 319087 h 812482"/>
                  <a:gd name="connsiteX29" fmla="*/ 766763 w 2322195"/>
                  <a:gd name="connsiteY29" fmla="*/ 319087 h 812482"/>
                  <a:gd name="connsiteX30" fmla="*/ 766763 w 2322195"/>
                  <a:gd name="connsiteY30" fmla="*/ 304800 h 812482"/>
                  <a:gd name="connsiteX31" fmla="*/ 737235 w 2322195"/>
                  <a:gd name="connsiteY31" fmla="*/ 304800 h 812482"/>
                  <a:gd name="connsiteX32" fmla="*/ 737235 w 2322195"/>
                  <a:gd name="connsiteY32" fmla="*/ 287655 h 812482"/>
                  <a:gd name="connsiteX33" fmla="*/ 598170 w 2322195"/>
                  <a:gd name="connsiteY33" fmla="*/ 287655 h 812482"/>
                  <a:gd name="connsiteX34" fmla="*/ 598170 w 2322195"/>
                  <a:gd name="connsiteY34" fmla="*/ 241935 h 812482"/>
                  <a:gd name="connsiteX35" fmla="*/ 579120 w 2322195"/>
                  <a:gd name="connsiteY35" fmla="*/ 241935 h 812482"/>
                  <a:gd name="connsiteX36" fmla="*/ 579120 w 2322195"/>
                  <a:gd name="connsiteY36" fmla="*/ 210502 h 812482"/>
                  <a:gd name="connsiteX37" fmla="*/ 561023 w 2322195"/>
                  <a:gd name="connsiteY37" fmla="*/ 210502 h 812482"/>
                  <a:gd name="connsiteX38" fmla="*/ 561023 w 2322195"/>
                  <a:gd name="connsiteY38" fmla="*/ 191452 h 812482"/>
                  <a:gd name="connsiteX39" fmla="*/ 551498 w 2322195"/>
                  <a:gd name="connsiteY39" fmla="*/ 181927 h 812482"/>
                  <a:gd name="connsiteX40" fmla="*/ 545783 w 2322195"/>
                  <a:gd name="connsiteY40" fmla="*/ 176212 h 812482"/>
                  <a:gd name="connsiteX41" fmla="*/ 535305 w 2322195"/>
                  <a:gd name="connsiteY41" fmla="*/ 176212 h 812482"/>
                  <a:gd name="connsiteX42" fmla="*/ 535305 w 2322195"/>
                  <a:gd name="connsiteY42" fmla="*/ 160020 h 812482"/>
                  <a:gd name="connsiteX43" fmla="*/ 506730 w 2322195"/>
                  <a:gd name="connsiteY43" fmla="*/ 160020 h 812482"/>
                  <a:gd name="connsiteX44" fmla="*/ 506730 w 2322195"/>
                  <a:gd name="connsiteY44" fmla="*/ 139065 h 812482"/>
                  <a:gd name="connsiteX45" fmla="*/ 408623 w 2322195"/>
                  <a:gd name="connsiteY45" fmla="*/ 139065 h 812482"/>
                  <a:gd name="connsiteX46" fmla="*/ 408623 w 2322195"/>
                  <a:gd name="connsiteY46" fmla="*/ 121920 h 812482"/>
                  <a:gd name="connsiteX47" fmla="*/ 392430 w 2322195"/>
                  <a:gd name="connsiteY47" fmla="*/ 121920 h 812482"/>
                  <a:gd name="connsiteX48" fmla="*/ 392430 w 2322195"/>
                  <a:gd name="connsiteY48" fmla="*/ 111442 h 812482"/>
                  <a:gd name="connsiteX49" fmla="*/ 370523 w 2322195"/>
                  <a:gd name="connsiteY49" fmla="*/ 111442 h 812482"/>
                  <a:gd name="connsiteX50" fmla="*/ 370523 w 2322195"/>
                  <a:gd name="connsiteY50" fmla="*/ 91440 h 812482"/>
                  <a:gd name="connsiteX51" fmla="*/ 289560 w 2322195"/>
                  <a:gd name="connsiteY51" fmla="*/ 91440 h 812482"/>
                  <a:gd name="connsiteX52" fmla="*/ 289560 w 2322195"/>
                  <a:gd name="connsiteY52" fmla="*/ 76200 h 812482"/>
                  <a:gd name="connsiteX53" fmla="*/ 223838 w 2322195"/>
                  <a:gd name="connsiteY53" fmla="*/ 76200 h 812482"/>
                  <a:gd name="connsiteX54" fmla="*/ 223838 w 2322195"/>
                  <a:gd name="connsiteY54" fmla="*/ 62865 h 812482"/>
                  <a:gd name="connsiteX55" fmla="*/ 204788 w 2322195"/>
                  <a:gd name="connsiteY55" fmla="*/ 62865 h 812482"/>
                  <a:gd name="connsiteX56" fmla="*/ 204788 w 2322195"/>
                  <a:gd name="connsiteY56" fmla="*/ 45720 h 812482"/>
                  <a:gd name="connsiteX57" fmla="*/ 68580 w 2322195"/>
                  <a:gd name="connsiteY57" fmla="*/ 45720 h 812482"/>
                  <a:gd name="connsiteX58" fmla="*/ 68580 w 2322195"/>
                  <a:gd name="connsiteY58" fmla="*/ 32385 h 812482"/>
                  <a:gd name="connsiteX59" fmla="*/ 45720 w 2322195"/>
                  <a:gd name="connsiteY59" fmla="*/ 32385 h 812482"/>
                  <a:gd name="connsiteX60" fmla="*/ 45720 w 2322195"/>
                  <a:gd name="connsiteY60" fmla="*/ 12382 h 812482"/>
                  <a:gd name="connsiteX61" fmla="*/ 0 w 2322195"/>
                  <a:gd name="connsiteY61" fmla="*/ 12382 h 812482"/>
                  <a:gd name="connsiteX62" fmla="*/ 0 w 2322195"/>
                  <a:gd name="connsiteY62" fmla="*/ 0 h 81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322195" h="812482">
                    <a:moveTo>
                      <a:pt x="2322195" y="812482"/>
                    </a:moveTo>
                    <a:lnTo>
                      <a:pt x="2129790" y="812482"/>
                    </a:lnTo>
                    <a:lnTo>
                      <a:pt x="2129790" y="723900"/>
                    </a:lnTo>
                    <a:lnTo>
                      <a:pt x="2022158" y="723900"/>
                    </a:lnTo>
                    <a:lnTo>
                      <a:pt x="2022158" y="655320"/>
                    </a:lnTo>
                    <a:lnTo>
                      <a:pt x="1984058" y="655320"/>
                    </a:lnTo>
                    <a:lnTo>
                      <a:pt x="1984058" y="598170"/>
                    </a:lnTo>
                    <a:lnTo>
                      <a:pt x="1891665" y="598170"/>
                    </a:lnTo>
                    <a:lnTo>
                      <a:pt x="1891665" y="547687"/>
                    </a:lnTo>
                    <a:lnTo>
                      <a:pt x="1664018" y="547687"/>
                    </a:lnTo>
                    <a:lnTo>
                      <a:pt x="1664018" y="518160"/>
                    </a:lnTo>
                    <a:lnTo>
                      <a:pt x="1638300" y="518160"/>
                    </a:lnTo>
                    <a:lnTo>
                      <a:pt x="1638300" y="491490"/>
                    </a:lnTo>
                    <a:lnTo>
                      <a:pt x="1622108" y="491490"/>
                    </a:lnTo>
                    <a:lnTo>
                      <a:pt x="1622108" y="461010"/>
                    </a:lnTo>
                    <a:lnTo>
                      <a:pt x="1605915" y="461010"/>
                    </a:lnTo>
                    <a:lnTo>
                      <a:pt x="1605915" y="434340"/>
                    </a:lnTo>
                    <a:lnTo>
                      <a:pt x="1599248" y="434340"/>
                    </a:lnTo>
                    <a:lnTo>
                      <a:pt x="1599248" y="409575"/>
                    </a:lnTo>
                    <a:lnTo>
                      <a:pt x="1259205" y="409575"/>
                    </a:lnTo>
                    <a:lnTo>
                      <a:pt x="1259205" y="389572"/>
                    </a:lnTo>
                    <a:lnTo>
                      <a:pt x="1179195" y="389572"/>
                    </a:lnTo>
                    <a:lnTo>
                      <a:pt x="1179195" y="371475"/>
                    </a:lnTo>
                    <a:lnTo>
                      <a:pt x="1100138" y="371475"/>
                    </a:lnTo>
                    <a:lnTo>
                      <a:pt x="1100138" y="353377"/>
                    </a:lnTo>
                    <a:lnTo>
                      <a:pt x="1089660" y="353377"/>
                    </a:lnTo>
                    <a:lnTo>
                      <a:pt x="1089660" y="338137"/>
                    </a:lnTo>
                    <a:lnTo>
                      <a:pt x="831533" y="338137"/>
                    </a:lnTo>
                    <a:lnTo>
                      <a:pt x="831533" y="319087"/>
                    </a:lnTo>
                    <a:lnTo>
                      <a:pt x="766763" y="319087"/>
                    </a:lnTo>
                    <a:lnTo>
                      <a:pt x="766763" y="304800"/>
                    </a:lnTo>
                    <a:lnTo>
                      <a:pt x="737235" y="304800"/>
                    </a:lnTo>
                    <a:lnTo>
                      <a:pt x="737235" y="287655"/>
                    </a:lnTo>
                    <a:lnTo>
                      <a:pt x="598170" y="287655"/>
                    </a:lnTo>
                    <a:lnTo>
                      <a:pt x="598170" y="241935"/>
                    </a:lnTo>
                    <a:lnTo>
                      <a:pt x="579120" y="241935"/>
                    </a:lnTo>
                    <a:lnTo>
                      <a:pt x="579120" y="210502"/>
                    </a:lnTo>
                    <a:lnTo>
                      <a:pt x="561023" y="210502"/>
                    </a:lnTo>
                    <a:lnTo>
                      <a:pt x="561023" y="191452"/>
                    </a:lnTo>
                    <a:lnTo>
                      <a:pt x="551498" y="181927"/>
                    </a:lnTo>
                    <a:lnTo>
                      <a:pt x="545783" y="176212"/>
                    </a:lnTo>
                    <a:lnTo>
                      <a:pt x="535305" y="176212"/>
                    </a:lnTo>
                    <a:lnTo>
                      <a:pt x="535305" y="160020"/>
                    </a:lnTo>
                    <a:lnTo>
                      <a:pt x="506730" y="160020"/>
                    </a:lnTo>
                    <a:lnTo>
                      <a:pt x="506730" y="139065"/>
                    </a:lnTo>
                    <a:lnTo>
                      <a:pt x="408623" y="139065"/>
                    </a:lnTo>
                    <a:lnTo>
                      <a:pt x="408623" y="121920"/>
                    </a:lnTo>
                    <a:lnTo>
                      <a:pt x="392430" y="121920"/>
                    </a:lnTo>
                    <a:lnTo>
                      <a:pt x="392430" y="111442"/>
                    </a:lnTo>
                    <a:lnTo>
                      <a:pt x="370523" y="111442"/>
                    </a:lnTo>
                    <a:lnTo>
                      <a:pt x="370523" y="91440"/>
                    </a:lnTo>
                    <a:lnTo>
                      <a:pt x="289560" y="91440"/>
                    </a:lnTo>
                    <a:lnTo>
                      <a:pt x="289560" y="76200"/>
                    </a:lnTo>
                    <a:lnTo>
                      <a:pt x="223838" y="76200"/>
                    </a:lnTo>
                    <a:lnTo>
                      <a:pt x="223838" y="62865"/>
                    </a:lnTo>
                    <a:lnTo>
                      <a:pt x="204788" y="62865"/>
                    </a:lnTo>
                    <a:lnTo>
                      <a:pt x="204788" y="45720"/>
                    </a:lnTo>
                    <a:lnTo>
                      <a:pt x="68580" y="45720"/>
                    </a:lnTo>
                    <a:lnTo>
                      <a:pt x="68580" y="32385"/>
                    </a:lnTo>
                    <a:lnTo>
                      <a:pt x="45720" y="32385"/>
                    </a:lnTo>
                    <a:lnTo>
                      <a:pt x="45720" y="12382"/>
                    </a:lnTo>
                    <a:lnTo>
                      <a:pt x="0" y="12382"/>
                    </a:lnTo>
                    <a:lnTo>
                      <a:pt x="0" y="0"/>
                    </a:lnTo>
                  </a:path>
                </a:pathLst>
              </a:custGeom>
              <a:noFill/>
              <a:ln w="19050">
                <a:solidFill>
                  <a:schemeClr val="accent2"/>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sp>
            <p:nvSpPr>
              <p:cNvPr id="192" name="Freeform: Shape 191">
                <a:extLst>
                  <a:ext uri="{FF2B5EF4-FFF2-40B4-BE49-F238E27FC236}">
                    <a16:creationId xmlns:a16="http://schemas.microsoft.com/office/drawing/2014/main" id="{EDEF2A06-5287-46CD-8D89-26A1009FC57A}"/>
                  </a:ext>
                </a:extLst>
              </p:cNvPr>
              <p:cNvSpPr/>
              <p:nvPr/>
            </p:nvSpPr>
            <p:spPr>
              <a:xfrm>
                <a:off x="1495425" y="1932623"/>
                <a:ext cx="1331595" cy="399097"/>
              </a:xfrm>
              <a:custGeom>
                <a:avLst/>
                <a:gdLst>
                  <a:gd name="connsiteX0" fmla="*/ 1331595 w 1331595"/>
                  <a:gd name="connsiteY0" fmla="*/ 399097 h 399097"/>
                  <a:gd name="connsiteX1" fmla="*/ 1135380 w 1331595"/>
                  <a:gd name="connsiteY1" fmla="*/ 399097 h 399097"/>
                  <a:gd name="connsiteX2" fmla="*/ 1135380 w 1331595"/>
                  <a:gd name="connsiteY2" fmla="*/ 360997 h 399097"/>
                  <a:gd name="connsiteX3" fmla="*/ 1113473 w 1331595"/>
                  <a:gd name="connsiteY3" fmla="*/ 360997 h 399097"/>
                  <a:gd name="connsiteX4" fmla="*/ 1113473 w 1331595"/>
                  <a:gd name="connsiteY4" fmla="*/ 350520 h 399097"/>
                  <a:gd name="connsiteX5" fmla="*/ 1103948 w 1331595"/>
                  <a:gd name="connsiteY5" fmla="*/ 350520 h 399097"/>
                  <a:gd name="connsiteX6" fmla="*/ 1103948 w 1331595"/>
                  <a:gd name="connsiteY6" fmla="*/ 330517 h 399097"/>
                  <a:gd name="connsiteX7" fmla="*/ 984885 w 1331595"/>
                  <a:gd name="connsiteY7" fmla="*/ 330517 h 399097"/>
                  <a:gd name="connsiteX8" fmla="*/ 984885 w 1331595"/>
                  <a:gd name="connsiteY8" fmla="*/ 319087 h 399097"/>
                  <a:gd name="connsiteX9" fmla="*/ 955358 w 1331595"/>
                  <a:gd name="connsiteY9" fmla="*/ 319087 h 399097"/>
                  <a:gd name="connsiteX10" fmla="*/ 955358 w 1331595"/>
                  <a:gd name="connsiteY10" fmla="*/ 284797 h 399097"/>
                  <a:gd name="connsiteX11" fmla="*/ 779145 w 1331595"/>
                  <a:gd name="connsiteY11" fmla="*/ 284797 h 399097"/>
                  <a:gd name="connsiteX12" fmla="*/ 779145 w 1331595"/>
                  <a:gd name="connsiteY12" fmla="*/ 266700 h 399097"/>
                  <a:gd name="connsiteX13" fmla="*/ 477203 w 1331595"/>
                  <a:gd name="connsiteY13" fmla="*/ 266700 h 399097"/>
                  <a:gd name="connsiteX14" fmla="*/ 477203 w 1331595"/>
                  <a:gd name="connsiteY14" fmla="*/ 251460 h 399097"/>
                  <a:gd name="connsiteX15" fmla="*/ 445770 w 1331595"/>
                  <a:gd name="connsiteY15" fmla="*/ 251460 h 399097"/>
                  <a:gd name="connsiteX16" fmla="*/ 445770 w 1331595"/>
                  <a:gd name="connsiteY16" fmla="*/ 238125 h 399097"/>
                  <a:gd name="connsiteX17" fmla="*/ 424815 w 1331595"/>
                  <a:gd name="connsiteY17" fmla="*/ 238125 h 399097"/>
                  <a:gd name="connsiteX18" fmla="*/ 424815 w 1331595"/>
                  <a:gd name="connsiteY18" fmla="*/ 221932 h 399097"/>
                  <a:gd name="connsiteX19" fmla="*/ 301943 w 1331595"/>
                  <a:gd name="connsiteY19" fmla="*/ 221932 h 399097"/>
                  <a:gd name="connsiteX20" fmla="*/ 301943 w 1331595"/>
                  <a:gd name="connsiteY20" fmla="*/ 176212 h 399097"/>
                  <a:gd name="connsiteX21" fmla="*/ 273368 w 1331595"/>
                  <a:gd name="connsiteY21" fmla="*/ 176212 h 399097"/>
                  <a:gd name="connsiteX22" fmla="*/ 273368 w 1331595"/>
                  <a:gd name="connsiteY22" fmla="*/ 140970 h 399097"/>
                  <a:gd name="connsiteX23" fmla="*/ 257175 w 1331595"/>
                  <a:gd name="connsiteY23" fmla="*/ 140970 h 399097"/>
                  <a:gd name="connsiteX24" fmla="*/ 257175 w 1331595"/>
                  <a:gd name="connsiteY24" fmla="*/ 122872 h 399097"/>
                  <a:gd name="connsiteX25" fmla="*/ 235268 w 1331595"/>
                  <a:gd name="connsiteY25" fmla="*/ 122872 h 399097"/>
                  <a:gd name="connsiteX26" fmla="*/ 235268 w 1331595"/>
                  <a:gd name="connsiteY26" fmla="*/ 81915 h 399097"/>
                  <a:gd name="connsiteX27" fmla="*/ 200978 w 1331595"/>
                  <a:gd name="connsiteY27" fmla="*/ 81915 h 399097"/>
                  <a:gd name="connsiteX28" fmla="*/ 200978 w 1331595"/>
                  <a:gd name="connsiteY28" fmla="*/ 62865 h 399097"/>
                  <a:gd name="connsiteX29" fmla="*/ 121920 w 1331595"/>
                  <a:gd name="connsiteY29" fmla="*/ 62865 h 399097"/>
                  <a:gd name="connsiteX30" fmla="*/ 121920 w 1331595"/>
                  <a:gd name="connsiteY30" fmla="*/ 32385 h 399097"/>
                  <a:gd name="connsiteX31" fmla="*/ 85725 w 1331595"/>
                  <a:gd name="connsiteY31" fmla="*/ 32385 h 399097"/>
                  <a:gd name="connsiteX32" fmla="*/ 85725 w 1331595"/>
                  <a:gd name="connsiteY32" fmla="*/ 17145 h 399097"/>
                  <a:gd name="connsiteX33" fmla="*/ 13335 w 1331595"/>
                  <a:gd name="connsiteY33" fmla="*/ 17145 h 399097"/>
                  <a:gd name="connsiteX34" fmla="*/ 13335 w 1331595"/>
                  <a:gd name="connsiteY34" fmla="*/ 0 h 399097"/>
                  <a:gd name="connsiteX35" fmla="*/ 0 w 1331595"/>
                  <a:gd name="connsiteY35" fmla="*/ 0 h 39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31595" h="399097">
                    <a:moveTo>
                      <a:pt x="1331595" y="399097"/>
                    </a:moveTo>
                    <a:lnTo>
                      <a:pt x="1135380" y="399097"/>
                    </a:lnTo>
                    <a:lnTo>
                      <a:pt x="1135380" y="360997"/>
                    </a:lnTo>
                    <a:lnTo>
                      <a:pt x="1113473" y="360997"/>
                    </a:lnTo>
                    <a:lnTo>
                      <a:pt x="1113473" y="350520"/>
                    </a:lnTo>
                    <a:lnTo>
                      <a:pt x="1103948" y="350520"/>
                    </a:lnTo>
                    <a:lnTo>
                      <a:pt x="1103948" y="330517"/>
                    </a:lnTo>
                    <a:lnTo>
                      <a:pt x="984885" y="330517"/>
                    </a:lnTo>
                    <a:lnTo>
                      <a:pt x="984885" y="319087"/>
                    </a:lnTo>
                    <a:lnTo>
                      <a:pt x="955358" y="319087"/>
                    </a:lnTo>
                    <a:lnTo>
                      <a:pt x="955358" y="284797"/>
                    </a:lnTo>
                    <a:lnTo>
                      <a:pt x="779145" y="284797"/>
                    </a:lnTo>
                    <a:lnTo>
                      <a:pt x="779145" y="266700"/>
                    </a:lnTo>
                    <a:lnTo>
                      <a:pt x="477203" y="266700"/>
                    </a:lnTo>
                    <a:lnTo>
                      <a:pt x="477203" y="251460"/>
                    </a:lnTo>
                    <a:lnTo>
                      <a:pt x="445770" y="251460"/>
                    </a:lnTo>
                    <a:lnTo>
                      <a:pt x="445770" y="238125"/>
                    </a:lnTo>
                    <a:lnTo>
                      <a:pt x="424815" y="238125"/>
                    </a:lnTo>
                    <a:lnTo>
                      <a:pt x="424815" y="221932"/>
                    </a:lnTo>
                    <a:lnTo>
                      <a:pt x="301943" y="221932"/>
                    </a:lnTo>
                    <a:lnTo>
                      <a:pt x="301943" y="176212"/>
                    </a:lnTo>
                    <a:lnTo>
                      <a:pt x="273368" y="176212"/>
                    </a:lnTo>
                    <a:lnTo>
                      <a:pt x="273368" y="140970"/>
                    </a:lnTo>
                    <a:lnTo>
                      <a:pt x="257175" y="140970"/>
                    </a:lnTo>
                    <a:lnTo>
                      <a:pt x="257175" y="122872"/>
                    </a:lnTo>
                    <a:lnTo>
                      <a:pt x="235268" y="122872"/>
                    </a:lnTo>
                    <a:lnTo>
                      <a:pt x="235268" y="81915"/>
                    </a:lnTo>
                    <a:lnTo>
                      <a:pt x="200978" y="81915"/>
                    </a:lnTo>
                    <a:lnTo>
                      <a:pt x="200978" y="62865"/>
                    </a:lnTo>
                    <a:lnTo>
                      <a:pt x="121920" y="62865"/>
                    </a:lnTo>
                    <a:lnTo>
                      <a:pt x="121920" y="32385"/>
                    </a:lnTo>
                    <a:lnTo>
                      <a:pt x="85725" y="32385"/>
                    </a:lnTo>
                    <a:lnTo>
                      <a:pt x="85725" y="17145"/>
                    </a:lnTo>
                    <a:lnTo>
                      <a:pt x="13335" y="17145"/>
                    </a:lnTo>
                    <a:lnTo>
                      <a:pt x="13335" y="0"/>
                    </a:lnTo>
                    <a:lnTo>
                      <a:pt x="0" y="0"/>
                    </a:lnTo>
                  </a:path>
                </a:pathLst>
              </a:custGeom>
              <a:noFill/>
              <a:ln w="19050">
                <a:solidFill>
                  <a:schemeClr val="accent2"/>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grpSp>
        <p:grpSp>
          <p:nvGrpSpPr>
            <p:cNvPr id="197" name="Group 196">
              <a:extLst>
                <a:ext uri="{FF2B5EF4-FFF2-40B4-BE49-F238E27FC236}">
                  <a16:creationId xmlns:a16="http://schemas.microsoft.com/office/drawing/2014/main" id="{2F4B452B-566B-43AD-8195-7515DE9B1699}"/>
                </a:ext>
              </a:extLst>
            </p:cNvPr>
            <p:cNvGrpSpPr/>
            <p:nvPr/>
          </p:nvGrpSpPr>
          <p:grpSpPr>
            <a:xfrm>
              <a:off x="1492568" y="1941195"/>
              <a:ext cx="3714750" cy="862013"/>
              <a:chOff x="1492568" y="1941195"/>
              <a:chExt cx="3714750" cy="862013"/>
            </a:xfrm>
          </p:grpSpPr>
          <p:sp>
            <p:nvSpPr>
              <p:cNvPr id="194" name="Freeform: Shape 193">
                <a:extLst>
                  <a:ext uri="{FF2B5EF4-FFF2-40B4-BE49-F238E27FC236}">
                    <a16:creationId xmlns:a16="http://schemas.microsoft.com/office/drawing/2014/main" id="{6CF0A83F-11D8-404F-AB59-46066867555A}"/>
                  </a:ext>
                </a:extLst>
              </p:cNvPr>
              <p:cNvSpPr/>
              <p:nvPr/>
            </p:nvSpPr>
            <p:spPr>
              <a:xfrm>
                <a:off x="2589848" y="2303145"/>
                <a:ext cx="2617470" cy="500063"/>
              </a:xfrm>
              <a:custGeom>
                <a:avLst/>
                <a:gdLst>
                  <a:gd name="connsiteX0" fmla="*/ 2617470 w 2617470"/>
                  <a:gd name="connsiteY0" fmla="*/ 500063 h 500063"/>
                  <a:gd name="connsiteX1" fmla="*/ 1634490 w 2617470"/>
                  <a:gd name="connsiteY1" fmla="*/ 500063 h 500063"/>
                  <a:gd name="connsiteX2" fmla="*/ 1634490 w 2617470"/>
                  <a:gd name="connsiteY2" fmla="*/ 476250 h 500063"/>
                  <a:gd name="connsiteX3" fmla="*/ 1606867 w 2617470"/>
                  <a:gd name="connsiteY3" fmla="*/ 476250 h 500063"/>
                  <a:gd name="connsiteX4" fmla="*/ 1606867 w 2617470"/>
                  <a:gd name="connsiteY4" fmla="*/ 455295 h 500063"/>
                  <a:gd name="connsiteX5" fmla="*/ 1470660 w 2617470"/>
                  <a:gd name="connsiteY5" fmla="*/ 455295 h 500063"/>
                  <a:gd name="connsiteX6" fmla="*/ 1470660 w 2617470"/>
                  <a:gd name="connsiteY6" fmla="*/ 432435 h 500063"/>
                  <a:gd name="connsiteX7" fmla="*/ 1371600 w 2617470"/>
                  <a:gd name="connsiteY7" fmla="*/ 432435 h 500063"/>
                  <a:gd name="connsiteX8" fmla="*/ 1371600 w 2617470"/>
                  <a:gd name="connsiteY8" fmla="*/ 410528 h 500063"/>
                  <a:gd name="connsiteX9" fmla="*/ 1266825 w 2617470"/>
                  <a:gd name="connsiteY9" fmla="*/ 410528 h 500063"/>
                  <a:gd name="connsiteX10" fmla="*/ 1266825 w 2617470"/>
                  <a:gd name="connsiteY10" fmla="*/ 361950 h 500063"/>
                  <a:gd name="connsiteX11" fmla="*/ 1103947 w 2617470"/>
                  <a:gd name="connsiteY11" fmla="*/ 361950 h 500063"/>
                  <a:gd name="connsiteX12" fmla="*/ 1103947 w 2617470"/>
                  <a:gd name="connsiteY12" fmla="*/ 326708 h 500063"/>
                  <a:gd name="connsiteX13" fmla="*/ 1031557 w 2617470"/>
                  <a:gd name="connsiteY13" fmla="*/ 326708 h 500063"/>
                  <a:gd name="connsiteX14" fmla="*/ 1031557 w 2617470"/>
                  <a:gd name="connsiteY14" fmla="*/ 305753 h 500063"/>
                  <a:gd name="connsiteX15" fmla="*/ 982027 w 2617470"/>
                  <a:gd name="connsiteY15" fmla="*/ 305753 h 500063"/>
                  <a:gd name="connsiteX16" fmla="*/ 982027 w 2617470"/>
                  <a:gd name="connsiteY16" fmla="*/ 284798 h 500063"/>
                  <a:gd name="connsiteX17" fmla="*/ 982027 w 2617470"/>
                  <a:gd name="connsiteY17" fmla="*/ 277178 h 500063"/>
                  <a:gd name="connsiteX18" fmla="*/ 829627 w 2617470"/>
                  <a:gd name="connsiteY18" fmla="*/ 277178 h 500063"/>
                  <a:gd name="connsiteX19" fmla="*/ 829627 w 2617470"/>
                  <a:gd name="connsiteY19" fmla="*/ 241935 h 500063"/>
                  <a:gd name="connsiteX20" fmla="*/ 794385 w 2617470"/>
                  <a:gd name="connsiteY20" fmla="*/ 241935 h 500063"/>
                  <a:gd name="connsiteX21" fmla="*/ 794385 w 2617470"/>
                  <a:gd name="connsiteY21" fmla="*/ 213360 h 500063"/>
                  <a:gd name="connsiteX22" fmla="*/ 578167 w 2617470"/>
                  <a:gd name="connsiteY22" fmla="*/ 213360 h 500063"/>
                  <a:gd name="connsiteX23" fmla="*/ 578167 w 2617470"/>
                  <a:gd name="connsiteY23" fmla="*/ 192405 h 500063"/>
                  <a:gd name="connsiteX24" fmla="*/ 451485 w 2617470"/>
                  <a:gd name="connsiteY24" fmla="*/ 192405 h 500063"/>
                  <a:gd name="connsiteX25" fmla="*/ 451485 w 2617470"/>
                  <a:gd name="connsiteY25" fmla="*/ 174308 h 500063"/>
                  <a:gd name="connsiteX26" fmla="*/ 400050 w 2617470"/>
                  <a:gd name="connsiteY26" fmla="*/ 174308 h 500063"/>
                  <a:gd name="connsiteX27" fmla="*/ 400050 w 2617470"/>
                  <a:gd name="connsiteY27" fmla="*/ 152400 h 500063"/>
                  <a:gd name="connsiteX28" fmla="*/ 362902 w 2617470"/>
                  <a:gd name="connsiteY28" fmla="*/ 152400 h 500063"/>
                  <a:gd name="connsiteX29" fmla="*/ 362902 w 2617470"/>
                  <a:gd name="connsiteY29" fmla="*/ 124778 h 500063"/>
                  <a:gd name="connsiteX30" fmla="*/ 323850 w 2617470"/>
                  <a:gd name="connsiteY30" fmla="*/ 124778 h 500063"/>
                  <a:gd name="connsiteX31" fmla="*/ 323850 w 2617470"/>
                  <a:gd name="connsiteY31" fmla="*/ 110490 h 500063"/>
                  <a:gd name="connsiteX32" fmla="*/ 244792 w 2617470"/>
                  <a:gd name="connsiteY32" fmla="*/ 110490 h 500063"/>
                  <a:gd name="connsiteX33" fmla="*/ 244792 w 2617470"/>
                  <a:gd name="connsiteY33" fmla="*/ 92393 h 500063"/>
                  <a:gd name="connsiteX34" fmla="*/ 143827 w 2617470"/>
                  <a:gd name="connsiteY34" fmla="*/ 92393 h 500063"/>
                  <a:gd name="connsiteX35" fmla="*/ 143827 w 2617470"/>
                  <a:gd name="connsiteY35" fmla="*/ 69533 h 500063"/>
                  <a:gd name="connsiteX36" fmla="*/ 70485 w 2617470"/>
                  <a:gd name="connsiteY36" fmla="*/ 69533 h 500063"/>
                  <a:gd name="connsiteX37" fmla="*/ 70485 w 2617470"/>
                  <a:gd name="connsiteY37" fmla="*/ 27623 h 500063"/>
                  <a:gd name="connsiteX38" fmla="*/ 42862 w 2617470"/>
                  <a:gd name="connsiteY38" fmla="*/ 27623 h 500063"/>
                  <a:gd name="connsiteX39" fmla="*/ 42862 w 2617470"/>
                  <a:gd name="connsiteY39" fmla="*/ 13335 h 500063"/>
                  <a:gd name="connsiteX40" fmla="*/ 0 w 2617470"/>
                  <a:gd name="connsiteY40" fmla="*/ 13335 h 500063"/>
                  <a:gd name="connsiteX41" fmla="*/ 0 w 2617470"/>
                  <a:gd name="connsiteY41" fmla="*/ 0 h 50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17470" h="500063">
                    <a:moveTo>
                      <a:pt x="2617470" y="500063"/>
                    </a:moveTo>
                    <a:lnTo>
                      <a:pt x="1634490" y="500063"/>
                    </a:lnTo>
                    <a:lnTo>
                      <a:pt x="1634490" y="476250"/>
                    </a:lnTo>
                    <a:lnTo>
                      <a:pt x="1606867" y="476250"/>
                    </a:lnTo>
                    <a:lnTo>
                      <a:pt x="1606867" y="455295"/>
                    </a:lnTo>
                    <a:lnTo>
                      <a:pt x="1470660" y="455295"/>
                    </a:lnTo>
                    <a:lnTo>
                      <a:pt x="1470660" y="432435"/>
                    </a:lnTo>
                    <a:lnTo>
                      <a:pt x="1371600" y="432435"/>
                    </a:lnTo>
                    <a:lnTo>
                      <a:pt x="1371600" y="410528"/>
                    </a:lnTo>
                    <a:lnTo>
                      <a:pt x="1266825" y="410528"/>
                    </a:lnTo>
                    <a:lnTo>
                      <a:pt x="1266825" y="361950"/>
                    </a:lnTo>
                    <a:lnTo>
                      <a:pt x="1103947" y="361950"/>
                    </a:lnTo>
                    <a:lnTo>
                      <a:pt x="1103947" y="326708"/>
                    </a:lnTo>
                    <a:lnTo>
                      <a:pt x="1031557" y="326708"/>
                    </a:lnTo>
                    <a:lnTo>
                      <a:pt x="1031557" y="305753"/>
                    </a:lnTo>
                    <a:lnTo>
                      <a:pt x="982027" y="305753"/>
                    </a:lnTo>
                    <a:lnTo>
                      <a:pt x="982027" y="284798"/>
                    </a:lnTo>
                    <a:lnTo>
                      <a:pt x="982027" y="277178"/>
                    </a:lnTo>
                    <a:lnTo>
                      <a:pt x="829627" y="277178"/>
                    </a:lnTo>
                    <a:lnTo>
                      <a:pt x="829627" y="241935"/>
                    </a:lnTo>
                    <a:lnTo>
                      <a:pt x="794385" y="241935"/>
                    </a:lnTo>
                    <a:lnTo>
                      <a:pt x="794385" y="213360"/>
                    </a:lnTo>
                    <a:lnTo>
                      <a:pt x="578167" y="213360"/>
                    </a:lnTo>
                    <a:lnTo>
                      <a:pt x="578167" y="192405"/>
                    </a:lnTo>
                    <a:lnTo>
                      <a:pt x="451485" y="192405"/>
                    </a:lnTo>
                    <a:lnTo>
                      <a:pt x="451485" y="174308"/>
                    </a:lnTo>
                    <a:lnTo>
                      <a:pt x="400050" y="174308"/>
                    </a:lnTo>
                    <a:lnTo>
                      <a:pt x="400050" y="152400"/>
                    </a:lnTo>
                    <a:lnTo>
                      <a:pt x="362902" y="152400"/>
                    </a:lnTo>
                    <a:lnTo>
                      <a:pt x="362902" y="124778"/>
                    </a:lnTo>
                    <a:lnTo>
                      <a:pt x="323850" y="124778"/>
                    </a:lnTo>
                    <a:lnTo>
                      <a:pt x="323850" y="110490"/>
                    </a:lnTo>
                    <a:lnTo>
                      <a:pt x="244792" y="110490"/>
                    </a:lnTo>
                    <a:lnTo>
                      <a:pt x="244792" y="92393"/>
                    </a:lnTo>
                    <a:lnTo>
                      <a:pt x="143827" y="92393"/>
                    </a:lnTo>
                    <a:lnTo>
                      <a:pt x="143827" y="69533"/>
                    </a:lnTo>
                    <a:lnTo>
                      <a:pt x="70485" y="69533"/>
                    </a:lnTo>
                    <a:lnTo>
                      <a:pt x="70485" y="27623"/>
                    </a:lnTo>
                    <a:lnTo>
                      <a:pt x="42862" y="27623"/>
                    </a:lnTo>
                    <a:lnTo>
                      <a:pt x="42862" y="13335"/>
                    </a:lnTo>
                    <a:lnTo>
                      <a:pt x="0" y="13335"/>
                    </a:lnTo>
                    <a:lnTo>
                      <a:pt x="0" y="0"/>
                    </a:lnTo>
                  </a:path>
                </a:pathLst>
              </a:custGeom>
              <a:noFill/>
              <a:ln w="19050">
                <a:solidFill>
                  <a:schemeClr val="accent3"/>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sp>
            <p:nvSpPr>
              <p:cNvPr id="196" name="Freeform: Shape 195">
                <a:extLst>
                  <a:ext uri="{FF2B5EF4-FFF2-40B4-BE49-F238E27FC236}">
                    <a16:creationId xmlns:a16="http://schemas.microsoft.com/office/drawing/2014/main" id="{122BB144-AD75-4749-9E64-FA6A9478E2FA}"/>
                  </a:ext>
                </a:extLst>
              </p:cNvPr>
              <p:cNvSpPr/>
              <p:nvPr/>
            </p:nvSpPr>
            <p:spPr>
              <a:xfrm>
                <a:off x="1492568" y="1941195"/>
                <a:ext cx="1097280" cy="361950"/>
              </a:xfrm>
              <a:custGeom>
                <a:avLst/>
                <a:gdLst>
                  <a:gd name="connsiteX0" fmla="*/ 1097280 w 1097280"/>
                  <a:gd name="connsiteY0" fmla="*/ 361950 h 361950"/>
                  <a:gd name="connsiteX1" fmla="*/ 965835 w 1097280"/>
                  <a:gd name="connsiteY1" fmla="*/ 361950 h 361950"/>
                  <a:gd name="connsiteX2" fmla="*/ 965835 w 1097280"/>
                  <a:gd name="connsiteY2" fmla="*/ 342900 h 361950"/>
                  <a:gd name="connsiteX3" fmla="*/ 760095 w 1097280"/>
                  <a:gd name="connsiteY3" fmla="*/ 342900 h 361950"/>
                  <a:gd name="connsiteX4" fmla="*/ 760095 w 1097280"/>
                  <a:gd name="connsiteY4" fmla="*/ 309563 h 361950"/>
                  <a:gd name="connsiteX5" fmla="*/ 747712 w 1097280"/>
                  <a:gd name="connsiteY5" fmla="*/ 309563 h 361950"/>
                  <a:gd name="connsiteX6" fmla="*/ 747712 w 1097280"/>
                  <a:gd name="connsiteY6" fmla="*/ 278130 h 361950"/>
                  <a:gd name="connsiteX7" fmla="*/ 576262 w 1097280"/>
                  <a:gd name="connsiteY7" fmla="*/ 278130 h 361950"/>
                  <a:gd name="connsiteX8" fmla="*/ 537210 w 1097280"/>
                  <a:gd name="connsiteY8" fmla="*/ 278130 h 361950"/>
                  <a:gd name="connsiteX9" fmla="*/ 537210 w 1097280"/>
                  <a:gd name="connsiteY9" fmla="*/ 258128 h 361950"/>
                  <a:gd name="connsiteX10" fmla="*/ 463867 w 1097280"/>
                  <a:gd name="connsiteY10" fmla="*/ 258128 h 361950"/>
                  <a:gd name="connsiteX11" fmla="*/ 463867 w 1097280"/>
                  <a:gd name="connsiteY11" fmla="*/ 248603 h 361950"/>
                  <a:gd name="connsiteX12" fmla="*/ 418147 w 1097280"/>
                  <a:gd name="connsiteY12" fmla="*/ 248603 h 361950"/>
                  <a:gd name="connsiteX13" fmla="*/ 418147 w 1097280"/>
                  <a:gd name="connsiteY13" fmla="*/ 236220 h 361950"/>
                  <a:gd name="connsiteX14" fmla="*/ 371475 w 1097280"/>
                  <a:gd name="connsiteY14" fmla="*/ 236220 h 361950"/>
                  <a:gd name="connsiteX15" fmla="*/ 371475 w 1097280"/>
                  <a:gd name="connsiteY15" fmla="*/ 212408 h 361950"/>
                  <a:gd name="connsiteX16" fmla="*/ 311467 w 1097280"/>
                  <a:gd name="connsiteY16" fmla="*/ 212408 h 361950"/>
                  <a:gd name="connsiteX17" fmla="*/ 311467 w 1097280"/>
                  <a:gd name="connsiteY17" fmla="*/ 174308 h 361950"/>
                  <a:gd name="connsiteX18" fmla="*/ 283845 w 1097280"/>
                  <a:gd name="connsiteY18" fmla="*/ 174308 h 361950"/>
                  <a:gd name="connsiteX19" fmla="*/ 283845 w 1097280"/>
                  <a:gd name="connsiteY19" fmla="*/ 141923 h 361950"/>
                  <a:gd name="connsiteX20" fmla="*/ 262890 w 1097280"/>
                  <a:gd name="connsiteY20" fmla="*/ 141923 h 361950"/>
                  <a:gd name="connsiteX21" fmla="*/ 262890 w 1097280"/>
                  <a:gd name="connsiteY21" fmla="*/ 109538 h 361950"/>
                  <a:gd name="connsiteX22" fmla="*/ 237172 w 1097280"/>
                  <a:gd name="connsiteY22" fmla="*/ 109538 h 361950"/>
                  <a:gd name="connsiteX23" fmla="*/ 237172 w 1097280"/>
                  <a:gd name="connsiteY23" fmla="*/ 82868 h 361950"/>
                  <a:gd name="connsiteX24" fmla="*/ 220980 w 1097280"/>
                  <a:gd name="connsiteY24" fmla="*/ 82868 h 361950"/>
                  <a:gd name="connsiteX25" fmla="*/ 220980 w 1097280"/>
                  <a:gd name="connsiteY25" fmla="*/ 59055 h 361950"/>
                  <a:gd name="connsiteX26" fmla="*/ 174307 w 1097280"/>
                  <a:gd name="connsiteY26" fmla="*/ 59055 h 361950"/>
                  <a:gd name="connsiteX27" fmla="*/ 174307 w 1097280"/>
                  <a:gd name="connsiteY27" fmla="*/ 40005 h 361950"/>
                  <a:gd name="connsiteX28" fmla="*/ 126682 w 1097280"/>
                  <a:gd name="connsiteY28" fmla="*/ 40005 h 361950"/>
                  <a:gd name="connsiteX29" fmla="*/ 126682 w 1097280"/>
                  <a:gd name="connsiteY29" fmla="*/ 7620 h 361950"/>
                  <a:gd name="connsiteX30" fmla="*/ 80962 w 1097280"/>
                  <a:gd name="connsiteY30" fmla="*/ 7620 h 361950"/>
                  <a:gd name="connsiteX31" fmla="*/ 73342 w 1097280"/>
                  <a:gd name="connsiteY31" fmla="*/ 0 h 361950"/>
                  <a:gd name="connsiteX32" fmla="*/ 0 w 1097280"/>
                  <a:gd name="connsiteY32" fmla="*/ 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97280" h="361950">
                    <a:moveTo>
                      <a:pt x="1097280" y="361950"/>
                    </a:moveTo>
                    <a:lnTo>
                      <a:pt x="965835" y="361950"/>
                    </a:lnTo>
                    <a:lnTo>
                      <a:pt x="965835" y="342900"/>
                    </a:lnTo>
                    <a:lnTo>
                      <a:pt x="760095" y="342900"/>
                    </a:lnTo>
                    <a:lnTo>
                      <a:pt x="760095" y="309563"/>
                    </a:lnTo>
                    <a:lnTo>
                      <a:pt x="747712" y="309563"/>
                    </a:lnTo>
                    <a:lnTo>
                      <a:pt x="747712" y="278130"/>
                    </a:lnTo>
                    <a:lnTo>
                      <a:pt x="576262" y="278130"/>
                    </a:lnTo>
                    <a:lnTo>
                      <a:pt x="537210" y="278130"/>
                    </a:lnTo>
                    <a:lnTo>
                      <a:pt x="537210" y="258128"/>
                    </a:lnTo>
                    <a:lnTo>
                      <a:pt x="463867" y="258128"/>
                    </a:lnTo>
                    <a:lnTo>
                      <a:pt x="463867" y="248603"/>
                    </a:lnTo>
                    <a:lnTo>
                      <a:pt x="418147" y="248603"/>
                    </a:lnTo>
                    <a:lnTo>
                      <a:pt x="418147" y="236220"/>
                    </a:lnTo>
                    <a:lnTo>
                      <a:pt x="371475" y="236220"/>
                    </a:lnTo>
                    <a:lnTo>
                      <a:pt x="371475" y="212408"/>
                    </a:lnTo>
                    <a:lnTo>
                      <a:pt x="311467" y="212408"/>
                    </a:lnTo>
                    <a:lnTo>
                      <a:pt x="311467" y="174308"/>
                    </a:lnTo>
                    <a:lnTo>
                      <a:pt x="283845" y="174308"/>
                    </a:lnTo>
                    <a:lnTo>
                      <a:pt x="283845" y="141923"/>
                    </a:lnTo>
                    <a:lnTo>
                      <a:pt x="262890" y="141923"/>
                    </a:lnTo>
                    <a:lnTo>
                      <a:pt x="262890" y="109538"/>
                    </a:lnTo>
                    <a:lnTo>
                      <a:pt x="237172" y="109538"/>
                    </a:lnTo>
                    <a:lnTo>
                      <a:pt x="237172" y="82868"/>
                    </a:lnTo>
                    <a:lnTo>
                      <a:pt x="220980" y="82868"/>
                    </a:lnTo>
                    <a:lnTo>
                      <a:pt x="220980" y="59055"/>
                    </a:lnTo>
                    <a:lnTo>
                      <a:pt x="174307" y="59055"/>
                    </a:lnTo>
                    <a:lnTo>
                      <a:pt x="174307" y="40005"/>
                    </a:lnTo>
                    <a:lnTo>
                      <a:pt x="126682" y="40005"/>
                    </a:lnTo>
                    <a:lnTo>
                      <a:pt x="126682" y="7620"/>
                    </a:lnTo>
                    <a:lnTo>
                      <a:pt x="80962" y="7620"/>
                    </a:lnTo>
                    <a:lnTo>
                      <a:pt x="73342" y="0"/>
                    </a:lnTo>
                    <a:lnTo>
                      <a:pt x="0" y="0"/>
                    </a:lnTo>
                  </a:path>
                </a:pathLst>
              </a:custGeom>
              <a:noFill/>
              <a:ln w="1905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grpSp>
      </p:grpSp>
      <p:sp>
        <p:nvSpPr>
          <p:cNvPr id="254" name="TextBox 253">
            <a:extLst>
              <a:ext uri="{FF2B5EF4-FFF2-40B4-BE49-F238E27FC236}">
                <a16:creationId xmlns:a16="http://schemas.microsoft.com/office/drawing/2014/main" id="{C60B603A-D7C0-4838-A032-7D996F5CB634}"/>
              </a:ext>
            </a:extLst>
          </p:cNvPr>
          <p:cNvSpPr txBox="1"/>
          <p:nvPr/>
        </p:nvSpPr>
        <p:spPr>
          <a:xfrm>
            <a:off x="5823405" y="791976"/>
            <a:ext cx="1366080" cy="379463"/>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1266" b="1" i="0" u="none" strike="noStrike" kern="1200" cap="none" spc="0" normalizeH="0" baseline="0" noProof="0">
                <a:ln>
                  <a:noFill/>
                </a:ln>
                <a:solidFill>
                  <a:srgbClr val="223341"/>
                </a:solidFill>
                <a:effectLst/>
                <a:uLnTx/>
                <a:uFillTx/>
                <a:latin typeface="Trebuchet MS"/>
                <a:ea typeface="ＭＳ Ｐゴシック" charset="0"/>
                <a:cs typeface="+mn-cs"/>
              </a:rPr>
              <a:t>Overall survival</a:t>
            </a:r>
            <a:endParaRPr kumimoji="0" lang="en-GB" sz="1266" b="1" i="0" u="none" strike="noStrike" kern="1200" cap="none" spc="0" normalizeH="0" baseline="0" noProof="0">
              <a:ln>
                <a:noFill/>
              </a:ln>
              <a:solidFill>
                <a:srgbClr val="223341"/>
              </a:solidFill>
              <a:effectLst/>
              <a:uLnTx/>
              <a:uFillTx/>
              <a:latin typeface="Trebuchet MS"/>
              <a:ea typeface="ＭＳ Ｐゴシック" charset="0"/>
              <a:cs typeface="+mn-cs"/>
            </a:endParaRPr>
          </a:p>
        </p:txBody>
      </p:sp>
      <p:grpSp>
        <p:nvGrpSpPr>
          <p:cNvPr id="261" name="Group 260">
            <a:extLst>
              <a:ext uri="{FF2B5EF4-FFF2-40B4-BE49-F238E27FC236}">
                <a16:creationId xmlns:a16="http://schemas.microsoft.com/office/drawing/2014/main" id="{45D07602-88B4-4BC3-A421-B9B179672038}"/>
              </a:ext>
            </a:extLst>
          </p:cNvPr>
          <p:cNvGrpSpPr/>
          <p:nvPr/>
        </p:nvGrpSpPr>
        <p:grpSpPr>
          <a:xfrm>
            <a:off x="4526099" y="913692"/>
            <a:ext cx="3911308" cy="2124720"/>
            <a:chOff x="6078645" y="1658670"/>
            <a:chExt cx="5184833" cy="2924130"/>
          </a:xfrm>
        </p:grpSpPr>
        <p:cxnSp>
          <p:nvCxnSpPr>
            <p:cNvPr id="199" name="Straight Connector 198">
              <a:extLst>
                <a:ext uri="{FF2B5EF4-FFF2-40B4-BE49-F238E27FC236}">
                  <a16:creationId xmlns:a16="http://schemas.microsoft.com/office/drawing/2014/main" id="{666B1B59-6F9C-44E3-8D7F-6F3E13D65826}"/>
                </a:ext>
              </a:extLst>
            </p:cNvPr>
            <p:cNvCxnSpPr>
              <a:cxnSpLocks/>
            </p:cNvCxnSpPr>
            <p:nvPr/>
          </p:nvCxnSpPr>
          <p:spPr>
            <a:xfrm>
              <a:off x="6965910" y="1933130"/>
              <a:ext cx="0" cy="219978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4ECC008-8E04-4B0D-BA7B-B2E7B19630B8}"/>
                </a:ext>
              </a:extLst>
            </p:cNvPr>
            <p:cNvCxnSpPr>
              <a:cxnSpLocks/>
            </p:cNvCxnSpPr>
            <p:nvPr/>
          </p:nvCxnSpPr>
          <p:spPr>
            <a:xfrm>
              <a:off x="6964791" y="4134427"/>
              <a:ext cx="4214313"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D767A8E2-AA0B-4B10-BB5E-3D603B071CF9}"/>
                </a:ext>
              </a:extLst>
            </p:cNvPr>
            <p:cNvCxnSpPr>
              <a:cxnSpLocks/>
            </p:cNvCxnSpPr>
            <p:nvPr/>
          </p:nvCxnSpPr>
          <p:spPr>
            <a:xfrm flipH="1">
              <a:off x="7122399"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CD19E753-603D-4DA8-8630-ED3230FCC5F8}"/>
                </a:ext>
              </a:extLst>
            </p:cNvPr>
            <p:cNvSpPr txBox="1"/>
            <p:nvPr/>
          </p:nvSpPr>
          <p:spPr>
            <a:xfrm>
              <a:off x="6928830" y="4075564"/>
              <a:ext cx="385545"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03" name="Straight Connector 202">
              <a:extLst>
                <a:ext uri="{FF2B5EF4-FFF2-40B4-BE49-F238E27FC236}">
                  <a16:creationId xmlns:a16="http://schemas.microsoft.com/office/drawing/2014/main" id="{13C7B49E-A7FC-45AE-ADBA-1ECDE93397E0}"/>
                </a:ext>
              </a:extLst>
            </p:cNvPr>
            <p:cNvCxnSpPr>
              <a:cxnSpLocks/>
            </p:cNvCxnSpPr>
            <p:nvPr/>
          </p:nvCxnSpPr>
          <p:spPr>
            <a:xfrm flipH="1">
              <a:off x="7475919"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04" name="TextBox 203">
              <a:extLst>
                <a:ext uri="{FF2B5EF4-FFF2-40B4-BE49-F238E27FC236}">
                  <a16:creationId xmlns:a16="http://schemas.microsoft.com/office/drawing/2014/main" id="{F0912557-2EF7-42D8-853B-408012A9EF46}"/>
                </a:ext>
              </a:extLst>
            </p:cNvPr>
            <p:cNvSpPr txBox="1"/>
            <p:nvPr/>
          </p:nvSpPr>
          <p:spPr>
            <a:xfrm>
              <a:off x="7282350" y="4075563"/>
              <a:ext cx="385545"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6</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05" name="Straight Connector 204">
              <a:extLst>
                <a:ext uri="{FF2B5EF4-FFF2-40B4-BE49-F238E27FC236}">
                  <a16:creationId xmlns:a16="http://schemas.microsoft.com/office/drawing/2014/main" id="{46F265E9-D6F5-4BCA-BCDF-3DE9CC0161B6}"/>
                </a:ext>
              </a:extLst>
            </p:cNvPr>
            <p:cNvCxnSpPr>
              <a:cxnSpLocks/>
            </p:cNvCxnSpPr>
            <p:nvPr/>
          </p:nvCxnSpPr>
          <p:spPr>
            <a:xfrm flipH="1">
              <a:off x="7830235"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06" name="TextBox 205">
              <a:extLst>
                <a:ext uri="{FF2B5EF4-FFF2-40B4-BE49-F238E27FC236}">
                  <a16:creationId xmlns:a16="http://schemas.microsoft.com/office/drawing/2014/main" id="{B7FE7A47-C530-4AAE-986A-4660055096A2}"/>
                </a:ext>
              </a:extLst>
            </p:cNvPr>
            <p:cNvSpPr txBox="1"/>
            <p:nvPr/>
          </p:nvSpPr>
          <p:spPr>
            <a:xfrm>
              <a:off x="7589804"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12</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07" name="Straight Connector 206">
              <a:extLst>
                <a:ext uri="{FF2B5EF4-FFF2-40B4-BE49-F238E27FC236}">
                  <a16:creationId xmlns:a16="http://schemas.microsoft.com/office/drawing/2014/main" id="{AD45F1F8-EFD3-4541-8EC9-9E49E0C969A2}"/>
                </a:ext>
              </a:extLst>
            </p:cNvPr>
            <p:cNvCxnSpPr>
              <a:cxnSpLocks/>
            </p:cNvCxnSpPr>
            <p:nvPr/>
          </p:nvCxnSpPr>
          <p:spPr>
            <a:xfrm flipH="1">
              <a:off x="8185348"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E5A2D61E-3D31-46F4-855D-D75B5EC0EEE7}"/>
                </a:ext>
              </a:extLst>
            </p:cNvPr>
            <p:cNvSpPr txBox="1"/>
            <p:nvPr/>
          </p:nvSpPr>
          <p:spPr>
            <a:xfrm>
              <a:off x="7944916"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18</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09" name="Straight Connector 208">
              <a:extLst>
                <a:ext uri="{FF2B5EF4-FFF2-40B4-BE49-F238E27FC236}">
                  <a16:creationId xmlns:a16="http://schemas.microsoft.com/office/drawing/2014/main" id="{C58A39F1-5CBE-4F92-AC50-FCC2AB752A74}"/>
                </a:ext>
              </a:extLst>
            </p:cNvPr>
            <p:cNvCxnSpPr/>
            <p:nvPr/>
          </p:nvCxnSpPr>
          <p:spPr>
            <a:xfrm flipH="1">
              <a:off x="6906890" y="3519055"/>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B3C36461-F6A3-4473-A950-A9559E30E8A0}"/>
                </a:ext>
              </a:extLst>
            </p:cNvPr>
            <p:cNvSpPr txBox="1"/>
            <p:nvPr/>
          </p:nvSpPr>
          <p:spPr>
            <a:xfrm>
              <a:off x="6381775" y="3244597"/>
              <a:ext cx="479270"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25</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11" name="Straight Connector 210">
              <a:extLst>
                <a:ext uri="{FF2B5EF4-FFF2-40B4-BE49-F238E27FC236}">
                  <a16:creationId xmlns:a16="http://schemas.microsoft.com/office/drawing/2014/main" id="{8F3A3414-22B1-4E98-9DC6-EDE415B20FF8}"/>
                </a:ext>
              </a:extLst>
            </p:cNvPr>
            <p:cNvCxnSpPr/>
            <p:nvPr/>
          </p:nvCxnSpPr>
          <p:spPr>
            <a:xfrm flipH="1">
              <a:off x="6906890" y="2989049"/>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CFDD5F38-9488-4B70-8BF0-4BD2CD245619}"/>
                </a:ext>
              </a:extLst>
            </p:cNvPr>
            <p:cNvSpPr txBox="1"/>
            <p:nvPr/>
          </p:nvSpPr>
          <p:spPr>
            <a:xfrm>
              <a:off x="6381775" y="2714592"/>
              <a:ext cx="479270"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5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13" name="Straight Connector 212">
              <a:extLst>
                <a:ext uri="{FF2B5EF4-FFF2-40B4-BE49-F238E27FC236}">
                  <a16:creationId xmlns:a16="http://schemas.microsoft.com/office/drawing/2014/main" id="{73E44ACF-E98E-4C9F-99F1-499461B3D72C}"/>
                </a:ext>
              </a:extLst>
            </p:cNvPr>
            <p:cNvCxnSpPr/>
            <p:nvPr/>
          </p:nvCxnSpPr>
          <p:spPr>
            <a:xfrm flipH="1">
              <a:off x="6906890" y="2461312"/>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14" name="TextBox 213">
              <a:extLst>
                <a:ext uri="{FF2B5EF4-FFF2-40B4-BE49-F238E27FC236}">
                  <a16:creationId xmlns:a16="http://schemas.microsoft.com/office/drawing/2014/main" id="{EBB42CB6-20B0-4AB7-B128-5BDCF0904E23}"/>
                </a:ext>
              </a:extLst>
            </p:cNvPr>
            <p:cNvSpPr txBox="1"/>
            <p:nvPr/>
          </p:nvSpPr>
          <p:spPr>
            <a:xfrm>
              <a:off x="6381775" y="2186852"/>
              <a:ext cx="479270"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75</a:t>
              </a:r>
            </a:p>
          </p:txBody>
        </p:sp>
        <p:cxnSp>
          <p:nvCxnSpPr>
            <p:cNvPr id="215" name="Straight Connector 214">
              <a:extLst>
                <a:ext uri="{FF2B5EF4-FFF2-40B4-BE49-F238E27FC236}">
                  <a16:creationId xmlns:a16="http://schemas.microsoft.com/office/drawing/2014/main" id="{89C6B0CC-2E14-46C9-88E8-8E9DBAFA3973}"/>
                </a:ext>
              </a:extLst>
            </p:cNvPr>
            <p:cNvCxnSpPr/>
            <p:nvPr/>
          </p:nvCxnSpPr>
          <p:spPr>
            <a:xfrm flipH="1">
              <a:off x="6906890" y="1933130"/>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8B8FBAE7-3A1A-4966-A1A4-9388F4205564}"/>
                </a:ext>
              </a:extLst>
            </p:cNvPr>
            <p:cNvSpPr txBox="1"/>
            <p:nvPr/>
          </p:nvSpPr>
          <p:spPr>
            <a:xfrm>
              <a:off x="6288051" y="1658670"/>
              <a:ext cx="572997"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10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17" name="Straight Connector 216">
              <a:extLst>
                <a:ext uri="{FF2B5EF4-FFF2-40B4-BE49-F238E27FC236}">
                  <a16:creationId xmlns:a16="http://schemas.microsoft.com/office/drawing/2014/main" id="{2BE52790-08B4-4A2A-B447-DF2C8244CB37}"/>
                </a:ext>
              </a:extLst>
            </p:cNvPr>
            <p:cNvCxnSpPr/>
            <p:nvPr/>
          </p:nvCxnSpPr>
          <p:spPr>
            <a:xfrm flipH="1">
              <a:off x="6906890" y="4047812"/>
              <a:ext cx="57901" cy="0"/>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B4CAF12C-627C-476B-8540-8A299048A1BC}"/>
                </a:ext>
              </a:extLst>
            </p:cNvPr>
            <p:cNvSpPr txBox="1"/>
            <p:nvPr/>
          </p:nvSpPr>
          <p:spPr>
            <a:xfrm>
              <a:off x="6475506" y="3773354"/>
              <a:ext cx="385544" cy="507236"/>
            </a:xfrm>
            <a:prstGeom prst="rect">
              <a:avLst/>
            </a:prstGeom>
            <a:noFill/>
          </p:spPr>
          <p:txBody>
            <a:bodyPr wrap="none" lIns="91440" tIns="91440" rIns="91440" bIns="91440" rtlCol="0" anchor="ctr">
              <a:spAutoFit/>
            </a:bodyPr>
            <a:lstStyle/>
            <a:p>
              <a:pPr marL="0" marR="0" lvl="0" indent="0" algn="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sp>
          <p:nvSpPr>
            <p:cNvPr id="219" name="TextBox 218">
              <a:extLst>
                <a:ext uri="{FF2B5EF4-FFF2-40B4-BE49-F238E27FC236}">
                  <a16:creationId xmlns:a16="http://schemas.microsoft.com/office/drawing/2014/main" id="{4DED1D43-4B73-47B5-9220-A707A7284C9F}"/>
                </a:ext>
              </a:extLst>
            </p:cNvPr>
            <p:cNvSpPr txBox="1"/>
            <p:nvPr/>
          </p:nvSpPr>
          <p:spPr>
            <a:xfrm rot="16200000">
              <a:off x="5274921" y="2736856"/>
              <a:ext cx="2114681" cy="507234"/>
            </a:xfrm>
            <a:prstGeom prst="rect">
              <a:avLst/>
            </a:prstGeom>
            <a:noFill/>
          </p:spPr>
          <p:txBody>
            <a:bodyPr wrap="squar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OS probability</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20" name="Straight Connector 219">
              <a:extLst>
                <a:ext uri="{FF2B5EF4-FFF2-40B4-BE49-F238E27FC236}">
                  <a16:creationId xmlns:a16="http://schemas.microsoft.com/office/drawing/2014/main" id="{934BE60D-4C79-40CE-AB61-FA4B6EF4B67C}"/>
                </a:ext>
              </a:extLst>
            </p:cNvPr>
            <p:cNvCxnSpPr>
              <a:cxnSpLocks/>
            </p:cNvCxnSpPr>
            <p:nvPr/>
          </p:nvCxnSpPr>
          <p:spPr>
            <a:xfrm flipH="1">
              <a:off x="8540852"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21" name="TextBox 220">
              <a:extLst>
                <a:ext uri="{FF2B5EF4-FFF2-40B4-BE49-F238E27FC236}">
                  <a16:creationId xmlns:a16="http://schemas.microsoft.com/office/drawing/2014/main" id="{48DC19B3-62E2-43E4-B797-544576BA8A44}"/>
                </a:ext>
              </a:extLst>
            </p:cNvPr>
            <p:cNvSpPr txBox="1"/>
            <p:nvPr/>
          </p:nvSpPr>
          <p:spPr>
            <a:xfrm>
              <a:off x="8300417"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24</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22" name="Straight Connector 221">
              <a:extLst>
                <a:ext uri="{FF2B5EF4-FFF2-40B4-BE49-F238E27FC236}">
                  <a16:creationId xmlns:a16="http://schemas.microsoft.com/office/drawing/2014/main" id="{F666329E-6A68-40AD-950C-91E6459729AF}"/>
                </a:ext>
              </a:extLst>
            </p:cNvPr>
            <p:cNvCxnSpPr>
              <a:cxnSpLocks/>
            </p:cNvCxnSpPr>
            <p:nvPr/>
          </p:nvCxnSpPr>
          <p:spPr>
            <a:xfrm flipH="1">
              <a:off x="8894372"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23" name="TextBox 222">
              <a:extLst>
                <a:ext uri="{FF2B5EF4-FFF2-40B4-BE49-F238E27FC236}">
                  <a16:creationId xmlns:a16="http://schemas.microsoft.com/office/drawing/2014/main" id="{C18A9CB7-3487-4DD0-8CB3-45BA4ED83AF8}"/>
                </a:ext>
              </a:extLst>
            </p:cNvPr>
            <p:cNvSpPr txBox="1"/>
            <p:nvPr/>
          </p:nvSpPr>
          <p:spPr>
            <a:xfrm>
              <a:off x="8653941"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3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24" name="Straight Connector 223">
              <a:extLst>
                <a:ext uri="{FF2B5EF4-FFF2-40B4-BE49-F238E27FC236}">
                  <a16:creationId xmlns:a16="http://schemas.microsoft.com/office/drawing/2014/main" id="{0DE5EF0D-342C-4F45-8619-9529B1F680EA}"/>
                </a:ext>
              </a:extLst>
            </p:cNvPr>
            <p:cNvCxnSpPr>
              <a:cxnSpLocks/>
            </p:cNvCxnSpPr>
            <p:nvPr/>
          </p:nvCxnSpPr>
          <p:spPr>
            <a:xfrm flipH="1">
              <a:off x="9248688"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2D2386EC-93DB-4029-A97B-783BB61873C2}"/>
                </a:ext>
              </a:extLst>
            </p:cNvPr>
            <p:cNvSpPr txBox="1"/>
            <p:nvPr/>
          </p:nvSpPr>
          <p:spPr>
            <a:xfrm>
              <a:off x="9008257"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36</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26" name="Straight Connector 225">
              <a:extLst>
                <a:ext uri="{FF2B5EF4-FFF2-40B4-BE49-F238E27FC236}">
                  <a16:creationId xmlns:a16="http://schemas.microsoft.com/office/drawing/2014/main" id="{970AEC82-2C92-4B08-9594-00FBF3C2EF42}"/>
                </a:ext>
              </a:extLst>
            </p:cNvPr>
            <p:cNvCxnSpPr>
              <a:cxnSpLocks/>
            </p:cNvCxnSpPr>
            <p:nvPr/>
          </p:nvCxnSpPr>
          <p:spPr>
            <a:xfrm flipH="1">
              <a:off x="9603801"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1335E35C-5DC8-4049-9E27-B0DE09A1B03A}"/>
                </a:ext>
              </a:extLst>
            </p:cNvPr>
            <p:cNvSpPr txBox="1"/>
            <p:nvPr/>
          </p:nvSpPr>
          <p:spPr>
            <a:xfrm>
              <a:off x="9363370"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42</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28" name="Straight Connector 227">
              <a:extLst>
                <a:ext uri="{FF2B5EF4-FFF2-40B4-BE49-F238E27FC236}">
                  <a16:creationId xmlns:a16="http://schemas.microsoft.com/office/drawing/2014/main" id="{AC91D815-61E1-4673-9F05-B1A9DE8CE5B4}"/>
                </a:ext>
              </a:extLst>
            </p:cNvPr>
            <p:cNvCxnSpPr>
              <a:cxnSpLocks/>
            </p:cNvCxnSpPr>
            <p:nvPr/>
          </p:nvCxnSpPr>
          <p:spPr>
            <a:xfrm flipH="1">
              <a:off x="9961691"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29" name="TextBox 228">
              <a:extLst>
                <a:ext uri="{FF2B5EF4-FFF2-40B4-BE49-F238E27FC236}">
                  <a16:creationId xmlns:a16="http://schemas.microsoft.com/office/drawing/2014/main" id="{8FC08614-40E7-405D-9B61-3308D035A33F}"/>
                </a:ext>
              </a:extLst>
            </p:cNvPr>
            <p:cNvSpPr txBox="1"/>
            <p:nvPr/>
          </p:nvSpPr>
          <p:spPr>
            <a:xfrm>
              <a:off x="9721258"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48</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30" name="Straight Connector 229">
              <a:extLst>
                <a:ext uri="{FF2B5EF4-FFF2-40B4-BE49-F238E27FC236}">
                  <a16:creationId xmlns:a16="http://schemas.microsoft.com/office/drawing/2014/main" id="{670FBDF1-2ED0-4D18-9867-0824CBC22B1F}"/>
                </a:ext>
              </a:extLst>
            </p:cNvPr>
            <p:cNvCxnSpPr>
              <a:cxnSpLocks/>
            </p:cNvCxnSpPr>
            <p:nvPr/>
          </p:nvCxnSpPr>
          <p:spPr>
            <a:xfrm flipH="1">
              <a:off x="10315211"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31" name="TextBox 230">
              <a:extLst>
                <a:ext uri="{FF2B5EF4-FFF2-40B4-BE49-F238E27FC236}">
                  <a16:creationId xmlns:a16="http://schemas.microsoft.com/office/drawing/2014/main" id="{07FC1C2B-F5ED-4596-BD0E-0C7EAB231D93}"/>
                </a:ext>
              </a:extLst>
            </p:cNvPr>
            <p:cNvSpPr txBox="1"/>
            <p:nvPr/>
          </p:nvSpPr>
          <p:spPr>
            <a:xfrm>
              <a:off x="10074780"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54</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32" name="Straight Connector 231">
              <a:extLst>
                <a:ext uri="{FF2B5EF4-FFF2-40B4-BE49-F238E27FC236}">
                  <a16:creationId xmlns:a16="http://schemas.microsoft.com/office/drawing/2014/main" id="{03574BFE-E528-4C1E-9D90-B410F1A5EB81}"/>
                </a:ext>
              </a:extLst>
            </p:cNvPr>
            <p:cNvCxnSpPr>
              <a:cxnSpLocks/>
            </p:cNvCxnSpPr>
            <p:nvPr/>
          </p:nvCxnSpPr>
          <p:spPr>
            <a:xfrm flipH="1">
              <a:off x="10669527"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33" name="TextBox 232">
              <a:extLst>
                <a:ext uri="{FF2B5EF4-FFF2-40B4-BE49-F238E27FC236}">
                  <a16:creationId xmlns:a16="http://schemas.microsoft.com/office/drawing/2014/main" id="{CCF52F51-95E8-40F7-B142-0B03931F6CC3}"/>
                </a:ext>
              </a:extLst>
            </p:cNvPr>
            <p:cNvSpPr txBox="1"/>
            <p:nvPr/>
          </p:nvSpPr>
          <p:spPr>
            <a:xfrm>
              <a:off x="10429095"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60</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cxnSp>
          <p:nvCxnSpPr>
            <p:cNvPr id="234" name="Straight Connector 233">
              <a:extLst>
                <a:ext uri="{FF2B5EF4-FFF2-40B4-BE49-F238E27FC236}">
                  <a16:creationId xmlns:a16="http://schemas.microsoft.com/office/drawing/2014/main" id="{B26093EC-1E1A-4AD3-A7AC-D9AEDDA803FF}"/>
                </a:ext>
              </a:extLst>
            </p:cNvPr>
            <p:cNvCxnSpPr>
              <a:cxnSpLocks/>
            </p:cNvCxnSpPr>
            <p:nvPr/>
          </p:nvCxnSpPr>
          <p:spPr>
            <a:xfrm flipH="1">
              <a:off x="11024640" y="4132916"/>
              <a:ext cx="1" cy="56666"/>
            </a:xfrm>
            <a:prstGeom prst="line">
              <a:avLst/>
            </a:prstGeom>
            <a:ln w="9525">
              <a:solidFill>
                <a:srgbClr val="000000"/>
              </a:solidFill>
              <a:tailEnd type="none"/>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8BBD4334-6E9E-45F6-80F6-4FBBC82A704E}"/>
                </a:ext>
              </a:extLst>
            </p:cNvPr>
            <p:cNvSpPr txBox="1"/>
            <p:nvPr/>
          </p:nvSpPr>
          <p:spPr>
            <a:xfrm>
              <a:off x="10784208" y="4075563"/>
              <a:ext cx="479270" cy="507236"/>
            </a:xfrm>
            <a:prstGeom prst="rect">
              <a:avLst/>
            </a:prstGeom>
            <a:noFill/>
          </p:spPr>
          <p:txBody>
            <a:bodyPr wrap="non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66</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sp>
          <p:nvSpPr>
            <p:cNvPr id="255" name="Freeform: Shape 254">
              <a:extLst>
                <a:ext uri="{FF2B5EF4-FFF2-40B4-BE49-F238E27FC236}">
                  <a16:creationId xmlns:a16="http://schemas.microsoft.com/office/drawing/2014/main" id="{EFCE77B3-A9A0-46A3-905E-06C630898830}"/>
                </a:ext>
              </a:extLst>
            </p:cNvPr>
            <p:cNvSpPr/>
            <p:nvPr/>
          </p:nvSpPr>
          <p:spPr>
            <a:xfrm>
              <a:off x="7125364" y="1937485"/>
              <a:ext cx="3864826" cy="2115727"/>
            </a:xfrm>
            <a:custGeom>
              <a:avLst/>
              <a:gdLst>
                <a:gd name="connsiteX0" fmla="*/ 3864826 w 3864826"/>
                <a:gd name="connsiteY0" fmla="*/ 2115727 h 2115727"/>
                <a:gd name="connsiteX1" fmla="*/ 3864826 w 3864826"/>
                <a:gd name="connsiteY1" fmla="*/ 301418 h 2115727"/>
                <a:gd name="connsiteX2" fmla="*/ 3438782 w 3864826"/>
                <a:gd name="connsiteY2" fmla="*/ 301418 h 2115727"/>
                <a:gd name="connsiteX3" fmla="*/ 3438782 w 3864826"/>
                <a:gd name="connsiteY3" fmla="*/ 210123 h 2115727"/>
                <a:gd name="connsiteX4" fmla="*/ 2488154 w 3864826"/>
                <a:gd name="connsiteY4" fmla="*/ 210123 h 2115727"/>
                <a:gd name="connsiteX5" fmla="*/ 2488154 w 3864826"/>
                <a:gd name="connsiteY5" fmla="*/ 191285 h 2115727"/>
                <a:gd name="connsiteX6" fmla="*/ 2279479 w 3864826"/>
                <a:gd name="connsiteY6" fmla="*/ 191285 h 2115727"/>
                <a:gd name="connsiteX7" fmla="*/ 2279479 w 3864826"/>
                <a:gd name="connsiteY7" fmla="*/ 175344 h 2115727"/>
                <a:gd name="connsiteX8" fmla="*/ 2164998 w 3864826"/>
                <a:gd name="connsiteY8" fmla="*/ 175344 h 2115727"/>
                <a:gd name="connsiteX9" fmla="*/ 2164998 w 3864826"/>
                <a:gd name="connsiteY9" fmla="*/ 157955 h 2115727"/>
                <a:gd name="connsiteX10" fmla="*/ 2072254 w 3864826"/>
                <a:gd name="connsiteY10" fmla="*/ 157955 h 2115727"/>
                <a:gd name="connsiteX11" fmla="*/ 2072254 w 3864826"/>
                <a:gd name="connsiteY11" fmla="*/ 140565 h 2115727"/>
                <a:gd name="connsiteX12" fmla="*/ 1986755 w 3864826"/>
                <a:gd name="connsiteY12" fmla="*/ 140565 h 2115727"/>
                <a:gd name="connsiteX13" fmla="*/ 1986755 w 3864826"/>
                <a:gd name="connsiteY13" fmla="*/ 123176 h 2115727"/>
                <a:gd name="connsiteX14" fmla="*/ 1452027 w 3864826"/>
                <a:gd name="connsiteY14" fmla="*/ 123176 h 2115727"/>
                <a:gd name="connsiteX15" fmla="*/ 1452027 w 3864826"/>
                <a:gd name="connsiteY15" fmla="*/ 110133 h 2115727"/>
                <a:gd name="connsiteX16" fmla="*/ 969467 w 3864826"/>
                <a:gd name="connsiteY16" fmla="*/ 110133 h 2115727"/>
                <a:gd name="connsiteX17" fmla="*/ 969467 w 3864826"/>
                <a:gd name="connsiteY17" fmla="*/ 89846 h 2115727"/>
                <a:gd name="connsiteX18" fmla="*/ 637617 w 3864826"/>
                <a:gd name="connsiteY18" fmla="*/ 89846 h 2115727"/>
                <a:gd name="connsiteX19" fmla="*/ 637617 w 3864826"/>
                <a:gd name="connsiteY19" fmla="*/ 78253 h 2115727"/>
                <a:gd name="connsiteX20" fmla="*/ 444883 w 3864826"/>
                <a:gd name="connsiteY20" fmla="*/ 78253 h 2115727"/>
                <a:gd name="connsiteX21" fmla="*/ 444883 w 3864826"/>
                <a:gd name="connsiteY21" fmla="*/ 60863 h 2115727"/>
                <a:gd name="connsiteX22" fmla="*/ 163752 w 3864826"/>
                <a:gd name="connsiteY22" fmla="*/ 60863 h 2115727"/>
                <a:gd name="connsiteX23" fmla="*/ 163752 w 3864826"/>
                <a:gd name="connsiteY23" fmla="*/ 46372 h 2115727"/>
                <a:gd name="connsiteX24" fmla="*/ 143464 w 3864826"/>
                <a:gd name="connsiteY24" fmla="*/ 46372 h 2115727"/>
                <a:gd name="connsiteX25" fmla="*/ 143464 w 3864826"/>
                <a:gd name="connsiteY25" fmla="*/ 27533 h 2115727"/>
                <a:gd name="connsiteX26" fmla="*/ 117380 w 3864826"/>
                <a:gd name="connsiteY26" fmla="*/ 27533 h 2115727"/>
                <a:gd name="connsiteX27" fmla="*/ 117380 w 3864826"/>
                <a:gd name="connsiteY27" fmla="*/ 0 h 2115727"/>
                <a:gd name="connsiteX28" fmla="*/ 0 w 3864826"/>
                <a:gd name="connsiteY28" fmla="*/ 0 h 2115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864826" h="2115727">
                  <a:moveTo>
                    <a:pt x="3864826" y="2115727"/>
                  </a:moveTo>
                  <a:lnTo>
                    <a:pt x="3864826" y="301418"/>
                  </a:lnTo>
                  <a:lnTo>
                    <a:pt x="3438782" y="301418"/>
                  </a:lnTo>
                  <a:lnTo>
                    <a:pt x="3438782" y="210123"/>
                  </a:lnTo>
                  <a:lnTo>
                    <a:pt x="2488154" y="210123"/>
                  </a:lnTo>
                  <a:lnTo>
                    <a:pt x="2488154" y="191285"/>
                  </a:lnTo>
                  <a:lnTo>
                    <a:pt x="2279479" y="191285"/>
                  </a:lnTo>
                  <a:lnTo>
                    <a:pt x="2279479" y="175344"/>
                  </a:lnTo>
                  <a:lnTo>
                    <a:pt x="2164998" y="175344"/>
                  </a:lnTo>
                  <a:lnTo>
                    <a:pt x="2164998" y="157955"/>
                  </a:lnTo>
                  <a:lnTo>
                    <a:pt x="2072254" y="157955"/>
                  </a:lnTo>
                  <a:lnTo>
                    <a:pt x="2072254" y="140565"/>
                  </a:lnTo>
                  <a:lnTo>
                    <a:pt x="1986755" y="140565"/>
                  </a:lnTo>
                  <a:lnTo>
                    <a:pt x="1986755" y="123176"/>
                  </a:lnTo>
                  <a:lnTo>
                    <a:pt x="1452027" y="123176"/>
                  </a:lnTo>
                  <a:lnTo>
                    <a:pt x="1452027" y="110133"/>
                  </a:lnTo>
                  <a:lnTo>
                    <a:pt x="969467" y="110133"/>
                  </a:lnTo>
                  <a:lnTo>
                    <a:pt x="969467" y="89846"/>
                  </a:lnTo>
                  <a:lnTo>
                    <a:pt x="637617" y="89846"/>
                  </a:lnTo>
                  <a:lnTo>
                    <a:pt x="637617" y="78253"/>
                  </a:lnTo>
                  <a:lnTo>
                    <a:pt x="444883" y="78253"/>
                  </a:lnTo>
                  <a:lnTo>
                    <a:pt x="444883" y="60863"/>
                  </a:lnTo>
                  <a:lnTo>
                    <a:pt x="163752" y="60863"/>
                  </a:lnTo>
                  <a:lnTo>
                    <a:pt x="163752" y="46372"/>
                  </a:lnTo>
                  <a:lnTo>
                    <a:pt x="143464" y="46372"/>
                  </a:lnTo>
                  <a:lnTo>
                    <a:pt x="143464" y="27533"/>
                  </a:lnTo>
                  <a:lnTo>
                    <a:pt x="117380" y="27533"/>
                  </a:lnTo>
                  <a:lnTo>
                    <a:pt x="117380" y="0"/>
                  </a:lnTo>
                  <a:lnTo>
                    <a:pt x="0" y="0"/>
                  </a:lnTo>
                </a:path>
              </a:pathLst>
            </a:custGeom>
            <a:noFill/>
            <a:ln w="19050">
              <a:solidFill>
                <a:schemeClr val="accent2"/>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sp>
          <p:nvSpPr>
            <p:cNvPr id="256" name="Freeform: Shape 255">
              <a:extLst>
                <a:ext uri="{FF2B5EF4-FFF2-40B4-BE49-F238E27FC236}">
                  <a16:creationId xmlns:a16="http://schemas.microsoft.com/office/drawing/2014/main" id="{79538317-24BF-4B69-9694-B437C36246CC}"/>
                </a:ext>
              </a:extLst>
            </p:cNvPr>
            <p:cNvSpPr/>
            <p:nvPr/>
          </p:nvSpPr>
          <p:spPr>
            <a:xfrm>
              <a:off x="7128262" y="1938934"/>
              <a:ext cx="3788022" cy="527482"/>
            </a:xfrm>
            <a:custGeom>
              <a:avLst/>
              <a:gdLst>
                <a:gd name="connsiteX0" fmla="*/ 3788022 w 3788022"/>
                <a:gd name="connsiteY0" fmla="*/ 527482 h 527482"/>
                <a:gd name="connsiteX1" fmla="*/ 3375020 w 3788022"/>
                <a:gd name="connsiteY1" fmla="*/ 527482 h 527482"/>
                <a:gd name="connsiteX2" fmla="*/ 3375020 w 3788022"/>
                <a:gd name="connsiteY2" fmla="*/ 437637 h 527482"/>
                <a:gd name="connsiteX3" fmla="*/ 3319954 w 3788022"/>
                <a:gd name="connsiteY3" fmla="*/ 437637 h 527482"/>
                <a:gd name="connsiteX4" fmla="*/ 3319954 w 3788022"/>
                <a:gd name="connsiteY4" fmla="*/ 369527 h 527482"/>
                <a:gd name="connsiteX5" fmla="*/ 2791022 w 3788022"/>
                <a:gd name="connsiteY5" fmla="*/ 369527 h 527482"/>
                <a:gd name="connsiteX6" fmla="*/ 2791022 w 3788022"/>
                <a:gd name="connsiteY6" fmla="*/ 344892 h 527482"/>
                <a:gd name="connsiteX7" fmla="*/ 2775081 w 3788022"/>
                <a:gd name="connsiteY7" fmla="*/ 344892 h 527482"/>
                <a:gd name="connsiteX8" fmla="*/ 2775081 w 3788022"/>
                <a:gd name="connsiteY8" fmla="*/ 315910 h 527482"/>
                <a:gd name="connsiteX9" fmla="*/ 2695379 w 3788022"/>
                <a:gd name="connsiteY9" fmla="*/ 315910 h 527482"/>
                <a:gd name="connsiteX10" fmla="*/ 2695379 w 3788022"/>
                <a:gd name="connsiteY10" fmla="*/ 297071 h 527482"/>
                <a:gd name="connsiteX11" fmla="*/ 2638863 w 3788022"/>
                <a:gd name="connsiteY11" fmla="*/ 297071 h 527482"/>
                <a:gd name="connsiteX12" fmla="*/ 2638863 w 3788022"/>
                <a:gd name="connsiteY12" fmla="*/ 275334 h 527482"/>
                <a:gd name="connsiteX13" fmla="*/ 2370774 w 3788022"/>
                <a:gd name="connsiteY13" fmla="*/ 275334 h 527482"/>
                <a:gd name="connsiteX14" fmla="*/ 2370774 w 3788022"/>
                <a:gd name="connsiteY14" fmla="*/ 256495 h 527482"/>
                <a:gd name="connsiteX15" fmla="*/ 2247599 w 3788022"/>
                <a:gd name="connsiteY15" fmla="*/ 256495 h 527482"/>
                <a:gd name="connsiteX16" fmla="*/ 2247599 w 3788022"/>
                <a:gd name="connsiteY16" fmla="*/ 237657 h 527482"/>
                <a:gd name="connsiteX17" fmla="*/ 2218616 w 3788022"/>
                <a:gd name="connsiteY17" fmla="*/ 237657 h 527482"/>
                <a:gd name="connsiteX18" fmla="*/ 2218616 w 3788022"/>
                <a:gd name="connsiteY18" fmla="*/ 220267 h 527482"/>
                <a:gd name="connsiteX19" fmla="*/ 1976612 w 3788022"/>
                <a:gd name="connsiteY19" fmla="*/ 220267 h 527482"/>
                <a:gd name="connsiteX20" fmla="*/ 1976612 w 3788022"/>
                <a:gd name="connsiteY20" fmla="*/ 204327 h 527482"/>
                <a:gd name="connsiteX21" fmla="*/ 1915748 w 3788022"/>
                <a:gd name="connsiteY21" fmla="*/ 204327 h 527482"/>
                <a:gd name="connsiteX22" fmla="*/ 1915748 w 3788022"/>
                <a:gd name="connsiteY22" fmla="*/ 189836 h 527482"/>
                <a:gd name="connsiteX23" fmla="*/ 1876622 w 3788022"/>
                <a:gd name="connsiteY23" fmla="*/ 189836 h 527482"/>
                <a:gd name="connsiteX24" fmla="*/ 1876622 w 3788022"/>
                <a:gd name="connsiteY24" fmla="*/ 175344 h 527482"/>
                <a:gd name="connsiteX25" fmla="*/ 1453476 w 3788022"/>
                <a:gd name="connsiteY25" fmla="*/ 175344 h 527482"/>
                <a:gd name="connsiteX26" fmla="*/ 1453476 w 3788022"/>
                <a:gd name="connsiteY26" fmla="*/ 156506 h 527482"/>
                <a:gd name="connsiteX27" fmla="*/ 1257844 w 3788022"/>
                <a:gd name="connsiteY27" fmla="*/ 156506 h 527482"/>
                <a:gd name="connsiteX28" fmla="*/ 1257844 w 3788022"/>
                <a:gd name="connsiteY28" fmla="*/ 142014 h 527482"/>
                <a:gd name="connsiteX29" fmla="*/ 1057864 w 3788022"/>
                <a:gd name="connsiteY29" fmla="*/ 142014 h 527482"/>
                <a:gd name="connsiteX30" fmla="*/ 1057864 w 3788022"/>
                <a:gd name="connsiteY30" fmla="*/ 124625 h 527482"/>
                <a:gd name="connsiteX31" fmla="*/ 1034678 w 3788022"/>
                <a:gd name="connsiteY31" fmla="*/ 124625 h 527482"/>
                <a:gd name="connsiteX32" fmla="*/ 1034678 w 3788022"/>
                <a:gd name="connsiteY32" fmla="*/ 108684 h 527482"/>
                <a:gd name="connsiteX33" fmla="*/ 901358 w 3788022"/>
                <a:gd name="connsiteY33" fmla="*/ 108684 h 527482"/>
                <a:gd name="connsiteX34" fmla="*/ 901358 w 3788022"/>
                <a:gd name="connsiteY34" fmla="*/ 92744 h 527482"/>
                <a:gd name="connsiteX35" fmla="*/ 536178 w 3788022"/>
                <a:gd name="connsiteY35" fmla="*/ 92744 h 527482"/>
                <a:gd name="connsiteX36" fmla="*/ 536178 w 3788022"/>
                <a:gd name="connsiteY36" fmla="*/ 76804 h 527482"/>
                <a:gd name="connsiteX37" fmla="*/ 450679 w 3788022"/>
                <a:gd name="connsiteY37" fmla="*/ 76804 h 527482"/>
                <a:gd name="connsiteX38" fmla="*/ 450679 w 3788022"/>
                <a:gd name="connsiteY38" fmla="*/ 62312 h 527482"/>
                <a:gd name="connsiteX39" fmla="*/ 139117 w 3788022"/>
                <a:gd name="connsiteY39" fmla="*/ 62312 h 527482"/>
                <a:gd name="connsiteX40" fmla="*/ 139117 w 3788022"/>
                <a:gd name="connsiteY40" fmla="*/ 46372 h 527482"/>
                <a:gd name="connsiteX41" fmla="*/ 126075 w 3788022"/>
                <a:gd name="connsiteY41" fmla="*/ 46372 h 527482"/>
                <a:gd name="connsiteX42" fmla="*/ 126075 w 3788022"/>
                <a:gd name="connsiteY42" fmla="*/ 20288 h 527482"/>
                <a:gd name="connsiteX43" fmla="*/ 118829 w 3788022"/>
                <a:gd name="connsiteY43" fmla="*/ 20288 h 527482"/>
                <a:gd name="connsiteX44" fmla="*/ 118829 w 3788022"/>
                <a:gd name="connsiteY44" fmla="*/ 0 h 527482"/>
                <a:gd name="connsiteX45" fmla="*/ 0 w 3788022"/>
                <a:gd name="connsiteY45" fmla="*/ 0 h 52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788022" h="527482">
                  <a:moveTo>
                    <a:pt x="3788022" y="527482"/>
                  </a:moveTo>
                  <a:lnTo>
                    <a:pt x="3375020" y="527482"/>
                  </a:lnTo>
                  <a:lnTo>
                    <a:pt x="3375020" y="437637"/>
                  </a:lnTo>
                  <a:lnTo>
                    <a:pt x="3319954" y="437637"/>
                  </a:lnTo>
                  <a:lnTo>
                    <a:pt x="3319954" y="369527"/>
                  </a:lnTo>
                  <a:lnTo>
                    <a:pt x="2791022" y="369527"/>
                  </a:lnTo>
                  <a:lnTo>
                    <a:pt x="2791022" y="344892"/>
                  </a:lnTo>
                  <a:lnTo>
                    <a:pt x="2775081" y="344892"/>
                  </a:lnTo>
                  <a:lnTo>
                    <a:pt x="2775081" y="315910"/>
                  </a:lnTo>
                  <a:lnTo>
                    <a:pt x="2695379" y="315910"/>
                  </a:lnTo>
                  <a:lnTo>
                    <a:pt x="2695379" y="297071"/>
                  </a:lnTo>
                  <a:lnTo>
                    <a:pt x="2638863" y="297071"/>
                  </a:lnTo>
                  <a:lnTo>
                    <a:pt x="2638863" y="275334"/>
                  </a:lnTo>
                  <a:lnTo>
                    <a:pt x="2370774" y="275334"/>
                  </a:lnTo>
                  <a:lnTo>
                    <a:pt x="2370774" y="256495"/>
                  </a:lnTo>
                  <a:lnTo>
                    <a:pt x="2247599" y="256495"/>
                  </a:lnTo>
                  <a:lnTo>
                    <a:pt x="2247599" y="237657"/>
                  </a:lnTo>
                  <a:lnTo>
                    <a:pt x="2218616" y="237657"/>
                  </a:lnTo>
                  <a:lnTo>
                    <a:pt x="2218616" y="220267"/>
                  </a:lnTo>
                  <a:lnTo>
                    <a:pt x="1976612" y="220267"/>
                  </a:lnTo>
                  <a:lnTo>
                    <a:pt x="1976612" y="204327"/>
                  </a:lnTo>
                  <a:lnTo>
                    <a:pt x="1915748" y="204327"/>
                  </a:lnTo>
                  <a:lnTo>
                    <a:pt x="1915748" y="189836"/>
                  </a:lnTo>
                  <a:lnTo>
                    <a:pt x="1876622" y="189836"/>
                  </a:lnTo>
                  <a:lnTo>
                    <a:pt x="1876622" y="175344"/>
                  </a:lnTo>
                  <a:lnTo>
                    <a:pt x="1453476" y="175344"/>
                  </a:lnTo>
                  <a:lnTo>
                    <a:pt x="1453476" y="156506"/>
                  </a:lnTo>
                  <a:lnTo>
                    <a:pt x="1257844" y="156506"/>
                  </a:lnTo>
                  <a:lnTo>
                    <a:pt x="1257844" y="142014"/>
                  </a:lnTo>
                  <a:lnTo>
                    <a:pt x="1057864" y="142014"/>
                  </a:lnTo>
                  <a:lnTo>
                    <a:pt x="1057864" y="124625"/>
                  </a:lnTo>
                  <a:lnTo>
                    <a:pt x="1034678" y="124625"/>
                  </a:lnTo>
                  <a:lnTo>
                    <a:pt x="1034678" y="108684"/>
                  </a:lnTo>
                  <a:lnTo>
                    <a:pt x="901358" y="108684"/>
                  </a:lnTo>
                  <a:lnTo>
                    <a:pt x="901358" y="92744"/>
                  </a:lnTo>
                  <a:lnTo>
                    <a:pt x="536178" y="92744"/>
                  </a:lnTo>
                  <a:lnTo>
                    <a:pt x="536178" y="76804"/>
                  </a:lnTo>
                  <a:lnTo>
                    <a:pt x="450679" y="76804"/>
                  </a:lnTo>
                  <a:lnTo>
                    <a:pt x="450679" y="62312"/>
                  </a:lnTo>
                  <a:lnTo>
                    <a:pt x="139117" y="62312"/>
                  </a:lnTo>
                  <a:lnTo>
                    <a:pt x="139117" y="46372"/>
                  </a:lnTo>
                  <a:lnTo>
                    <a:pt x="126075" y="46372"/>
                  </a:lnTo>
                  <a:lnTo>
                    <a:pt x="126075" y="20288"/>
                  </a:lnTo>
                  <a:lnTo>
                    <a:pt x="118829" y="20288"/>
                  </a:lnTo>
                  <a:lnTo>
                    <a:pt x="118829" y="0"/>
                  </a:lnTo>
                  <a:lnTo>
                    <a:pt x="0" y="0"/>
                  </a:lnTo>
                </a:path>
              </a:pathLst>
            </a:custGeom>
            <a:noFill/>
            <a:ln w="1905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sp>
          <p:nvSpPr>
            <p:cNvPr id="257" name="Freeform: Shape 256">
              <a:extLst>
                <a:ext uri="{FF2B5EF4-FFF2-40B4-BE49-F238E27FC236}">
                  <a16:creationId xmlns:a16="http://schemas.microsoft.com/office/drawing/2014/main" id="{9D5CCF19-8892-43C0-BC53-0EEBE66583CC}"/>
                </a:ext>
              </a:extLst>
            </p:cNvPr>
            <p:cNvSpPr/>
            <p:nvPr/>
          </p:nvSpPr>
          <p:spPr>
            <a:xfrm>
              <a:off x="7126813" y="1936035"/>
              <a:ext cx="3725709" cy="614431"/>
            </a:xfrm>
            <a:custGeom>
              <a:avLst/>
              <a:gdLst>
                <a:gd name="connsiteX0" fmla="*/ 3725709 w 3725709"/>
                <a:gd name="connsiteY0" fmla="*/ 614431 h 614431"/>
                <a:gd name="connsiteX1" fmla="*/ 3579347 w 3725709"/>
                <a:gd name="connsiteY1" fmla="*/ 614431 h 614431"/>
                <a:gd name="connsiteX2" fmla="*/ 3579347 w 3725709"/>
                <a:gd name="connsiteY2" fmla="*/ 424595 h 614431"/>
                <a:gd name="connsiteX3" fmla="*/ 3499645 w 3725709"/>
                <a:gd name="connsiteY3" fmla="*/ 424595 h 614431"/>
                <a:gd name="connsiteX4" fmla="*/ 3499645 w 3725709"/>
                <a:gd name="connsiteY4" fmla="*/ 324605 h 614431"/>
                <a:gd name="connsiteX5" fmla="*/ 3067805 w 3725709"/>
                <a:gd name="connsiteY5" fmla="*/ 324605 h 614431"/>
                <a:gd name="connsiteX6" fmla="*/ 3067805 w 3725709"/>
                <a:gd name="connsiteY6" fmla="*/ 294174 h 614431"/>
                <a:gd name="connsiteX7" fmla="*/ 2602635 w 3725709"/>
                <a:gd name="connsiteY7" fmla="*/ 294174 h 614431"/>
                <a:gd name="connsiteX8" fmla="*/ 2602635 w 3725709"/>
                <a:gd name="connsiteY8" fmla="*/ 272437 h 614431"/>
                <a:gd name="connsiteX9" fmla="*/ 2521484 w 3725709"/>
                <a:gd name="connsiteY9" fmla="*/ 272437 h 614431"/>
                <a:gd name="connsiteX10" fmla="*/ 2521484 w 3725709"/>
                <a:gd name="connsiteY10" fmla="*/ 255047 h 614431"/>
                <a:gd name="connsiteX11" fmla="*/ 2433087 w 3725709"/>
                <a:gd name="connsiteY11" fmla="*/ 255047 h 614431"/>
                <a:gd name="connsiteX12" fmla="*/ 2433087 w 3725709"/>
                <a:gd name="connsiteY12" fmla="*/ 236208 h 614431"/>
                <a:gd name="connsiteX13" fmla="*/ 2138914 w 3725709"/>
                <a:gd name="connsiteY13" fmla="*/ 236208 h 614431"/>
                <a:gd name="connsiteX14" fmla="*/ 2138914 w 3725709"/>
                <a:gd name="connsiteY14" fmla="*/ 218819 h 614431"/>
                <a:gd name="connsiteX15" fmla="*/ 2041822 w 3725709"/>
                <a:gd name="connsiteY15" fmla="*/ 218819 h 614431"/>
                <a:gd name="connsiteX16" fmla="*/ 2041822 w 3725709"/>
                <a:gd name="connsiteY16" fmla="*/ 204328 h 614431"/>
                <a:gd name="connsiteX17" fmla="*/ 1983857 w 3725709"/>
                <a:gd name="connsiteY17" fmla="*/ 204328 h 614431"/>
                <a:gd name="connsiteX18" fmla="*/ 1983857 w 3725709"/>
                <a:gd name="connsiteY18" fmla="*/ 185489 h 614431"/>
                <a:gd name="connsiteX19" fmla="*/ 1478111 w 3725709"/>
                <a:gd name="connsiteY19" fmla="*/ 185489 h 614431"/>
                <a:gd name="connsiteX20" fmla="*/ 1478111 w 3725709"/>
                <a:gd name="connsiteY20" fmla="*/ 156506 h 614431"/>
                <a:gd name="connsiteX21" fmla="*/ 1456374 w 3725709"/>
                <a:gd name="connsiteY21" fmla="*/ 156506 h 614431"/>
                <a:gd name="connsiteX22" fmla="*/ 1456374 w 3725709"/>
                <a:gd name="connsiteY22" fmla="*/ 139117 h 614431"/>
                <a:gd name="connsiteX23" fmla="*/ 1398409 w 3725709"/>
                <a:gd name="connsiteY23" fmla="*/ 139117 h 614431"/>
                <a:gd name="connsiteX24" fmla="*/ 1398409 w 3725709"/>
                <a:gd name="connsiteY24" fmla="*/ 121727 h 614431"/>
                <a:gd name="connsiteX25" fmla="*/ 1088296 w 3725709"/>
                <a:gd name="connsiteY25" fmla="*/ 121727 h 614431"/>
                <a:gd name="connsiteX26" fmla="*/ 1088296 w 3725709"/>
                <a:gd name="connsiteY26" fmla="*/ 105787 h 614431"/>
                <a:gd name="connsiteX27" fmla="*/ 979611 w 3725709"/>
                <a:gd name="connsiteY27" fmla="*/ 105787 h 614431"/>
                <a:gd name="connsiteX28" fmla="*/ 979611 w 3725709"/>
                <a:gd name="connsiteY28" fmla="*/ 91296 h 614431"/>
                <a:gd name="connsiteX29" fmla="*/ 462272 w 3725709"/>
                <a:gd name="connsiteY29" fmla="*/ 91296 h 614431"/>
                <a:gd name="connsiteX30" fmla="*/ 462272 w 3725709"/>
                <a:gd name="connsiteY30" fmla="*/ 81152 h 614431"/>
                <a:gd name="connsiteX31" fmla="*/ 337647 w 3725709"/>
                <a:gd name="connsiteY31" fmla="*/ 81152 h 614431"/>
                <a:gd name="connsiteX32" fmla="*/ 337647 w 3725709"/>
                <a:gd name="connsiteY32" fmla="*/ 47822 h 614431"/>
                <a:gd name="connsiteX33" fmla="*/ 256496 w 3725709"/>
                <a:gd name="connsiteY33" fmla="*/ 47822 h 614431"/>
                <a:gd name="connsiteX34" fmla="*/ 256496 w 3725709"/>
                <a:gd name="connsiteY34" fmla="*/ 31881 h 614431"/>
                <a:gd name="connsiteX35" fmla="*/ 137668 w 3725709"/>
                <a:gd name="connsiteY35" fmla="*/ 31881 h 614431"/>
                <a:gd name="connsiteX36" fmla="*/ 137668 w 3725709"/>
                <a:gd name="connsiteY36" fmla="*/ 14492 h 614431"/>
                <a:gd name="connsiteX37" fmla="*/ 118829 w 3725709"/>
                <a:gd name="connsiteY37" fmla="*/ 14492 h 614431"/>
                <a:gd name="connsiteX38" fmla="*/ 118829 w 3725709"/>
                <a:gd name="connsiteY38" fmla="*/ 0 h 614431"/>
                <a:gd name="connsiteX39" fmla="*/ 0 w 3725709"/>
                <a:gd name="connsiteY39" fmla="*/ 0 h 61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725709" h="614431">
                  <a:moveTo>
                    <a:pt x="3725709" y="614431"/>
                  </a:moveTo>
                  <a:lnTo>
                    <a:pt x="3579347" y="614431"/>
                  </a:lnTo>
                  <a:lnTo>
                    <a:pt x="3579347" y="424595"/>
                  </a:lnTo>
                  <a:lnTo>
                    <a:pt x="3499645" y="424595"/>
                  </a:lnTo>
                  <a:lnTo>
                    <a:pt x="3499645" y="324605"/>
                  </a:lnTo>
                  <a:lnTo>
                    <a:pt x="3067805" y="324605"/>
                  </a:lnTo>
                  <a:lnTo>
                    <a:pt x="3067805" y="294174"/>
                  </a:lnTo>
                  <a:lnTo>
                    <a:pt x="2602635" y="294174"/>
                  </a:lnTo>
                  <a:lnTo>
                    <a:pt x="2602635" y="272437"/>
                  </a:lnTo>
                  <a:lnTo>
                    <a:pt x="2521484" y="272437"/>
                  </a:lnTo>
                  <a:lnTo>
                    <a:pt x="2521484" y="255047"/>
                  </a:lnTo>
                  <a:lnTo>
                    <a:pt x="2433087" y="255047"/>
                  </a:lnTo>
                  <a:lnTo>
                    <a:pt x="2433087" y="236208"/>
                  </a:lnTo>
                  <a:lnTo>
                    <a:pt x="2138914" y="236208"/>
                  </a:lnTo>
                  <a:lnTo>
                    <a:pt x="2138914" y="218819"/>
                  </a:lnTo>
                  <a:lnTo>
                    <a:pt x="2041822" y="218819"/>
                  </a:lnTo>
                  <a:lnTo>
                    <a:pt x="2041822" y="204328"/>
                  </a:lnTo>
                  <a:lnTo>
                    <a:pt x="1983857" y="204328"/>
                  </a:lnTo>
                  <a:lnTo>
                    <a:pt x="1983857" y="185489"/>
                  </a:lnTo>
                  <a:lnTo>
                    <a:pt x="1478111" y="185489"/>
                  </a:lnTo>
                  <a:lnTo>
                    <a:pt x="1478111" y="156506"/>
                  </a:lnTo>
                  <a:lnTo>
                    <a:pt x="1456374" y="156506"/>
                  </a:lnTo>
                  <a:lnTo>
                    <a:pt x="1456374" y="139117"/>
                  </a:lnTo>
                  <a:lnTo>
                    <a:pt x="1398409" y="139117"/>
                  </a:lnTo>
                  <a:lnTo>
                    <a:pt x="1398409" y="121727"/>
                  </a:lnTo>
                  <a:lnTo>
                    <a:pt x="1088296" y="121727"/>
                  </a:lnTo>
                  <a:lnTo>
                    <a:pt x="1088296" y="105787"/>
                  </a:lnTo>
                  <a:lnTo>
                    <a:pt x="979611" y="105787"/>
                  </a:lnTo>
                  <a:lnTo>
                    <a:pt x="979611" y="91296"/>
                  </a:lnTo>
                  <a:lnTo>
                    <a:pt x="462272" y="91296"/>
                  </a:lnTo>
                  <a:lnTo>
                    <a:pt x="462272" y="81152"/>
                  </a:lnTo>
                  <a:lnTo>
                    <a:pt x="337647" y="81152"/>
                  </a:lnTo>
                  <a:lnTo>
                    <a:pt x="337647" y="47822"/>
                  </a:lnTo>
                  <a:lnTo>
                    <a:pt x="256496" y="47822"/>
                  </a:lnTo>
                  <a:lnTo>
                    <a:pt x="256496" y="31881"/>
                  </a:lnTo>
                  <a:lnTo>
                    <a:pt x="137668" y="31881"/>
                  </a:lnTo>
                  <a:lnTo>
                    <a:pt x="137668" y="14492"/>
                  </a:lnTo>
                  <a:lnTo>
                    <a:pt x="118829" y="14492"/>
                  </a:lnTo>
                  <a:lnTo>
                    <a:pt x="118829" y="0"/>
                  </a:lnTo>
                  <a:lnTo>
                    <a:pt x="0" y="0"/>
                  </a:lnTo>
                </a:path>
              </a:pathLst>
            </a:custGeom>
            <a:noFill/>
            <a:ln w="19050">
              <a:solidFill>
                <a:srgbClr val="E67225"/>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sp>
          <p:nvSpPr>
            <p:cNvPr id="258" name="Freeform: Shape 257">
              <a:extLst>
                <a:ext uri="{FF2B5EF4-FFF2-40B4-BE49-F238E27FC236}">
                  <a16:creationId xmlns:a16="http://schemas.microsoft.com/office/drawing/2014/main" id="{30805422-24CC-4B4D-BEBB-232B4FF2C715}"/>
                </a:ext>
              </a:extLst>
            </p:cNvPr>
            <p:cNvSpPr/>
            <p:nvPr/>
          </p:nvSpPr>
          <p:spPr>
            <a:xfrm>
              <a:off x="7123915" y="1936035"/>
              <a:ext cx="3683684" cy="299970"/>
            </a:xfrm>
            <a:custGeom>
              <a:avLst/>
              <a:gdLst>
                <a:gd name="connsiteX0" fmla="*/ 3683684 w 3683684"/>
                <a:gd name="connsiteY0" fmla="*/ 299970 h 299970"/>
                <a:gd name="connsiteX1" fmla="*/ 2514238 w 3683684"/>
                <a:gd name="connsiteY1" fmla="*/ 299970 h 299970"/>
                <a:gd name="connsiteX2" fmla="*/ 2514238 w 3683684"/>
                <a:gd name="connsiteY2" fmla="*/ 279682 h 299970"/>
                <a:gd name="connsiteX3" fmla="*/ 2189633 w 3683684"/>
                <a:gd name="connsiteY3" fmla="*/ 279682 h 299970"/>
                <a:gd name="connsiteX4" fmla="*/ 2189633 w 3683684"/>
                <a:gd name="connsiteY4" fmla="*/ 259394 h 299970"/>
                <a:gd name="connsiteX5" fmla="*/ 2149057 w 3683684"/>
                <a:gd name="connsiteY5" fmla="*/ 259394 h 299970"/>
                <a:gd name="connsiteX6" fmla="*/ 2149057 w 3683684"/>
                <a:gd name="connsiteY6" fmla="*/ 243454 h 299970"/>
                <a:gd name="connsiteX7" fmla="*/ 2122973 w 3683684"/>
                <a:gd name="connsiteY7" fmla="*/ 243454 h 299970"/>
                <a:gd name="connsiteX8" fmla="*/ 2122973 w 3683684"/>
                <a:gd name="connsiteY8" fmla="*/ 228963 h 299970"/>
                <a:gd name="connsiteX9" fmla="*/ 1741852 w 3683684"/>
                <a:gd name="connsiteY9" fmla="*/ 228963 h 299970"/>
                <a:gd name="connsiteX10" fmla="*/ 1741852 w 3683684"/>
                <a:gd name="connsiteY10" fmla="*/ 214471 h 299970"/>
                <a:gd name="connsiteX11" fmla="*/ 1699828 w 3683684"/>
                <a:gd name="connsiteY11" fmla="*/ 214471 h 299970"/>
                <a:gd name="connsiteX12" fmla="*/ 1699828 w 3683684"/>
                <a:gd name="connsiteY12" fmla="*/ 197082 h 299970"/>
                <a:gd name="connsiteX13" fmla="*/ 1662150 w 3683684"/>
                <a:gd name="connsiteY13" fmla="*/ 197082 h 299970"/>
                <a:gd name="connsiteX14" fmla="*/ 1662150 w 3683684"/>
                <a:gd name="connsiteY14" fmla="*/ 181142 h 299970"/>
                <a:gd name="connsiteX15" fmla="*/ 1410002 w 3683684"/>
                <a:gd name="connsiteY15" fmla="*/ 181142 h 299970"/>
                <a:gd name="connsiteX16" fmla="*/ 1410002 w 3683684"/>
                <a:gd name="connsiteY16" fmla="*/ 168099 h 299970"/>
                <a:gd name="connsiteX17" fmla="*/ 1249149 w 3683684"/>
                <a:gd name="connsiteY17" fmla="*/ 168099 h 299970"/>
                <a:gd name="connsiteX18" fmla="*/ 1249149 w 3683684"/>
                <a:gd name="connsiteY18" fmla="*/ 152159 h 299970"/>
                <a:gd name="connsiteX19" fmla="*/ 947730 w 3683684"/>
                <a:gd name="connsiteY19" fmla="*/ 152159 h 299970"/>
                <a:gd name="connsiteX20" fmla="*/ 947730 w 3683684"/>
                <a:gd name="connsiteY20" fmla="*/ 136219 h 299970"/>
                <a:gd name="connsiteX21" fmla="*/ 859333 w 3683684"/>
                <a:gd name="connsiteY21" fmla="*/ 136219 h 299970"/>
                <a:gd name="connsiteX22" fmla="*/ 859333 w 3683684"/>
                <a:gd name="connsiteY22" fmla="*/ 121727 h 299970"/>
                <a:gd name="connsiteX23" fmla="*/ 772385 w 3683684"/>
                <a:gd name="connsiteY23" fmla="*/ 121727 h 299970"/>
                <a:gd name="connsiteX24" fmla="*/ 772385 w 3683684"/>
                <a:gd name="connsiteY24" fmla="*/ 102889 h 299970"/>
                <a:gd name="connsiteX25" fmla="*/ 572406 w 3683684"/>
                <a:gd name="connsiteY25" fmla="*/ 102889 h 299970"/>
                <a:gd name="connsiteX26" fmla="*/ 572406 w 3683684"/>
                <a:gd name="connsiteY26" fmla="*/ 92745 h 299970"/>
                <a:gd name="connsiteX27" fmla="*/ 537627 w 3683684"/>
                <a:gd name="connsiteY27" fmla="*/ 92745 h 299970"/>
                <a:gd name="connsiteX28" fmla="*/ 537627 w 3683684"/>
                <a:gd name="connsiteY28" fmla="*/ 76804 h 299970"/>
                <a:gd name="connsiteX29" fmla="*/ 360833 w 3683684"/>
                <a:gd name="connsiteY29" fmla="*/ 76804 h 299970"/>
                <a:gd name="connsiteX30" fmla="*/ 360833 w 3683684"/>
                <a:gd name="connsiteY30" fmla="*/ 47822 h 299970"/>
                <a:gd name="connsiteX31" fmla="*/ 299970 w 3683684"/>
                <a:gd name="connsiteY31" fmla="*/ 47822 h 299970"/>
                <a:gd name="connsiteX32" fmla="*/ 299970 w 3683684"/>
                <a:gd name="connsiteY32" fmla="*/ 30432 h 299970"/>
                <a:gd name="connsiteX33" fmla="*/ 249250 w 3683684"/>
                <a:gd name="connsiteY33" fmla="*/ 30432 h 299970"/>
                <a:gd name="connsiteX34" fmla="*/ 249250 w 3683684"/>
                <a:gd name="connsiteY34" fmla="*/ 13043 h 299970"/>
                <a:gd name="connsiteX35" fmla="*/ 127523 w 3683684"/>
                <a:gd name="connsiteY35" fmla="*/ 13043 h 299970"/>
                <a:gd name="connsiteX36" fmla="*/ 127523 w 3683684"/>
                <a:gd name="connsiteY36" fmla="*/ 0 h 299970"/>
                <a:gd name="connsiteX37" fmla="*/ 0 w 3683684"/>
                <a:gd name="connsiteY37" fmla="*/ 0 h 29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83684" h="299970">
                  <a:moveTo>
                    <a:pt x="3683684" y="299970"/>
                  </a:moveTo>
                  <a:lnTo>
                    <a:pt x="2514238" y="299970"/>
                  </a:lnTo>
                  <a:lnTo>
                    <a:pt x="2514238" y="279682"/>
                  </a:lnTo>
                  <a:lnTo>
                    <a:pt x="2189633" y="279682"/>
                  </a:lnTo>
                  <a:lnTo>
                    <a:pt x="2189633" y="259394"/>
                  </a:lnTo>
                  <a:lnTo>
                    <a:pt x="2149057" y="259394"/>
                  </a:lnTo>
                  <a:lnTo>
                    <a:pt x="2149057" y="243454"/>
                  </a:lnTo>
                  <a:lnTo>
                    <a:pt x="2122973" y="243454"/>
                  </a:lnTo>
                  <a:lnTo>
                    <a:pt x="2122973" y="228963"/>
                  </a:lnTo>
                  <a:lnTo>
                    <a:pt x="1741852" y="228963"/>
                  </a:lnTo>
                  <a:lnTo>
                    <a:pt x="1741852" y="214471"/>
                  </a:lnTo>
                  <a:lnTo>
                    <a:pt x="1699828" y="214471"/>
                  </a:lnTo>
                  <a:lnTo>
                    <a:pt x="1699828" y="197082"/>
                  </a:lnTo>
                  <a:lnTo>
                    <a:pt x="1662150" y="197082"/>
                  </a:lnTo>
                  <a:lnTo>
                    <a:pt x="1662150" y="181142"/>
                  </a:lnTo>
                  <a:lnTo>
                    <a:pt x="1410002" y="181142"/>
                  </a:lnTo>
                  <a:lnTo>
                    <a:pt x="1410002" y="168099"/>
                  </a:lnTo>
                  <a:lnTo>
                    <a:pt x="1249149" y="168099"/>
                  </a:lnTo>
                  <a:lnTo>
                    <a:pt x="1249149" y="152159"/>
                  </a:lnTo>
                  <a:lnTo>
                    <a:pt x="947730" y="152159"/>
                  </a:lnTo>
                  <a:lnTo>
                    <a:pt x="947730" y="136219"/>
                  </a:lnTo>
                  <a:lnTo>
                    <a:pt x="859333" y="136219"/>
                  </a:lnTo>
                  <a:lnTo>
                    <a:pt x="859333" y="121727"/>
                  </a:lnTo>
                  <a:lnTo>
                    <a:pt x="772385" y="121727"/>
                  </a:lnTo>
                  <a:lnTo>
                    <a:pt x="772385" y="102889"/>
                  </a:lnTo>
                  <a:lnTo>
                    <a:pt x="572406" y="102889"/>
                  </a:lnTo>
                  <a:lnTo>
                    <a:pt x="572406" y="92745"/>
                  </a:lnTo>
                  <a:lnTo>
                    <a:pt x="537627" y="92745"/>
                  </a:lnTo>
                  <a:lnTo>
                    <a:pt x="537627" y="76804"/>
                  </a:lnTo>
                  <a:lnTo>
                    <a:pt x="360833" y="76804"/>
                  </a:lnTo>
                  <a:lnTo>
                    <a:pt x="360833" y="47822"/>
                  </a:lnTo>
                  <a:lnTo>
                    <a:pt x="299970" y="47822"/>
                  </a:lnTo>
                  <a:lnTo>
                    <a:pt x="299970" y="30432"/>
                  </a:lnTo>
                  <a:lnTo>
                    <a:pt x="249250" y="30432"/>
                  </a:lnTo>
                  <a:lnTo>
                    <a:pt x="249250" y="13043"/>
                  </a:lnTo>
                  <a:lnTo>
                    <a:pt x="127523" y="13043"/>
                  </a:lnTo>
                  <a:lnTo>
                    <a:pt x="127523" y="0"/>
                  </a:lnTo>
                  <a:lnTo>
                    <a:pt x="0" y="0"/>
                  </a:lnTo>
                </a:path>
              </a:pathLst>
            </a:custGeom>
            <a:noFill/>
            <a:ln w="19050">
              <a:solidFill>
                <a:srgbClr val="E67225"/>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85800" rtl="0" eaLnBrk="0" fontAlgn="base" latinLnBrk="0" hangingPunct="0">
                <a:lnSpc>
                  <a:spcPct val="100000"/>
                </a:lnSpc>
                <a:spcBef>
                  <a:spcPts val="0"/>
                </a:spcBef>
                <a:spcAft>
                  <a:spcPct val="0"/>
                </a:spcAft>
                <a:buClrTx/>
                <a:buSzTx/>
                <a:buFontTx/>
                <a:buNone/>
                <a:tabLst/>
                <a:defRPr/>
              </a:pPr>
              <a:endParaRPr kumimoji="0" lang="en-GB" sz="1266" b="0" i="0" u="none" strike="noStrike" kern="1200" cap="none" spc="0" normalizeH="0" baseline="0" noProof="0">
                <a:ln>
                  <a:noFill/>
                </a:ln>
                <a:solidFill>
                  <a:srgbClr val="FFFFFF"/>
                </a:solidFill>
                <a:effectLst/>
                <a:uLnTx/>
                <a:uFillTx/>
                <a:latin typeface="Trebuchet MS"/>
                <a:ea typeface="+mn-ea"/>
                <a:cs typeface="+mn-cs"/>
              </a:endParaRPr>
            </a:p>
          </p:txBody>
        </p:sp>
      </p:grpSp>
      <p:graphicFrame>
        <p:nvGraphicFramePr>
          <p:cNvPr id="3" name="Table 7">
            <a:extLst>
              <a:ext uri="{FF2B5EF4-FFF2-40B4-BE49-F238E27FC236}">
                <a16:creationId xmlns:a16="http://schemas.microsoft.com/office/drawing/2014/main" id="{DBD0A5D0-56EE-4CE7-8102-7E50B98C2973}"/>
              </a:ext>
            </a:extLst>
          </p:cNvPr>
          <p:cNvGraphicFramePr>
            <a:graphicFrameLocks noGrp="1"/>
          </p:cNvGraphicFramePr>
          <p:nvPr/>
        </p:nvGraphicFramePr>
        <p:xfrm>
          <a:off x="2337815" y="1935510"/>
          <a:ext cx="1306164" cy="731520"/>
        </p:xfrm>
        <a:graphic>
          <a:graphicData uri="http://schemas.openxmlformats.org/drawingml/2006/table">
            <a:tbl>
              <a:tblPr firstRow="1" bandRow="1">
                <a:tableStyleId>{B301B821-A1FF-4177-AEE7-76D212191A09}</a:tableStyleId>
              </a:tblPr>
              <a:tblGrid>
                <a:gridCol w="1306164">
                  <a:extLst>
                    <a:ext uri="{9D8B030D-6E8A-4147-A177-3AD203B41FA5}">
                      <a16:colId xmlns:a16="http://schemas.microsoft.com/office/drawing/2014/main" val="2046385034"/>
                    </a:ext>
                  </a:extLst>
                </a:gridCol>
              </a:tblGrid>
              <a:tr h="0">
                <a:tc>
                  <a:txBody>
                    <a:bodyPr/>
                    <a:lstStyle/>
                    <a:p>
                      <a:pPr algn="ctr"/>
                      <a:r>
                        <a:rPr lang="en-GB" sz="800"/>
                        <a:t>3-year PFS rate (95% CI)</a:t>
                      </a:r>
                    </a:p>
                  </a:txBody>
                  <a:tcPr marL="22781" marR="22781" marT="0" marB="0"/>
                </a:tc>
                <a:extLst>
                  <a:ext uri="{0D108BD9-81ED-4DB2-BD59-A6C34878D82A}">
                    <a16:rowId xmlns:a16="http://schemas.microsoft.com/office/drawing/2014/main" val="2168490626"/>
                  </a:ext>
                </a:extLst>
              </a:tr>
              <a:tr h="27894">
                <a:tc>
                  <a:txBody>
                    <a:bodyPr/>
                    <a:lstStyle/>
                    <a:p>
                      <a:pPr algn="ctr"/>
                      <a:r>
                        <a:rPr lang="en-GB" sz="800"/>
                        <a:t>69% (61–79)</a:t>
                      </a:r>
                    </a:p>
                  </a:txBody>
                  <a:tcPr marL="22781" marR="22781" marT="0" marB="0"/>
                </a:tc>
                <a:extLst>
                  <a:ext uri="{0D108BD9-81ED-4DB2-BD59-A6C34878D82A}">
                    <a16:rowId xmlns:a16="http://schemas.microsoft.com/office/drawing/2014/main" val="52573667"/>
                  </a:ext>
                </a:extLst>
              </a:tr>
              <a:tr h="33195">
                <a:tc>
                  <a:txBody>
                    <a:bodyPr/>
                    <a:lstStyle/>
                    <a:p>
                      <a:pPr algn="ctr"/>
                      <a:r>
                        <a:rPr lang="en-GB" sz="800"/>
                        <a:t>69% (61–76)</a:t>
                      </a:r>
                    </a:p>
                  </a:txBody>
                  <a:tcPr marL="22781" marR="22781" marT="0" marB="0"/>
                </a:tc>
                <a:extLst>
                  <a:ext uri="{0D108BD9-81ED-4DB2-BD59-A6C34878D82A}">
                    <a16:rowId xmlns:a16="http://schemas.microsoft.com/office/drawing/2014/main" val="1798770390"/>
                  </a:ext>
                </a:extLst>
              </a:tr>
              <a:tr h="1157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a:t>66% (58–74)</a:t>
                      </a:r>
                    </a:p>
                  </a:txBody>
                  <a:tcPr marL="22781" marR="22781" marT="0" marB="0"/>
                </a:tc>
                <a:extLst>
                  <a:ext uri="{0D108BD9-81ED-4DB2-BD59-A6C34878D82A}">
                    <a16:rowId xmlns:a16="http://schemas.microsoft.com/office/drawing/2014/main" val="3566704470"/>
                  </a:ext>
                </a:extLst>
              </a:tr>
              <a:tr h="1157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a:t>67% (59–75)</a:t>
                      </a:r>
                    </a:p>
                  </a:txBody>
                  <a:tcPr marL="22781" marR="22781" marT="0" marB="0"/>
                </a:tc>
                <a:extLst>
                  <a:ext uri="{0D108BD9-81ED-4DB2-BD59-A6C34878D82A}">
                    <a16:rowId xmlns:a16="http://schemas.microsoft.com/office/drawing/2014/main" val="3297748413"/>
                  </a:ext>
                </a:extLst>
              </a:tr>
              <a:tr h="1157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a:t>Overall: </a:t>
                      </a:r>
                      <a:r>
                        <a:rPr lang="en-GB" sz="800"/>
                        <a:t>68% (64–72)</a:t>
                      </a:r>
                    </a:p>
                  </a:txBody>
                  <a:tcPr marL="22781" marR="22781" marT="0" marB="0"/>
                </a:tc>
                <a:extLst>
                  <a:ext uri="{0D108BD9-81ED-4DB2-BD59-A6C34878D82A}">
                    <a16:rowId xmlns:a16="http://schemas.microsoft.com/office/drawing/2014/main" val="1438001657"/>
                  </a:ext>
                </a:extLst>
              </a:tr>
            </a:tbl>
          </a:graphicData>
        </a:graphic>
      </p:graphicFrame>
      <p:sp>
        <p:nvSpPr>
          <p:cNvPr id="115" name="TextBox 114">
            <a:extLst>
              <a:ext uri="{FF2B5EF4-FFF2-40B4-BE49-F238E27FC236}">
                <a16:creationId xmlns:a16="http://schemas.microsoft.com/office/drawing/2014/main" id="{E3E77042-21EA-0B4C-A142-623A4A010F64}"/>
              </a:ext>
            </a:extLst>
          </p:cNvPr>
          <p:cNvSpPr txBox="1">
            <a:spLocks noChangeArrowheads="1"/>
          </p:cNvSpPr>
          <p:nvPr/>
        </p:nvSpPr>
        <p:spPr bwMode="auto">
          <a:xfrm>
            <a:off x="1376906" y="3004930"/>
            <a:ext cx="2739043" cy="365760"/>
          </a:xfrm>
          <a:prstGeom prst="rect">
            <a:avLst/>
          </a:prstGeom>
          <a:solidFill>
            <a:schemeClr val="accent1">
              <a:lumMod val="20000"/>
              <a:lumOff val="80000"/>
            </a:schemeClr>
          </a:solidFill>
          <a:ln>
            <a:noFill/>
          </a:ln>
        </p:spPr>
        <p:txBody>
          <a:bodyPr lIns="91440" tIns="91440" rIns="91440" bIns="91440" anchor="ct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63" rtl="0" eaLnBrk="1" fontAlgn="base" latinLnBrk="0" hangingPunct="1">
              <a:lnSpc>
                <a:spcPct val="100000"/>
              </a:lnSpc>
              <a:spcBef>
                <a:spcPts val="0"/>
              </a:spcBef>
              <a:spcAft>
                <a:spcPct val="0"/>
              </a:spcAft>
              <a:buClrTx/>
              <a:buSzTx/>
              <a:buFontTx/>
              <a:buNone/>
              <a:tabLst/>
              <a:defRPr/>
            </a:pPr>
            <a:r>
              <a:rPr kumimoji="0" lang="en-US" altLang="de-DE" sz="1013" b="1" i="0" u="none" strike="noStrike" kern="1200" cap="none" spc="0" normalizeH="0" baseline="0" noProof="0">
                <a:ln>
                  <a:noFill/>
                </a:ln>
                <a:solidFill>
                  <a:srgbClr val="595454"/>
                </a:solidFill>
                <a:effectLst/>
                <a:uLnTx/>
                <a:uFillTx/>
                <a:latin typeface="Trebuchet MS"/>
                <a:ea typeface="+mn-ea"/>
                <a:cs typeface="Arial" charset="0"/>
              </a:rPr>
              <a:t>Primary endpoint</a:t>
            </a:r>
            <a:r>
              <a:rPr kumimoji="0" lang="en-US" altLang="de-DE" sz="1013" b="0" i="0" u="none" strike="noStrike" kern="1200" cap="none" spc="0" normalizeH="0" baseline="0" noProof="0">
                <a:ln>
                  <a:noFill/>
                </a:ln>
                <a:solidFill>
                  <a:srgbClr val="595454"/>
                </a:solidFill>
                <a:effectLst/>
                <a:uLnTx/>
                <a:uFillTx/>
                <a:latin typeface="Trebuchet MS"/>
                <a:ea typeface="+mn-ea"/>
                <a:cs typeface="Arial" charset="0"/>
                <a:sym typeface="Wingdings" pitchFamily="2" charset="2"/>
              </a:rPr>
              <a:t>: No difference in PFS between the 4 treatment arms (</a:t>
            </a:r>
            <a:r>
              <a:rPr kumimoji="0" lang="en-US" altLang="de-DE" sz="1013" b="0" i="1" u="none" strike="noStrike" kern="1200" cap="none" spc="0" normalizeH="0" baseline="0" noProof="0">
                <a:ln>
                  <a:noFill/>
                </a:ln>
                <a:solidFill>
                  <a:srgbClr val="595454"/>
                </a:solidFill>
                <a:effectLst/>
                <a:uLnTx/>
                <a:uFillTx/>
                <a:latin typeface="Trebuchet MS"/>
                <a:ea typeface="+mn-ea"/>
                <a:cs typeface="Arial" charset="0"/>
                <a:sym typeface="Wingdings" pitchFamily="2" charset="2"/>
              </a:rPr>
              <a:t>P</a:t>
            </a:r>
            <a:r>
              <a:rPr kumimoji="0" lang="en-US" altLang="de-DE" sz="1013" b="0" i="0" u="none" strike="noStrike" kern="1200" cap="none" spc="0" normalizeH="0" baseline="0" noProof="0">
                <a:ln>
                  <a:noFill/>
                </a:ln>
                <a:solidFill>
                  <a:srgbClr val="595454"/>
                </a:solidFill>
                <a:effectLst/>
                <a:uLnTx/>
                <a:uFillTx/>
                <a:latin typeface="Trebuchet MS"/>
                <a:ea typeface="+mn-ea"/>
                <a:cs typeface="Arial" charset="0"/>
                <a:sym typeface="Wingdings" pitchFamily="2" charset="2"/>
              </a:rPr>
              <a:t> = .86)</a:t>
            </a:r>
            <a:r>
              <a:rPr kumimoji="0" lang="en-US" altLang="de-DE" sz="1013" b="0" i="0" u="none" strike="noStrike" kern="1200" cap="none" spc="0" normalizeH="0" baseline="30000" noProof="0">
                <a:ln>
                  <a:noFill/>
                </a:ln>
                <a:solidFill>
                  <a:srgbClr val="595454"/>
                </a:solidFill>
                <a:effectLst/>
                <a:uLnTx/>
                <a:uFillTx/>
                <a:latin typeface="Trebuchet MS"/>
                <a:ea typeface="+mn-ea"/>
                <a:cs typeface="Arial" charset="0"/>
                <a:sym typeface="Wingdings" pitchFamily="2" charset="2"/>
              </a:rPr>
              <a:t>a</a:t>
            </a:r>
            <a:endParaRPr kumimoji="0" lang="en-US" altLang="de-DE" sz="1013" b="0" i="0" u="none" strike="noStrike" kern="1200" cap="none" spc="0" normalizeH="0" baseline="30000" noProof="0">
              <a:ln>
                <a:noFill/>
              </a:ln>
              <a:solidFill>
                <a:srgbClr val="595454"/>
              </a:solidFill>
              <a:effectLst/>
              <a:uLnTx/>
              <a:uFillTx/>
              <a:latin typeface="Trebuchet MS"/>
              <a:ea typeface="+mn-ea"/>
              <a:cs typeface="Arial" charset="0"/>
            </a:endParaRPr>
          </a:p>
        </p:txBody>
      </p:sp>
      <p:grpSp>
        <p:nvGrpSpPr>
          <p:cNvPr id="124" name="Group 123">
            <a:extLst>
              <a:ext uri="{FF2B5EF4-FFF2-40B4-BE49-F238E27FC236}">
                <a16:creationId xmlns:a16="http://schemas.microsoft.com/office/drawing/2014/main" id="{09322F38-62E5-4AFB-9108-B2146643DDC5}"/>
              </a:ext>
            </a:extLst>
          </p:cNvPr>
          <p:cNvGrpSpPr/>
          <p:nvPr/>
        </p:nvGrpSpPr>
        <p:grpSpPr>
          <a:xfrm>
            <a:off x="5329387" y="2084382"/>
            <a:ext cx="1107046" cy="652486"/>
            <a:chOff x="2488191" y="2758529"/>
            <a:chExt cx="1749407" cy="1031090"/>
          </a:xfrm>
        </p:grpSpPr>
        <p:sp>
          <p:nvSpPr>
            <p:cNvPr id="125" name="TextBox 124">
              <a:extLst>
                <a:ext uri="{FF2B5EF4-FFF2-40B4-BE49-F238E27FC236}">
                  <a16:creationId xmlns:a16="http://schemas.microsoft.com/office/drawing/2014/main" id="{8F6EC159-5297-40B4-928D-8164616E20C4}"/>
                </a:ext>
              </a:extLst>
            </p:cNvPr>
            <p:cNvSpPr txBox="1"/>
            <p:nvPr/>
          </p:nvSpPr>
          <p:spPr>
            <a:xfrm>
              <a:off x="2724806" y="2758529"/>
              <a:ext cx="1512792" cy="1031090"/>
            </a:xfrm>
            <a:prstGeom prst="rect">
              <a:avLst/>
            </a:prstGeom>
            <a:noFill/>
          </p:spPr>
          <p:txBody>
            <a:bodyPr wrap="none" lIns="91440" tIns="91440" rIns="91440" bIns="91440" rtlCol="0" anchor="ctr">
              <a:spAutoFit/>
            </a:bodyPr>
            <a:lstStyle/>
            <a:p>
              <a:pPr marL="0" marR="0" lvl="0" indent="0" algn="l" defTabSz="685800" rtl="0" eaLnBrk="0" fontAlgn="base" latinLnBrk="0" hangingPunct="0">
                <a:lnSpc>
                  <a:spcPct val="100000"/>
                </a:lnSpc>
                <a:spcBef>
                  <a:spcPts val="0"/>
                </a:spcBef>
                <a:spcAft>
                  <a:spcPct val="0"/>
                </a:spcAft>
                <a:buClr>
                  <a:srgbClr val="59FFB9"/>
                </a:buClr>
                <a:buSzTx/>
                <a:buFontTx/>
                <a:buNone/>
                <a:tabLst/>
                <a:defRPr/>
              </a:pP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mn-cs"/>
                </a:rPr>
                <a:t>A1: </a:t>
              </a:r>
              <a:r>
                <a:rPr kumimoji="0" lang="en-US" sz="760" b="1" i="0" u="none" strike="noStrike" kern="1200" cap="none" spc="0" normalizeH="0" baseline="0" noProof="0">
                  <a:ln>
                    <a:noFill/>
                  </a:ln>
                  <a:solidFill>
                    <a:srgbClr val="FFD186"/>
                  </a:solidFill>
                  <a:effectLst/>
                  <a:uLnTx/>
                  <a:uFillTx/>
                  <a:latin typeface="Trebuchet MS"/>
                  <a:ea typeface="ＭＳ Ｐゴシック" charset="0"/>
                  <a:cs typeface="+mn-cs"/>
                </a:rPr>
                <a:t>VRd+R</a:t>
              </a:r>
            </a:p>
            <a:p>
              <a:pPr marL="0" marR="0" lvl="0" indent="0" algn="l" defTabSz="685800" rtl="0" eaLnBrk="0" fontAlgn="base" latinLnBrk="0" hangingPunct="0">
                <a:lnSpc>
                  <a:spcPct val="100000"/>
                </a:lnSpc>
                <a:spcBef>
                  <a:spcPts val="0"/>
                </a:spcBef>
                <a:spcAft>
                  <a:spcPct val="0"/>
                </a:spcAft>
                <a:buClr>
                  <a:srgbClr val="59FFB9"/>
                </a:buClr>
                <a:buSzTx/>
                <a:buFontTx/>
                <a:buNone/>
                <a:tabLst/>
                <a:defRPr/>
              </a:pP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mn-cs"/>
                </a:rPr>
                <a:t>A2: VRd+</a:t>
              </a:r>
              <a:r>
                <a:rPr kumimoji="0" lang="en-US" sz="760" b="1" i="0" u="none" strike="noStrike" kern="1200" cap="none" spc="0" normalizeH="0" baseline="0" noProof="0">
                  <a:ln>
                    <a:noFill/>
                  </a:ln>
                  <a:solidFill>
                    <a:srgbClr val="59FFB9"/>
                  </a:solidFill>
                  <a:effectLst/>
                  <a:uLnTx/>
                  <a:uFillTx/>
                  <a:latin typeface="Trebuchet MS"/>
                  <a:ea typeface="ＭＳ Ｐゴシック" charset="0"/>
                  <a:cs typeface="+mn-cs"/>
                </a:rPr>
                <a:t>EloR</a:t>
              </a:r>
            </a:p>
            <a:p>
              <a:pPr marL="0" marR="0" lvl="0" indent="0" algn="l" defTabSz="685800" rtl="0" eaLnBrk="0" fontAlgn="base" latinLnBrk="0" hangingPunct="0">
                <a:lnSpc>
                  <a:spcPct val="100000"/>
                </a:lnSpc>
                <a:spcBef>
                  <a:spcPts val="0"/>
                </a:spcBef>
                <a:spcAft>
                  <a:spcPct val="0"/>
                </a:spcAft>
                <a:buClr>
                  <a:srgbClr val="59FFB9"/>
                </a:buClr>
                <a:buSzTx/>
                <a:buFontTx/>
                <a:buNone/>
                <a:tabLst/>
                <a:defRPr/>
              </a:pP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mn-cs"/>
                </a:rPr>
                <a:t>B1: Elo</a:t>
              </a: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Arial" panose="020B0604020202020204" pitchFamily="34" charset="0"/>
                </a:rPr>
                <a:t>–</a:t>
              </a:r>
              <a:r>
                <a:rPr kumimoji="0" lang="en-US" sz="760" b="1" i="0" u="none" strike="noStrike" kern="1200" cap="none" spc="0" normalizeH="0" baseline="0" noProof="0">
                  <a:ln>
                    <a:noFill/>
                  </a:ln>
                  <a:solidFill>
                    <a:srgbClr val="FFD186"/>
                  </a:solidFill>
                  <a:effectLst/>
                  <a:uLnTx/>
                  <a:uFillTx/>
                  <a:latin typeface="Trebuchet MS"/>
                  <a:ea typeface="ＭＳ Ｐゴシック" charset="0"/>
                  <a:cs typeface="+mn-cs"/>
                </a:rPr>
                <a:t>VRd+R</a:t>
              </a:r>
            </a:p>
            <a:p>
              <a:pPr marL="0" marR="0" lvl="0" indent="0" algn="l" defTabSz="685800" rtl="0" eaLnBrk="0" fontAlgn="base" latinLnBrk="0" hangingPunct="0">
                <a:lnSpc>
                  <a:spcPct val="100000"/>
                </a:lnSpc>
                <a:spcBef>
                  <a:spcPts val="0"/>
                </a:spcBef>
                <a:spcAft>
                  <a:spcPct val="0"/>
                </a:spcAft>
                <a:buClr>
                  <a:srgbClr val="59FFB9"/>
                </a:buClr>
                <a:buSzTx/>
                <a:buFontTx/>
                <a:buNone/>
                <a:tabLst/>
                <a:defRPr/>
              </a:pP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mn-cs"/>
                </a:rPr>
                <a:t>B2: Elo</a:t>
              </a:r>
              <a:r>
                <a:rPr kumimoji="0" lang="en-US" sz="760" b="0" i="0" u="none" strike="noStrike" kern="1200" cap="none" spc="0" normalizeH="0" baseline="0" noProof="0">
                  <a:ln>
                    <a:noFill/>
                  </a:ln>
                  <a:solidFill>
                    <a:srgbClr val="223341"/>
                  </a:solidFill>
                  <a:effectLst/>
                  <a:uLnTx/>
                  <a:uFillTx/>
                  <a:latin typeface="Trebuchet MS"/>
                  <a:ea typeface="ＭＳ Ｐゴシック" charset="0"/>
                  <a:cs typeface="Arial" panose="020B0604020202020204" pitchFamily="34" charset="0"/>
                </a:rPr>
                <a:t>–</a:t>
              </a:r>
              <a:r>
                <a:rPr kumimoji="0" lang="en-US" sz="760" b="1" i="0" u="none" strike="noStrike" kern="1200" cap="none" spc="0" normalizeH="0" baseline="0" noProof="0">
                  <a:ln>
                    <a:noFill/>
                  </a:ln>
                  <a:solidFill>
                    <a:srgbClr val="59FFB9"/>
                  </a:solidFill>
                  <a:effectLst/>
                  <a:uLnTx/>
                  <a:uFillTx/>
                  <a:latin typeface="Trebuchet MS"/>
                  <a:ea typeface="ＭＳ Ｐゴシック" charset="0"/>
                  <a:cs typeface="+mn-cs"/>
                </a:rPr>
                <a:t>VRd+EloR</a:t>
              </a:r>
              <a:endParaRPr kumimoji="0" lang="en-GB" sz="760" b="1" i="0" u="none" strike="noStrike" kern="1200" cap="none" spc="0" normalizeH="0" baseline="0" noProof="0">
                <a:ln>
                  <a:noFill/>
                </a:ln>
                <a:solidFill>
                  <a:srgbClr val="59FFB9"/>
                </a:solidFill>
                <a:effectLst/>
                <a:uLnTx/>
                <a:uFillTx/>
                <a:latin typeface="Trebuchet MS"/>
                <a:ea typeface="ＭＳ Ｐゴシック" charset="0"/>
                <a:cs typeface="+mn-cs"/>
              </a:endParaRPr>
            </a:p>
          </p:txBody>
        </p:sp>
        <p:cxnSp>
          <p:nvCxnSpPr>
            <p:cNvPr id="126" name="Straight Connector 125">
              <a:extLst>
                <a:ext uri="{FF2B5EF4-FFF2-40B4-BE49-F238E27FC236}">
                  <a16:creationId xmlns:a16="http://schemas.microsoft.com/office/drawing/2014/main" id="{5ED8F6FC-AD44-4497-8B74-B794AE6CED3D}"/>
                </a:ext>
              </a:extLst>
            </p:cNvPr>
            <p:cNvCxnSpPr/>
            <p:nvPr/>
          </p:nvCxnSpPr>
          <p:spPr>
            <a:xfrm>
              <a:off x="2488191" y="2995994"/>
              <a:ext cx="177158" cy="0"/>
            </a:xfrm>
            <a:prstGeom prst="line">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8BF7F32C-23B8-4E0E-ACBC-21D940D103C9}"/>
                </a:ext>
              </a:extLst>
            </p:cNvPr>
            <p:cNvCxnSpPr/>
            <p:nvPr/>
          </p:nvCxnSpPr>
          <p:spPr>
            <a:xfrm>
              <a:off x="2488191" y="3178271"/>
              <a:ext cx="177158" cy="0"/>
            </a:xfrm>
            <a:prstGeom prst="line">
              <a:avLst/>
            </a:prstGeom>
            <a:ln w="19050">
              <a:solidFill>
                <a:srgbClr val="E67225"/>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111B09FD-310E-47D8-8FF5-85588B288C2B}"/>
                </a:ext>
              </a:extLst>
            </p:cNvPr>
            <p:cNvCxnSpPr/>
            <p:nvPr/>
          </p:nvCxnSpPr>
          <p:spPr>
            <a:xfrm>
              <a:off x="2488191" y="3370778"/>
              <a:ext cx="177158" cy="0"/>
            </a:xfrm>
            <a:prstGeom prst="line">
              <a:avLst/>
            </a:prstGeom>
            <a:ln w="19050">
              <a:solidFill>
                <a:schemeClr val="accent2"/>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85225CBF-CB8B-4E29-86B6-1594924BC32C}"/>
                </a:ext>
              </a:extLst>
            </p:cNvPr>
            <p:cNvCxnSpPr/>
            <p:nvPr/>
          </p:nvCxnSpPr>
          <p:spPr>
            <a:xfrm>
              <a:off x="2488191" y="3553055"/>
              <a:ext cx="177158" cy="0"/>
            </a:xfrm>
            <a:prstGeom prst="line">
              <a:avLst/>
            </a:prstGeom>
            <a:ln w="19050">
              <a:solidFill>
                <a:srgbClr val="E67225"/>
              </a:solidFill>
              <a:prstDash val="solid"/>
              <a:tailEnd type="none"/>
            </a:ln>
          </p:spPr>
          <p:style>
            <a:lnRef idx="1">
              <a:schemeClr val="accent1"/>
            </a:lnRef>
            <a:fillRef idx="0">
              <a:schemeClr val="accent1"/>
            </a:fillRef>
            <a:effectRef idx="0">
              <a:schemeClr val="accent1"/>
            </a:effectRef>
            <a:fontRef idx="minor">
              <a:schemeClr val="tx1"/>
            </a:fontRef>
          </p:style>
        </p:cxnSp>
      </p:grpSp>
      <p:graphicFrame>
        <p:nvGraphicFramePr>
          <p:cNvPr id="130" name="Table 7">
            <a:extLst>
              <a:ext uri="{FF2B5EF4-FFF2-40B4-BE49-F238E27FC236}">
                <a16:creationId xmlns:a16="http://schemas.microsoft.com/office/drawing/2014/main" id="{C30C9BEF-8F19-45C7-A44B-7CD889BE409A}"/>
              </a:ext>
            </a:extLst>
          </p:cNvPr>
          <p:cNvGraphicFramePr>
            <a:graphicFrameLocks noGrp="1"/>
          </p:cNvGraphicFramePr>
          <p:nvPr/>
        </p:nvGraphicFramePr>
        <p:xfrm>
          <a:off x="6479883" y="1917548"/>
          <a:ext cx="1241575" cy="731520"/>
        </p:xfrm>
        <a:graphic>
          <a:graphicData uri="http://schemas.openxmlformats.org/drawingml/2006/table">
            <a:tbl>
              <a:tblPr firstRow="1" bandRow="1">
                <a:tableStyleId>{B301B821-A1FF-4177-AEE7-76D212191A09}</a:tableStyleId>
              </a:tblPr>
              <a:tblGrid>
                <a:gridCol w="1241575">
                  <a:extLst>
                    <a:ext uri="{9D8B030D-6E8A-4147-A177-3AD203B41FA5}">
                      <a16:colId xmlns:a16="http://schemas.microsoft.com/office/drawing/2014/main" val="2046385034"/>
                    </a:ext>
                  </a:extLst>
                </a:gridCol>
              </a:tblGrid>
              <a:tr h="0">
                <a:tc>
                  <a:txBody>
                    <a:bodyPr/>
                    <a:lstStyle/>
                    <a:p>
                      <a:pPr algn="ctr"/>
                      <a:r>
                        <a:rPr lang="en-GB" sz="800"/>
                        <a:t>3-year PFS rate (95% CI)</a:t>
                      </a:r>
                    </a:p>
                  </a:txBody>
                  <a:tcPr marL="22781" marR="22781" marT="0" marB="0"/>
                </a:tc>
                <a:extLst>
                  <a:ext uri="{0D108BD9-81ED-4DB2-BD59-A6C34878D82A}">
                    <a16:rowId xmlns:a16="http://schemas.microsoft.com/office/drawing/2014/main" val="2168490626"/>
                  </a:ext>
                </a:extLst>
              </a:tr>
              <a:tr h="115729">
                <a:tc>
                  <a:txBody>
                    <a:bodyPr/>
                    <a:lstStyle/>
                    <a:p>
                      <a:pPr algn="ctr"/>
                      <a:r>
                        <a:rPr lang="en-GB" sz="800"/>
                        <a:t>89% (84–95)</a:t>
                      </a:r>
                      <a:endParaRPr lang="en-GB" sz="800">
                        <a:latin typeface="+mn-lt"/>
                      </a:endParaRPr>
                    </a:p>
                  </a:txBody>
                  <a:tcPr marL="22781" marR="22781" marT="0" marB="0"/>
                </a:tc>
                <a:extLst>
                  <a:ext uri="{0D108BD9-81ED-4DB2-BD59-A6C34878D82A}">
                    <a16:rowId xmlns:a16="http://schemas.microsoft.com/office/drawing/2014/main" val="52573667"/>
                  </a:ext>
                </a:extLst>
              </a:tr>
              <a:tr h="115729">
                <a:tc>
                  <a:txBody>
                    <a:bodyPr/>
                    <a:lstStyle/>
                    <a:p>
                      <a:pPr algn="ctr"/>
                      <a:r>
                        <a:rPr lang="en-GB" sz="800"/>
                        <a:t>89% (84–94)</a:t>
                      </a:r>
                      <a:endParaRPr lang="en-GB" sz="800">
                        <a:latin typeface="+mn-lt"/>
                      </a:endParaRPr>
                    </a:p>
                  </a:txBody>
                  <a:tcPr marL="22781" marR="22781" marT="0" marB="0"/>
                </a:tc>
                <a:extLst>
                  <a:ext uri="{0D108BD9-81ED-4DB2-BD59-A6C34878D82A}">
                    <a16:rowId xmlns:a16="http://schemas.microsoft.com/office/drawing/2014/main" val="1798770390"/>
                  </a:ext>
                </a:extLst>
              </a:tr>
              <a:tr h="1157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a:t>93% (88–97)</a:t>
                      </a:r>
                      <a:endParaRPr lang="en-GB" sz="800">
                        <a:latin typeface="+mn-lt"/>
                      </a:endParaRPr>
                    </a:p>
                  </a:txBody>
                  <a:tcPr marL="22781" marR="22781" marT="0" marB="0"/>
                </a:tc>
                <a:extLst>
                  <a:ext uri="{0D108BD9-81ED-4DB2-BD59-A6C34878D82A}">
                    <a16:rowId xmlns:a16="http://schemas.microsoft.com/office/drawing/2014/main" val="3566704470"/>
                  </a:ext>
                </a:extLst>
              </a:tr>
              <a:tr h="1157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a:t>90% (85–95)</a:t>
                      </a:r>
                      <a:endParaRPr lang="en-GB" sz="800">
                        <a:latin typeface="+mn-lt"/>
                      </a:endParaRPr>
                    </a:p>
                  </a:txBody>
                  <a:tcPr marL="22781" marR="22781" marT="0" marB="0"/>
                </a:tc>
                <a:extLst>
                  <a:ext uri="{0D108BD9-81ED-4DB2-BD59-A6C34878D82A}">
                    <a16:rowId xmlns:a16="http://schemas.microsoft.com/office/drawing/2014/main" val="3297748413"/>
                  </a:ext>
                </a:extLst>
              </a:tr>
              <a:tr h="1157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a:t>Overall:</a:t>
                      </a:r>
                      <a:r>
                        <a:rPr lang="en-GB" sz="800" b="0"/>
                        <a:t> 90</a:t>
                      </a:r>
                      <a:r>
                        <a:rPr lang="en-GB" sz="800"/>
                        <a:t>% (88–93)</a:t>
                      </a:r>
                    </a:p>
                  </a:txBody>
                  <a:tcPr marL="22781" marR="22781" marT="0" marB="0"/>
                </a:tc>
                <a:extLst>
                  <a:ext uri="{0D108BD9-81ED-4DB2-BD59-A6C34878D82A}">
                    <a16:rowId xmlns:a16="http://schemas.microsoft.com/office/drawing/2014/main" val="1438001657"/>
                  </a:ext>
                </a:extLst>
              </a:tr>
            </a:tbl>
          </a:graphicData>
        </a:graphic>
      </p:graphicFrame>
      <p:sp>
        <p:nvSpPr>
          <p:cNvPr id="131" name="TextBox 130">
            <a:extLst>
              <a:ext uri="{FF2B5EF4-FFF2-40B4-BE49-F238E27FC236}">
                <a16:creationId xmlns:a16="http://schemas.microsoft.com/office/drawing/2014/main" id="{E1D155AA-7894-4B4E-AB23-40DE8555CC62}"/>
              </a:ext>
            </a:extLst>
          </p:cNvPr>
          <p:cNvSpPr txBox="1">
            <a:spLocks noChangeArrowheads="1"/>
          </p:cNvSpPr>
          <p:nvPr/>
        </p:nvSpPr>
        <p:spPr bwMode="auto">
          <a:xfrm>
            <a:off x="5201186" y="3012306"/>
            <a:ext cx="2505938" cy="365760"/>
          </a:xfrm>
          <a:prstGeom prst="rect">
            <a:avLst/>
          </a:prstGeom>
          <a:solidFill>
            <a:schemeClr val="accent1">
              <a:lumMod val="20000"/>
              <a:lumOff val="80000"/>
            </a:schemeClr>
          </a:solidFill>
          <a:ln>
            <a:noFill/>
          </a:ln>
        </p:spPr>
        <p:txBody>
          <a:bodyPr lIns="91440" tIns="91440" rIns="91440" bIns="91440" anchor="ct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578663" rtl="0" eaLnBrk="1" fontAlgn="base" latinLnBrk="0" hangingPunct="1">
              <a:lnSpc>
                <a:spcPct val="100000"/>
              </a:lnSpc>
              <a:spcBef>
                <a:spcPts val="0"/>
              </a:spcBef>
              <a:spcAft>
                <a:spcPct val="0"/>
              </a:spcAft>
              <a:buClrTx/>
              <a:buSzTx/>
              <a:buFontTx/>
              <a:buNone/>
              <a:tabLst/>
              <a:defRPr/>
            </a:pPr>
            <a:r>
              <a:rPr kumimoji="0" lang="en-US" altLang="de-DE" sz="1013" b="0" i="0" u="none" strike="noStrike" kern="1200" cap="none" spc="0" normalizeH="0" baseline="0" noProof="0">
                <a:ln>
                  <a:noFill/>
                </a:ln>
                <a:solidFill>
                  <a:srgbClr val="595454"/>
                </a:solidFill>
                <a:effectLst/>
                <a:uLnTx/>
                <a:uFillTx/>
                <a:latin typeface="Trebuchet MS"/>
                <a:ea typeface="+mn-ea"/>
                <a:cs typeface="Arial" charset="0"/>
                <a:sym typeface="Wingdings" pitchFamily="2" charset="2"/>
              </a:rPr>
              <a:t>No difference in OS between the 4 treatment arms (</a:t>
            </a:r>
            <a:r>
              <a:rPr kumimoji="0" lang="en-US" altLang="de-DE" sz="1013" b="0" i="1" u="none" strike="noStrike" kern="1200" cap="none" spc="0" normalizeH="0" baseline="0" noProof="0">
                <a:ln>
                  <a:noFill/>
                </a:ln>
                <a:solidFill>
                  <a:srgbClr val="595454"/>
                </a:solidFill>
                <a:effectLst/>
                <a:uLnTx/>
                <a:uFillTx/>
                <a:latin typeface="Trebuchet MS"/>
                <a:ea typeface="+mn-ea"/>
                <a:cs typeface="Arial" charset="0"/>
                <a:sym typeface="Wingdings" pitchFamily="2" charset="2"/>
              </a:rPr>
              <a:t>P</a:t>
            </a:r>
            <a:r>
              <a:rPr kumimoji="0" lang="en-US" altLang="de-DE" sz="1013" b="0" i="0" u="none" strike="noStrike" kern="1200" cap="none" spc="0" normalizeH="0" baseline="0" noProof="0">
                <a:ln>
                  <a:noFill/>
                </a:ln>
                <a:solidFill>
                  <a:srgbClr val="595454"/>
                </a:solidFill>
                <a:effectLst/>
                <a:uLnTx/>
                <a:uFillTx/>
                <a:latin typeface="Trebuchet MS"/>
                <a:ea typeface="+mn-ea"/>
                <a:cs typeface="Arial" charset="0"/>
                <a:sym typeface="Wingdings" pitchFamily="2" charset="2"/>
              </a:rPr>
              <a:t> = .43)</a:t>
            </a:r>
            <a:r>
              <a:rPr kumimoji="0" lang="en-US" altLang="de-DE" sz="1013" b="0" i="0" u="none" strike="noStrike" kern="1200" cap="none" spc="0" normalizeH="0" baseline="30000" noProof="0">
                <a:ln>
                  <a:noFill/>
                </a:ln>
                <a:solidFill>
                  <a:srgbClr val="595454"/>
                </a:solidFill>
                <a:effectLst/>
                <a:uLnTx/>
                <a:uFillTx/>
                <a:latin typeface="Trebuchet MS"/>
                <a:ea typeface="+mn-ea"/>
                <a:cs typeface="Arial" charset="0"/>
                <a:sym typeface="Wingdings" pitchFamily="2" charset="2"/>
              </a:rPr>
              <a:t>b</a:t>
            </a:r>
            <a:endParaRPr kumimoji="0" lang="en-US" altLang="de-DE" sz="1013" b="0" i="0" u="none" strike="noStrike" kern="1200" cap="none" spc="0" normalizeH="0" baseline="30000" noProof="0">
              <a:ln>
                <a:noFill/>
              </a:ln>
              <a:solidFill>
                <a:srgbClr val="595454"/>
              </a:solidFill>
              <a:effectLst/>
              <a:uLnTx/>
              <a:uFillTx/>
              <a:latin typeface="Trebuchet MS"/>
              <a:ea typeface="+mn-ea"/>
              <a:cs typeface="Arial" charset="0"/>
            </a:endParaRPr>
          </a:p>
        </p:txBody>
      </p:sp>
      <p:sp>
        <p:nvSpPr>
          <p:cNvPr id="132" name="TextBox 131">
            <a:extLst>
              <a:ext uri="{FF2B5EF4-FFF2-40B4-BE49-F238E27FC236}">
                <a16:creationId xmlns:a16="http://schemas.microsoft.com/office/drawing/2014/main" id="{D305B1C3-217C-43E0-85DF-748265897CE6}"/>
              </a:ext>
            </a:extLst>
          </p:cNvPr>
          <p:cNvSpPr txBox="1"/>
          <p:nvPr/>
        </p:nvSpPr>
        <p:spPr>
          <a:xfrm>
            <a:off x="953602" y="3780659"/>
            <a:ext cx="7344809" cy="652943"/>
          </a:xfrm>
          <a:prstGeom prst="rect">
            <a:avLst/>
          </a:prstGeom>
          <a:solidFill>
            <a:srgbClr val="FFD186"/>
          </a:solidFill>
        </p:spPr>
        <p:txBody>
          <a:bodyPr wrap="square" lIns="91440" tIns="91440" rIns="91440" bIns="91440" rtlCol="0" anchor="ctr">
            <a:noAutofit/>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180837" marR="0" lvl="0" indent="-180837" algn="l" defTabSz="685800" rtl="0" eaLnBrk="0" fontAlgn="base" latinLnBrk="0" hangingPunct="0">
              <a:lnSpc>
                <a:spcPct val="100000"/>
              </a:lnSpc>
              <a:spcBef>
                <a:spcPts val="0"/>
              </a:spcBef>
              <a:spcAft>
                <a:spcPct val="0"/>
              </a:spcAft>
              <a:buClrTx/>
              <a:buSzTx/>
              <a:buFont typeface="Arial" panose="020B0604020202020204" pitchFamily="34" charset="0"/>
              <a:buChar char="•"/>
              <a:tabLst/>
              <a:defRPr/>
            </a:pPr>
            <a:r>
              <a:rPr kumimoji="0" lang="en-GB" sz="1266" b="0" i="0" u="none" strike="noStrike" kern="1200" cap="none" spc="0" normalizeH="0" baseline="0" noProof="0">
                <a:ln>
                  <a:noFill/>
                </a:ln>
                <a:solidFill>
                  <a:srgbClr val="595454"/>
                </a:solidFill>
                <a:effectLst/>
                <a:uLnTx/>
                <a:uFillTx/>
                <a:latin typeface="Trebuchet MS"/>
                <a:ea typeface="+mn-ea"/>
                <a:cs typeface="Arial" charset="0"/>
              </a:rPr>
              <a:t>Important NEGATIVE trial: A quadruplet combination including elotuzumab did not improve ORR, </a:t>
            </a:r>
            <a:br>
              <a:rPr kumimoji="0" lang="en-GB" sz="1266" b="0" i="0" u="none" strike="noStrike" kern="1200" cap="none" spc="0" normalizeH="0" baseline="0" noProof="0">
                <a:ln>
                  <a:noFill/>
                </a:ln>
                <a:solidFill>
                  <a:srgbClr val="595454"/>
                </a:solidFill>
                <a:effectLst/>
                <a:uLnTx/>
                <a:uFillTx/>
                <a:latin typeface="Trebuchet MS"/>
                <a:ea typeface="+mn-ea"/>
                <a:cs typeface="Arial" charset="0"/>
              </a:rPr>
            </a:br>
            <a:r>
              <a:rPr kumimoji="0" lang="en-GB" sz="1266" b="0" i="0" u="none" strike="noStrike" kern="1200" cap="none" spc="0" normalizeH="0" baseline="0" noProof="0">
                <a:ln>
                  <a:noFill/>
                </a:ln>
                <a:solidFill>
                  <a:srgbClr val="595454"/>
                </a:solidFill>
                <a:effectLst/>
                <a:uLnTx/>
                <a:uFillTx/>
                <a:latin typeface="Trebuchet MS"/>
                <a:ea typeface="+mn-ea"/>
                <a:cs typeface="Arial" charset="0"/>
              </a:rPr>
              <a:t>PFS, or OS vs the triplet VRd</a:t>
            </a:r>
          </a:p>
          <a:p>
            <a:pPr marL="180837" marR="0" lvl="0" indent="-180837" algn="l" defTabSz="685800" rtl="0" eaLnBrk="0" fontAlgn="base" latinLnBrk="0" hangingPunct="0">
              <a:lnSpc>
                <a:spcPct val="100000"/>
              </a:lnSpc>
              <a:spcBef>
                <a:spcPts val="0"/>
              </a:spcBef>
              <a:spcAft>
                <a:spcPct val="0"/>
              </a:spcAft>
              <a:buClrTx/>
              <a:buSzTx/>
              <a:buFont typeface="Arial" panose="020B0604020202020204" pitchFamily="34" charset="0"/>
              <a:buChar char="•"/>
              <a:tabLst/>
              <a:defRPr/>
            </a:pPr>
            <a:r>
              <a:rPr kumimoji="0" lang="en-GB" sz="1266" b="0" i="0" u="none" strike="noStrike" kern="1200" cap="none" spc="0" normalizeH="0" baseline="0" noProof="0">
                <a:ln>
                  <a:noFill/>
                </a:ln>
                <a:solidFill>
                  <a:srgbClr val="595454"/>
                </a:solidFill>
                <a:effectLst/>
                <a:uLnTx/>
                <a:uFillTx/>
                <a:latin typeface="Trebuchet MS"/>
                <a:ea typeface="+mn-ea"/>
                <a:cs typeface="Arial" charset="0"/>
              </a:rPr>
              <a:t>Elotuzumab should not be used in TE patients in the setting of ASCT</a:t>
            </a:r>
          </a:p>
        </p:txBody>
      </p:sp>
      <p:sp>
        <p:nvSpPr>
          <p:cNvPr id="134" name="TextBox 133">
            <a:extLst>
              <a:ext uri="{FF2B5EF4-FFF2-40B4-BE49-F238E27FC236}">
                <a16:creationId xmlns:a16="http://schemas.microsoft.com/office/drawing/2014/main" id="{FE41E102-15BB-41DC-B3D4-172728FB445A}"/>
              </a:ext>
            </a:extLst>
          </p:cNvPr>
          <p:cNvSpPr txBox="1"/>
          <p:nvPr/>
        </p:nvSpPr>
        <p:spPr>
          <a:xfrm>
            <a:off x="1703049" y="3452448"/>
            <a:ext cx="5797714" cy="274320"/>
          </a:xfrm>
          <a:prstGeom prst="rect">
            <a:avLst/>
          </a:prstGeom>
          <a:solidFill>
            <a:schemeClr val="accent1">
              <a:lumMod val="20000"/>
              <a:lumOff val="80000"/>
            </a:schemeClr>
          </a:solidFill>
        </p:spPr>
        <p:txBody>
          <a:bodyPr wrap="square" lIns="91440" tIns="91440" rIns="91440" bIns="91440" anchor="ctr">
            <a:spAutoFit/>
          </a:bodyPr>
          <a:lstStyle/>
          <a:p>
            <a:pPr marL="0" marR="0" lvl="0" indent="0" algn="l" defTabSz="685800" rtl="0" eaLnBrk="0" fontAlgn="base" latinLnBrk="0" hangingPunct="0">
              <a:lnSpc>
                <a:spcPct val="100000"/>
              </a:lnSpc>
              <a:spcBef>
                <a:spcPts val="0"/>
              </a:spcBef>
              <a:spcAft>
                <a:spcPct val="0"/>
              </a:spcAft>
              <a:buClrTx/>
              <a:buSzTx/>
              <a:buFontTx/>
              <a:buNone/>
              <a:tabLst/>
              <a:defRPr/>
            </a:pPr>
            <a:r>
              <a:rPr kumimoji="0" lang="en-GB" sz="1050" b="0" i="0" u="none" strike="noStrike" kern="1200" cap="none" spc="0" normalizeH="0" baseline="0" noProof="0">
                <a:ln>
                  <a:noFill/>
                </a:ln>
                <a:solidFill>
                  <a:srgbClr val="595454"/>
                </a:solidFill>
                <a:effectLst/>
                <a:uLnTx/>
                <a:uFillTx/>
                <a:latin typeface="Trebuchet MS"/>
                <a:ea typeface="ＭＳ Ｐゴシック" charset="0"/>
                <a:cs typeface="+mn-cs"/>
              </a:rPr>
              <a:t>ORR were identical after induction and prior to maintenance in the VRd and VRd-Elo arms</a:t>
            </a:r>
          </a:p>
        </p:txBody>
      </p:sp>
      <p:sp>
        <p:nvSpPr>
          <p:cNvPr id="116" name="Text Placeholder 3">
            <a:extLst>
              <a:ext uri="{FF2B5EF4-FFF2-40B4-BE49-F238E27FC236}">
                <a16:creationId xmlns:a16="http://schemas.microsoft.com/office/drawing/2014/main" id="{7B63A756-DFB3-46F3-B244-6C16996C21C0}"/>
              </a:ext>
            </a:extLst>
          </p:cNvPr>
          <p:cNvSpPr txBox="1">
            <a:spLocks/>
          </p:cNvSpPr>
          <p:nvPr/>
        </p:nvSpPr>
        <p:spPr>
          <a:xfrm>
            <a:off x="103708" y="4826672"/>
            <a:ext cx="8790164" cy="262943"/>
          </a:xfrm>
          <a:prstGeom prst="rect">
            <a:avLst/>
          </a:prstGeom>
        </p:spPr>
        <p:txBody>
          <a:bodyPr vert="horz" lIns="0" tIns="0" rIns="0" bIns="108000" spcCol="301752" rtlCol="0" anchor="b">
            <a:spAutoFit/>
          </a:bodyPr>
          <a:lstStyle>
            <a:lvl1pPr marL="0" indent="0" algn="l" defTabSz="578644" rtl="0" eaLnBrk="1" latinLnBrk="0" hangingPunct="1">
              <a:lnSpc>
                <a:spcPct val="100000"/>
              </a:lnSpc>
              <a:spcBef>
                <a:spcPts val="0"/>
              </a:spcBef>
              <a:buFont typeface="Trebuchet MS" panose="020B0603020202020204" pitchFamily="34" charset="0"/>
              <a:buNone/>
              <a:defRPr sz="633" kern="1200">
                <a:solidFill>
                  <a:schemeClr val="tx1"/>
                </a:solidFill>
                <a:latin typeface="+mn-lt"/>
                <a:ea typeface="+mn-ea"/>
                <a:cs typeface="+mn-cs"/>
              </a:defRPr>
            </a:lvl1pPr>
            <a:lvl2pPr marL="289322"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2pPr>
            <a:lvl3pPr marL="433983"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3pPr>
            <a:lvl4pPr marL="578644"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4pPr>
            <a:lvl5pPr marL="723305" indent="-144661" algn="l" defTabSz="578644" rtl="0" eaLnBrk="1" latinLnBrk="0" hangingPunct="1">
              <a:lnSpc>
                <a:spcPct val="100000"/>
              </a:lnSpc>
              <a:spcBef>
                <a:spcPts val="380"/>
              </a:spcBef>
              <a:buFont typeface="Trebuchet MS" panose="020B0603020202020204" pitchFamily="34" charset="0"/>
              <a:buChar char="—"/>
              <a:defRPr sz="1266" kern="1200">
                <a:solidFill>
                  <a:schemeClr val="tx1"/>
                </a:solidFill>
                <a:latin typeface="+mn-lt"/>
                <a:ea typeface="+mn-ea"/>
                <a:cs typeface="+mn-cs"/>
              </a:defRPr>
            </a:lvl5pPr>
            <a:lvl6pPr marL="867966"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6pPr>
            <a:lvl7pPr marL="1012627"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7pPr>
            <a:lvl8pPr marL="115728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8pPr>
            <a:lvl9pPr marL="1301948" indent="-144661" algn="l" defTabSz="578644" rtl="0" eaLnBrk="1" latinLnBrk="0" hangingPunct="1">
              <a:lnSpc>
                <a:spcPct val="100000"/>
              </a:lnSpc>
              <a:spcBef>
                <a:spcPts val="254"/>
              </a:spcBef>
              <a:buFont typeface="Trebuchet MS" panose="020B0603020202020204" pitchFamily="34" charset="0"/>
              <a:buChar char="—"/>
              <a:defRPr sz="1266" kern="1200">
                <a:solidFill>
                  <a:schemeClr val="tx1"/>
                </a:solidFill>
                <a:latin typeface="+mn-lt"/>
                <a:ea typeface="+mn-ea"/>
                <a:cs typeface="+mn-cs"/>
              </a:defRPr>
            </a:lvl9pPr>
          </a:lstStyle>
          <a:p>
            <a:pPr marL="0" marR="0" lvl="0" indent="0" algn="r" defTabSz="578644"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000" b="0" i="0" u="none" strike="noStrike" kern="1200" cap="none" spc="0" normalizeH="0" baseline="0" noProof="0">
                <a:ln>
                  <a:noFill/>
                </a:ln>
                <a:solidFill>
                  <a:srgbClr val="000020"/>
                </a:solidFill>
                <a:effectLst/>
                <a:uLnTx/>
                <a:uFillTx/>
                <a:latin typeface="Trebuchet MS"/>
                <a:ea typeface="+mn-ea"/>
                <a:cs typeface="+mn-cs"/>
              </a:rPr>
              <a:t>Goldschmidt H, et al. ASH 2021. Abstract 486.</a:t>
            </a:r>
          </a:p>
        </p:txBody>
      </p:sp>
      <p:sp>
        <p:nvSpPr>
          <p:cNvPr id="117" name="TextBox 116">
            <a:extLst>
              <a:ext uri="{FF2B5EF4-FFF2-40B4-BE49-F238E27FC236}">
                <a16:creationId xmlns:a16="http://schemas.microsoft.com/office/drawing/2014/main" id="{EC60CDA1-BC30-46C2-A985-B3A2EB39E55C}"/>
              </a:ext>
            </a:extLst>
          </p:cNvPr>
          <p:cNvSpPr txBox="1"/>
          <p:nvPr/>
        </p:nvSpPr>
        <p:spPr>
          <a:xfrm>
            <a:off x="583441" y="2655069"/>
            <a:ext cx="713962" cy="320985"/>
          </a:xfrm>
          <a:prstGeom prst="rect">
            <a:avLst/>
          </a:prstGeom>
          <a:noFill/>
        </p:spPr>
        <p:txBody>
          <a:bodyPr wrap="squar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Months</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sp>
        <p:nvSpPr>
          <p:cNvPr id="118" name="TextBox 117">
            <a:extLst>
              <a:ext uri="{FF2B5EF4-FFF2-40B4-BE49-F238E27FC236}">
                <a16:creationId xmlns:a16="http://schemas.microsoft.com/office/drawing/2014/main" id="{0325219C-5864-4A95-A469-7E59D037A2AD}"/>
              </a:ext>
            </a:extLst>
          </p:cNvPr>
          <p:cNvSpPr txBox="1"/>
          <p:nvPr/>
        </p:nvSpPr>
        <p:spPr>
          <a:xfrm>
            <a:off x="4541837" y="2689049"/>
            <a:ext cx="713962" cy="320985"/>
          </a:xfrm>
          <a:prstGeom prst="rect">
            <a:avLst/>
          </a:prstGeom>
          <a:noFill/>
        </p:spPr>
        <p:txBody>
          <a:bodyPr wrap="square" lIns="91440" tIns="91440" rIns="91440" bIns="91440" rtlCol="0" anchor="ctr">
            <a:spAutoFit/>
          </a:bodyPr>
          <a:lstStyle/>
          <a:p>
            <a:pPr marL="0" marR="0" lvl="0" indent="0" algn="ctr" defTabSz="685800" rtl="0" eaLnBrk="0" fontAlgn="base" latinLnBrk="0" hangingPunct="0">
              <a:lnSpc>
                <a:spcPct val="100000"/>
              </a:lnSpc>
              <a:spcBef>
                <a:spcPts val="0"/>
              </a:spcBef>
              <a:spcAft>
                <a:spcPct val="0"/>
              </a:spcAft>
              <a:buClr>
                <a:srgbClr val="59FFB9"/>
              </a:buClr>
              <a:buSzTx/>
              <a:buFontTx/>
              <a:buNone/>
              <a:tabLst/>
              <a:defRPr/>
            </a:pPr>
            <a:r>
              <a:rPr kumimoji="0" lang="en-US" sz="886" b="0" i="0" u="none" strike="noStrike" kern="1200" cap="none" spc="0" normalizeH="0" baseline="0" noProof="0">
                <a:ln>
                  <a:noFill/>
                </a:ln>
                <a:solidFill>
                  <a:srgbClr val="223341"/>
                </a:solidFill>
                <a:effectLst/>
                <a:uLnTx/>
                <a:uFillTx/>
                <a:latin typeface="Trebuchet MS"/>
                <a:ea typeface="ＭＳ Ｐゴシック" charset="0"/>
                <a:cs typeface="+mn-cs"/>
              </a:rPr>
              <a:t>Months</a:t>
            </a:r>
            <a:endParaRPr kumimoji="0" lang="en-GB" sz="886" b="0" i="0" u="none" strike="noStrike" kern="1200" cap="none" spc="0" normalizeH="0" baseline="0" noProof="0">
              <a:ln>
                <a:noFill/>
              </a:ln>
              <a:solidFill>
                <a:srgbClr val="223341"/>
              </a:solidFill>
              <a:effectLst/>
              <a:uLnTx/>
              <a:uFillTx/>
              <a:latin typeface="Trebuchet MS"/>
              <a:ea typeface="ＭＳ Ｐゴシック" charset="0"/>
              <a:cs typeface="+mn-cs"/>
            </a:endParaRPr>
          </a:p>
        </p:txBody>
      </p:sp>
    </p:spTree>
    <p:extLst>
      <p:ext uri="{BB962C8B-B14F-4D97-AF65-F5344CB8AC3E}">
        <p14:creationId xmlns:p14="http://schemas.microsoft.com/office/powerpoint/2010/main" val="32069334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7301DBE2-39B8-EA40-9470-A31606990C0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62332" y="1331837"/>
            <a:ext cx="4678270" cy="3235910"/>
          </a:xfrm>
          <a:prstGeom prst="rect">
            <a:avLst/>
          </a:prstGeom>
        </p:spPr>
      </p:pic>
      <p:pic>
        <p:nvPicPr>
          <p:cNvPr id="5" name="Imagen 4">
            <a:extLst>
              <a:ext uri="{FF2B5EF4-FFF2-40B4-BE49-F238E27FC236}">
                <a16:creationId xmlns:a16="http://schemas.microsoft.com/office/drawing/2014/main" id="{48C429B1-471C-1A49-9557-F2D968A044A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88110" y="194317"/>
            <a:ext cx="6200213" cy="762872"/>
          </a:xfrm>
          <a:prstGeom prst="rect">
            <a:avLst/>
          </a:prstGeom>
        </p:spPr>
      </p:pic>
      <p:sp>
        <p:nvSpPr>
          <p:cNvPr id="2" name="Flecha derecha 1">
            <a:extLst>
              <a:ext uri="{FF2B5EF4-FFF2-40B4-BE49-F238E27FC236}">
                <a16:creationId xmlns:a16="http://schemas.microsoft.com/office/drawing/2014/main" id="{A91A5E23-B5B8-BC49-852B-668D85339BCD}"/>
              </a:ext>
            </a:extLst>
          </p:cNvPr>
          <p:cNvSpPr/>
          <p:nvPr/>
        </p:nvSpPr>
        <p:spPr>
          <a:xfrm>
            <a:off x="3923928" y="2861037"/>
            <a:ext cx="486054" cy="155776"/>
          </a:xfrm>
          <a:prstGeom prst="rightArrow">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 sz="1500" b="0" i="0" u="none" strike="noStrike" kern="1200" cap="none" spc="0" normalizeH="0" baseline="0" noProof="0">
              <a:ln>
                <a:noFill/>
              </a:ln>
              <a:solidFill>
                <a:srgbClr val="FFFFFF"/>
              </a:solidFill>
              <a:effectLst/>
              <a:uLnTx/>
              <a:uFillTx/>
              <a:latin typeface="Trebuchet MS"/>
              <a:ea typeface="+mn-ea"/>
              <a:cs typeface="+mn-cs"/>
            </a:endParaRPr>
          </a:p>
        </p:txBody>
      </p:sp>
      <p:sp>
        <p:nvSpPr>
          <p:cNvPr id="8" name="Flecha derecha 7">
            <a:extLst>
              <a:ext uri="{FF2B5EF4-FFF2-40B4-BE49-F238E27FC236}">
                <a16:creationId xmlns:a16="http://schemas.microsoft.com/office/drawing/2014/main" id="{47712768-715E-1B4F-9EB4-E20903ECD8CD}"/>
              </a:ext>
            </a:extLst>
          </p:cNvPr>
          <p:cNvSpPr/>
          <p:nvPr/>
        </p:nvSpPr>
        <p:spPr>
          <a:xfrm>
            <a:off x="3923928" y="3711006"/>
            <a:ext cx="486054" cy="155776"/>
          </a:xfrm>
          <a:prstGeom prst="rightArrow">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 sz="1500" b="0" i="0" u="none" strike="noStrike" kern="1200" cap="none" spc="0" normalizeH="0" baseline="0" noProof="0">
              <a:ln>
                <a:noFill/>
              </a:ln>
              <a:solidFill>
                <a:srgbClr val="FFFFFF"/>
              </a:solidFill>
              <a:effectLst/>
              <a:uLnTx/>
              <a:uFillTx/>
              <a:latin typeface="Trebuchet MS"/>
              <a:ea typeface="+mn-ea"/>
              <a:cs typeface="+mn-cs"/>
            </a:endParaRPr>
          </a:p>
        </p:txBody>
      </p:sp>
      <p:sp>
        <p:nvSpPr>
          <p:cNvPr id="9" name="CuadroTexto 8">
            <a:extLst>
              <a:ext uri="{FF2B5EF4-FFF2-40B4-BE49-F238E27FC236}">
                <a16:creationId xmlns:a16="http://schemas.microsoft.com/office/drawing/2014/main" id="{CC4179E2-4067-8E4B-BB94-21C997352418}"/>
              </a:ext>
            </a:extLst>
          </p:cNvPr>
          <p:cNvSpPr txBox="1"/>
          <p:nvPr/>
        </p:nvSpPr>
        <p:spPr>
          <a:xfrm>
            <a:off x="747423" y="3639853"/>
            <a:ext cx="3176505" cy="298079"/>
          </a:xfrm>
          <a:prstGeom prst="rect">
            <a:avLst/>
          </a:prstGeom>
          <a:solidFill>
            <a:srgbClr val="FFD186"/>
          </a:solidFill>
        </p:spPr>
        <p:txBody>
          <a:bodyPr wrap="none" lIns="91440" tIns="91440" rIns="91440" bIns="91440" rtlCol="0" anchor="ctr">
            <a:noAutofit/>
          </a:bodyPr>
          <a:lstStyle/>
          <a:p>
            <a:pPr marL="174625" marR="0" lvl="0" indent="-174625" algn="l" defTabSz="685800" rtl="0" eaLnBrk="0" fontAlgn="base" latinLnBrk="0" hangingPunct="0">
              <a:lnSpc>
                <a:spcPts val="1125"/>
              </a:lnSpc>
              <a:spcBef>
                <a:spcPts val="900"/>
              </a:spcBef>
              <a:spcAft>
                <a:spcPct val="0"/>
              </a:spcAft>
              <a:buClrTx/>
              <a:buSzPct val="100000"/>
              <a:buFont typeface="Arial" panose="020B0604020202020204" pitchFamily="34" charset="0"/>
              <a:buChar char="•"/>
              <a:tabLst/>
              <a:defRPr/>
            </a:pP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ASCT continues to be the standard of care </a:t>
            </a:r>
          </a:p>
        </p:txBody>
      </p:sp>
      <p:sp>
        <p:nvSpPr>
          <p:cNvPr id="12" name="Rectángulo 77">
            <a:extLst>
              <a:ext uri="{FF2B5EF4-FFF2-40B4-BE49-F238E27FC236}">
                <a16:creationId xmlns:a16="http://schemas.microsoft.com/office/drawing/2014/main" id="{D380CB92-EF40-4401-A3CC-4A7F4F861F47}"/>
              </a:ext>
            </a:extLst>
          </p:cNvPr>
          <p:cNvSpPr/>
          <p:nvPr/>
        </p:nvSpPr>
        <p:spPr>
          <a:xfrm>
            <a:off x="5127219" y="4787243"/>
            <a:ext cx="3857625" cy="246221"/>
          </a:xfrm>
          <a:prstGeom prst="rect">
            <a:avLst/>
          </a:prstGeom>
        </p:spPr>
        <p:txBody>
          <a:bodyPr>
            <a:spAutoFit/>
          </a:bodyPr>
          <a:lstStyle/>
          <a:p>
            <a:pPr marL="0" marR="0" lvl="0" indent="0" algn="r" defTabSz="771525" rtl="0" eaLnBrk="1" fontAlgn="auto" latinLnBrk="0" hangingPunct="1">
              <a:lnSpc>
                <a:spcPct val="100000"/>
              </a:lnSpc>
              <a:spcBef>
                <a:spcPts val="0"/>
              </a:spcBef>
              <a:spcAft>
                <a:spcPts val="0"/>
              </a:spcAft>
              <a:buClrTx/>
              <a:buSzTx/>
              <a:buFontTx/>
              <a:buNone/>
              <a:tabLst/>
              <a:defRPr/>
            </a:pPr>
            <a:r>
              <a:rPr kumimoji="0" lang="es-ES" sz="1000" b="0" i="0" u="none" strike="noStrike" kern="0" cap="none" spc="0" normalizeH="0" baseline="0" noProof="0">
                <a:ln>
                  <a:noFill/>
                </a:ln>
                <a:solidFill>
                  <a:srgbClr val="000020"/>
                </a:solidFill>
                <a:effectLst/>
                <a:uLnTx/>
                <a:uFillTx/>
                <a:latin typeface="Trebuchet MS"/>
                <a:ea typeface="MS PGothic" pitchFamily="34" charset="-128"/>
                <a:cs typeface="+mn-cs"/>
              </a:rPr>
              <a:t>Dimopoulos MA, et al. </a:t>
            </a:r>
            <a:r>
              <a:rPr kumimoji="0" lang="it-IT" sz="1000" b="0" i="1" u="none" strike="noStrike" kern="0" cap="none" spc="0" normalizeH="0" baseline="0" noProof="0">
                <a:ln>
                  <a:noFill/>
                </a:ln>
                <a:solidFill>
                  <a:srgbClr val="000020"/>
                </a:solidFill>
                <a:effectLst/>
                <a:uLnTx/>
                <a:uFillTx/>
                <a:latin typeface="Trebuchet MS"/>
                <a:ea typeface="MS PGothic" pitchFamily="34" charset="-128"/>
                <a:cs typeface="+mn-cs"/>
              </a:rPr>
              <a:t>Ann Oncol</a:t>
            </a:r>
            <a:r>
              <a:rPr kumimoji="0" lang="it-IT" sz="1000" b="0" i="0" u="none" strike="noStrike" kern="0" cap="none" spc="0" normalizeH="0" baseline="0" noProof="0">
                <a:ln>
                  <a:noFill/>
                </a:ln>
                <a:solidFill>
                  <a:srgbClr val="000020"/>
                </a:solidFill>
                <a:effectLst/>
                <a:uLnTx/>
                <a:uFillTx/>
                <a:latin typeface="Trebuchet MS"/>
                <a:ea typeface="MS PGothic" pitchFamily="34" charset="-128"/>
                <a:cs typeface="+mn-cs"/>
              </a:rPr>
              <a:t>. 2021;32(3):309-322.</a:t>
            </a:r>
            <a:endParaRPr kumimoji="0" lang="fr-FR" sz="1000" b="0" i="0" u="none" strike="noStrike" kern="1200" cap="none" spc="0" normalizeH="0" baseline="0" noProof="0">
              <a:ln>
                <a:noFill/>
              </a:ln>
              <a:solidFill>
                <a:srgbClr val="000020"/>
              </a:solidFill>
              <a:effectLst/>
              <a:uLnTx/>
              <a:uFillTx/>
              <a:latin typeface="Trebuchet MS"/>
              <a:ea typeface="ＭＳ Ｐゴシック" charset="0"/>
              <a:cs typeface="+mn-cs"/>
            </a:endParaRPr>
          </a:p>
        </p:txBody>
      </p:sp>
      <p:sp>
        <p:nvSpPr>
          <p:cNvPr id="13" name="CuadroTexto 2">
            <a:extLst>
              <a:ext uri="{FF2B5EF4-FFF2-40B4-BE49-F238E27FC236}">
                <a16:creationId xmlns:a16="http://schemas.microsoft.com/office/drawing/2014/main" id="{DADA9C96-D055-4068-AD1F-0AE47CD2209F}"/>
              </a:ext>
            </a:extLst>
          </p:cNvPr>
          <p:cNvSpPr txBox="1"/>
          <p:nvPr/>
        </p:nvSpPr>
        <p:spPr>
          <a:xfrm>
            <a:off x="747423" y="2480231"/>
            <a:ext cx="3176505" cy="907941"/>
          </a:xfrm>
          <a:prstGeom prst="rect">
            <a:avLst/>
          </a:prstGeom>
          <a:solidFill>
            <a:srgbClr val="FFD186"/>
          </a:solidFill>
        </p:spPr>
        <p:txBody>
          <a:bodyPr wrap="square" lIns="91440" tIns="91440" rIns="91440" bIns="91440" rtlCol="0" anchor="ctr">
            <a:spAutoFit/>
          </a:bodyPr>
          <a:lstStyle/>
          <a:p>
            <a:pPr marL="174625" marR="0" lvl="0" indent="-174625" algn="l" defTabSz="685800"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Isa-RVd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might</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be incorporated as a new SOC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when</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data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on</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outcome</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are more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mature</a:t>
            </a:r>
            <a:endPar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endParaRPr>
          </a:p>
          <a:p>
            <a:pPr marL="174625" marR="0" lvl="0" indent="-174625" algn="l" defTabSz="685800"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Dara-RVd is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pending</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results</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of PERSEUS study</a:t>
            </a:r>
          </a:p>
          <a:p>
            <a:pPr marL="174625" marR="0" lvl="0" indent="-174625" algn="l" defTabSz="685800"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Elo-RVd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will</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a:t>
            </a:r>
            <a:r>
              <a:rPr kumimoji="0" lang="es-ES" sz="1050" b="0" i="0" u="none" strike="noStrike" kern="1200" cap="none" spc="0" normalizeH="0" baseline="0" noProof="0" err="1">
                <a:ln>
                  <a:noFill/>
                </a:ln>
                <a:solidFill>
                  <a:srgbClr val="595454"/>
                </a:solidFill>
                <a:effectLst/>
                <a:uLnTx/>
                <a:uFillTx/>
                <a:latin typeface="Trebuchet MS"/>
                <a:ea typeface="ＭＳ Ｐゴシック" charset="0"/>
                <a:cs typeface="+mn-cs"/>
              </a:rPr>
              <a:t>not</a:t>
            </a:r>
            <a:r>
              <a:rPr kumimoji="0" lang="es-ES" sz="1050" b="0" i="0" u="none" strike="noStrike" kern="1200" cap="none" spc="0" normalizeH="0" baseline="0" noProof="0">
                <a:ln>
                  <a:noFill/>
                </a:ln>
                <a:solidFill>
                  <a:srgbClr val="595454"/>
                </a:solidFill>
                <a:effectLst/>
                <a:uLnTx/>
                <a:uFillTx/>
                <a:latin typeface="Trebuchet MS"/>
                <a:ea typeface="ＭＳ Ｐゴシック" charset="0"/>
                <a:cs typeface="+mn-cs"/>
              </a:rPr>
              <a:t> be a new SOC</a:t>
            </a:r>
          </a:p>
        </p:txBody>
      </p:sp>
    </p:spTree>
    <p:extLst>
      <p:ext uri="{BB962C8B-B14F-4D97-AF65-F5344CB8AC3E}">
        <p14:creationId xmlns:p14="http://schemas.microsoft.com/office/powerpoint/2010/main" val="132611549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871EA-1F01-48C4-B482-CB79F20CA107}"/>
              </a:ext>
            </a:extLst>
          </p:cNvPr>
          <p:cNvSpPr>
            <a:spLocks noGrp="1"/>
          </p:cNvSpPr>
          <p:nvPr>
            <p:ph type="ctrTitle"/>
          </p:nvPr>
        </p:nvSpPr>
        <p:spPr/>
        <p:txBody>
          <a:bodyPr>
            <a:normAutofit/>
          </a:bodyPr>
          <a:lstStyle/>
          <a:p>
            <a:r>
              <a:rPr lang="en-US" sz="3200" noProof="0"/>
              <a:t>Discussion</a:t>
            </a:r>
          </a:p>
        </p:txBody>
      </p:sp>
    </p:spTree>
    <p:extLst>
      <p:ext uri="{BB962C8B-B14F-4D97-AF65-F5344CB8AC3E}">
        <p14:creationId xmlns:p14="http://schemas.microsoft.com/office/powerpoint/2010/main" val="395977423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871EA-1F01-48C4-B482-CB79F20CA107}"/>
              </a:ext>
            </a:extLst>
          </p:cNvPr>
          <p:cNvSpPr>
            <a:spLocks noGrp="1"/>
          </p:cNvSpPr>
          <p:nvPr>
            <p:ph type="ctrTitle"/>
          </p:nvPr>
        </p:nvSpPr>
        <p:spPr>
          <a:xfrm>
            <a:off x="4271601" y="1282044"/>
            <a:ext cx="4534294" cy="1548390"/>
          </a:xfrm>
        </p:spPr>
        <p:txBody>
          <a:bodyPr>
            <a:normAutofit fontScale="90000"/>
          </a:bodyPr>
          <a:lstStyle/>
          <a:p>
            <a:r>
              <a:rPr lang="en-US" sz="3600" noProof="0"/>
              <a:t>Panel Discussion: </a:t>
            </a:r>
            <a:r>
              <a:rPr lang="en-US" sz="3200" b="0" u="none" kern="1200" noProof="0">
                <a:effectLst/>
                <a:latin typeface="Arial"/>
                <a:ea typeface="+mn-ea"/>
                <a:cs typeface="Arial"/>
              </a:rPr>
              <a:t>Regional challenges of multiple myeloma diagnosis and treatment</a:t>
            </a:r>
            <a:endParaRPr lang="en-US" sz="3200" noProof="0"/>
          </a:p>
        </p:txBody>
      </p:sp>
    </p:spTree>
    <p:extLst>
      <p:ext uri="{BB962C8B-B14F-4D97-AF65-F5344CB8AC3E}">
        <p14:creationId xmlns:p14="http://schemas.microsoft.com/office/powerpoint/2010/main" val="17308043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336B0-4F85-428E-839E-61BC4FADCBAC}"/>
              </a:ext>
            </a:extLst>
          </p:cNvPr>
          <p:cNvSpPr>
            <a:spLocks noGrp="1"/>
          </p:cNvSpPr>
          <p:nvPr>
            <p:ph type="ctrTitle"/>
          </p:nvPr>
        </p:nvSpPr>
        <p:spPr>
          <a:xfrm>
            <a:off x="4277991" y="1254584"/>
            <a:ext cx="4534294" cy="1548390"/>
          </a:xfrm>
        </p:spPr>
        <p:txBody>
          <a:bodyPr>
            <a:noAutofit/>
          </a:bodyPr>
          <a:lstStyle/>
          <a:p>
            <a:r>
              <a:rPr lang="en-US" sz="2800" noProof="0"/>
              <a:t>Panel Discussion: </a:t>
            </a:r>
            <a:r>
              <a:rPr lang="en-US" sz="2400" b="0" u="none" kern="1200" noProof="0">
                <a:effectLst/>
                <a:latin typeface="Arial"/>
                <a:ea typeface="+mn-ea"/>
                <a:cs typeface="Arial"/>
              </a:rPr>
              <a:t>Regional challenges of multiple myeloma diagnosis</a:t>
            </a:r>
            <a:endParaRPr lang="en-US" sz="2800" noProof="0"/>
          </a:p>
        </p:txBody>
      </p:sp>
      <p:sp>
        <p:nvSpPr>
          <p:cNvPr id="3" name="Subtitle 2">
            <a:extLst>
              <a:ext uri="{FF2B5EF4-FFF2-40B4-BE49-F238E27FC236}">
                <a16:creationId xmlns:a16="http://schemas.microsoft.com/office/drawing/2014/main" id="{ADA5EA39-EB2A-4916-A39A-C2354117BF51}"/>
              </a:ext>
            </a:extLst>
          </p:cNvPr>
          <p:cNvSpPr>
            <a:spLocks noGrp="1"/>
          </p:cNvSpPr>
          <p:nvPr>
            <p:ph type="subTitle" idx="1"/>
          </p:nvPr>
        </p:nvSpPr>
        <p:spPr>
          <a:xfrm>
            <a:off x="4270617" y="2986546"/>
            <a:ext cx="4534294" cy="794344"/>
          </a:xfrm>
        </p:spPr>
        <p:txBody>
          <a:bodyPr>
            <a:normAutofit/>
          </a:bodyPr>
          <a:lstStyle/>
          <a:p>
            <a:r>
              <a:rPr kumimoji="0" lang="en-US" i="0" u="none" strike="noStrike" kern="1200" cap="none" spc="0" normalizeH="0" baseline="0" noProof="0">
                <a:ln>
                  <a:noFill/>
                </a:ln>
                <a:effectLst/>
                <a:uLnTx/>
                <a:uFillTx/>
                <a:latin typeface="Arial" panose="020B0604020202020204" pitchFamily="34" charset="0"/>
                <a:cs typeface="Arial" panose="020B0604020202020204" pitchFamily="34" charset="0"/>
              </a:rPr>
              <a:t>Bruno Paiva,</a:t>
            </a:r>
            <a:r>
              <a:rPr kumimoji="0" lang="en-US" u="none" strike="noStrike" kern="1200" cap="none" spc="0" normalizeH="0" baseline="0" noProof="0">
                <a:ln>
                  <a:noFill/>
                </a:ln>
                <a:uLnTx/>
                <a:uFillTx/>
                <a:latin typeface="Arial" panose="020B0604020202020204" pitchFamily="34" charset="0"/>
                <a:cs typeface="Arial" panose="020B0604020202020204" pitchFamily="34" charset="0"/>
              </a:rPr>
              <a:t> PharmD, Ph</a:t>
            </a:r>
            <a:r>
              <a:rPr lang="en-US" noProof="0">
                <a:latin typeface="Arial" panose="020B0604020202020204" pitchFamily="34" charset="0"/>
                <a:cs typeface="Arial" panose="020B0604020202020204" pitchFamily="34" charset="0"/>
              </a:rPr>
              <a:t>D</a:t>
            </a:r>
            <a:endParaRPr kumimoji="0" lang="en-US" i="0" u="none" strike="noStrike" kern="1200" cap="none" spc="0" normalizeH="0" baseline="0" noProof="0">
              <a:ln>
                <a:noFill/>
              </a:ln>
              <a:effectLst/>
              <a:uLnTx/>
              <a:uFillTx/>
              <a:latin typeface="Arial" panose="020B0604020202020204" pitchFamily="34" charset="0"/>
              <a:cs typeface="Arial" panose="020B0604020202020204" pitchFamily="34" charset="0"/>
            </a:endParaRPr>
          </a:p>
          <a:p>
            <a:endParaRPr lang="en-US" sz="2000" noProof="0"/>
          </a:p>
        </p:txBody>
      </p:sp>
      <p:pic>
        <p:nvPicPr>
          <p:cNvPr id="6" name="Picture 5">
            <a:extLst>
              <a:ext uri="{FF2B5EF4-FFF2-40B4-BE49-F238E27FC236}">
                <a16:creationId xmlns:a16="http://schemas.microsoft.com/office/drawing/2014/main" id="{8E5928F6-4882-4DE0-9888-499B495C8744}"/>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85365" y="3409744"/>
            <a:ext cx="1179576" cy="1179576"/>
          </a:xfrm>
          <a:prstGeom prst="teardrop">
            <a:avLst/>
          </a:prstGeom>
          <a:solidFill>
            <a:schemeClr val="tx2"/>
          </a:solidFill>
        </p:spPr>
      </p:pic>
    </p:spTree>
    <p:extLst>
      <p:ext uri="{BB962C8B-B14F-4D97-AF65-F5344CB8AC3E}">
        <p14:creationId xmlns:p14="http://schemas.microsoft.com/office/powerpoint/2010/main" val="318940033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ig.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219266" y="796070"/>
            <a:ext cx="3477226" cy="4166535"/>
          </a:xfrm>
          <a:prstGeom prst="rect">
            <a:avLst/>
          </a:prstGeom>
          <a:noFill/>
          <a:extLst>
            <a:ext uri="{909E8E84-426E-40DD-AFC4-6F175D3DCCD1}">
              <a14:hiddenFill xmlns:a14="http://schemas.microsoft.com/office/drawing/2010/main">
                <a:solidFill>
                  <a:srgbClr val="FFFFFF"/>
                </a:solidFill>
              </a14:hiddenFill>
            </a:ext>
          </a:extLst>
        </p:spPr>
      </p:pic>
      <p:sp>
        <p:nvSpPr>
          <p:cNvPr id="5" name="Título 2"/>
          <p:cNvSpPr txBox="1">
            <a:spLocks/>
          </p:cNvSpPr>
          <p:nvPr/>
        </p:nvSpPr>
        <p:spPr>
          <a:xfrm>
            <a:off x="142844" y="92266"/>
            <a:ext cx="8229600"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solidFill>
                  <a:srgbClr val="800000"/>
                </a:solidFill>
                <a:latin typeface="Arial" panose="020B0604020202020204" pitchFamily="34" charset="0"/>
                <a:cs typeface="Arial" panose="020B0604020202020204" pitchFamily="34" charset="0"/>
              </a:rPr>
              <a:t>Precision Guided Disease Management</a:t>
            </a:r>
          </a:p>
        </p:txBody>
      </p:sp>
      <p:sp>
        <p:nvSpPr>
          <p:cNvPr id="6" name="CuadroTexto 1"/>
          <p:cNvSpPr txBox="1"/>
          <p:nvPr/>
        </p:nvSpPr>
        <p:spPr>
          <a:xfrm>
            <a:off x="6380408" y="4932188"/>
            <a:ext cx="2766309" cy="215444"/>
          </a:xfrm>
          <a:prstGeom prst="rect">
            <a:avLst/>
          </a:prstGeom>
          <a:noFill/>
        </p:spPr>
        <p:txBody>
          <a:bodyPr wrap="square" rtlCol="0" anchor="b">
            <a:spAutoFit/>
          </a:bodyPr>
          <a:lstStyle/>
          <a:p>
            <a:pPr algn="r" defTabSz="685800">
              <a:defRPr/>
            </a:pPr>
            <a:r>
              <a:rPr lang="en-US" sz="800">
                <a:solidFill>
                  <a:prstClr val="black"/>
                </a:solidFill>
                <a:latin typeface="Arial" panose="020B0604020202020204" pitchFamily="34" charset="0"/>
                <a:cs typeface="Arial" panose="020B0604020202020204" pitchFamily="34" charset="0"/>
              </a:rPr>
              <a:t>Harding T, et al. </a:t>
            </a:r>
            <a:r>
              <a:rPr lang="en-US" sz="800" i="1">
                <a:solidFill>
                  <a:prstClr val="black"/>
                </a:solidFill>
                <a:latin typeface="Arial" panose="020B0604020202020204" pitchFamily="34" charset="0"/>
                <a:cs typeface="Arial" panose="020B0604020202020204" pitchFamily="34" charset="0"/>
              </a:rPr>
              <a:t>Leukemia. </a:t>
            </a:r>
            <a:r>
              <a:rPr lang="en-US" sz="800">
                <a:solidFill>
                  <a:prstClr val="black"/>
                </a:solidFill>
                <a:latin typeface="Arial" panose="020B0604020202020204" pitchFamily="34" charset="0"/>
                <a:cs typeface="Arial" panose="020B0604020202020204" pitchFamily="34" charset="0"/>
              </a:rPr>
              <a:t>2019;33:863-883.</a:t>
            </a:r>
          </a:p>
        </p:txBody>
      </p:sp>
      <p:sp>
        <p:nvSpPr>
          <p:cNvPr id="2" name="Flecha derecha 1"/>
          <p:cNvSpPr/>
          <p:nvPr/>
        </p:nvSpPr>
        <p:spPr>
          <a:xfrm>
            <a:off x="4835770" y="2426677"/>
            <a:ext cx="1103435" cy="1252904"/>
          </a:xfrm>
          <a:prstGeom prst="rightArrow">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3" name="CuadroTexto 2"/>
          <p:cNvSpPr txBox="1"/>
          <p:nvPr/>
        </p:nvSpPr>
        <p:spPr>
          <a:xfrm>
            <a:off x="6032649" y="2810755"/>
            <a:ext cx="1608133" cy="507831"/>
          </a:xfrm>
          <a:prstGeom prst="rect">
            <a:avLst/>
          </a:prstGeom>
          <a:noFill/>
        </p:spPr>
        <p:txBody>
          <a:bodyPr wrap="none" rtlCol="0">
            <a:spAutoFit/>
          </a:bodyPr>
          <a:lstStyle/>
          <a:p>
            <a:pPr defTabSz="685800"/>
            <a:r>
              <a:rPr lang="en-US" sz="2700" b="1">
                <a:solidFill>
                  <a:prstClr val="black"/>
                </a:solidFill>
                <a:latin typeface="Arial" panose="020B0604020202020204" pitchFamily="34" charset="0"/>
                <a:cs typeface="Arial" panose="020B0604020202020204" pitchFamily="34" charset="0"/>
              </a:rPr>
              <a:t>Access?</a:t>
            </a:r>
          </a:p>
        </p:txBody>
      </p:sp>
    </p:spTree>
    <p:extLst>
      <p:ext uri="{BB962C8B-B14F-4D97-AF65-F5344CB8AC3E}">
        <p14:creationId xmlns:p14="http://schemas.microsoft.com/office/powerpoint/2010/main" val="225139456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txBox="1">
            <a:spLocks/>
          </p:cNvSpPr>
          <p:nvPr/>
        </p:nvSpPr>
        <p:spPr>
          <a:xfrm>
            <a:off x="142844" y="92266"/>
            <a:ext cx="8229600"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solidFill>
                  <a:srgbClr val="800000"/>
                </a:solidFill>
                <a:latin typeface="Arial" panose="020B0604020202020204" pitchFamily="34" charset="0"/>
                <a:cs typeface="Arial" panose="020B0604020202020204" pitchFamily="34" charset="0"/>
              </a:rPr>
              <a:t>How Much Does Testing Cost?</a:t>
            </a:r>
          </a:p>
        </p:txBody>
      </p:sp>
      <p:sp>
        <p:nvSpPr>
          <p:cNvPr id="5" name="Marcador de texto 3"/>
          <p:cNvSpPr txBox="1">
            <a:spLocks/>
          </p:cNvSpPr>
          <p:nvPr/>
        </p:nvSpPr>
        <p:spPr>
          <a:xfrm>
            <a:off x="142845" y="467297"/>
            <a:ext cx="8786873" cy="345356"/>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How much does treatment cost?</a:t>
            </a:r>
          </a:p>
        </p:txBody>
      </p:sp>
      <p:pic>
        <p:nvPicPr>
          <p:cNvPr id="6" name="Imagen 5" descr="Sistemas de unidades de medida en documental"/>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47126" y="1405890"/>
            <a:ext cx="3021037" cy="3021037"/>
          </a:xfrm>
          <a:prstGeom prst="rect">
            <a:avLst/>
          </a:prstGeom>
        </p:spPr>
      </p:pic>
      <p:sp>
        <p:nvSpPr>
          <p:cNvPr id="7" name="CuadroTexto 6"/>
          <p:cNvSpPr txBox="1"/>
          <p:nvPr/>
        </p:nvSpPr>
        <p:spPr>
          <a:xfrm>
            <a:off x="1503982" y="3261987"/>
            <a:ext cx="1471941" cy="923330"/>
          </a:xfrm>
          <a:prstGeom prst="rect">
            <a:avLst/>
          </a:prstGeom>
          <a:noFill/>
        </p:spPr>
        <p:txBody>
          <a:bodyPr wrap="none" rtlCol="0">
            <a:spAutoFit/>
          </a:bodyPr>
          <a:lstStyle/>
          <a:p>
            <a:pPr defTabSz="685800">
              <a:defRPr/>
            </a:pPr>
            <a:r>
              <a:rPr lang="en-US" sz="1350" b="1">
                <a:solidFill>
                  <a:prstClr val="black"/>
                </a:solidFill>
                <a:latin typeface="Arial" panose="020B0604020202020204" pitchFamily="34" charset="0"/>
                <a:cs typeface="Arial" panose="020B0604020202020204" pitchFamily="34" charset="0"/>
              </a:rPr>
              <a:t>MRD</a:t>
            </a:r>
          </a:p>
          <a:p>
            <a:pPr defTabSz="685800">
              <a:defRPr/>
            </a:pPr>
            <a:r>
              <a:rPr lang="en-US" sz="1350">
                <a:solidFill>
                  <a:prstClr val="black"/>
                </a:solidFill>
                <a:latin typeface="Arial" panose="020B0604020202020204" pitchFamily="34" charset="0"/>
                <a:cs typeface="Arial" panose="020B0604020202020204" pitchFamily="34" charset="0"/>
              </a:rPr>
              <a:t>NGF: </a:t>
            </a:r>
            <a:r>
              <a:rPr lang="en-US" sz="1350">
                <a:solidFill>
                  <a:srgbClr val="4D5156"/>
                </a:solidFill>
                <a:latin typeface="Roboto" panose="02000000000000000000" pitchFamily="2" charset="0"/>
              </a:rPr>
              <a:t>€</a:t>
            </a:r>
            <a:r>
              <a:rPr lang="en-US" sz="1350">
                <a:solidFill>
                  <a:prstClr val="black"/>
                </a:solidFill>
                <a:latin typeface="Arial" panose="020B0604020202020204" pitchFamily="34" charset="0"/>
                <a:cs typeface="Arial" panose="020B0604020202020204" pitchFamily="34" charset="0"/>
              </a:rPr>
              <a:t>250</a:t>
            </a:r>
            <a:r>
              <a:rPr lang="en-US" sz="1350" baseline="30000">
                <a:solidFill>
                  <a:prstClr val="black"/>
                </a:solidFill>
                <a:latin typeface="Arial" panose="020B0604020202020204" pitchFamily="34" charset="0"/>
                <a:cs typeface="Arial" panose="020B0604020202020204" pitchFamily="34" charset="0"/>
              </a:rPr>
              <a:t>1</a:t>
            </a:r>
          </a:p>
          <a:p>
            <a:pPr defTabSz="685800">
              <a:defRPr/>
            </a:pPr>
            <a:r>
              <a:rPr lang="en-US" sz="1350">
                <a:solidFill>
                  <a:prstClr val="black"/>
                </a:solidFill>
                <a:latin typeface="Arial" panose="020B0604020202020204" pitchFamily="34" charset="0"/>
                <a:cs typeface="Arial" panose="020B0604020202020204" pitchFamily="34" charset="0"/>
              </a:rPr>
              <a:t>NGS: </a:t>
            </a:r>
            <a:r>
              <a:rPr lang="en-US" sz="1350">
                <a:solidFill>
                  <a:srgbClr val="4D5156"/>
                </a:solidFill>
                <a:latin typeface="Roboto" panose="02000000000000000000" pitchFamily="2" charset="0"/>
              </a:rPr>
              <a:t>€</a:t>
            </a:r>
            <a:r>
              <a:rPr lang="en-US" sz="1350">
                <a:solidFill>
                  <a:prstClr val="black"/>
                </a:solidFill>
                <a:latin typeface="Arial" panose="020B0604020202020204" pitchFamily="34" charset="0"/>
                <a:cs typeface="Arial" panose="020B0604020202020204" pitchFamily="34" charset="0"/>
              </a:rPr>
              <a:t>2,000</a:t>
            </a:r>
            <a:r>
              <a:rPr lang="en-US" sz="1350" baseline="30000">
                <a:solidFill>
                  <a:prstClr val="black"/>
                </a:solidFill>
                <a:latin typeface="Arial" panose="020B0604020202020204" pitchFamily="34" charset="0"/>
                <a:cs typeface="Arial" panose="020B0604020202020204" pitchFamily="34" charset="0"/>
              </a:rPr>
              <a:t>1</a:t>
            </a:r>
          </a:p>
          <a:p>
            <a:pPr defTabSz="685800">
              <a:defRPr/>
            </a:pPr>
            <a:r>
              <a:rPr lang="en-US" sz="1350">
                <a:solidFill>
                  <a:prstClr val="black"/>
                </a:solidFill>
                <a:latin typeface="Arial" panose="020B0604020202020204" pitchFamily="34" charset="0"/>
                <a:cs typeface="Arial" panose="020B0604020202020204" pitchFamily="34" charset="0"/>
              </a:rPr>
              <a:t>PET/CT: </a:t>
            </a:r>
            <a:r>
              <a:rPr lang="en-US" sz="1350">
                <a:solidFill>
                  <a:srgbClr val="4D5156"/>
                </a:solidFill>
                <a:latin typeface="Roboto" panose="02000000000000000000" pitchFamily="2" charset="0"/>
              </a:rPr>
              <a:t>€</a:t>
            </a:r>
            <a:r>
              <a:rPr lang="en-US" sz="1350">
                <a:solidFill>
                  <a:prstClr val="black"/>
                </a:solidFill>
                <a:latin typeface="Arial" panose="020B0604020202020204" pitchFamily="34" charset="0"/>
                <a:cs typeface="Arial" panose="020B0604020202020204" pitchFamily="34" charset="0"/>
              </a:rPr>
              <a:t>1,500</a:t>
            </a:r>
            <a:r>
              <a:rPr lang="en-US" sz="1350" baseline="30000">
                <a:solidFill>
                  <a:prstClr val="black"/>
                </a:solidFill>
                <a:latin typeface="Arial" panose="020B0604020202020204" pitchFamily="34" charset="0"/>
                <a:cs typeface="Arial" panose="020B0604020202020204" pitchFamily="34" charset="0"/>
              </a:rPr>
              <a:t>1</a:t>
            </a:r>
          </a:p>
        </p:txBody>
      </p:sp>
      <p:sp>
        <p:nvSpPr>
          <p:cNvPr id="8" name="Rectangle 3"/>
          <p:cNvSpPr>
            <a:spLocks noChangeArrowheads="1"/>
          </p:cNvSpPr>
          <p:nvPr/>
        </p:nvSpPr>
        <p:spPr bwMode="auto">
          <a:xfrm>
            <a:off x="4505632" y="4932823"/>
            <a:ext cx="463836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defTabSz="685800" fontAlgn="base">
              <a:lnSpc>
                <a:spcPct val="100000"/>
              </a:lnSpc>
              <a:spcBef>
                <a:spcPct val="0"/>
              </a:spcBef>
              <a:spcAft>
                <a:spcPct val="0"/>
              </a:spcAft>
              <a:buNone/>
              <a:defRPr/>
            </a:pPr>
            <a:r>
              <a:rPr lang="en-US" altLang="es-ES" sz="800">
                <a:solidFill>
                  <a:srgbClr val="000000"/>
                </a:solidFill>
                <a:latin typeface="Arial" panose="020B0604020202020204" pitchFamily="34" charset="0"/>
                <a:ea typeface="ＭＳ Ｐゴシック" panose="020B0600070205080204" pitchFamily="34" charset="-128"/>
                <a:cs typeface="Arial" panose="020B0604020202020204" pitchFamily="34" charset="0"/>
              </a:rPr>
              <a:t>1. Paiva B, et al. </a:t>
            </a:r>
            <a:r>
              <a:rPr lang="en-US" altLang="es-ES" sz="800" i="1">
                <a:solidFill>
                  <a:srgbClr val="000000"/>
                </a:solidFill>
                <a:latin typeface="Arial" panose="020B0604020202020204" pitchFamily="34" charset="0"/>
                <a:ea typeface="ＭＳ Ｐゴシック" panose="020B0600070205080204" pitchFamily="34" charset="-128"/>
                <a:cs typeface="Arial" panose="020B0604020202020204" pitchFamily="34" charset="0"/>
              </a:rPr>
              <a:t>Blood</a:t>
            </a:r>
            <a:r>
              <a:rPr lang="en-US" altLang="es-ES" sz="800">
                <a:solidFill>
                  <a:srgbClr val="000000"/>
                </a:solidFill>
                <a:latin typeface="Arial" panose="020B0604020202020204" pitchFamily="34" charset="0"/>
                <a:ea typeface="ＭＳ Ｐゴシック" panose="020B0600070205080204" pitchFamily="34" charset="-128"/>
                <a:cs typeface="Arial" panose="020B0604020202020204" pitchFamily="34" charset="0"/>
              </a:rPr>
              <a:t>. 2015;125:3059-3068; 2. Rajkumar SV, et al. </a:t>
            </a:r>
            <a:r>
              <a:rPr lang="en-US" altLang="es-ES" sz="800" i="1">
                <a:solidFill>
                  <a:srgbClr val="000000"/>
                </a:solidFill>
                <a:latin typeface="Arial" panose="020B0604020202020204" pitchFamily="34" charset="0"/>
                <a:ea typeface="ＭＳ Ｐゴシック" panose="020B0600070205080204" pitchFamily="34" charset="-128"/>
                <a:cs typeface="Arial" panose="020B0604020202020204" pitchFamily="34" charset="0"/>
              </a:rPr>
              <a:t>Blood</a:t>
            </a:r>
            <a:r>
              <a:rPr lang="en-US" altLang="es-ES" sz="800">
                <a:solidFill>
                  <a:srgbClr val="000000"/>
                </a:solidFill>
                <a:latin typeface="Arial" panose="020B0604020202020204" pitchFamily="34" charset="0"/>
                <a:ea typeface="ＭＳ Ｐゴシック" panose="020B0600070205080204" pitchFamily="34" charset="-128"/>
                <a:cs typeface="Arial" panose="020B0604020202020204" pitchFamily="34" charset="0"/>
              </a:rPr>
              <a:t>. 2016;128:2757-2764.</a:t>
            </a:r>
          </a:p>
        </p:txBody>
      </p:sp>
      <p:sp>
        <p:nvSpPr>
          <p:cNvPr id="9" name="CuadroTexto 8"/>
          <p:cNvSpPr txBox="1"/>
          <p:nvPr/>
        </p:nvSpPr>
        <p:spPr>
          <a:xfrm>
            <a:off x="5768163" y="3203501"/>
            <a:ext cx="2691763" cy="715581"/>
          </a:xfrm>
          <a:prstGeom prst="rect">
            <a:avLst/>
          </a:prstGeom>
          <a:noFill/>
        </p:spPr>
        <p:txBody>
          <a:bodyPr wrap="none" rtlCol="0">
            <a:spAutoFit/>
          </a:bodyPr>
          <a:lstStyle/>
          <a:p>
            <a:pPr defTabSz="685800">
              <a:defRPr/>
            </a:pPr>
            <a:endParaRPr lang="en-US" sz="1350">
              <a:solidFill>
                <a:prstClr val="black"/>
              </a:solidFill>
              <a:latin typeface="Arial" panose="020B0604020202020204" pitchFamily="34" charset="0"/>
              <a:cs typeface="Arial" panose="020B0604020202020204" pitchFamily="34" charset="0"/>
            </a:endParaRPr>
          </a:p>
          <a:p>
            <a:pPr defTabSz="685800">
              <a:defRPr/>
            </a:pPr>
            <a:r>
              <a:rPr lang="en-US" sz="1350" b="1">
                <a:solidFill>
                  <a:prstClr val="black"/>
                </a:solidFill>
                <a:latin typeface="Arial" panose="020B0604020202020204" pitchFamily="34" charset="0"/>
                <a:cs typeface="Arial" panose="020B0604020202020204" pitchFamily="34" charset="0"/>
              </a:rPr>
              <a:t>Treatment</a:t>
            </a:r>
          </a:p>
          <a:p>
            <a:pPr defTabSz="685800">
              <a:defRPr/>
            </a:pPr>
            <a:r>
              <a:rPr lang="en-US" sz="1350">
                <a:solidFill>
                  <a:prstClr val="black"/>
                </a:solidFill>
                <a:latin typeface="Arial" panose="020B0604020202020204" pitchFamily="34" charset="0"/>
                <a:cs typeface="Arial" panose="020B0604020202020204" pitchFamily="34" charset="0"/>
              </a:rPr>
              <a:t>Quadruplets: $300,000 per year</a:t>
            </a:r>
            <a:r>
              <a:rPr lang="en-US" sz="1350" baseline="30000">
                <a:solidFill>
                  <a:prstClr val="black"/>
                </a:solidFill>
                <a:latin typeface="Arial" panose="020B0604020202020204" pitchFamily="34" charset="0"/>
                <a:cs typeface="Arial" panose="020B0604020202020204" pitchFamily="34" charset="0"/>
              </a:rPr>
              <a:t>2</a:t>
            </a:r>
          </a:p>
        </p:txBody>
      </p:sp>
      <p:sp>
        <p:nvSpPr>
          <p:cNvPr id="10" name="CuadroTexto 9"/>
          <p:cNvSpPr txBox="1"/>
          <p:nvPr/>
        </p:nvSpPr>
        <p:spPr>
          <a:xfrm>
            <a:off x="1503982" y="2126443"/>
            <a:ext cx="1165704" cy="715581"/>
          </a:xfrm>
          <a:prstGeom prst="rect">
            <a:avLst/>
          </a:prstGeom>
          <a:noFill/>
        </p:spPr>
        <p:txBody>
          <a:bodyPr wrap="none" rtlCol="0">
            <a:spAutoFit/>
          </a:bodyPr>
          <a:lstStyle/>
          <a:p>
            <a:pPr defTabSz="685800">
              <a:defRPr/>
            </a:pPr>
            <a:r>
              <a:rPr lang="en-US" sz="1350" b="1">
                <a:solidFill>
                  <a:prstClr val="black"/>
                </a:solidFill>
                <a:latin typeface="Arial" panose="020B0604020202020204" pitchFamily="34" charset="0"/>
                <a:cs typeface="Arial" panose="020B0604020202020204" pitchFamily="34" charset="0"/>
              </a:rPr>
              <a:t>Diagnostics</a:t>
            </a:r>
          </a:p>
          <a:p>
            <a:pPr defTabSz="685800">
              <a:defRPr/>
            </a:pPr>
            <a:r>
              <a:rPr lang="en-US" sz="1350">
                <a:solidFill>
                  <a:prstClr val="black"/>
                </a:solidFill>
                <a:latin typeface="Arial" panose="020B0604020202020204" pitchFamily="34" charset="0"/>
                <a:cs typeface="Arial" panose="020B0604020202020204" pitchFamily="34" charset="0"/>
              </a:rPr>
              <a:t>FISH: </a:t>
            </a:r>
            <a:r>
              <a:rPr lang="en-US" sz="1350">
                <a:solidFill>
                  <a:srgbClr val="4D5156"/>
                </a:solidFill>
                <a:latin typeface="Roboto" panose="02000000000000000000" pitchFamily="2" charset="0"/>
              </a:rPr>
              <a:t>€</a:t>
            </a:r>
            <a:r>
              <a:rPr lang="en-US" sz="1350">
                <a:solidFill>
                  <a:prstClr val="black"/>
                </a:solidFill>
                <a:latin typeface="Arial" panose="020B0604020202020204" pitchFamily="34" charset="0"/>
                <a:cs typeface="Arial" panose="020B0604020202020204" pitchFamily="34" charset="0"/>
              </a:rPr>
              <a:t>350</a:t>
            </a:r>
          </a:p>
          <a:p>
            <a:pPr defTabSz="685800">
              <a:defRPr/>
            </a:pPr>
            <a:r>
              <a:rPr lang="en-US" sz="1350">
                <a:solidFill>
                  <a:prstClr val="black"/>
                </a:solidFill>
                <a:latin typeface="Arial" panose="020B0604020202020204" pitchFamily="34" charset="0"/>
                <a:cs typeface="Arial" panose="020B0604020202020204" pitchFamily="34" charset="0"/>
              </a:rPr>
              <a:t>NGS: </a:t>
            </a:r>
            <a:r>
              <a:rPr lang="en-US" sz="1350">
                <a:solidFill>
                  <a:srgbClr val="4D5156"/>
                </a:solidFill>
                <a:latin typeface="Roboto" panose="02000000000000000000" pitchFamily="2" charset="0"/>
              </a:rPr>
              <a:t>€</a:t>
            </a:r>
            <a:r>
              <a:rPr lang="en-US" sz="1350">
                <a:solidFill>
                  <a:prstClr val="black"/>
                </a:solidFill>
                <a:latin typeface="Arial" panose="020B0604020202020204" pitchFamily="34" charset="0"/>
                <a:cs typeface="Arial" panose="020B0604020202020204" pitchFamily="34" charset="0"/>
              </a:rPr>
              <a:t>700</a:t>
            </a:r>
          </a:p>
        </p:txBody>
      </p:sp>
    </p:spTree>
    <p:extLst>
      <p:ext uri="{BB962C8B-B14F-4D97-AF65-F5344CB8AC3E}">
        <p14:creationId xmlns:p14="http://schemas.microsoft.com/office/powerpoint/2010/main" val="170288934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336B0-4F85-428E-839E-61BC4FADCBAC}"/>
              </a:ext>
            </a:extLst>
          </p:cNvPr>
          <p:cNvSpPr>
            <a:spLocks noGrp="1"/>
          </p:cNvSpPr>
          <p:nvPr>
            <p:ph type="ctrTitle"/>
          </p:nvPr>
        </p:nvSpPr>
        <p:spPr>
          <a:xfrm>
            <a:off x="4277991" y="1256693"/>
            <a:ext cx="4534294" cy="1548390"/>
          </a:xfrm>
        </p:spPr>
        <p:txBody>
          <a:bodyPr>
            <a:noAutofit/>
          </a:bodyPr>
          <a:lstStyle/>
          <a:p>
            <a:r>
              <a:rPr lang="en-US" sz="2800" noProof="0"/>
              <a:t>Panel Discussion: </a:t>
            </a:r>
            <a:r>
              <a:rPr lang="en-US" sz="2400" b="0" u="none" kern="1200" noProof="0">
                <a:effectLst/>
                <a:latin typeface="Arial"/>
                <a:ea typeface="+mn-ea"/>
                <a:cs typeface="Arial"/>
              </a:rPr>
              <a:t>Regional challenges of multiple myeloma treatment </a:t>
            </a:r>
            <a:endParaRPr lang="en-US" sz="2800" noProof="0"/>
          </a:p>
        </p:txBody>
      </p:sp>
      <p:sp>
        <p:nvSpPr>
          <p:cNvPr id="3" name="Subtitle 2">
            <a:extLst>
              <a:ext uri="{FF2B5EF4-FFF2-40B4-BE49-F238E27FC236}">
                <a16:creationId xmlns:a16="http://schemas.microsoft.com/office/drawing/2014/main" id="{ADA5EA39-EB2A-4916-A39A-C2354117BF51}"/>
              </a:ext>
            </a:extLst>
          </p:cNvPr>
          <p:cNvSpPr>
            <a:spLocks noGrp="1"/>
          </p:cNvSpPr>
          <p:nvPr>
            <p:ph type="subTitle" idx="1"/>
          </p:nvPr>
        </p:nvSpPr>
        <p:spPr>
          <a:xfrm>
            <a:off x="4270617" y="2986548"/>
            <a:ext cx="4534294" cy="929192"/>
          </a:xfrm>
        </p:spPr>
        <p:txBody>
          <a:bodyPr>
            <a:normAutofit/>
          </a:bodyPr>
          <a:lstStyle/>
          <a:p>
            <a:r>
              <a:rPr lang="en-US" noProof="0">
                <a:effectLst/>
                <a:ea typeface="Times New Roman" panose="02020603050405020304" pitchFamily="18" charset="0"/>
              </a:rPr>
              <a:t>Hermann Einsele, MD</a:t>
            </a:r>
            <a:endParaRPr lang="en-US" noProof="0"/>
          </a:p>
        </p:txBody>
      </p:sp>
      <p:pic>
        <p:nvPicPr>
          <p:cNvPr id="5" name="Picture 4">
            <a:extLst>
              <a:ext uri="{FF2B5EF4-FFF2-40B4-BE49-F238E27FC236}">
                <a16:creationId xmlns:a16="http://schemas.microsoft.com/office/drawing/2014/main" id="{90D82755-2539-46CB-992E-F71401DD02D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0617" y="3407060"/>
            <a:ext cx="1188720" cy="1188720"/>
          </a:xfrm>
          <a:prstGeom prst="teardrop">
            <a:avLst/>
          </a:prstGeom>
          <a:solidFill>
            <a:schemeClr val="tx2"/>
          </a:solidFill>
        </p:spPr>
      </p:pic>
    </p:spTree>
    <p:extLst>
      <p:ext uri="{BB962C8B-B14F-4D97-AF65-F5344CB8AC3E}">
        <p14:creationId xmlns:p14="http://schemas.microsoft.com/office/powerpoint/2010/main" val="375086054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474964" y="1329612"/>
            <a:ext cx="8063513" cy="1137792"/>
          </a:xfrm>
        </p:spPr>
        <p:txBody>
          <a:bodyPr/>
          <a:lstStyle/>
          <a:p>
            <a:r>
              <a:rPr lang="en-US" noProof="0"/>
              <a:t>Global Multiple Myeloma Academy</a:t>
            </a:r>
            <a:br>
              <a:rPr lang="en-US" noProof="0"/>
            </a:br>
            <a:br>
              <a:rPr lang="en-US" noProof="0"/>
            </a:br>
            <a:r>
              <a:rPr lang="en-US" noProof="0"/>
              <a:t>Regional Challenges of Multiple Myeloma Diagnosis and Treatment</a:t>
            </a:r>
            <a:br>
              <a:rPr lang="en-US" noProof="0"/>
            </a:br>
            <a:br>
              <a:rPr lang="en-US" noProof="0"/>
            </a:br>
            <a:r>
              <a:rPr lang="en-US" sz="1500" noProof="0"/>
              <a:t>18 March 2022</a:t>
            </a:r>
            <a:br>
              <a:rPr lang="en-US" sz="1500" noProof="0"/>
            </a:br>
            <a:endParaRPr lang="en-US" sz="1500" noProof="0"/>
          </a:p>
        </p:txBody>
      </p:sp>
      <p:sp>
        <p:nvSpPr>
          <p:cNvPr id="5" name="Untertitel 4"/>
          <p:cNvSpPr>
            <a:spLocks noGrp="1"/>
          </p:cNvSpPr>
          <p:nvPr>
            <p:ph type="subTitle" idx="1"/>
          </p:nvPr>
        </p:nvSpPr>
        <p:spPr/>
        <p:txBody>
          <a:bodyPr>
            <a:noAutofit/>
          </a:bodyPr>
          <a:lstStyle/>
          <a:p>
            <a:pPr defTabSz="685800"/>
            <a:r>
              <a:rPr lang="en-US" sz="1350" noProof="0"/>
              <a:t>Prof Dr Hermann Einsele</a:t>
            </a:r>
            <a:br>
              <a:rPr lang="en-US" sz="1350" noProof="0"/>
            </a:br>
            <a:r>
              <a:rPr lang="en-US" sz="1350" noProof="0"/>
              <a:t>Medizinische Klinik und Poliklinik II</a:t>
            </a:r>
            <a:br>
              <a:rPr lang="en-US" sz="1350" noProof="0"/>
            </a:br>
            <a:r>
              <a:rPr lang="en-US" sz="1350" noProof="0"/>
              <a:t>Universitätsklinikum Würzburg</a:t>
            </a:r>
          </a:p>
        </p:txBody>
      </p:sp>
    </p:spTree>
    <p:extLst>
      <p:ext uri="{BB962C8B-B14F-4D97-AF65-F5344CB8AC3E}">
        <p14:creationId xmlns:p14="http://schemas.microsoft.com/office/powerpoint/2010/main" val="136023286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EB1C2A60-DC37-4D7A-89B2-4E080906F672}"/>
              </a:ext>
            </a:extLst>
          </p:cNvPr>
          <p:cNvSpPr txBox="1"/>
          <p:nvPr/>
        </p:nvSpPr>
        <p:spPr>
          <a:xfrm>
            <a:off x="3781817" y="650992"/>
            <a:ext cx="1607975" cy="239969"/>
          </a:xfrm>
          <a:prstGeom prst="rect">
            <a:avLst/>
          </a:prstGeom>
        </p:spPr>
        <p:txBody>
          <a:bodyPr vert="horz" wrap="square" lIns="0" tIns="9048" rIns="0" bIns="0" rtlCol="0">
            <a:spAutoFit/>
          </a:bodyPr>
          <a:lstStyle/>
          <a:p>
            <a:pPr marL="9524" defTabSz="685732">
              <a:spcBef>
                <a:spcPts val="71"/>
              </a:spcBef>
              <a:defRPr/>
            </a:pPr>
            <a:r>
              <a:rPr lang="de-DE" sz="1500" b="1" spc="-4">
                <a:solidFill>
                  <a:prstClr val="black"/>
                </a:solidFill>
                <a:latin typeface="Trebuchet MS"/>
                <a:cs typeface="Arial"/>
              </a:rPr>
              <a:t>Suitable for </a:t>
            </a:r>
            <a:r>
              <a:rPr sz="1500" b="1" spc="-15">
                <a:solidFill>
                  <a:prstClr val="black"/>
                </a:solidFill>
                <a:latin typeface="Trebuchet MS"/>
                <a:cs typeface="Arial"/>
              </a:rPr>
              <a:t>ASCT</a:t>
            </a:r>
            <a:endParaRPr sz="1500">
              <a:solidFill>
                <a:prstClr val="black"/>
              </a:solidFill>
              <a:latin typeface="Trebuchet MS"/>
              <a:cs typeface="Arial"/>
            </a:endParaRPr>
          </a:p>
        </p:txBody>
      </p:sp>
      <p:sp>
        <p:nvSpPr>
          <p:cNvPr id="7" name="object 3">
            <a:extLst>
              <a:ext uri="{FF2B5EF4-FFF2-40B4-BE49-F238E27FC236}">
                <a16:creationId xmlns:a16="http://schemas.microsoft.com/office/drawing/2014/main" id="{2CEAA17E-5053-4E7B-90A8-58B2D2555478}"/>
              </a:ext>
            </a:extLst>
          </p:cNvPr>
          <p:cNvSpPr txBox="1"/>
          <p:nvPr/>
        </p:nvSpPr>
        <p:spPr>
          <a:xfrm>
            <a:off x="1523679" y="1282260"/>
            <a:ext cx="2451014" cy="1206227"/>
          </a:xfrm>
          <a:prstGeom prst="rect">
            <a:avLst/>
          </a:prstGeom>
        </p:spPr>
        <p:txBody>
          <a:bodyPr vert="horz" wrap="square" lIns="0" tIns="9524" rIns="0" bIns="0" rtlCol="0">
            <a:spAutoFit/>
          </a:bodyPr>
          <a:lstStyle/>
          <a:p>
            <a:pPr marL="9524" marR="3809" indent="1115743" algn="ctr" defTabSz="685732">
              <a:lnSpc>
                <a:spcPct val="138100"/>
              </a:lnSpc>
              <a:spcBef>
                <a:spcPts val="75"/>
              </a:spcBef>
              <a:defRPr/>
            </a:pPr>
            <a:br>
              <a:rPr lang="de-DE" sz="1350" b="1" spc="-8">
                <a:solidFill>
                  <a:prstClr val="black"/>
                </a:solidFill>
                <a:latin typeface="Trebuchet MS"/>
                <a:cs typeface="Arial"/>
              </a:rPr>
            </a:br>
            <a:r>
              <a:rPr sz="1350" b="1" spc="-4">
                <a:solidFill>
                  <a:prstClr val="black"/>
                </a:solidFill>
                <a:latin typeface="Trebuchet MS"/>
                <a:cs typeface="Arial"/>
              </a:rPr>
              <a:t>Indu</a:t>
            </a:r>
            <a:r>
              <a:rPr lang="de-DE" sz="1350" b="1" spc="-4">
                <a:solidFill>
                  <a:prstClr val="black"/>
                </a:solidFill>
                <a:latin typeface="Trebuchet MS"/>
                <a:cs typeface="Arial"/>
              </a:rPr>
              <a:t>c</a:t>
            </a:r>
            <a:r>
              <a:rPr sz="1350" b="1" spc="-4">
                <a:solidFill>
                  <a:prstClr val="black"/>
                </a:solidFill>
                <a:latin typeface="Trebuchet MS"/>
                <a:cs typeface="Arial"/>
              </a:rPr>
              <a:t>tion: </a:t>
            </a:r>
            <a:r>
              <a:rPr lang="de-DE" sz="1350" b="1" spc="-8">
                <a:solidFill>
                  <a:prstClr val="black"/>
                </a:solidFill>
                <a:latin typeface="Trebuchet MS"/>
                <a:cs typeface="Arial"/>
              </a:rPr>
              <a:t>4</a:t>
            </a:r>
            <a:r>
              <a:rPr sz="1350" b="1" spc="-8">
                <a:solidFill>
                  <a:prstClr val="black"/>
                </a:solidFill>
                <a:latin typeface="Trebuchet MS"/>
                <a:cs typeface="Arial"/>
              </a:rPr>
              <a:t>-drug</a:t>
            </a:r>
            <a:r>
              <a:rPr sz="1350" b="1" spc="-4">
                <a:solidFill>
                  <a:prstClr val="black"/>
                </a:solidFill>
                <a:latin typeface="Trebuchet MS"/>
                <a:cs typeface="Arial"/>
              </a:rPr>
              <a:t> </a:t>
            </a:r>
            <a:r>
              <a:rPr lang="de-DE" sz="1350" b="1" spc="-4">
                <a:solidFill>
                  <a:prstClr val="black"/>
                </a:solidFill>
                <a:latin typeface="Trebuchet MS"/>
                <a:cs typeface="Arial"/>
              </a:rPr>
              <a:t>R</a:t>
            </a:r>
            <a:r>
              <a:rPr sz="1350" b="1" spc="-4">
                <a:solidFill>
                  <a:prstClr val="black"/>
                </a:solidFill>
                <a:latin typeface="Trebuchet MS"/>
                <a:cs typeface="Arial"/>
              </a:rPr>
              <a:t>egimens</a:t>
            </a:r>
            <a:endParaRPr sz="1350">
              <a:solidFill>
                <a:prstClr val="black"/>
              </a:solidFill>
              <a:latin typeface="Trebuchet MS"/>
              <a:cs typeface="Arial"/>
            </a:endParaRPr>
          </a:p>
          <a:p>
            <a:pPr marL="553348" marR="547157" indent="7619" defTabSz="685732">
              <a:defRPr/>
            </a:pPr>
            <a:r>
              <a:rPr sz="1350" b="1" spc="-4">
                <a:solidFill>
                  <a:srgbClr val="595454"/>
                </a:solidFill>
                <a:latin typeface="Trebuchet MS"/>
                <a:cs typeface="Arial"/>
              </a:rPr>
              <a:t>VTD + </a:t>
            </a:r>
            <a:r>
              <a:rPr lang="el-GR" sz="1350" b="1" spc="-4">
                <a:solidFill>
                  <a:srgbClr val="595454"/>
                </a:solidFill>
                <a:latin typeface="Trebuchet MS"/>
                <a:cs typeface="Arial"/>
              </a:rPr>
              <a:t>α</a:t>
            </a:r>
            <a:r>
              <a:rPr sz="1350" b="1" spc="-8">
                <a:solidFill>
                  <a:srgbClr val="595454"/>
                </a:solidFill>
                <a:latin typeface="Trebuchet MS"/>
                <a:cs typeface="Arial"/>
              </a:rPr>
              <a:t>CD38  </a:t>
            </a:r>
            <a:r>
              <a:rPr sz="1350" b="1" spc="-4">
                <a:solidFill>
                  <a:srgbClr val="33D6F1">
                    <a:lumMod val="75000"/>
                  </a:srgbClr>
                </a:solidFill>
                <a:latin typeface="Trebuchet MS"/>
                <a:cs typeface="Arial"/>
              </a:rPr>
              <a:t>RVD +</a:t>
            </a:r>
            <a:r>
              <a:rPr sz="1350" b="1" spc="-64">
                <a:solidFill>
                  <a:srgbClr val="33D6F1">
                    <a:lumMod val="75000"/>
                  </a:srgbClr>
                </a:solidFill>
                <a:latin typeface="Trebuchet MS"/>
                <a:cs typeface="Arial"/>
              </a:rPr>
              <a:t> </a:t>
            </a:r>
            <a:r>
              <a:rPr lang="el-GR" sz="1350" b="1" spc="-64">
                <a:solidFill>
                  <a:srgbClr val="33D6F1">
                    <a:lumMod val="75000"/>
                  </a:srgbClr>
                </a:solidFill>
                <a:latin typeface="Trebuchet MS"/>
                <a:cs typeface="Arial"/>
              </a:rPr>
              <a:t>α</a:t>
            </a:r>
            <a:r>
              <a:rPr sz="1350" b="1" spc="-8">
                <a:solidFill>
                  <a:srgbClr val="33D6F1">
                    <a:lumMod val="75000"/>
                  </a:srgbClr>
                </a:solidFill>
                <a:latin typeface="Trebuchet MS"/>
                <a:cs typeface="Arial"/>
              </a:rPr>
              <a:t>CD38</a:t>
            </a:r>
            <a:endParaRPr lang="de-DE" sz="1350" b="1" spc="-8">
              <a:solidFill>
                <a:srgbClr val="33D6F1">
                  <a:lumMod val="75000"/>
                </a:srgbClr>
              </a:solidFill>
              <a:latin typeface="Trebuchet MS"/>
              <a:cs typeface="Arial"/>
            </a:endParaRPr>
          </a:p>
          <a:p>
            <a:pPr marL="553348" marR="547157" indent="7619" defTabSz="685732">
              <a:defRPr/>
            </a:pPr>
            <a:r>
              <a:rPr lang="de-DE" sz="1350" b="1" spc="-8" err="1">
                <a:solidFill>
                  <a:srgbClr val="33D6F1">
                    <a:lumMod val="75000"/>
                  </a:srgbClr>
                </a:solidFill>
                <a:latin typeface="Trebuchet MS"/>
                <a:cs typeface="Arial"/>
              </a:rPr>
              <a:t>KRd</a:t>
            </a:r>
            <a:r>
              <a:rPr lang="de-DE" sz="1350" b="1" spc="-8">
                <a:solidFill>
                  <a:srgbClr val="33D6F1">
                    <a:lumMod val="75000"/>
                  </a:srgbClr>
                </a:solidFill>
                <a:latin typeface="Trebuchet MS"/>
                <a:cs typeface="Arial"/>
              </a:rPr>
              <a:t> + </a:t>
            </a:r>
            <a:r>
              <a:rPr lang="el-GR" sz="1350" b="1" spc="-8">
                <a:solidFill>
                  <a:srgbClr val="33D6F1">
                    <a:lumMod val="75000"/>
                  </a:srgbClr>
                </a:solidFill>
                <a:latin typeface="Trebuchet MS"/>
                <a:cs typeface="Arial"/>
              </a:rPr>
              <a:t>α</a:t>
            </a:r>
            <a:r>
              <a:rPr lang="de-DE" sz="1350" b="1" spc="-8">
                <a:solidFill>
                  <a:srgbClr val="33D6F1">
                    <a:lumMod val="75000"/>
                  </a:srgbClr>
                </a:solidFill>
                <a:latin typeface="Trebuchet MS"/>
                <a:cs typeface="Arial"/>
              </a:rPr>
              <a:t>CD38/Elo</a:t>
            </a:r>
            <a:endParaRPr sz="1350">
              <a:solidFill>
                <a:srgbClr val="33D6F1">
                  <a:lumMod val="75000"/>
                </a:srgbClr>
              </a:solidFill>
              <a:latin typeface="Trebuchet MS"/>
              <a:cs typeface="Arial"/>
            </a:endParaRPr>
          </a:p>
        </p:txBody>
      </p:sp>
      <p:sp>
        <p:nvSpPr>
          <p:cNvPr id="8" name="object 5">
            <a:extLst>
              <a:ext uri="{FF2B5EF4-FFF2-40B4-BE49-F238E27FC236}">
                <a16:creationId xmlns:a16="http://schemas.microsoft.com/office/drawing/2014/main" id="{E0059FBA-20F2-40EA-9323-2537FCABB1CC}"/>
              </a:ext>
            </a:extLst>
          </p:cNvPr>
          <p:cNvSpPr txBox="1"/>
          <p:nvPr/>
        </p:nvSpPr>
        <p:spPr>
          <a:xfrm>
            <a:off x="5050970" y="1797141"/>
            <a:ext cx="2847187" cy="216886"/>
          </a:xfrm>
          <a:prstGeom prst="rect">
            <a:avLst/>
          </a:prstGeom>
          <a:ln w="28575">
            <a:noFill/>
          </a:ln>
        </p:spPr>
        <p:txBody>
          <a:bodyPr vert="horz" wrap="square" lIns="0" tIns="9048" rIns="0" bIns="0" rtlCol="0">
            <a:spAutoFit/>
          </a:bodyPr>
          <a:lstStyle/>
          <a:p>
            <a:pPr marL="9524" defTabSz="685732">
              <a:spcBef>
                <a:spcPts val="71"/>
              </a:spcBef>
              <a:defRPr/>
            </a:pPr>
            <a:r>
              <a:rPr lang="de-DE" sz="1350" b="1" spc="-4">
                <a:solidFill>
                  <a:prstClr val="black"/>
                </a:solidFill>
                <a:latin typeface="Trebuchet MS"/>
                <a:cs typeface="Arial"/>
              </a:rPr>
              <a:t>1. Option</a:t>
            </a:r>
            <a:r>
              <a:rPr sz="1350" b="1" spc="-8">
                <a:solidFill>
                  <a:prstClr val="black"/>
                </a:solidFill>
                <a:latin typeface="Trebuchet MS"/>
                <a:cs typeface="Arial"/>
              </a:rPr>
              <a:t>: </a:t>
            </a:r>
            <a:r>
              <a:rPr lang="de-DE" sz="1350" b="1" spc="-8">
                <a:solidFill>
                  <a:prstClr val="black"/>
                </a:solidFill>
                <a:latin typeface="Trebuchet MS"/>
                <a:cs typeface="Arial"/>
              </a:rPr>
              <a:t>Dara-</a:t>
            </a:r>
            <a:r>
              <a:rPr sz="1350" b="1" spc="-4">
                <a:solidFill>
                  <a:prstClr val="black"/>
                </a:solidFill>
                <a:latin typeface="Trebuchet MS"/>
                <a:cs typeface="Arial"/>
              </a:rPr>
              <a:t>VMP, </a:t>
            </a:r>
            <a:r>
              <a:rPr lang="de-DE" sz="1350" b="1" spc="-4">
                <a:solidFill>
                  <a:prstClr val="black"/>
                </a:solidFill>
                <a:latin typeface="Trebuchet MS"/>
                <a:cs typeface="Arial"/>
              </a:rPr>
              <a:t>Dara-</a:t>
            </a:r>
            <a:r>
              <a:rPr sz="1350" b="1" spc="-8">
                <a:solidFill>
                  <a:prstClr val="black"/>
                </a:solidFill>
                <a:latin typeface="Trebuchet MS"/>
                <a:cs typeface="Arial"/>
              </a:rPr>
              <a:t>Rd,</a:t>
            </a:r>
            <a:r>
              <a:rPr sz="1350" b="1" spc="41">
                <a:solidFill>
                  <a:prstClr val="black"/>
                </a:solidFill>
                <a:latin typeface="Trebuchet MS"/>
                <a:cs typeface="Arial"/>
              </a:rPr>
              <a:t> </a:t>
            </a:r>
            <a:r>
              <a:rPr sz="1350" b="1" spc="-4">
                <a:solidFill>
                  <a:prstClr val="black"/>
                </a:solidFill>
                <a:latin typeface="Trebuchet MS"/>
                <a:cs typeface="Arial"/>
              </a:rPr>
              <a:t>VRD</a:t>
            </a:r>
            <a:endParaRPr sz="1350">
              <a:solidFill>
                <a:prstClr val="black"/>
              </a:solidFill>
              <a:latin typeface="Trebuchet MS"/>
              <a:cs typeface="Arial"/>
            </a:endParaRPr>
          </a:p>
        </p:txBody>
      </p:sp>
      <p:sp>
        <p:nvSpPr>
          <p:cNvPr id="9" name="object 6">
            <a:extLst>
              <a:ext uri="{FF2B5EF4-FFF2-40B4-BE49-F238E27FC236}">
                <a16:creationId xmlns:a16="http://schemas.microsoft.com/office/drawing/2014/main" id="{2994CE8E-E1EF-4B6C-9010-67CDB5F5D43A}"/>
              </a:ext>
            </a:extLst>
          </p:cNvPr>
          <p:cNvSpPr txBox="1"/>
          <p:nvPr/>
        </p:nvSpPr>
        <p:spPr>
          <a:xfrm>
            <a:off x="5050972" y="2345707"/>
            <a:ext cx="2658674" cy="216886"/>
          </a:xfrm>
          <a:prstGeom prst="rect">
            <a:avLst/>
          </a:prstGeom>
        </p:spPr>
        <p:txBody>
          <a:bodyPr vert="horz" wrap="square" lIns="0" tIns="9048" rIns="0" bIns="0" rtlCol="0">
            <a:spAutoFit/>
          </a:bodyPr>
          <a:lstStyle/>
          <a:p>
            <a:pPr marL="9524" defTabSz="685732">
              <a:spcBef>
                <a:spcPts val="71"/>
              </a:spcBef>
              <a:defRPr/>
            </a:pPr>
            <a:r>
              <a:rPr lang="de-DE" sz="1350" b="1" spc="-4">
                <a:solidFill>
                  <a:prstClr val="black"/>
                </a:solidFill>
                <a:latin typeface="Trebuchet MS"/>
                <a:cs typeface="Arial"/>
              </a:rPr>
              <a:t>2. Option</a:t>
            </a:r>
            <a:r>
              <a:rPr sz="1350" b="1" spc="-8">
                <a:solidFill>
                  <a:prstClr val="black"/>
                </a:solidFill>
                <a:latin typeface="Trebuchet MS"/>
                <a:cs typeface="Arial"/>
              </a:rPr>
              <a:t>: </a:t>
            </a:r>
            <a:r>
              <a:rPr sz="1350" b="1" spc="-4">
                <a:solidFill>
                  <a:prstClr val="black"/>
                </a:solidFill>
                <a:latin typeface="Trebuchet MS"/>
                <a:cs typeface="Arial"/>
              </a:rPr>
              <a:t>VCD,</a:t>
            </a:r>
            <a:r>
              <a:rPr sz="1350" b="1" spc="4">
                <a:solidFill>
                  <a:prstClr val="black"/>
                </a:solidFill>
                <a:latin typeface="Trebuchet MS"/>
                <a:cs typeface="Arial"/>
              </a:rPr>
              <a:t> </a:t>
            </a:r>
            <a:r>
              <a:rPr sz="1350" b="1" spc="-4">
                <a:solidFill>
                  <a:prstClr val="black"/>
                </a:solidFill>
                <a:latin typeface="Trebuchet MS"/>
                <a:cs typeface="Arial"/>
              </a:rPr>
              <a:t>MPT</a:t>
            </a:r>
            <a:r>
              <a:rPr lang="de-DE" sz="1350" b="1" spc="-4">
                <a:solidFill>
                  <a:prstClr val="black"/>
                </a:solidFill>
                <a:latin typeface="Trebuchet MS"/>
                <a:cs typeface="Arial"/>
              </a:rPr>
              <a:t>, VMP, </a:t>
            </a:r>
            <a:r>
              <a:rPr lang="de-DE" sz="1350" b="1" spc="-4" err="1">
                <a:solidFill>
                  <a:prstClr val="black"/>
                </a:solidFill>
                <a:latin typeface="Trebuchet MS"/>
                <a:cs typeface="Arial"/>
              </a:rPr>
              <a:t>Rd</a:t>
            </a:r>
            <a:endParaRPr sz="1350">
              <a:solidFill>
                <a:prstClr val="black"/>
              </a:solidFill>
              <a:latin typeface="Trebuchet MS"/>
              <a:cs typeface="Arial"/>
            </a:endParaRPr>
          </a:p>
        </p:txBody>
      </p:sp>
      <p:sp>
        <p:nvSpPr>
          <p:cNvPr id="10" name="object 7">
            <a:extLst>
              <a:ext uri="{FF2B5EF4-FFF2-40B4-BE49-F238E27FC236}">
                <a16:creationId xmlns:a16="http://schemas.microsoft.com/office/drawing/2014/main" id="{13EA9972-25FB-4A3B-814C-CD3C6C53B6D5}"/>
              </a:ext>
            </a:extLst>
          </p:cNvPr>
          <p:cNvSpPr txBox="1"/>
          <p:nvPr/>
        </p:nvSpPr>
        <p:spPr>
          <a:xfrm>
            <a:off x="5050970" y="2894271"/>
            <a:ext cx="2540234" cy="216886"/>
          </a:xfrm>
          <a:prstGeom prst="rect">
            <a:avLst/>
          </a:prstGeom>
        </p:spPr>
        <p:txBody>
          <a:bodyPr vert="horz" wrap="square" lIns="0" tIns="9048" rIns="0" bIns="0" rtlCol="0">
            <a:spAutoFit/>
          </a:bodyPr>
          <a:lstStyle/>
          <a:p>
            <a:pPr marL="9524" defTabSz="685732">
              <a:spcBef>
                <a:spcPts val="71"/>
              </a:spcBef>
              <a:defRPr/>
            </a:pPr>
            <a:r>
              <a:rPr lang="de-DE" sz="1350" b="1" spc="-8">
                <a:solidFill>
                  <a:prstClr val="black"/>
                </a:solidFill>
                <a:latin typeface="Trebuchet MS"/>
                <a:cs typeface="Arial"/>
              </a:rPr>
              <a:t>Other Options</a:t>
            </a:r>
            <a:r>
              <a:rPr sz="1350" b="1" spc="-4">
                <a:solidFill>
                  <a:prstClr val="black"/>
                </a:solidFill>
                <a:latin typeface="Trebuchet MS"/>
                <a:cs typeface="Arial"/>
              </a:rPr>
              <a:t>: BP, </a:t>
            </a:r>
            <a:r>
              <a:rPr sz="1350" b="1" spc="-8">
                <a:solidFill>
                  <a:prstClr val="black"/>
                </a:solidFill>
                <a:latin typeface="Trebuchet MS"/>
                <a:cs typeface="Arial"/>
              </a:rPr>
              <a:t>CTD,</a:t>
            </a:r>
            <a:r>
              <a:rPr sz="1350" b="1" spc="64">
                <a:solidFill>
                  <a:prstClr val="black"/>
                </a:solidFill>
                <a:latin typeface="Trebuchet MS"/>
                <a:cs typeface="Arial"/>
              </a:rPr>
              <a:t> </a:t>
            </a:r>
            <a:r>
              <a:rPr sz="1350" b="1" spc="-4">
                <a:solidFill>
                  <a:prstClr val="black"/>
                </a:solidFill>
                <a:latin typeface="Trebuchet MS"/>
                <a:cs typeface="Arial"/>
              </a:rPr>
              <a:t>MP</a:t>
            </a:r>
            <a:endParaRPr sz="1350">
              <a:solidFill>
                <a:prstClr val="black"/>
              </a:solidFill>
              <a:latin typeface="Trebuchet MS"/>
              <a:cs typeface="Arial"/>
            </a:endParaRPr>
          </a:p>
        </p:txBody>
      </p:sp>
      <p:sp>
        <p:nvSpPr>
          <p:cNvPr id="11" name="object 16">
            <a:extLst>
              <a:ext uri="{FF2B5EF4-FFF2-40B4-BE49-F238E27FC236}">
                <a16:creationId xmlns:a16="http://schemas.microsoft.com/office/drawing/2014/main" id="{F2BC3EEE-E7F4-4AE3-AACF-0B9D058B5D84}"/>
              </a:ext>
            </a:extLst>
          </p:cNvPr>
          <p:cNvSpPr txBox="1"/>
          <p:nvPr/>
        </p:nvSpPr>
        <p:spPr>
          <a:xfrm>
            <a:off x="1241906" y="2801265"/>
            <a:ext cx="3040108" cy="852957"/>
          </a:xfrm>
          <a:prstGeom prst="rect">
            <a:avLst/>
          </a:prstGeom>
        </p:spPr>
        <p:txBody>
          <a:bodyPr vert="horz" wrap="square" lIns="0" tIns="9048" rIns="0" bIns="0" rtlCol="0">
            <a:spAutoFit/>
          </a:bodyPr>
          <a:lstStyle/>
          <a:p>
            <a:pPr marL="9048" marR="3809" algn="ctr" defTabSz="685732">
              <a:spcBef>
                <a:spcPts val="71"/>
              </a:spcBef>
              <a:defRPr/>
            </a:pPr>
            <a:r>
              <a:rPr lang="en-US" sz="1350" b="1" spc="-8">
                <a:solidFill>
                  <a:prstClr val="black"/>
                </a:solidFill>
                <a:latin typeface="Trebuchet MS"/>
                <a:cs typeface="Arial"/>
              </a:rPr>
              <a:t>200 mg/m</a:t>
            </a:r>
            <a:r>
              <a:rPr lang="en-US" sz="1350" b="1" spc="-8" baseline="30000">
                <a:solidFill>
                  <a:prstClr val="black"/>
                </a:solidFill>
                <a:latin typeface="Trebuchet MS"/>
                <a:cs typeface="Arial"/>
              </a:rPr>
              <a:t>2</a:t>
            </a:r>
            <a:r>
              <a:rPr lang="en-US" sz="1350" b="1" spc="-8">
                <a:solidFill>
                  <a:prstClr val="black"/>
                </a:solidFill>
                <a:latin typeface="Trebuchet MS"/>
                <a:cs typeface="Arial"/>
              </a:rPr>
              <a:t> melphalan followed by ASCT (tandem ASCT for high-risk disease)</a:t>
            </a:r>
          </a:p>
          <a:p>
            <a:pPr marL="9048" marR="3809" algn="ctr" defTabSz="685732">
              <a:spcBef>
                <a:spcPts val="71"/>
              </a:spcBef>
              <a:defRPr/>
            </a:pPr>
            <a:r>
              <a:rPr lang="de-DE" sz="1350" b="1" spc="-8">
                <a:solidFill>
                  <a:srgbClr val="33D6F1">
                    <a:lumMod val="75000"/>
                  </a:srgbClr>
                </a:solidFill>
                <a:latin typeface="Trebuchet MS"/>
                <a:cs typeface="Arial"/>
              </a:rPr>
              <a:t>Consolidation: t</a:t>
            </a:r>
            <a:r>
              <a:rPr lang="de-DE" sz="1350" b="1" spc="-8" err="1">
                <a:solidFill>
                  <a:srgbClr val="33D6F1">
                    <a:lumMod val="75000"/>
                  </a:srgbClr>
                </a:solidFill>
                <a:latin typeface="Trebuchet MS"/>
                <a:cs typeface="Arial"/>
              </a:rPr>
              <a:t>riplet</a:t>
            </a:r>
            <a:r>
              <a:rPr lang="de-DE" sz="1350" b="1" spc="-8">
                <a:solidFill>
                  <a:srgbClr val="33D6F1">
                    <a:lumMod val="75000"/>
                  </a:srgbClr>
                </a:solidFill>
                <a:latin typeface="Trebuchet MS"/>
                <a:cs typeface="Arial"/>
              </a:rPr>
              <a:t> + CD38 </a:t>
            </a:r>
            <a:r>
              <a:rPr sz="1350" b="1" spc="68">
                <a:solidFill>
                  <a:srgbClr val="33D6F1">
                    <a:lumMod val="75000"/>
                  </a:srgbClr>
                </a:solidFill>
                <a:latin typeface="Trebuchet MS"/>
                <a:cs typeface="Arial"/>
              </a:rPr>
              <a:t> </a:t>
            </a:r>
            <a:endParaRPr sz="1350">
              <a:solidFill>
                <a:srgbClr val="33D6F1">
                  <a:lumMod val="75000"/>
                </a:srgbClr>
              </a:solidFill>
              <a:latin typeface="Trebuchet MS"/>
              <a:cs typeface="Arial"/>
            </a:endParaRPr>
          </a:p>
        </p:txBody>
      </p:sp>
      <p:sp>
        <p:nvSpPr>
          <p:cNvPr id="12" name="object 20">
            <a:extLst>
              <a:ext uri="{FF2B5EF4-FFF2-40B4-BE49-F238E27FC236}">
                <a16:creationId xmlns:a16="http://schemas.microsoft.com/office/drawing/2014/main" id="{3EA5E72B-2E2F-4511-AF20-F555FC6AB960}"/>
              </a:ext>
            </a:extLst>
          </p:cNvPr>
          <p:cNvSpPr txBox="1"/>
          <p:nvPr/>
        </p:nvSpPr>
        <p:spPr>
          <a:xfrm>
            <a:off x="1674875" y="3896645"/>
            <a:ext cx="2472638" cy="424635"/>
          </a:xfrm>
          <a:prstGeom prst="rect">
            <a:avLst/>
          </a:prstGeom>
        </p:spPr>
        <p:txBody>
          <a:bodyPr vert="horz" wrap="square" lIns="0" tIns="9048" rIns="0" bIns="0" rtlCol="0">
            <a:spAutoFit/>
          </a:bodyPr>
          <a:lstStyle/>
          <a:p>
            <a:pPr marL="9524" marR="3809" indent="483346" defTabSz="685732">
              <a:spcBef>
                <a:spcPts val="71"/>
              </a:spcBef>
              <a:defRPr/>
            </a:pPr>
            <a:r>
              <a:rPr sz="1350" b="1" spc="-8">
                <a:solidFill>
                  <a:prstClr val="black"/>
                </a:solidFill>
                <a:latin typeface="Trebuchet MS"/>
                <a:cs typeface="Arial"/>
              </a:rPr>
              <a:t>Maintenance  </a:t>
            </a:r>
            <a:r>
              <a:rPr sz="1350" b="1" spc="-4">
                <a:solidFill>
                  <a:prstClr val="black"/>
                </a:solidFill>
                <a:latin typeface="Trebuchet MS"/>
                <a:cs typeface="Arial"/>
              </a:rPr>
              <a:t>Lenalidomide + </a:t>
            </a:r>
            <a:r>
              <a:rPr lang="de-DE" sz="1350" b="1" spc="-8" err="1">
                <a:solidFill>
                  <a:srgbClr val="33D6F1">
                    <a:lumMod val="75000"/>
                  </a:srgbClr>
                </a:solidFill>
                <a:latin typeface="Trebuchet MS"/>
                <a:cs typeface="Arial"/>
              </a:rPr>
              <a:t>Ixa</a:t>
            </a:r>
            <a:r>
              <a:rPr lang="de-DE" sz="1350" b="1" spc="-8">
                <a:solidFill>
                  <a:srgbClr val="33D6F1">
                    <a:lumMod val="75000"/>
                  </a:srgbClr>
                </a:solidFill>
                <a:latin typeface="Trebuchet MS"/>
                <a:cs typeface="Arial"/>
              </a:rPr>
              <a:t>/CD38</a:t>
            </a:r>
            <a:endParaRPr lang="de-DE" sz="1350">
              <a:solidFill>
                <a:srgbClr val="33D6F1">
                  <a:lumMod val="75000"/>
                </a:srgbClr>
              </a:solidFill>
              <a:latin typeface="Trebuchet MS"/>
              <a:cs typeface="Arial"/>
            </a:endParaRPr>
          </a:p>
        </p:txBody>
      </p:sp>
      <p:sp>
        <p:nvSpPr>
          <p:cNvPr id="15" name="Textfeld 14">
            <a:extLst>
              <a:ext uri="{FF2B5EF4-FFF2-40B4-BE49-F238E27FC236}">
                <a16:creationId xmlns:a16="http://schemas.microsoft.com/office/drawing/2014/main" id="{AB9D86EA-326D-43AA-9458-DBD6241B5BA9}"/>
              </a:ext>
            </a:extLst>
          </p:cNvPr>
          <p:cNvSpPr txBox="1"/>
          <p:nvPr/>
        </p:nvSpPr>
        <p:spPr>
          <a:xfrm>
            <a:off x="2668681" y="1164342"/>
            <a:ext cx="510076" cy="323165"/>
          </a:xfrm>
          <a:prstGeom prst="rect">
            <a:avLst/>
          </a:prstGeom>
          <a:noFill/>
          <a:ln w="28575">
            <a:solidFill>
              <a:srgbClr val="FF0000"/>
            </a:solidFill>
          </a:ln>
        </p:spPr>
        <p:txBody>
          <a:bodyPr wrap="none" rtlCol="0">
            <a:spAutoFit/>
          </a:bodyPr>
          <a:lstStyle/>
          <a:p>
            <a:pPr defTabSz="685732">
              <a:defRPr/>
            </a:pPr>
            <a:r>
              <a:rPr lang="de-DE" sz="1500" b="1">
                <a:solidFill>
                  <a:prstClr val="black"/>
                </a:solidFill>
                <a:latin typeface="Trebuchet MS"/>
                <a:cs typeface="Arial" charset="0"/>
              </a:rPr>
              <a:t>YES</a:t>
            </a:r>
          </a:p>
        </p:txBody>
      </p:sp>
      <p:sp>
        <p:nvSpPr>
          <p:cNvPr id="16" name="Textfeld 15">
            <a:extLst>
              <a:ext uri="{FF2B5EF4-FFF2-40B4-BE49-F238E27FC236}">
                <a16:creationId xmlns:a16="http://schemas.microsoft.com/office/drawing/2014/main" id="{9B280853-DAF2-4A3C-8BC8-31AE98AED0D6}"/>
              </a:ext>
            </a:extLst>
          </p:cNvPr>
          <p:cNvSpPr txBox="1"/>
          <p:nvPr/>
        </p:nvSpPr>
        <p:spPr>
          <a:xfrm>
            <a:off x="5630299" y="1160432"/>
            <a:ext cx="447558" cy="323165"/>
          </a:xfrm>
          <a:prstGeom prst="rect">
            <a:avLst/>
          </a:prstGeom>
          <a:noFill/>
          <a:ln w="28575">
            <a:solidFill>
              <a:srgbClr val="FF0000"/>
            </a:solidFill>
          </a:ln>
        </p:spPr>
        <p:txBody>
          <a:bodyPr wrap="none" rtlCol="0">
            <a:spAutoFit/>
          </a:bodyPr>
          <a:lstStyle/>
          <a:p>
            <a:pPr defTabSz="685732">
              <a:defRPr/>
            </a:pPr>
            <a:r>
              <a:rPr lang="de-DE" sz="1500" b="1">
                <a:solidFill>
                  <a:prstClr val="black"/>
                </a:solidFill>
                <a:latin typeface="Trebuchet MS"/>
                <a:cs typeface="Arial" charset="0"/>
              </a:rPr>
              <a:t>NO</a:t>
            </a:r>
          </a:p>
        </p:txBody>
      </p:sp>
      <p:sp>
        <p:nvSpPr>
          <p:cNvPr id="17" name="Pfeil nach rechts 13">
            <a:extLst>
              <a:ext uri="{FF2B5EF4-FFF2-40B4-BE49-F238E27FC236}">
                <a16:creationId xmlns:a16="http://schemas.microsoft.com/office/drawing/2014/main" id="{B4F804B9-3185-4647-B055-17B5677FCAD4}"/>
              </a:ext>
            </a:extLst>
          </p:cNvPr>
          <p:cNvSpPr/>
          <p:nvPr/>
        </p:nvSpPr>
        <p:spPr>
          <a:xfrm rot="5400000">
            <a:off x="2558667" y="2655737"/>
            <a:ext cx="137648" cy="92891"/>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endParaRPr lang="de-DE" sz="1350">
              <a:solidFill>
                <a:prstClr val="white"/>
              </a:solidFill>
              <a:latin typeface="Trebuchet MS"/>
            </a:endParaRPr>
          </a:p>
        </p:txBody>
      </p:sp>
      <p:sp>
        <p:nvSpPr>
          <p:cNvPr id="18" name="Pfeil nach rechts 14">
            <a:extLst>
              <a:ext uri="{FF2B5EF4-FFF2-40B4-BE49-F238E27FC236}">
                <a16:creationId xmlns:a16="http://schemas.microsoft.com/office/drawing/2014/main" id="{201C858E-89BD-4F8B-9179-3C5ACB5844DA}"/>
              </a:ext>
            </a:extLst>
          </p:cNvPr>
          <p:cNvSpPr/>
          <p:nvPr/>
        </p:nvSpPr>
        <p:spPr>
          <a:xfrm rot="5400000">
            <a:off x="2558667" y="3737307"/>
            <a:ext cx="137648" cy="92891"/>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endParaRPr lang="de-DE" sz="1350">
              <a:solidFill>
                <a:prstClr val="white"/>
              </a:solidFill>
              <a:latin typeface="Trebuchet MS"/>
            </a:endParaRPr>
          </a:p>
        </p:txBody>
      </p:sp>
      <p:sp>
        <p:nvSpPr>
          <p:cNvPr id="19" name="Ellipse 18">
            <a:extLst>
              <a:ext uri="{FF2B5EF4-FFF2-40B4-BE49-F238E27FC236}">
                <a16:creationId xmlns:a16="http://schemas.microsoft.com/office/drawing/2014/main" id="{63D17D52-0AF7-4C8A-80D3-5E0148FFACC8}"/>
              </a:ext>
            </a:extLst>
          </p:cNvPr>
          <p:cNvSpPr/>
          <p:nvPr/>
        </p:nvSpPr>
        <p:spPr>
          <a:xfrm>
            <a:off x="973992" y="1076257"/>
            <a:ext cx="3478424" cy="365314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endParaRPr lang="de-DE" sz="1350">
              <a:solidFill>
                <a:prstClr val="white"/>
              </a:solidFill>
              <a:latin typeface="Trebuchet MS"/>
            </a:endParaRPr>
          </a:p>
        </p:txBody>
      </p:sp>
      <p:sp>
        <p:nvSpPr>
          <p:cNvPr id="20" name="Pfeil nach rechts 16">
            <a:extLst>
              <a:ext uri="{FF2B5EF4-FFF2-40B4-BE49-F238E27FC236}">
                <a16:creationId xmlns:a16="http://schemas.microsoft.com/office/drawing/2014/main" id="{9BE75789-AA65-4501-BE1B-24C4865DFB1F}"/>
              </a:ext>
            </a:extLst>
          </p:cNvPr>
          <p:cNvSpPr/>
          <p:nvPr/>
        </p:nvSpPr>
        <p:spPr>
          <a:xfrm rot="2466773">
            <a:off x="5330383" y="969202"/>
            <a:ext cx="253650" cy="143547"/>
          </a:xfrm>
          <a:prstGeom prst="rightArrow">
            <a:avLst/>
          </a:prstGeom>
          <a:solidFill>
            <a:srgbClr val="4F88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endParaRPr lang="de-DE" sz="1350">
              <a:solidFill>
                <a:prstClr val="white"/>
              </a:solidFill>
              <a:latin typeface="Trebuchet MS"/>
            </a:endParaRPr>
          </a:p>
        </p:txBody>
      </p:sp>
      <p:sp>
        <p:nvSpPr>
          <p:cNvPr id="2" name="Ellipse 1"/>
          <p:cNvSpPr/>
          <p:nvPr/>
        </p:nvSpPr>
        <p:spPr>
          <a:xfrm>
            <a:off x="6731959" y="1685333"/>
            <a:ext cx="755986" cy="44079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1" tIns="34286" rIns="68571" bIns="34286" numCol="1" spcCol="0" rtlCol="0" fromWordArt="0" anchor="ctr" anchorCtr="0" forceAA="0" compatLnSpc="1">
            <a:prstTxWarp prst="textNoShape">
              <a:avLst/>
            </a:prstTxWarp>
            <a:noAutofit/>
          </a:bodyPr>
          <a:lstStyle/>
          <a:p>
            <a:pPr algn="ctr" defTabSz="685732" fontAlgn="base">
              <a:spcBef>
                <a:spcPct val="0"/>
              </a:spcBef>
              <a:spcAft>
                <a:spcPct val="0"/>
              </a:spcAft>
              <a:defRPr/>
            </a:pPr>
            <a:endParaRPr lang="de-DE" sz="1350">
              <a:solidFill>
                <a:srgbClr val="FFFFFF"/>
              </a:solidFill>
              <a:latin typeface="Arial" panose="020B0604020202020204"/>
            </a:endParaRPr>
          </a:p>
        </p:txBody>
      </p:sp>
      <p:sp>
        <p:nvSpPr>
          <p:cNvPr id="3" name="Textfeld 2"/>
          <p:cNvSpPr txBox="1"/>
          <p:nvPr/>
        </p:nvSpPr>
        <p:spPr>
          <a:xfrm>
            <a:off x="468711" y="761259"/>
            <a:ext cx="2980075" cy="323165"/>
          </a:xfrm>
          <a:prstGeom prst="rect">
            <a:avLst/>
          </a:prstGeom>
          <a:noFill/>
          <a:ln>
            <a:noFill/>
          </a:ln>
        </p:spPr>
        <p:txBody>
          <a:bodyPr wrap="square" rtlCol="0">
            <a:spAutoFit/>
          </a:bodyPr>
          <a:lstStyle/>
          <a:p>
            <a:pPr defTabSz="685800" fontAlgn="base">
              <a:spcBef>
                <a:spcPct val="0"/>
              </a:spcBef>
              <a:spcAft>
                <a:spcPct val="40000"/>
              </a:spcAft>
              <a:defRPr/>
            </a:pPr>
            <a:r>
              <a:rPr lang="de-DE" sz="1500" b="1">
                <a:solidFill>
                  <a:srgbClr val="000000"/>
                </a:solidFill>
                <a:latin typeface="Trebuchet MS" panose="020B0603020202020204" pitchFamily="34" charset="0"/>
                <a:cs typeface="Calibri" panose="020F0502020204030204" pitchFamily="34" charset="0"/>
              </a:rPr>
              <a:t>Recommendations vs Access:</a:t>
            </a:r>
          </a:p>
        </p:txBody>
      </p:sp>
      <p:sp>
        <p:nvSpPr>
          <p:cNvPr id="26" name="Textfeld 25"/>
          <p:cNvSpPr txBox="1"/>
          <p:nvPr/>
        </p:nvSpPr>
        <p:spPr>
          <a:xfrm>
            <a:off x="4485379" y="3852576"/>
            <a:ext cx="3412778" cy="323165"/>
          </a:xfrm>
          <a:prstGeom prst="rect">
            <a:avLst/>
          </a:prstGeom>
          <a:noFill/>
          <a:ln w="28575">
            <a:solidFill>
              <a:srgbClr val="FF0000"/>
            </a:solidFill>
          </a:ln>
        </p:spPr>
        <p:txBody>
          <a:bodyPr wrap="square" rtlCol="0">
            <a:spAutoFit/>
          </a:bodyPr>
          <a:lstStyle/>
          <a:p>
            <a:pPr defTabSz="685800" fontAlgn="base">
              <a:spcBef>
                <a:spcPct val="0"/>
              </a:spcBef>
              <a:spcAft>
                <a:spcPct val="40000"/>
              </a:spcAft>
              <a:defRPr/>
            </a:pPr>
            <a:r>
              <a:rPr lang="de-DE" sz="1500" b="1">
                <a:solidFill>
                  <a:srgbClr val="000000"/>
                </a:solidFill>
                <a:latin typeface="Calibri" panose="020F0502020204030204" pitchFamily="34" charset="0"/>
                <a:cs typeface="Calibri" panose="020F0502020204030204" pitchFamily="34" charset="0"/>
              </a:rPr>
              <a:t>Available in a few European Countries</a:t>
            </a:r>
          </a:p>
        </p:txBody>
      </p:sp>
      <p:sp>
        <p:nvSpPr>
          <p:cNvPr id="27" name="Textfeld 26"/>
          <p:cNvSpPr txBox="1"/>
          <p:nvPr/>
        </p:nvSpPr>
        <p:spPr>
          <a:xfrm>
            <a:off x="6321087" y="778331"/>
            <a:ext cx="1577070" cy="323165"/>
          </a:xfrm>
          <a:prstGeom prst="rect">
            <a:avLst/>
          </a:prstGeom>
          <a:noFill/>
          <a:ln w="28575">
            <a:solidFill>
              <a:srgbClr val="FF0000"/>
            </a:solidFill>
          </a:ln>
        </p:spPr>
        <p:txBody>
          <a:bodyPr wrap="square" rtlCol="0">
            <a:spAutoFit/>
          </a:bodyPr>
          <a:lstStyle/>
          <a:p>
            <a:pPr defTabSz="685800" fontAlgn="base">
              <a:spcBef>
                <a:spcPct val="0"/>
              </a:spcBef>
              <a:spcAft>
                <a:spcPct val="40000"/>
              </a:spcAft>
              <a:defRPr/>
            </a:pPr>
            <a:r>
              <a:rPr lang="de-DE" sz="1500" b="1">
                <a:solidFill>
                  <a:srgbClr val="000000"/>
                </a:solidFill>
                <a:latin typeface="Calibri" panose="020F0502020204030204" pitchFamily="34" charset="0"/>
                <a:cs typeface="Calibri" panose="020F0502020204030204" pitchFamily="34" charset="0"/>
              </a:rPr>
              <a:t>Available in USA</a:t>
            </a:r>
          </a:p>
        </p:txBody>
      </p:sp>
      <p:sp>
        <p:nvSpPr>
          <p:cNvPr id="30" name="Textfeld 29">
            <a:extLst>
              <a:ext uri="{FF2B5EF4-FFF2-40B4-BE49-F238E27FC236}">
                <a16:creationId xmlns:a16="http://schemas.microsoft.com/office/drawing/2014/main" id="{9B280853-DAF2-4A3C-8BC8-31AE98AED0D6}"/>
              </a:ext>
            </a:extLst>
          </p:cNvPr>
          <p:cNvSpPr txBox="1"/>
          <p:nvPr/>
        </p:nvSpPr>
        <p:spPr>
          <a:xfrm>
            <a:off x="1994838" y="1838632"/>
            <a:ext cx="1507904" cy="671978"/>
          </a:xfrm>
          <a:prstGeom prst="rect">
            <a:avLst/>
          </a:prstGeom>
          <a:noFill/>
          <a:ln w="28575">
            <a:solidFill>
              <a:srgbClr val="FF0000"/>
            </a:solidFill>
          </a:ln>
        </p:spPr>
        <p:txBody>
          <a:bodyPr wrap="square" rtlCol="0" anchor="ctr">
            <a:noAutofit/>
          </a:bodyPr>
          <a:lstStyle/>
          <a:p>
            <a:pPr defTabSz="685732">
              <a:defRPr/>
            </a:pPr>
            <a:endParaRPr lang="de-DE" sz="1000" b="1">
              <a:solidFill>
                <a:prstClr val="black"/>
              </a:solidFill>
              <a:latin typeface="Trebuchet MS"/>
              <a:cs typeface="Arial" charset="0"/>
            </a:endParaRPr>
          </a:p>
        </p:txBody>
      </p:sp>
      <p:sp>
        <p:nvSpPr>
          <p:cNvPr id="31" name="Textfeld 30">
            <a:extLst>
              <a:ext uri="{FF2B5EF4-FFF2-40B4-BE49-F238E27FC236}">
                <a16:creationId xmlns:a16="http://schemas.microsoft.com/office/drawing/2014/main" id="{9B280853-DAF2-4A3C-8BC8-31AE98AED0D6}"/>
              </a:ext>
            </a:extLst>
          </p:cNvPr>
          <p:cNvSpPr txBox="1"/>
          <p:nvPr/>
        </p:nvSpPr>
        <p:spPr>
          <a:xfrm>
            <a:off x="2060622" y="1856351"/>
            <a:ext cx="1125048" cy="418580"/>
          </a:xfrm>
          <a:prstGeom prst="rect">
            <a:avLst/>
          </a:prstGeom>
          <a:noFill/>
          <a:ln w="28575">
            <a:solidFill>
              <a:srgbClr val="FF0000"/>
            </a:solidFill>
          </a:ln>
        </p:spPr>
        <p:txBody>
          <a:bodyPr wrap="square" rtlCol="0">
            <a:spAutoFit/>
          </a:bodyPr>
          <a:lstStyle/>
          <a:p>
            <a:pPr defTabSz="685732">
              <a:defRPr/>
            </a:pPr>
            <a:endParaRPr lang="de-DE" sz="1000" b="1">
              <a:solidFill>
                <a:prstClr val="black"/>
              </a:solidFill>
              <a:latin typeface="Trebuchet MS"/>
              <a:cs typeface="Arial" charset="0"/>
            </a:endParaRPr>
          </a:p>
        </p:txBody>
      </p:sp>
      <p:sp>
        <p:nvSpPr>
          <p:cNvPr id="32" name="Textfeld 31">
            <a:extLst>
              <a:ext uri="{FF2B5EF4-FFF2-40B4-BE49-F238E27FC236}">
                <a16:creationId xmlns:a16="http://schemas.microsoft.com/office/drawing/2014/main" id="{9B280853-DAF2-4A3C-8BC8-31AE98AED0D6}"/>
              </a:ext>
            </a:extLst>
          </p:cNvPr>
          <p:cNvSpPr txBox="1"/>
          <p:nvPr/>
        </p:nvSpPr>
        <p:spPr>
          <a:xfrm>
            <a:off x="4952127" y="1741726"/>
            <a:ext cx="2946031" cy="323165"/>
          </a:xfrm>
          <a:prstGeom prst="rect">
            <a:avLst/>
          </a:prstGeom>
          <a:noFill/>
          <a:ln w="28575">
            <a:solidFill>
              <a:srgbClr val="FF0000"/>
            </a:solidFill>
          </a:ln>
        </p:spPr>
        <p:txBody>
          <a:bodyPr wrap="square" rtlCol="0">
            <a:spAutoFit/>
          </a:bodyPr>
          <a:lstStyle/>
          <a:p>
            <a:pPr defTabSz="685732">
              <a:defRPr/>
            </a:pPr>
            <a:endParaRPr lang="de-DE" sz="1500" b="1">
              <a:solidFill>
                <a:prstClr val="black"/>
              </a:solidFill>
              <a:latin typeface="Trebuchet MS"/>
              <a:cs typeface="Arial" charset="0"/>
            </a:endParaRPr>
          </a:p>
        </p:txBody>
      </p:sp>
      <p:sp>
        <p:nvSpPr>
          <p:cNvPr id="25" name="Title 10">
            <a:extLst>
              <a:ext uri="{FF2B5EF4-FFF2-40B4-BE49-F238E27FC236}">
                <a16:creationId xmlns:a16="http://schemas.microsoft.com/office/drawing/2014/main" id="{B8425E07-C65F-45A5-877B-AEA169E387DE}"/>
              </a:ext>
            </a:extLst>
          </p:cNvPr>
          <p:cNvSpPr txBox="1">
            <a:spLocks/>
          </p:cNvSpPr>
          <p:nvPr/>
        </p:nvSpPr>
        <p:spPr>
          <a:xfrm>
            <a:off x="205226" y="155553"/>
            <a:ext cx="8733548" cy="724997"/>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lgn="ctr" defTabSz="685732"/>
            <a:r>
              <a:rPr lang="en-US" sz="2100" b="1">
                <a:solidFill>
                  <a:srgbClr val="4A40AC"/>
                </a:solidFill>
                <a:latin typeface="Arial" panose="020B0604020202020204"/>
                <a:cs typeface="Calibri" panose="020F0502020204030204" pitchFamily="34" charset="0"/>
              </a:rPr>
              <a:t>Newly Diagnosed MM: Eligible for Transplantation?</a:t>
            </a:r>
          </a:p>
        </p:txBody>
      </p:sp>
      <p:sp>
        <p:nvSpPr>
          <p:cNvPr id="28" name="Pfeil nach rechts 16">
            <a:extLst>
              <a:ext uri="{FF2B5EF4-FFF2-40B4-BE49-F238E27FC236}">
                <a16:creationId xmlns:a16="http://schemas.microsoft.com/office/drawing/2014/main" id="{FE1850ED-8140-4BA8-8F84-8DF0E1E51CAF}"/>
              </a:ext>
            </a:extLst>
          </p:cNvPr>
          <p:cNvSpPr/>
          <p:nvPr/>
        </p:nvSpPr>
        <p:spPr>
          <a:xfrm rot="8137819">
            <a:off x="3431789" y="973925"/>
            <a:ext cx="253650" cy="143547"/>
          </a:xfrm>
          <a:prstGeom prst="rightArrow">
            <a:avLst/>
          </a:prstGeom>
          <a:solidFill>
            <a:srgbClr val="4F88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endParaRPr lang="de-DE" sz="1350">
              <a:solidFill>
                <a:prstClr val="white"/>
              </a:solidFill>
              <a:latin typeface="Trebuchet MS"/>
            </a:endParaRPr>
          </a:p>
        </p:txBody>
      </p:sp>
      <p:sp>
        <p:nvSpPr>
          <p:cNvPr id="29" name="Textplatzhalter 5">
            <a:extLst>
              <a:ext uri="{FF2B5EF4-FFF2-40B4-BE49-F238E27FC236}">
                <a16:creationId xmlns:a16="http://schemas.microsoft.com/office/drawing/2014/main" id="{7A49E166-465A-4C0C-AFE9-4110C79C4AFC}"/>
              </a:ext>
            </a:extLst>
          </p:cNvPr>
          <p:cNvSpPr txBox="1">
            <a:spLocks/>
          </p:cNvSpPr>
          <p:nvPr/>
        </p:nvSpPr>
        <p:spPr>
          <a:xfrm>
            <a:off x="2668682" y="4927097"/>
            <a:ext cx="6474724" cy="237757"/>
          </a:xfrm>
          <a:prstGeom prst="rect">
            <a:avLst/>
          </a:prstGeom>
          <a:noFill/>
          <a:ln>
            <a:noFill/>
          </a:ln>
        </p:spPr>
        <p:txBody>
          <a:bodyPr wrap="square" rtlCol="0">
            <a:spAutoFit/>
          </a:bodyPr>
          <a:lst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defTabSz="771525">
              <a:spcBef>
                <a:spcPts val="0"/>
              </a:spcBef>
              <a:buNone/>
              <a:defRPr/>
            </a:pPr>
            <a:r>
              <a:rPr lang="en-US" sz="1050" kern="0">
                <a:solidFill>
                  <a:srgbClr val="000000"/>
                </a:solidFill>
                <a:latin typeface="Calibri" panose="020F0502020204030204" pitchFamily="34" charset="0"/>
                <a:ea typeface="MS PGothic" pitchFamily="34" charset="-128"/>
                <a:cs typeface="Calibri" panose="020F0502020204030204" pitchFamily="34" charset="0"/>
              </a:rPr>
              <a:t>Dimopoulos MA, et al. </a:t>
            </a:r>
            <a:r>
              <a:rPr lang="en-US" sz="1050" i="1" kern="0">
                <a:solidFill>
                  <a:srgbClr val="000000"/>
                </a:solidFill>
                <a:latin typeface="Calibri" panose="020F0502020204030204" pitchFamily="34" charset="0"/>
                <a:ea typeface="MS PGothic" pitchFamily="34" charset="-128"/>
                <a:cs typeface="Calibri" panose="020F0502020204030204" pitchFamily="34" charset="0"/>
              </a:rPr>
              <a:t>HemaSphere. </a:t>
            </a:r>
            <a:r>
              <a:rPr lang="en-US" sz="1050" kern="0">
                <a:solidFill>
                  <a:srgbClr val="000000"/>
                </a:solidFill>
                <a:latin typeface="Calibri" panose="020F0502020204030204" pitchFamily="34" charset="0"/>
                <a:ea typeface="MS PGothic" pitchFamily="34" charset="-128"/>
                <a:cs typeface="Calibri" panose="020F0502020204030204" pitchFamily="34" charset="0"/>
              </a:rPr>
              <a:t>2021;5:e528; Dimopoulos MA, et al. </a:t>
            </a:r>
            <a:r>
              <a:rPr lang="en-US" sz="1050" i="1" kern="0">
                <a:solidFill>
                  <a:srgbClr val="000000"/>
                </a:solidFill>
                <a:latin typeface="Calibri" panose="020F0502020204030204" pitchFamily="34" charset="0"/>
                <a:ea typeface="MS PGothic" pitchFamily="34" charset="-128"/>
                <a:cs typeface="Calibri" panose="020F0502020204030204" pitchFamily="34" charset="0"/>
              </a:rPr>
              <a:t>Ann Oncol</a:t>
            </a:r>
            <a:r>
              <a:rPr lang="en-US" sz="1050" kern="0">
                <a:solidFill>
                  <a:srgbClr val="000000"/>
                </a:solidFill>
                <a:latin typeface="Calibri" panose="020F0502020204030204" pitchFamily="34" charset="0"/>
                <a:ea typeface="MS PGothic" pitchFamily="34" charset="-128"/>
                <a:cs typeface="Calibri" panose="020F0502020204030204" pitchFamily="34" charset="0"/>
              </a:rPr>
              <a:t>. 2021;32(3):309-322.</a:t>
            </a:r>
            <a:endParaRPr lang="en-US" sz="1050">
              <a:solidFill>
                <a:srgbClr val="000000"/>
              </a:solidFill>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1544677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30"/>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27"/>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26"/>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31"/>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27" grpId="0" animBg="1"/>
      <p:bldP spid="27" grpId="1" animBg="1"/>
      <p:bldP spid="30" grpId="0" animBg="1"/>
      <p:bldP spid="30" grpId="1" animBg="1"/>
      <p:bldP spid="31" grpId="0" animBg="1"/>
      <p:bldP spid="31" grpId="1" animBg="1"/>
      <p:bldP spid="32" grpId="0" animBg="1"/>
      <p:bldP spid="32"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p:txBody>
          <a:bodyPr>
            <a:normAutofit/>
          </a:bodyPr>
          <a:lstStyle/>
          <a:p>
            <a:pPr>
              <a:lnSpc>
                <a:spcPct val="100000"/>
              </a:lnSpc>
              <a:spcBef>
                <a:spcPts val="0"/>
              </a:spcBef>
              <a:spcAft>
                <a:spcPts val="0"/>
              </a:spcAft>
            </a:pPr>
            <a:r>
              <a:rPr lang="en-US" sz="3200" noProof="0"/>
              <a:t>Smoldering Multiple Myeloma </a:t>
            </a:r>
            <a:endParaRPr lang="en-US" sz="3200" noProof="0">
              <a:ea typeface="Calibri" panose="020F0502020204030204" pitchFamily="34" charset="0"/>
              <a:cs typeface="Times New Roman" panose="02020603050405020304" pitchFamily="18" charset="0"/>
            </a:endParaRPr>
          </a:p>
        </p:txBody>
      </p:sp>
      <p:sp>
        <p:nvSpPr>
          <p:cNvPr id="3" name="Subtitle 2">
            <a:extLst>
              <a:ext uri="{FF2B5EF4-FFF2-40B4-BE49-F238E27FC236}">
                <a16:creationId xmlns:a16="http://schemas.microsoft.com/office/drawing/2014/main" id="{5B1A592A-AF74-0E4A-BEBF-BA3B930B790E}"/>
              </a:ext>
            </a:extLst>
          </p:cNvPr>
          <p:cNvSpPr>
            <a:spLocks noGrp="1"/>
          </p:cNvSpPr>
          <p:nvPr>
            <p:ph type="subTitle" idx="1"/>
          </p:nvPr>
        </p:nvSpPr>
        <p:spPr>
          <a:xfrm>
            <a:off x="4270617" y="2984740"/>
            <a:ext cx="4534294" cy="1073784"/>
          </a:xfrm>
        </p:spPr>
        <p:txBody>
          <a:bodyPr/>
          <a:lstStyle/>
          <a:p>
            <a:r>
              <a:rPr lang="en-US" noProof="0"/>
              <a:t>Irene Ghobrial, MD</a:t>
            </a:r>
          </a:p>
        </p:txBody>
      </p:sp>
      <p:pic>
        <p:nvPicPr>
          <p:cNvPr id="6" name="Picture 5">
            <a:extLst>
              <a:ext uri="{FF2B5EF4-FFF2-40B4-BE49-F238E27FC236}">
                <a16:creationId xmlns:a16="http://schemas.microsoft.com/office/drawing/2014/main" id="{B14D51BC-7524-469C-B0AB-D18B93A552B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2415" y="3417281"/>
            <a:ext cx="1179576" cy="1179576"/>
          </a:xfrm>
          <a:prstGeom prst="teardrop">
            <a:avLst/>
          </a:prstGeom>
        </p:spPr>
      </p:pic>
    </p:spTree>
    <p:extLst>
      <p:ext uri="{BB962C8B-B14F-4D97-AF65-F5344CB8AC3E}">
        <p14:creationId xmlns:p14="http://schemas.microsoft.com/office/powerpoint/2010/main" val="235280261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p:cNvGrpSpPr/>
          <p:nvPr/>
        </p:nvGrpSpPr>
        <p:grpSpPr>
          <a:xfrm>
            <a:off x="106570" y="751980"/>
            <a:ext cx="8952587" cy="3351400"/>
            <a:chOff x="62469" y="1421473"/>
            <a:chExt cx="12079653" cy="4469115"/>
          </a:xfrm>
        </p:grpSpPr>
        <p:sp>
          <p:nvSpPr>
            <p:cNvPr id="4" name="Abgerundetes Rechteck 3"/>
            <p:cNvSpPr/>
            <p:nvPr/>
          </p:nvSpPr>
          <p:spPr>
            <a:xfrm>
              <a:off x="62469" y="3227382"/>
              <a:ext cx="1375756" cy="76477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PI-based therapy</a:t>
              </a:r>
            </a:p>
          </p:txBody>
        </p:sp>
        <p:sp>
          <p:nvSpPr>
            <p:cNvPr id="5" name="Abgerundetes Rechteck 4"/>
            <p:cNvSpPr/>
            <p:nvPr/>
          </p:nvSpPr>
          <p:spPr>
            <a:xfrm>
              <a:off x="62469" y="4118886"/>
              <a:ext cx="1375756" cy="1771701"/>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050">
                  <a:solidFill>
                    <a:srgbClr val="FFFFFF"/>
                  </a:solidFill>
                  <a:latin typeface="Calibri" panose="020F0502020204030204" pitchFamily="34" charset="0"/>
                  <a:cs typeface="Calibri" panose="020F0502020204030204" pitchFamily="34" charset="0"/>
                </a:rPr>
                <a:t>Dara-Kd</a:t>
              </a:r>
            </a:p>
            <a:p>
              <a:pPr algn="ctr" defTabSz="685732">
                <a:defRPr/>
              </a:pPr>
              <a:r>
                <a:rPr lang="en-US" sz="1050">
                  <a:solidFill>
                    <a:srgbClr val="FFFFFF"/>
                  </a:solidFill>
                  <a:latin typeface="Calibri" panose="020F0502020204030204" pitchFamily="34" charset="0"/>
                  <a:cs typeface="Calibri" panose="020F0502020204030204" pitchFamily="34" charset="0"/>
                </a:rPr>
                <a:t>Isa-Kd</a:t>
              </a:r>
            </a:p>
            <a:p>
              <a:pPr algn="ctr" defTabSz="685732">
                <a:defRPr/>
              </a:pPr>
              <a:r>
                <a:rPr lang="en-US" sz="1050">
                  <a:solidFill>
                    <a:srgbClr val="FFFFFF"/>
                  </a:solidFill>
                  <a:latin typeface="Calibri" panose="020F0502020204030204" pitchFamily="34" charset="0"/>
                  <a:cs typeface="Calibri" panose="020F0502020204030204" pitchFamily="34" charset="0"/>
                </a:rPr>
                <a:t>Dara-Vd</a:t>
              </a:r>
            </a:p>
            <a:p>
              <a:pPr algn="ctr" defTabSz="685732">
                <a:defRPr/>
              </a:pPr>
              <a:r>
                <a:rPr lang="en-US" sz="1050">
                  <a:solidFill>
                    <a:srgbClr val="FFFFFF"/>
                  </a:solidFill>
                  <a:latin typeface="Calibri" panose="020F0502020204030204" pitchFamily="34" charset="0"/>
                  <a:cs typeface="Calibri" panose="020F0502020204030204" pitchFamily="34" charset="0"/>
                </a:rPr>
                <a:t>Kd</a:t>
              </a:r>
            </a:p>
            <a:p>
              <a:pPr algn="ctr" defTabSz="685732">
                <a:defRPr/>
              </a:pPr>
              <a:r>
                <a:rPr lang="en-US" sz="1050">
                  <a:solidFill>
                    <a:srgbClr val="FFFFFF"/>
                  </a:solidFill>
                  <a:latin typeface="Calibri" panose="020F0502020204030204" pitchFamily="34" charset="0"/>
                  <a:cs typeface="Calibri" panose="020F0502020204030204" pitchFamily="34" charset="0"/>
                </a:rPr>
                <a:t>SVd</a:t>
              </a:r>
            </a:p>
            <a:p>
              <a:pPr algn="ctr" defTabSz="685732">
                <a:defRPr/>
              </a:pPr>
              <a:r>
                <a:rPr lang="en-US" sz="1050">
                  <a:solidFill>
                    <a:srgbClr val="FFFFFF"/>
                  </a:solidFill>
                  <a:latin typeface="Calibri" panose="020F0502020204030204" pitchFamily="34" charset="0"/>
                  <a:cs typeface="Calibri" panose="020F0502020204030204" pitchFamily="34" charset="0"/>
                </a:rPr>
                <a:t>Ven-Vd*</a:t>
              </a:r>
            </a:p>
          </p:txBody>
        </p:sp>
        <p:grpSp>
          <p:nvGrpSpPr>
            <p:cNvPr id="6" name="Gruppieren 5"/>
            <p:cNvGrpSpPr/>
            <p:nvPr/>
          </p:nvGrpSpPr>
          <p:grpSpPr>
            <a:xfrm>
              <a:off x="527982" y="1421473"/>
              <a:ext cx="11614140" cy="4469115"/>
              <a:chOff x="527982" y="1421473"/>
              <a:chExt cx="11614140" cy="4469115"/>
            </a:xfrm>
          </p:grpSpPr>
          <p:sp>
            <p:nvSpPr>
              <p:cNvPr id="7" name="Abgerundetes Rechteck 6"/>
              <p:cNvSpPr/>
              <p:nvPr/>
            </p:nvSpPr>
            <p:spPr>
              <a:xfrm>
                <a:off x="527982" y="1421475"/>
                <a:ext cx="1837112" cy="7481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200" b="1">
                    <a:solidFill>
                      <a:srgbClr val="FFFFFF"/>
                    </a:solidFill>
                    <a:latin typeface="Calibri" panose="020F0502020204030204" pitchFamily="34" charset="0"/>
                    <a:cs typeface="Calibri" panose="020F0502020204030204" pitchFamily="34" charset="0"/>
                  </a:rPr>
                  <a:t>Lenalidomide resistant</a:t>
                </a:r>
              </a:p>
            </p:txBody>
          </p:sp>
          <p:sp>
            <p:nvSpPr>
              <p:cNvPr id="8" name="Abgerundetes Rechteck 7"/>
              <p:cNvSpPr/>
              <p:nvPr/>
            </p:nvSpPr>
            <p:spPr>
              <a:xfrm>
                <a:off x="1562915" y="3227382"/>
                <a:ext cx="1392383" cy="76477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Pomalidomide-based therapy</a:t>
                </a:r>
              </a:p>
            </p:txBody>
          </p:sp>
          <p:cxnSp>
            <p:nvCxnSpPr>
              <p:cNvPr id="9" name="Gerade Verbindung mit Pfeil 8"/>
              <p:cNvCxnSpPr>
                <a:stCxn id="7" idx="2"/>
                <a:endCxn id="4" idx="0"/>
              </p:cNvCxnSpPr>
              <p:nvPr/>
            </p:nvCxnSpPr>
            <p:spPr>
              <a:xfrm flipH="1">
                <a:off x="750347" y="2169620"/>
                <a:ext cx="696191" cy="105776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a:stCxn id="7" idx="2"/>
                <a:endCxn id="8" idx="0"/>
              </p:cNvCxnSpPr>
              <p:nvPr/>
            </p:nvCxnSpPr>
            <p:spPr>
              <a:xfrm>
                <a:off x="1446538" y="2169620"/>
                <a:ext cx="812569" cy="105776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1" name="Abgerundetes Rechteck 10"/>
              <p:cNvSpPr/>
              <p:nvPr/>
            </p:nvSpPr>
            <p:spPr>
              <a:xfrm>
                <a:off x="1562915" y="4118887"/>
                <a:ext cx="1392383" cy="1771701"/>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050">
                    <a:solidFill>
                      <a:srgbClr val="FFFFFF"/>
                    </a:solidFill>
                    <a:latin typeface="Calibri" panose="020F0502020204030204" pitchFamily="34" charset="0"/>
                    <a:cs typeface="Calibri" panose="020F0502020204030204" pitchFamily="34" charset="0"/>
                  </a:rPr>
                  <a:t>PomVd</a:t>
                </a:r>
              </a:p>
              <a:p>
                <a:pPr algn="ctr" defTabSz="685732">
                  <a:defRPr/>
                </a:pPr>
                <a:r>
                  <a:rPr lang="en-US" sz="1050">
                    <a:solidFill>
                      <a:srgbClr val="FFFFFF"/>
                    </a:solidFill>
                    <a:latin typeface="Calibri" panose="020F0502020204030204" pitchFamily="34" charset="0"/>
                    <a:cs typeface="Calibri" panose="020F0502020204030204" pitchFamily="34" charset="0"/>
                  </a:rPr>
                  <a:t>Dara-PomD</a:t>
                </a:r>
              </a:p>
              <a:p>
                <a:pPr algn="ctr" defTabSz="685732">
                  <a:defRPr/>
                </a:pPr>
                <a:r>
                  <a:rPr lang="en-US" sz="1050">
                    <a:solidFill>
                      <a:srgbClr val="FFFFFF"/>
                    </a:solidFill>
                    <a:latin typeface="Calibri" panose="020F0502020204030204" pitchFamily="34" charset="0"/>
                    <a:cs typeface="Calibri" panose="020F0502020204030204" pitchFamily="34" charset="0"/>
                  </a:rPr>
                  <a:t>Isa-PomD</a:t>
                </a:r>
              </a:p>
              <a:p>
                <a:pPr algn="ctr" defTabSz="685732">
                  <a:defRPr/>
                </a:pPr>
                <a:r>
                  <a:rPr lang="en-US" sz="1050">
                    <a:solidFill>
                      <a:srgbClr val="FFFFFF"/>
                    </a:solidFill>
                    <a:latin typeface="Calibri" panose="020F0502020204030204" pitchFamily="34" charset="0"/>
                    <a:cs typeface="Calibri" panose="020F0502020204030204" pitchFamily="34" charset="0"/>
                  </a:rPr>
                  <a:t>Elo-PomD</a:t>
                </a:r>
              </a:p>
              <a:p>
                <a:pPr algn="ctr" defTabSz="685732">
                  <a:defRPr/>
                </a:pPr>
                <a:r>
                  <a:rPr lang="en-US" sz="1050">
                    <a:solidFill>
                      <a:srgbClr val="FFFFFF"/>
                    </a:solidFill>
                    <a:latin typeface="Calibri" panose="020F0502020204030204" pitchFamily="34" charset="0"/>
                    <a:cs typeface="Calibri" panose="020F0502020204030204" pitchFamily="34" charset="0"/>
                  </a:rPr>
                  <a:t>K-PomD</a:t>
                </a:r>
              </a:p>
              <a:p>
                <a:pPr algn="ctr" defTabSz="685732">
                  <a:defRPr/>
                </a:pPr>
                <a:r>
                  <a:rPr lang="en-US" sz="1050">
                    <a:solidFill>
                      <a:srgbClr val="FFFFFF"/>
                    </a:solidFill>
                    <a:latin typeface="Calibri" panose="020F0502020204030204" pitchFamily="34" charset="0"/>
                    <a:cs typeface="Calibri" panose="020F0502020204030204" pitchFamily="34" charset="0"/>
                  </a:rPr>
                  <a:t>PomD + Cyclo</a:t>
                </a:r>
              </a:p>
            </p:txBody>
          </p:sp>
          <p:sp>
            <p:nvSpPr>
              <p:cNvPr id="12" name="Abgerundetes Rechteck 11"/>
              <p:cNvSpPr/>
              <p:nvPr/>
            </p:nvSpPr>
            <p:spPr>
              <a:xfrm>
                <a:off x="5151935" y="1421474"/>
                <a:ext cx="1837112" cy="7481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200" b="1">
                    <a:solidFill>
                      <a:srgbClr val="FFFFFF"/>
                    </a:solidFill>
                    <a:latin typeface="Calibri" panose="020F0502020204030204" pitchFamily="34" charset="0"/>
                    <a:cs typeface="Calibri" panose="020F0502020204030204" pitchFamily="34" charset="0"/>
                  </a:rPr>
                  <a:t>Daratumumab resistant</a:t>
                </a:r>
              </a:p>
            </p:txBody>
          </p:sp>
          <p:sp>
            <p:nvSpPr>
              <p:cNvPr id="13" name="Abgerundetes Rechteck 12"/>
              <p:cNvSpPr/>
              <p:nvPr/>
            </p:nvSpPr>
            <p:spPr>
              <a:xfrm>
                <a:off x="3900903" y="2241300"/>
                <a:ext cx="1392383" cy="764771"/>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Lenalidomide resistant</a:t>
                </a:r>
              </a:p>
            </p:txBody>
          </p:sp>
          <p:sp>
            <p:nvSpPr>
              <p:cNvPr id="14" name="Abgerundetes Rechteck 13"/>
              <p:cNvSpPr/>
              <p:nvPr/>
            </p:nvSpPr>
            <p:spPr>
              <a:xfrm>
                <a:off x="6980730" y="2263104"/>
                <a:ext cx="1392383" cy="764771"/>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Not</a:t>
                </a:r>
              </a:p>
              <a:p>
                <a:pPr algn="ctr" defTabSz="685732">
                  <a:defRPr/>
                </a:pPr>
                <a:r>
                  <a:rPr lang="en-US" sz="900">
                    <a:solidFill>
                      <a:srgbClr val="FFFFFF"/>
                    </a:solidFill>
                    <a:latin typeface="Calibri" panose="020F0502020204030204" pitchFamily="34" charset="0"/>
                    <a:cs typeface="Calibri" panose="020F0502020204030204" pitchFamily="34" charset="0"/>
                  </a:rPr>
                  <a:t> lenalidomide resistant</a:t>
                </a:r>
              </a:p>
            </p:txBody>
          </p:sp>
          <p:cxnSp>
            <p:nvCxnSpPr>
              <p:cNvPr id="15" name="Gerader Verbinder 14"/>
              <p:cNvCxnSpPr>
                <a:stCxn id="12" idx="2"/>
              </p:cNvCxnSpPr>
              <p:nvPr/>
            </p:nvCxnSpPr>
            <p:spPr>
              <a:xfrm flipH="1">
                <a:off x="6070490" y="2169619"/>
                <a:ext cx="1" cy="475869"/>
              </a:xfrm>
              <a:prstGeom prst="line">
                <a:avLst/>
              </a:prstGeom>
              <a:ln w="38100">
                <a:solidFill>
                  <a:srgbClr val="4F88C2"/>
                </a:solidFill>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a:stCxn id="13" idx="3"/>
                <a:endCxn id="14" idx="1"/>
              </p:cNvCxnSpPr>
              <p:nvPr/>
            </p:nvCxnSpPr>
            <p:spPr>
              <a:xfrm>
                <a:off x="5293286" y="2623686"/>
                <a:ext cx="1687444" cy="21804"/>
              </a:xfrm>
              <a:prstGeom prst="straightConnector1">
                <a:avLst/>
              </a:prstGeom>
              <a:ln w="38100">
                <a:solidFill>
                  <a:srgbClr val="4F88C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Abgerundetes Rechteck 16"/>
              <p:cNvSpPr/>
              <p:nvPr/>
            </p:nvSpPr>
            <p:spPr>
              <a:xfrm>
                <a:off x="3168541" y="3227376"/>
                <a:ext cx="1375756" cy="76477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PI-based therapy</a:t>
                </a:r>
              </a:p>
            </p:txBody>
          </p:sp>
          <p:sp>
            <p:nvSpPr>
              <p:cNvPr id="18" name="Abgerundetes Rechteck 17"/>
              <p:cNvSpPr/>
              <p:nvPr/>
            </p:nvSpPr>
            <p:spPr>
              <a:xfrm>
                <a:off x="4638431" y="3227379"/>
                <a:ext cx="1392383" cy="76477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Pomalidomide-based therapy</a:t>
                </a:r>
              </a:p>
            </p:txBody>
          </p:sp>
          <p:cxnSp>
            <p:nvCxnSpPr>
              <p:cNvPr id="19" name="Gerade Verbindung mit Pfeil 18"/>
              <p:cNvCxnSpPr>
                <a:stCxn id="13" idx="2"/>
                <a:endCxn id="17" idx="0"/>
              </p:cNvCxnSpPr>
              <p:nvPr/>
            </p:nvCxnSpPr>
            <p:spPr>
              <a:xfrm flipH="1">
                <a:off x="3856419" y="3006071"/>
                <a:ext cx="740676" cy="22130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a:endCxn id="18" idx="0"/>
              </p:cNvCxnSpPr>
              <p:nvPr/>
            </p:nvCxnSpPr>
            <p:spPr>
              <a:xfrm>
                <a:off x="4587785" y="3027875"/>
                <a:ext cx="746838" cy="19950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1" name="Abgerundetes Rechteck 20"/>
              <p:cNvSpPr/>
              <p:nvPr/>
            </p:nvSpPr>
            <p:spPr>
              <a:xfrm>
                <a:off x="3168541" y="4118883"/>
                <a:ext cx="1375756" cy="1771701"/>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050">
                    <a:solidFill>
                      <a:srgbClr val="FFFFFF"/>
                    </a:solidFill>
                    <a:latin typeface="Calibri" panose="020F0502020204030204" pitchFamily="34" charset="0"/>
                    <a:cs typeface="Calibri" panose="020F0502020204030204" pitchFamily="34" charset="0"/>
                  </a:rPr>
                  <a:t>Kd</a:t>
                </a:r>
              </a:p>
              <a:p>
                <a:pPr algn="ctr" defTabSz="685732">
                  <a:defRPr/>
                </a:pPr>
                <a:r>
                  <a:rPr lang="en-US" sz="1050">
                    <a:solidFill>
                      <a:srgbClr val="FFFFFF"/>
                    </a:solidFill>
                    <a:latin typeface="Calibri" panose="020F0502020204030204" pitchFamily="34" charset="0"/>
                    <a:cs typeface="Calibri" panose="020F0502020204030204" pitchFamily="34" charset="0"/>
                  </a:rPr>
                  <a:t>SVd</a:t>
                </a:r>
              </a:p>
              <a:p>
                <a:pPr algn="ctr" defTabSz="685732">
                  <a:defRPr/>
                </a:pPr>
                <a:r>
                  <a:rPr lang="en-US" sz="1050">
                    <a:solidFill>
                      <a:srgbClr val="FFFFFF"/>
                    </a:solidFill>
                    <a:latin typeface="Calibri" panose="020F0502020204030204" pitchFamily="34" charset="0"/>
                    <a:cs typeface="Calibri" panose="020F0502020204030204" pitchFamily="34" charset="0"/>
                  </a:rPr>
                  <a:t>Ven-Vd*</a:t>
                </a:r>
              </a:p>
            </p:txBody>
          </p:sp>
          <p:sp>
            <p:nvSpPr>
              <p:cNvPr id="22" name="Abgerundetes Rechteck 21"/>
              <p:cNvSpPr/>
              <p:nvPr/>
            </p:nvSpPr>
            <p:spPr>
              <a:xfrm>
                <a:off x="4638431" y="4118883"/>
                <a:ext cx="1392383" cy="1771701"/>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050">
                    <a:solidFill>
                      <a:srgbClr val="FFFFFF"/>
                    </a:solidFill>
                    <a:latin typeface="Calibri" panose="020F0502020204030204" pitchFamily="34" charset="0"/>
                    <a:cs typeface="Calibri" panose="020F0502020204030204" pitchFamily="34" charset="0"/>
                  </a:rPr>
                  <a:t>PomVd</a:t>
                </a:r>
              </a:p>
              <a:p>
                <a:pPr algn="ctr" defTabSz="685732">
                  <a:defRPr/>
                </a:pPr>
                <a:r>
                  <a:rPr lang="en-US" sz="1050">
                    <a:solidFill>
                      <a:srgbClr val="FFFFFF"/>
                    </a:solidFill>
                    <a:latin typeface="Calibri" panose="020F0502020204030204" pitchFamily="34" charset="0"/>
                    <a:cs typeface="Calibri" panose="020F0502020204030204" pitchFamily="34" charset="0"/>
                  </a:rPr>
                  <a:t>K-PomD</a:t>
                </a:r>
              </a:p>
              <a:p>
                <a:pPr algn="ctr" defTabSz="685732">
                  <a:defRPr/>
                </a:pPr>
                <a:r>
                  <a:rPr lang="en-US" sz="1050">
                    <a:solidFill>
                      <a:srgbClr val="FFFFFF"/>
                    </a:solidFill>
                    <a:latin typeface="Calibri" panose="020F0502020204030204" pitchFamily="34" charset="0"/>
                    <a:cs typeface="Calibri" panose="020F0502020204030204" pitchFamily="34" charset="0"/>
                  </a:rPr>
                  <a:t>PomD + Cyclo</a:t>
                </a:r>
              </a:p>
            </p:txBody>
          </p:sp>
          <p:sp>
            <p:nvSpPr>
              <p:cNvPr id="23" name="Abgerundetes Rechteck 22"/>
              <p:cNvSpPr/>
              <p:nvPr/>
            </p:nvSpPr>
            <p:spPr>
              <a:xfrm>
                <a:off x="6227430" y="3227376"/>
                <a:ext cx="1375756" cy="76477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PI-based therapy</a:t>
                </a:r>
              </a:p>
            </p:txBody>
          </p:sp>
          <p:sp>
            <p:nvSpPr>
              <p:cNvPr id="24" name="Abgerundetes Rechteck 23"/>
              <p:cNvSpPr/>
              <p:nvPr/>
            </p:nvSpPr>
            <p:spPr>
              <a:xfrm>
                <a:off x="7713947" y="3227376"/>
                <a:ext cx="1392383" cy="76477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Lenalidomide-based therapy</a:t>
                </a:r>
              </a:p>
            </p:txBody>
          </p:sp>
          <p:cxnSp>
            <p:nvCxnSpPr>
              <p:cNvPr id="25" name="Gerade Verbindung mit Pfeil 24"/>
              <p:cNvCxnSpPr>
                <a:stCxn id="14" idx="2"/>
              </p:cNvCxnSpPr>
              <p:nvPr/>
            </p:nvCxnSpPr>
            <p:spPr>
              <a:xfrm flipH="1">
                <a:off x="6928819" y="3027875"/>
                <a:ext cx="748103" cy="20412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a:stCxn id="14" idx="2"/>
              </p:cNvCxnSpPr>
              <p:nvPr/>
            </p:nvCxnSpPr>
            <p:spPr>
              <a:xfrm>
                <a:off x="7676922" y="3027875"/>
                <a:ext cx="730101" cy="20413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Abgerundetes Rechteck 26"/>
              <p:cNvSpPr/>
              <p:nvPr/>
            </p:nvSpPr>
            <p:spPr>
              <a:xfrm>
                <a:off x="6210803" y="4118882"/>
                <a:ext cx="1392383" cy="1771701"/>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050">
                    <a:solidFill>
                      <a:srgbClr val="FFFFFF"/>
                    </a:solidFill>
                    <a:latin typeface="Calibri" panose="020F0502020204030204" pitchFamily="34" charset="0"/>
                    <a:cs typeface="Calibri" panose="020F0502020204030204" pitchFamily="34" charset="0"/>
                  </a:rPr>
                  <a:t>Kd</a:t>
                </a:r>
              </a:p>
              <a:p>
                <a:pPr algn="ctr" defTabSz="685732">
                  <a:defRPr/>
                </a:pPr>
                <a:r>
                  <a:rPr lang="en-US" sz="1050">
                    <a:solidFill>
                      <a:srgbClr val="FFFFFF"/>
                    </a:solidFill>
                    <a:latin typeface="Calibri" panose="020F0502020204030204" pitchFamily="34" charset="0"/>
                    <a:cs typeface="Calibri" panose="020F0502020204030204" pitchFamily="34" charset="0"/>
                  </a:rPr>
                  <a:t>SVd</a:t>
                </a:r>
              </a:p>
              <a:p>
                <a:pPr algn="ctr" defTabSz="685732">
                  <a:defRPr/>
                </a:pPr>
                <a:r>
                  <a:rPr lang="en-US" sz="1050">
                    <a:solidFill>
                      <a:srgbClr val="FFFFFF"/>
                    </a:solidFill>
                    <a:latin typeface="Calibri" panose="020F0502020204030204" pitchFamily="34" charset="0"/>
                    <a:cs typeface="Calibri" panose="020F0502020204030204" pitchFamily="34" charset="0"/>
                  </a:rPr>
                  <a:t>Ven-Vd*</a:t>
                </a:r>
              </a:p>
              <a:p>
                <a:pPr algn="ctr" defTabSz="685732">
                  <a:defRPr/>
                </a:pPr>
                <a:r>
                  <a:rPr lang="en-US" sz="1050">
                    <a:solidFill>
                      <a:srgbClr val="FFFFFF"/>
                    </a:solidFill>
                    <a:latin typeface="Calibri" panose="020F0502020204030204" pitchFamily="34" charset="0"/>
                    <a:cs typeface="Calibri" panose="020F0502020204030204" pitchFamily="34" charset="0"/>
                  </a:rPr>
                  <a:t>KCd</a:t>
                </a:r>
              </a:p>
            </p:txBody>
          </p:sp>
          <p:sp>
            <p:nvSpPr>
              <p:cNvPr id="28" name="Abgerundetes Rechteck 27"/>
              <p:cNvSpPr/>
              <p:nvPr/>
            </p:nvSpPr>
            <p:spPr>
              <a:xfrm>
                <a:off x="7710831" y="4118881"/>
                <a:ext cx="1392383" cy="1771701"/>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050">
                    <a:solidFill>
                      <a:srgbClr val="FFFFFF"/>
                    </a:solidFill>
                    <a:latin typeface="Calibri" panose="020F0502020204030204" pitchFamily="34" charset="0"/>
                    <a:cs typeface="Calibri" panose="020F0502020204030204" pitchFamily="34" charset="0"/>
                  </a:rPr>
                  <a:t>KRd</a:t>
                </a:r>
              </a:p>
              <a:p>
                <a:pPr algn="ctr" defTabSz="685732">
                  <a:defRPr/>
                </a:pPr>
                <a:r>
                  <a:rPr lang="en-US" sz="1050">
                    <a:solidFill>
                      <a:srgbClr val="FFFFFF"/>
                    </a:solidFill>
                    <a:latin typeface="Calibri" panose="020F0502020204030204" pitchFamily="34" charset="0"/>
                    <a:cs typeface="Calibri" panose="020F0502020204030204" pitchFamily="34" charset="0"/>
                  </a:rPr>
                  <a:t>Ird</a:t>
                </a:r>
              </a:p>
              <a:p>
                <a:pPr algn="ctr" defTabSz="685732">
                  <a:defRPr/>
                </a:pPr>
                <a:r>
                  <a:rPr lang="en-US" sz="1050">
                    <a:solidFill>
                      <a:srgbClr val="FFFFFF"/>
                    </a:solidFill>
                    <a:latin typeface="Calibri" panose="020F0502020204030204" pitchFamily="34" charset="0"/>
                    <a:cs typeface="Calibri" panose="020F0502020204030204" pitchFamily="34" charset="0"/>
                  </a:rPr>
                  <a:t>Elo-Rd</a:t>
                </a:r>
              </a:p>
              <a:p>
                <a:pPr algn="ctr" defTabSz="685732">
                  <a:defRPr/>
                </a:pPr>
                <a:r>
                  <a:rPr lang="en-US" sz="1050">
                    <a:solidFill>
                      <a:srgbClr val="FFFFFF"/>
                    </a:solidFill>
                    <a:latin typeface="Calibri" panose="020F0502020204030204" pitchFamily="34" charset="0"/>
                    <a:cs typeface="Calibri" panose="020F0502020204030204" pitchFamily="34" charset="0"/>
                  </a:rPr>
                  <a:t>VRd</a:t>
                </a:r>
              </a:p>
            </p:txBody>
          </p:sp>
          <p:sp>
            <p:nvSpPr>
              <p:cNvPr id="29" name="Abgerundetes Rechteck 28"/>
              <p:cNvSpPr/>
              <p:nvPr/>
            </p:nvSpPr>
            <p:spPr>
              <a:xfrm>
                <a:off x="9747518" y="1421473"/>
                <a:ext cx="1837112" cy="7481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200" b="1">
                    <a:solidFill>
                      <a:srgbClr val="FFFFFF"/>
                    </a:solidFill>
                    <a:latin typeface="Calibri" panose="020F0502020204030204" pitchFamily="34" charset="0"/>
                    <a:cs typeface="Calibri" panose="020F0502020204030204" pitchFamily="34" charset="0"/>
                  </a:rPr>
                  <a:t>Not daratumumab resistant</a:t>
                </a:r>
              </a:p>
            </p:txBody>
          </p:sp>
          <p:sp>
            <p:nvSpPr>
              <p:cNvPr id="30" name="Abgerundetes Rechteck 29"/>
              <p:cNvSpPr/>
              <p:nvPr/>
            </p:nvSpPr>
            <p:spPr>
              <a:xfrm>
                <a:off x="9249293" y="3227376"/>
                <a:ext cx="1375756" cy="76477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PI-based therapy</a:t>
                </a:r>
              </a:p>
            </p:txBody>
          </p:sp>
          <p:sp>
            <p:nvSpPr>
              <p:cNvPr id="31" name="Abgerundetes Rechteck 30"/>
              <p:cNvSpPr/>
              <p:nvPr/>
            </p:nvSpPr>
            <p:spPr>
              <a:xfrm>
                <a:off x="10749739" y="3227376"/>
                <a:ext cx="1392383" cy="76477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900">
                    <a:solidFill>
                      <a:srgbClr val="FFFFFF"/>
                    </a:solidFill>
                    <a:latin typeface="Calibri" panose="020F0502020204030204" pitchFamily="34" charset="0"/>
                    <a:cs typeface="Calibri" panose="020F0502020204030204" pitchFamily="34" charset="0"/>
                  </a:rPr>
                  <a:t>Lenalidomide-based therapy</a:t>
                </a:r>
              </a:p>
            </p:txBody>
          </p:sp>
          <p:cxnSp>
            <p:nvCxnSpPr>
              <p:cNvPr id="32" name="Gerade Verbindung mit Pfeil 31"/>
              <p:cNvCxnSpPr>
                <a:endCxn id="30" idx="0"/>
              </p:cNvCxnSpPr>
              <p:nvPr/>
            </p:nvCxnSpPr>
            <p:spPr>
              <a:xfrm flipH="1">
                <a:off x="9937171" y="2169614"/>
                <a:ext cx="696191" cy="105776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a:endCxn id="31" idx="0"/>
              </p:cNvCxnSpPr>
              <p:nvPr/>
            </p:nvCxnSpPr>
            <p:spPr>
              <a:xfrm>
                <a:off x="10633362" y="2169614"/>
                <a:ext cx="812569" cy="105776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4" name="Abgerundetes Rechteck 33"/>
              <p:cNvSpPr/>
              <p:nvPr/>
            </p:nvSpPr>
            <p:spPr>
              <a:xfrm>
                <a:off x="9240979" y="4118880"/>
                <a:ext cx="1392383" cy="1771701"/>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050">
                    <a:solidFill>
                      <a:srgbClr val="FFFFFF"/>
                    </a:solidFill>
                    <a:latin typeface="Calibri" panose="020F0502020204030204" pitchFamily="34" charset="0"/>
                    <a:cs typeface="Calibri" panose="020F0502020204030204" pitchFamily="34" charset="0"/>
                  </a:rPr>
                  <a:t>Dara-Kd</a:t>
                </a:r>
              </a:p>
              <a:p>
                <a:pPr algn="ctr" defTabSz="685732">
                  <a:defRPr/>
                </a:pPr>
                <a:r>
                  <a:rPr lang="en-US" sz="1050">
                    <a:solidFill>
                      <a:srgbClr val="FFFFFF"/>
                    </a:solidFill>
                    <a:latin typeface="Calibri" panose="020F0502020204030204" pitchFamily="34" charset="0"/>
                    <a:cs typeface="Calibri" panose="020F0502020204030204" pitchFamily="34" charset="0"/>
                  </a:rPr>
                  <a:t>Isa-Kd</a:t>
                </a:r>
              </a:p>
              <a:p>
                <a:pPr algn="ctr" defTabSz="685732">
                  <a:defRPr/>
                </a:pPr>
                <a:r>
                  <a:rPr lang="en-US" sz="1050">
                    <a:solidFill>
                      <a:srgbClr val="FFFFFF"/>
                    </a:solidFill>
                    <a:latin typeface="Calibri" panose="020F0502020204030204" pitchFamily="34" charset="0"/>
                    <a:cs typeface="Calibri" panose="020F0502020204030204" pitchFamily="34" charset="0"/>
                  </a:rPr>
                  <a:t>Dara-Vd</a:t>
                </a:r>
              </a:p>
              <a:p>
                <a:pPr algn="ctr" defTabSz="685732">
                  <a:defRPr/>
                </a:pPr>
                <a:r>
                  <a:rPr lang="en-US" sz="1050">
                    <a:solidFill>
                      <a:srgbClr val="FFFFFF"/>
                    </a:solidFill>
                    <a:latin typeface="Calibri" panose="020F0502020204030204" pitchFamily="34" charset="0"/>
                    <a:cs typeface="Calibri" panose="020F0502020204030204" pitchFamily="34" charset="0"/>
                  </a:rPr>
                  <a:t>Kd</a:t>
                </a:r>
              </a:p>
              <a:p>
                <a:pPr algn="ctr" defTabSz="685732">
                  <a:defRPr/>
                </a:pPr>
                <a:r>
                  <a:rPr lang="en-US" sz="1050">
                    <a:solidFill>
                      <a:srgbClr val="FFFFFF"/>
                    </a:solidFill>
                    <a:latin typeface="Calibri" panose="020F0502020204030204" pitchFamily="34" charset="0"/>
                    <a:cs typeface="Calibri" panose="020F0502020204030204" pitchFamily="34" charset="0"/>
                  </a:rPr>
                  <a:t>SVd</a:t>
                </a:r>
              </a:p>
              <a:p>
                <a:pPr algn="ctr" defTabSz="685732">
                  <a:defRPr/>
                </a:pPr>
                <a:r>
                  <a:rPr lang="en-US" sz="1050">
                    <a:solidFill>
                      <a:srgbClr val="FFFFFF"/>
                    </a:solidFill>
                    <a:latin typeface="Calibri" panose="020F0502020204030204" pitchFamily="34" charset="0"/>
                    <a:cs typeface="Calibri" panose="020F0502020204030204" pitchFamily="34" charset="0"/>
                  </a:rPr>
                  <a:t>Ven-Vd*</a:t>
                </a:r>
              </a:p>
            </p:txBody>
          </p:sp>
          <p:sp>
            <p:nvSpPr>
              <p:cNvPr id="35" name="Abgerundetes Rechteck 34"/>
              <p:cNvSpPr/>
              <p:nvPr/>
            </p:nvSpPr>
            <p:spPr>
              <a:xfrm>
                <a:off x="10749738" y="4118879"/>
                <a:ext cx="1392383" cy="1771701"/>
              </a:xfrm>
              <a:prstGeom prst="round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r>
                  <a:rPr lang="en-US" sz="1050">
                    <a:solidFill>
                      <a:srgbClr val="FFFFFF"/>
                    </a:solidFill>
                    <a:latin typeface="Calibri" panose="020F0502020204030204" pitchFamily="34" charset="0"/>
                    <a:cs typeface="Calibri" panose="020F0502020204030204" pitchFamily="34" charset="0"/>
                  </a:rPr>
                  <a:t>Dara-Rd</a:t>
                </a:r>
              </a:p>
              <a:p>
                <a:pPr algn="ctr" defTabSz="685732">
                  <a:defRPr/>
                </a:pPr>
                <a:r>
                  <a:rPr lang="en-US" sz="1050">
                    <a:solidFill>
                      <a:srgbClr val="FFFFFF"/>
                    </a:solidFill>
                    <a:latin typeface="Calibri" panose="020F0502020204030204" pitchFamily="34" charset="0"/>
                    <a:cs typeface="Calibri" panose="020F0502020204030204" pitchFamily="34" charset="0"/>
                  </a:rPr>
                  <a:t>KRd</a:t>
                </a:r>
              </a:p>
              <a:p>
                <a:pPr algn="ctr" defTabSz="685732">
                  <a:defRPr/>
                </a:pPr>
                <a:r>
                  <a:rPr lang="en-US" sz="1050">
                    <a:solidFill>
                      <a:srgbClr val="FFFFFF"/>
                    </a:solidFill>
                    <a:latin typeface="Calibri" panose="020F0502020204030204" pitchFamily="34" charset="0"/>
                    <a:cs typeface="Calibri" panose="020F0502020204030204" pitchFamily="34" charset="0"/>
                  </a:rPr>
                  <a:t>Ird</a:t>
                </a:r>
              </a:p>
              <a:p>
                <a:pPr algn="ctr" defTabSz="685732">
                  <a:defRPr/>
                </a:pPr>
                <a:r>
                  <a:rPr lang="en-US" sz="1050">
                    <a:solidFill>
                      <a:srgbClr val="FFFFFF"/>
                    </a:solidFill>
                    <a:latin typeface="Calibri" panose="020F0502020204030204" pitchFamily="34" charset="0"/>
                    <a:cs typeface="Calibri" panose="020F0502020204030204" pitchFamily="34" charset="0"/>
                  </a:rPr>
                  <a:t>Elo-Rd</a:t>
                </a:r>
              </a:p>
            </p:txBody>
          </p:sp>
        </p:grpSp>
      </p:grpSp>
      <p:sp>
        <p:nvSpPr>
          <p:cNvPr id="36" name="Textfeld 35"/>
          <p:cNvSpPr txBox="1"/>
          <p:nvPr/>
        </p:nvSpPr>
        <p:spPr>
          <a:xfrm>
            <a:off x="106569" y="4116639"/>
            <a:ext cx="2092239" cy="230832"/>
          </a:xfrm>
          <a:prstGeom prst="rect">
            <a:avLst/>
          </a:prstGeom>
          <a:noFill/>
          <a:ln>
            <a:solidFill>
              <a:schemeClr val="bg1"/>
            </a:solidFill>
          </a:ln>
        </p:spPr>
        <p:txBody>
          <a:bodyPr wrap="none" rtlCol="0">
            <a:spAutoFit/>
          </a:bodyPr>
          <a:lstStyle/>
          <a:p>
            <a:pPr defTabSz="685732">
              <a:defRPr/>
            </a:pPr>
            <a:r>
              <a:rPr lang="en-US" sz="900" b="1">
                <a:solidFill>
                  <a:srgbClr val="000000"/>
                </a:solidFill>
                <a:latin typeface="Calibri" panose="020F0502020204030204" pitchFamily="34" charset="0"/>
                <a:cs typeface="Calibri" panose="020F0502020204030204" pitchFamily="34" charset="0"/>
              </a:rPr>
              <a:t>*In patients with documented t(11;14). </a:t>
            </a:r>
          </a:p>
        </p:txBody>
      </p:sp>
      <p:sp>
        <p:nvSpPr>
          <p:cNvPr id="37" name="Rechteck 36"/>
          <p:cNvSpPr/>
          <p:nvPr/>
        </p:nvSpPr>
        <p:spPr>
          <a:xfrm>
            <a:off x="6140898" y="4890291"/>
            <a:ext cx="3005980" cy="253916"/>
          </a:xfrm>
          <a:prstGeom prst="rect">
            <a:avLst/>
          </a:prstGeom>
        </p:spPr>
        <p:txBody>
          <a:bodyPr wrap="square" anchor="b">
            <a:spAutoFit/>
          </a:bodyPr>
          <a:lstStyle/>
          <a:p>
            <a:pPr algn="r" defTabSz="685732">
              <a:defRPr/>
            </a:pPr>
            <a:r>
              <a:rPr lang="en-US" sz="1050">
                <a:solidFill>
                  <a:srgbClr val="000000"/>
                </a:solidFill>
                <a:latin typeface="Calibri" panose="020F0502020204030204" pitchFamily="34" charset="0"/>
                <a:cs typeface="Calibri" panose="020F0502020204030204" pitchFamily="34" charset="0"/>
              </a:rPr>
              <a:t>Dimopoulos MA, Kastriti E. In press.</a:t>
            </a:r>
          </a:p>
        </p:txBody>
      </p:sp>
      <p:sp>
        <p:nvSpPr>
          <p:cNvPr id="38" name="Textfeld 37"/>
          <p:cNvSpPr txBox="1"/>
          <p:nvPr/>
        </p:nvSpPr>
        <p:spPr>
          <a:xfrm>
            <a:off x="478117" y="4538789"/>
            <a:ext cx="6946886" cy="300082"/>
          </a:xfrm>
          <a:prstGeom prst="rect">
            <a:avLst/>
          </a:prstGeom>
          <a:noFill/>
          <a:ln>
            <a:solidFill>
              <a:schemeClr val="tx1"/>
            </a:solidFill>
          </a:ln>
        </p:spPr>
        <p:txBody>
          <a:bodyPr wrap="square" rtlCol="0">
            <a:spAutoFit/>
          </a:bodyPr>
          <a:lstStyle/>
          <a:p>
            <a:pPr defTabSz="685732">
              <a:defRPr/>
            </a:pPr>
            <a:r>
              <a:rPr lang="en-US" sz="1350">
                <a:solidFill>
                  <a:srgbClr val="000000"/>
                </a:solidFill>
                <a:latin typeface="Calibri" panose="020F0502020204030204" pitchFamily="34" charset="0"/>
                <a:cs typeface="Calibri" panose="020F0502020204030204" pitchFamily="34" charset="0"/>
              </a:rPr>
              <a:t>       Nearly all myeloma-active agents already administered during the first 2 treatment lines!</a:t>
            </a:r>
          </a:p>
        </p:txBody>
      </p:sp>
      <p:sp>
        <p:nvSpPr>
          <p:cNvPr id="39" name="Pfeil nach rechts 38"/>
          <p:cNvSpPr/>
          <p:nvPr/>
        </p:nvSpPr>
        <p:spPr>
          <a:xfrm>
            <a:off x="546742" y="4607188"/>
            <a:ext cx="207863" cy="15258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2">
              <a:defRPr/>
            </a:pPr>
            <a:endParaRPr lang="en-US" sz="1350">
              <a:solidFill>
                <a:srgbClr val="FFFFFF"/>
              </a:solidFill>
              <a:latin typeface="Calibri" panose="020F0502020204030204" pitchFamily="34" charset="0"/>
              <a:cs typeface="Calibri" panose="020F0502020204030204" pitchFamily="34" charset="0"/>
            </a:endParaRPr>
          </a:p>
        </p:txBody>
      </p:sp>
      <p:sp>
        <p:nvSpPr>
          <p:cNvPr id="40" name="Textfeld 39"/>
          <p:cNvSpPr txBox="1"/>
          <p:nvPr/>
        </p:nvSpPr>
        <p:spPr>
          <a:xfrm>
            <a:off x="596" y="112237"/>
            <a:ext cx="9142810" cy="415498"/>
          </a:xfrm>
          <a:prstGeom prst="rect">
            <a:avLst/>
          </a:prstGeom>
          <a:noFill/>
          <a:ln>
            <a:noFill/>
          </a:ln>
        </p:spPr>
        <p:txBody>
          <a:bodyPr wrap="square" rtlCol="0">
            <a:spAutoFit/>
          </a:bodyPr>
          <a:lstStyle/>
          <a:p>
            <a:pPr algn="ctr" defTabSz="685800" fontAlgn="base">
              <a:spcBef>
                <a:spcPct val="0"/>
              </a:spcBef>
            </a:pPr>
            <a:r>
              <a:rPr lang="en-US" sz="2100" b="1">
                <a:solidFill>
                  <a:srgbClr val="4A40AC"/>
                </a:solidFill>
                <a:latin typeface="Arial" panose="020B0604020202020204"/>
                <a:cs typeface="Calibri" panose="020F0502020204030204" pitchFamily="34" charset="0"/>
              </a:rPr>
              <a:t>ESMO Guideline 2021 NDMM: Treatment of the First Relapse</a:t>
            </a:r>
          </a:p>
        </p:txBody>
      </p:sp>
    </p:spTree>
    <p:extLst>
      <p:ext uri="{BB962C8B-B14F-4D97-AF65-F5344CB8AC3E}">
        <p14:creationId xmlns:p14="http://schemas.microsoft.com/office/powerpoint/2010/main" val="411760620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89347" y="668276"/>
            <a:ext cx="8165306" cy="3919463"/>
          </a:xfrm>
          <a:prstGeom prst="rect">
            <a:avLst/>
          </a:prstGeom>
        </p:spPr>
      </p:pic>
      <p:sp>
        <p:nvSpPr>
          <p:cNvPr id="6" name="Textplatzhalter 5"/>
          <p:cNvSpPr txBox="1">
            <a:spLocks noGrp="1"/>
          </p:cNvSpPr>
          <p:nvPr>
            <p:ph type="body" sz="quarter" idx="11"/>
          </p:nvPr>
        </p:nvSpPr>
        <p:spPr>
          <a:xfrm>
            <a:off x="3268832" y="4904014"/>
            <a:ext cx="5874573" cy="237757"/>
          </a:xfrm>
          <a:prstGeom prst="rect">
            <a:avLst/>
          </a:prstGeom>
          <a:noFill/>
          <a:ln>
            <a:noFill/>
          </a:ln>
        </p:spPr>
        <p:txBody>
          <a:bodyPr wrap="square" rtlCol="0">
            <a:spAutoFit/>
          </a:bodyPr>
          <a:lstStyle/>
          <a:p>
            <a:pPr defTabSz="771525">
              <a:spcBef>
                <a:spcPts val="0"/>
              </a:spcBef>
              <a:defRPr/>
            </a:pPr>
            <a:r>
              <a:rPr lang="en-US" sz="1050" kern="0" noProof="0">
                <a:latin typeface="Calibri" panose="020F0502020204030204" pitchFamily="34" charset="0"/>
                <a:ea typeface="MS PGothic" pitchFamily="34" charset="-128"/>
                <a:cs typeface="Calibri" panose="020F0502020204030204" pitchFamily="34" charset="0"/>
              </a:rPr>
              <a:t>Dimopoulos MA, et al. </a:t>
            </a:r>
            <a:r>
              <a:rPr lang="en-US" sz="1050" i="1" kern="0" noProof="0">
                <a:latin typeface="Calibri" panose="020F0502020204030204" pitchFamily="34" charset="0"/>
                <a:ea typeface="MS PGothic" pitchFamily="34" charset="-128"/>
                <a:cs typeface="Calibri" panose="020F0502020204030204" pitchFamily="34" charset="0"/>
              </a:rPr>
              <a:t>Ann Oncol</a:t>
            </a:r>
            <a:r>
              <a:rPr lang="en-US" sz="1050" kern="0" noProof="0">
                <a:latin typeface="Calibri" panose="020F0502020204030204" pitchFamily="34" charset="0"/>
                <a:ea typeface="MS PGothic" pitchFamily="34" charset="-128"/>
                <a:cs typeface="Calibri" panose="020F0502020204030204" pitchFamily="34" charset="0"/>
              </a:rPr>
              <a:t>. 2021;32(3):309-322.</a:t>
            </a:r>
            <a:endParaRPr lang="en-US" sz="1050" noProof="0">
              <a:latin typeface="Calibri" panose="020F0502020204030204" pitchFamily="34" charset="0"/>
              <a:ea typeface="ＭＳ Ｐゴシック" charset="0"/>
              <a:cs typeface="Calibri" panose="020F0502020204030204" pitchFamily="34" charset="0"/>
            </a:endParaRPr>
          </a:p>
        </p:txBody>
      </p:sp>
      <p:sp>
        <p:nvSpPr>
          <p:cNvPr id="7" name="Titel 6"/>
          <p:cNvSpPr txBox="1">
            <a:spLocks noGrp="1"/>
          </p:cNvSpPr>
          <p:nvPr>
            <p:ph type="title"/>
          </p:nvPr>
        </p:nvSpPr>
        <p:spPr>
          <a:xfrm>
            <a:off x="596" y="106280"/>
            <a:ext cx="9142809" cy="738664"/>
          </a:xfrm>
          <a:prstGeom prst="rect">
            <a:avLst/>
          </a:prstGeom>
          <a:noFill/>
          <a:ln>
            <a:noFill/>
          </a:ln>
        </p:spPr>
        <p:txBody>
          <a:bodyPr wrap="square" rtlCol="0">
            <a:spAutoFit/>
          </a:bodyPr>
          <a:lstStyle/>
          <a:p>
            <a:pPr algn="ctr">
              <a:lnSpc>
                <a:spcPct val="100000"/>
              </a:lnSpc>
            </a:pPr>
            <a:r>
              <a:rPr lang="en-US" sz="2100" b="1" noProof="0">
                <a:solidFill>
                  <a:srgbClr val="4A40AC"/>
                </a:solidFill>
                <a:latin typeface="+mn-lt"/>
                <a:cs typeface="Calibri" panose="020F0502020204030204" pitchFamily="34" charset="0"/>
              </a:rPr>
              <a:t>ESMO Guideline 2021: Recommendations for MM Patients Who Receive a Third or Subsequent Line of Therapy</a:t>
            </a:r>
          </a:p>
        </p:txBody>
      </p:sp>
      <p:sp>
        <p:nvSpPr>
          <p:cNvPr id="3" name="Textfeld 2"/>
          <p:cNvSpPr txBox="1"/>
          <p:nvPr/>
        </p:nvSpPr>
        <p:spPr>
          <a:xfrm>
            <a:off x="5436096" y="3939667"/>
            <a:ext cx="1296144" cy="459700"/>
          </a:xfrm>
          <a:prstGeom prst="roundRect">
            <a:avLst/>
          </a:prstGeom>
          <a:solidFill>
            <a:srgbClr val="4C82AD"/>
          </a:solidFill>
          <a:ln w="28575" cmpd="dbl">
            <a:solidFill>
              <a:schemeClr val="accent2">
                <a:lumMod val="50000"/>
              </a:schemeClr>
            </a:solidFill>
          </a:ln>
        </p:spPr>
        <p:txBody>
          <a:bodyPr wrap="square" rtlCol="0">
            <a:spAutoFit/>
          </a:bodyPr>
          <a:lstStyle/>
          <a:p>
            <a:pPr algn="ctr" defTabSz="685800" fontAlgn="base">
              <a:spcBef>
                <a:spcPct val="0"/>
              </a:spcBef>
            </a:pPr>
            <a:r>
              <a:rPr lang="de-DE" sz="1050" b="1" err="1">
                <a:solidFill>
                  <a:srgbClr val="FFFFFF"/>
                </a:solidFill>
                <a:latin typeface="Bahnschrift Condensed" panose="020B0502040204020203" pitchFamily="34" charset="0"/>
                <a:cs typeface="Calibri" panose="020F0502020204030204" pitchFamily="34" charset="0"/>
              </a:rPr>
              <a:t>Abecma</a:t>
            </a:r>
            <a:r>
              <a:rPr lang="de-DE" sz="1050" b="1">
                <a:solidFill>
                  <a:srgbClr val="FFFFFF"/>
                </a:solidFill>
                <a:latin typeface="Bahnschrift Condensed" panose="020B0502040204020203" pitchFamily="34" charset="0"/>
                <a:cs typeface="Calibri" panose="020F0502020204030204" pitchFamily="34" charset="0"/>
              </a:rPr>
              <a:t> / Ide-</a:t>
            </a:r>
            <a:r>
              <a:rPr lang="de-DE" sz="1050" b="1" err="1">
                <a:solidFill>
                  <a:srgbClr val="FFFFFF"/>
                </a:solidFill>
                <a:latin typeface="Bahnschrift Condensed" panose="020B0502040204020203" pitchFamily="34" charset="0"/>
                <a:cs typeface="Calibri" panose="020F0502020204030204" pitchFamily="34" charset="0"/>
              </a:rPr>
              <a:t>Cel</a:t>
            </a:r>
            <a:endParaRPr lang="de-DE" sz="1050" b="1">
              <a:solidFill>
                <a:srgbClr val="FFFFFF"/>
              </a:solidFill>
              <a:latin typeface="Bahnschrift Condensed" panose="020B0502040204020203" pitchFamily="34" charset="0"/>
              <a:cs typeface="Calibri" panose="020F0502020204030204" pitchFamily="34" charset="0"/>
            </a:endParaRPr>
          </a:p>
          <a:p>
            <a:pPr algn="ctr" defTabSz="685800" fontAlgn="base">
              <a:spcBef>
                <a:spcPct val="0"/>
              </a:spcBef>
            </a:pPr>
            <a:r>
              <a:rPr lang="de-DE" sz="1050" b="1" err="1">
                <a:solidFill>
                  <a:srgbClr val="FFFFFF"/>
                </a:solidFill>
                <a:latin typeface="Bahnschrift Condensed" panose="020B0502040204020203" pitchFamily="34" charset="0"/>
                <a:cs typeface="Calibri" panose="020F0502020204030204" pitchFamily="34" charset="0"/>
              </a:rPr>
              <a:t>Soon</a:t>
            </a:r>
            <a:r>
              <a:rPr lang="de-DE" sz="1050" b="1">
                <a:solidFill>
                  <a:srgbClr val="FFFFFF"/>
                </a:solidFill>
                <a:latin typeface="Bahnschrift Condensed" panose="020B0502040204020203" pitchFamily="34" charset="0"/>
                <a:cs typeface="Calibri" panose="020F0502020204030204" pitchFamily="34" charset="0"/>
              </a:rPr>
              <a:t>: </a:t>
            </a:r>
            <a:r>
              <a:rPr lang="de-DE" sz="1050" b="1" err="1">
                <a:solidFill>
                  <a:srgbClr val="FFFFFF"/>
                </a:solidFill>
                <a:latin typeface="Bahnschrift Condensed" panose="020B0502040204020203" pitchFamily="34" charset="0"/>
                <a:cs typeface="Calibri" panose="020F0502020204030204" pitchFamily="34" charset="0"/>
              </a:rPr>
              <a:t>Cilta-Cel</a:t>
            </a:r>
            <a:endParaRPr lang="de-DE" sz="1050" b="1">
              <a:solidFill>
                <a:srgbClr val="FFFFFF"/>
              </a:solidFill>
              <a:latin typeface="Bahnschrift Condensed" panose="020B0502040204020203" pitchFamily="34" charset="0"/>
              <a:cs typeface="Calibri" panose="020F0502020204030204" pitchFamily="34" charset="0"/>
            </a:endParaRPr>
          </a:p>
        </p:txBody>
      </p:sp>
    </p:spTree>
    <p:extLst>
      <p:ext uri="{BB962C8B-B14F-4D97-AF65-F5344CB8AC3E}">
        <p14:creationId xmlns:p14="http://schemas.microsoft.com/office/powerpoint/2010/main" val="2840213374"/>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6126" y="1086753"/>
            <a:ext cx="5415578" cy="3595655"/>
          </a:xfrm>
          <a:prstGeom prst="rect">
            <a:avLst/>
          </a:prstGeom>
        </p:spPr>
      </p:pic>
      <p:sp>
        <p:nvSpPr>
          <p:cNvPr id="188418" name="Titel 1"/>
          <p:cNvSpPr>
            <a:spLocks noGrp="1"/>
          </p:cNvSpPr>
          <p:nvPr>
            <p:ph type="title"/>
          </p:nvPr>
        </p:nvSpPr>
        <p:spPr>
          <a:xfrm>
            <a:off x="595" y="602911"/>
            <a:ext cx="9142810" cy="360098"/>
          </a:xfrm>
        </p:spPr>
        <p:txBody>
          <a:bodyPr wrap="square">
            <a:spAutoFit/>
          </a:bodyPr>
          <a:lstStyle/>
          <a:p>
            <a:pPr algn="ctr" eaLnBrk="1" hangingPunct="1"/>
            <a:r>
              <a:rPr lang="en-US" altLang="de-DE" sz="2100" b="1" noProof="0">
                <a:solidFill>
                  <a:srgbClr val="24189B"/>
                </a:solidFill>
                <a:latin typeface="+mn-lt"/>
                <a:ea typeface="+mn-ea"/>
                <a:cs typeface="Calibri" panose="020F0502020204030204" pitchFamily="34" charset="0"/>
              </a:rPr>
              <a:t>Many thanks for your attention!</a:t>
            </a:r>
          </a:p>
        </p:txBody>
      </p:sp>
      <p:pic>
        <p:nvPicPr>
          <p:cNvPr id="5" name="Grafik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03966" y="3603433"/>
            <a:ext cx="984345" cy="983654"/>
          </a:xfrm>
          <a:prstGeom prst="rect">
            <a:avLst/>
          </a:prstGeom>
        </p:spPr>
      </p:pic>
      <p:pic>
        <p:nvPicPr>
          <p:cNvPr id="6" name="Grafik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53818" y="3893357"/>
            <a:ext cx="746644" cy="593989"/>
          </a:xfrm>
          <a:prstGeom prst="rect">
            <a:avLst/>
          </a:prstGeom>
        </p:spPr>
      </p:pic>
    </p:spTree>
    <p:extLst>
      <p:ext uri="{BB962C8B-B14F-4D97-AF65-F5344CB8AC3E}">
        <p14:creationId xmlns:p14="http://schemas.microsoft.com/office/powerpoint/2010/main" val="355059393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A04C5-28EB-434A-88CD-BFD68184D308}"/>
              </a:ext>
            </a:extLst>
          </p:cNvPr>
          <p:cNvSpPr>
            <a:spLocks noGrp="1"/>
          </p:cNvSpPr>
          <p:nvPr>
            <p:ph type="ctrTitle"/>
          </p:nvPr>
        </p:nvSpPr>
        <p:spPr/>
        <p:txBody>
          <a:bodyPr/>
          <a:lstStyle/>
          <a:p>
            <a:r>
              <a:rPr lang="en-US" noProof="0"/>
              <a:t>Break</a:t>
            </a:r>
          </a:p>
        </p:txBody>
      </p:sp>
      <p:sp>
        <p:nvSpPr>
          <p:cNvPr id="3" name="Subtitle 2">
            <a:extLst>
              <a:ext uri="{FF2B5EF4-FFF2-40B4-BE49-F238E27FC236}">
                <a16:creationId xmlns:a16="http://schemas.microsoft.com/office/drawing/2014/main" id="{AFB88748-739F-4EC9-A16D-AEFDCA3C010B}"/>
              </a:ext>
            </a:extLst>
          </p:cNvPr>
          <p:cNvSpPr>
            <a:spLocks noGrp="1"/>
          </p:cNvSpPr>
          <p:nvPr>
            <p:ph type="subTitle" idx="1"/>
          </p:nvPr>
        </p:nvSpPr>
        <p:spPr/>
        <p:txBody>
          <a:bodyPr/>
          <a:lstStyle/>
          <a:p>
            <a:endParaRPr lang="en-NL"/>
          </a:p>
        </p:txBody>
      </p:sp>
    </p:spTree>
    <p:extLst>
      <p:ext uri="{BB962C8B-B14F-4D97-AF65-F5344CB8AC3E}">
        <p14:creationId xmlns:p14="http://schemas.microsoft.com/office/powerpoint/2010/main" val="153983673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a:xfrm>
            <a:off x="4285365" y="1274670"/>
            <a:ext cx="4534294" cy="1548390"/>
          </a:xfrm>
        </p:spPr>
        <p:txBody>
          <a:bodyPr>
            <a:normAutofit/>
          </a:bodyPr>
          <a:lstStyle/>
          <a:p>
            <a:pPr algn="l">
              <a:lnSpc>
                <a:spcPct val="100000"/>
              </a:lnSpc>
              <a:spcBef>
                <a:spcPts val="0"/>
              </a:spcBef>
              <a:spcAft>
                <a:spcPts val="0"/>
              </a:spcAft>
            </a:pPr>
            <a:r>
              <a:rPr lang="en-US" sz="2800" b="1" u="none" kern="1200" noProof="0">
                <a:effectLst/>
                <a:latin typeface="Arial" panose="020B0604020202020204" pitchFamily="34" charset="0"/>
                <a:cs typeface="Arial" panose="020B0604020202020204" pitchFamily="34" charset="0"/>
              </a:rPr>
              <a:t>Optimal Use of Consolidation and Maintenance Therapy</a:t>
            </a:r>
            <a:endParaRPr lang="en-US" sz="2800" b="1" u="none" noProof="0">
              <a:effectLst/>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5B1A592A-AF74-0E4A-BEBF-BA3B930B790E}"/>
              </a:ext>
            </a:extLst>
          </p:cNvPr>
          <p:cNvSpPr>
            <a:spLocks noGrp="1"/>
          </p:cNvSpPr>
          <p:nvPr>
            <p:ph type="subTitle" idx="1"/>
          </p:nvPr>
        </p:nvSpPr>
        <p:spPr>
          <a:xfrm>
            <a:off x="4270617" y="2955244"/>
            <a:ext cx="4534294" cy="1073784"/>
          </a:xfrm>
        </p:spPr>
        <p:txBody>
          <a:bodyPr>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800" noProof="0">
                <a:latin typeface="Arial" panose="020B0604020202020204" pitchFamily="34" charset="0"/>
                <a:cs typeface="Arial" panose="020B0604020202020204" pitchFamily="34" charset="0"/>
              </a:rPr>
              <a:t>Xavier Leleu, MD, PhD</a:t>
            </a:r>
          </a:p>
        </p:txBody>
      </p:sp>
      <p:pic>
        <p:nvPicPr>
          <p:cNvPr id="6" name="Picture 5">
            <a:extLst>
              <a:ext uri="{FF2B5EF4-FFF2-40B4-BE49-F238E27FC236}">
                <a16:creationId xmlns:a16="http://schemas.microsoft.com/office/drawing/2014/main" id="{FBAD6E51-1D6A-4450-9F5C-83E3840E5C6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0617" y="3408135"/>
            <a:ext cx="1188720" cy="1188720"/>
          </a:xfrm>
          <a:prstGeom prst="teardrop">
            <a:avLst/>
          </a:prstGeom>
          <a:solidFill>
            <a:schemeClr val="tx2"/>
          </a:solidFill>
        </p:spPr>
      </p:pic>
    </p:spTree>
    <p:extLst>
      <p:ext uri="{BB962C8B-B14F-4D97-AF65-F5344CB8AC3E}">
        <p14:creationId xmlns:p14="http://schemas.microsoft.com/office/powerpoint/2010/main" val="320975735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A09B19C-2A69-48A7-B194-BCAB4E7675BB}"/>
              </a:ext>
            </a:extLst>
          </p:cNvPr>
          <p:cNvGraphicFramePr>
            <a:graphicFrameLocks noChangeAspect="1"/>
          </p:cNvGraphicFramePr>
          <p:nvPr>
            <p:custDataLst>
              <p:tags r:id="rId1"/>
            </p:custDataLst>
          </p:nvPr>
        </p:nvGraphicFramePr>
        <p:xfrm>
          <a:off x="-1141809" y="1191"/>
          <a:ext cx="1191" cy="1191"/>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10" name="Object 9" hidden="1">
                        <a:extLst>
                          <a:ext uri="{FF2B5EF4-FFF2-40B4-BE49-F238E27FC236}">
                            <a16:creationId xmlns:a16="http://schemas.microsoft.com/office/drawing/2014/main" id="{7A09B19C-2A69-48A7-B194-BCAB4E7675BB}"/>
                          </a:ext>
                        </a:extLst>
                      </p:cNvPr>
                      <p:cNvPicPr/>
                      <p:nvPr/>
                    </p:nvPicPr>
                    <p:blipFill>
                      <a:blip r:embed="rId5"/>
                      <a:stretch>
                        <a:fillRect/>
                      </a:stretch>
                    </p:blipFill>
                    <p:spPr>
                      <a:xfrm>
                        <a:off x="-1141809" y="1191"/>
                        <a:ext cx="1191" cy="1191"/>
                      </a:xfrm>
                      <a:prstGeom prst="rect">
                        <a:avLst/>
                      </a:prstGeom>
                    </p:spPr>
                  </p:pic>
                </p:oleObj>
              </mc:Fallback>
            </mc:AlternateContent>
          </a:graphicData>
        </a:graphic>
      </p:graphicFrame>
      <p:sp>
        <p:nvSpPr>
          <p:cNvPr id="2" name="object 2"/>
          <p:cNvSpPr txBox="1">
            <a:spLocks noGrp="1"/>
          </p:cNvSpPr>
          <p:nvPr>
            <p:ph type="title"/>
          </p:nvPr>
        </p:nvSpPr>
        <p:spPr>
          <a:xfrm>
            <a:off x="1198735" y="827283"/>
            <a:ext cx="6746528" cy="799546"/>
          </a:xfrm>
          <a:prstGeom prst="rect">
            <a:avLst/>
          </a:prstGeom>
        </p:spPr>
        <p:txBody>
          <a:bodyPr vert="horz" wrap="square" lIns="0" tIns="10001" rIns="0" bIns="0" rtlCol="0" anchor="ctr">
            <a:spAutoFit/>
          </a:bodyPr>
          <a:lstStyle/>
          <a:p>
            <a:pPr marL="9525" marR="3810" indent="167640" algn="ctr">
              <a:spcBef>
                <a:spcPts val="79"/>
              </a:spcBef>
            </a:pPr>
            <a:r>
              <a:rPr lang="en-US" sz="2850" b="1" noProof="0"/>
              <a:t>Optimal Use of Consolidation and Maintenance Therapy in Myeloma</a:t>
            </a:r>
          </a:p>
        </p:txBody>
      </p:sp>
      <p:sp>
        <p:nvSpPr>
          <p:cNvPr id="3" name="object 3"/>
          <p:cNvSpPr txBox="1"/>
          <p:nvPr/>
        </p:nvSpPr>
        <p:spPr>
          <a:xfrm>
            <a:off x="3927157" y="2464118"/>
            <a:ext cx="1289685" cy="286617"/>
          </a:xfrm>
          <a:prstGeom prst="rect">
            <a:avLst/>
          </a:prstGeom>
        </p:spPr>
        <p:txBody>
          <a:bodyPr vert="horz" wrap="square" lIns="0" tIns="9525" rIns="0" bIns="0" rtlCol="0">
            <a:spAutoFit/>
          </a:bodyPr>
          <a:lstStyle/>
          <a:p>
            <a:pPr marL="9525" defTabSz="685800">
              <a:spcBef>
                <a:spcPts val="75"/>
              </a:spcBef>
            </a:pPr>
            <a:r>
              <a:rPr spc="-4">
                <a:solidFill>
                  <a:prstClr val="black"/>
                </a:solidFill>
                <a:latin typeface="Arial"/>
                <a:cs typeface="Arial"/>
              </a:rPr>
              <a:t>Xavier</a:t>
            </a:r>
            <a:r>
              <a:rPr spc="-34">
                <a:solidFill>
                  <a:prstClr val="black"/>
                </a:solidFill>
                <a:latin typeface="Arial"/>
                <a:cs typeface="Arial"/>
              </a:rPr>
              <a:t> </a:t>
            </a:r>
            <a:r>
              <a:rPr spc="-8">
                <a:solidFill>
                  <a:prstClr val="black"/>
                </a:solidFill>
                <a:latin typeface="Arial"/>
                <a:cs typeface="Arial"/>
              </a:rPr>
              <a:t>Leleu</a:t>
            </a:r>
            <a:endParaRPr>
              <a:solidFill>
                <a:prstClr val="black"/>
              </a:solidFill>
              <a:latin typeface="Arial"/>
              <a:cs typeface="Arial"/>
            </a:endParaRPr>
          </a:p>
        </p:txBody>
      </p:sp>
      <p:sp>
        <p:nvSpPr>
          <p:cNvPr id="4" name="object 4"/>
          <p:cNvSpPr/>
          <p:nvPr/>
        </p:nvSpPr>
        <p:spPr>
          <a:xfrm>
            <a:off x="8301745" y="4266204"/>
            <a:ext cx="401726" cy="76403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5" name="object 5"/>
          <p:cNvSpPr/>
          <p:nvPr/>
        </p:nvSpPr>
        <p:spPr>
          <a:xfrm>
            <a:off x="236261" y="4358610"/>
            <a:ext cx="586979" cy="658368"/>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6" name="object 6"/>
          <p:cNvSpPr/>
          <p:nvPr/>
        </p:nvSpPr>
        <p:spPr>
          <a:xfrm>
            <a:off x="946658" y="4369581"/>
            <a:ext cx="504153" cy="660654"/>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7" name="object 7"/>
          <p:cNvSpPr/>
          <p:nvPr/>
        </p:nvSpPr>
        <p:spPr>
          <a:xfrm>
            <a:off x="1450811" y="4419521"/>
            <a:ext cx="941532" cy="601922"/>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8" name="object 8"/>
          <p:cNvSpPr/>
          <p:nvPr/>
        </p:nvSpPr>
        <p:spPr>
          <a:xfrm>
            <a:off x="4660429" y="4403551"/>
            <a:ext cx="911654" cy="701802"/>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9" name="object 9"/>
          <p:cNvSpPr txBox="1"/>
          <p:nvPr/>
        </p:nvSpPr>
        <p:spPr>
          <a:xfrm>
            <a:off x="2791539" y="3302099"/>
            <a:ext cx="3560921" cy="655949"/>
          </a:xfrm>
          <a:prstGeom prst="rect">
            <a:avLst/>
          </a:prstGeom>
        </p:spPr>
        <p:txBody>
          <a:bodyPr vert="horz" wrap="square" lIns="0" tIns="9525" rIns="0" bIns="0" rtlCol="0">
            <a:spAutoFit/>
          </a:bodyPr>
          <a:lstStyle/>
          <a:p>
            <a:pPr marL="911543" marR="903923" algn="ctr" defTabSz="685800">
              <a:spcBef>
                <a:spcPts val="75"/>
              </a:spcBef>
            </a:pPr>
            <a:r>
              <a:rPr sz="1050" spc="-4">
                <a:solidFill>
                  <a:prstClr val="black"/>
                </a:solidFill>
                <a:latin typeface="Arial"/>
                <a:cs typeface="Arial"/>
              </a:rPr>
              <a:t>Hôpital la Milétrie, PRC,</a:t>
            </a:r>
            <a:r>
              <a:rPr sz="1050" spc="-56">
                <a:solidFill>
                  <a:prstClr val="black"/>
                </a:solidFill>
                <a:latin typeface="Arial"/>
                <a:cs typeface="Arial"/>
              </a:rPr>
              <a:t> </a:t>
            </a:r>
            <a:r>
              <a:rPr sz="1050" spc="-4">
                <a:solidFill>
                  <a:prstClr val="black"/>
                </a:solidFill>
                <a:latin typeface="Arial"/>
                <a:cs typeface="Arial"/>
              </a:rPr>
              <a:t>CHU  Inserm U1402</a:t>
            </a:r>
            <a:r>
              <a:rPr sz="1050" spc="-56">
                <a:solidFill>
                  <a:prstClr val="black"/>
                </a:solidFill>
                <a:latin typeface="Arial"/>
                <a:cs typeface="Arial"/>
              </a:rPr>
              <a:t> </a:t>
            </a:r>
            <a:r>
              <a:rPr sz="1050" spc="-4">
                <a:solidFill>
                  <a:prstClr val="black"/>
                </a:solidFill>
                <a:latin typeface="Arial"/>
                <a:cs typeface="Arial"/>
              </a:rPr>
              <a:t>CIC</a:t>
            </a:r>
            <a:endParaRPr sz="1050">
              <a:solidFill>
                <a:prstClr val="black"/>
              </a:solidFill>
              <a:latin typeface="Arial"/>
              <a:cs typeface="Arial"/>
            </a:endParaRPr>
          </a:p>
          <a:p>
            <a:pPr algn="ctr" defTabSz="685800"/>
            <a:r>
              <a:rPr sz="1050" spc="-4">
                <a:solidFill>
                  <a:prstClr val="black"/>
                </a:solidFill>
                <a:latin typeface="Arial"/>
                <a:cs typeface="Arial"/>
              </a:rPr>
              <a:t>Laboratoire </a:t>
            </a:r>
            <a:r>
              <a:rPr sz="1050" spc="-4" err="1">
                <a:solidFill>
                  <a:prstClr val="black"/>
                </a:solidFill>
                <a:latin typeface="Arial"/>
                <a:cs typeface="Arial"/>
              </a:rPr>
              <a:t>d’Immunologie</a:t>
            </a:r>
            <a:r>
              <a:rPr sz="1050" spc="-4">
                <a:solidFill>
                  <a:prstClr val="black"/>
                </a:solidFill>
                <a:latin typeface="Arial"/>
                <a:cs typeface="Arial"/>
              </a:rPr>
              <a:t> Oncologie et </a:t>
            </a:r>
            <a:r>
              <a:rPr sz="1050" spc="-4" err="1">
                <a:solidFill>
                  <a:prstClr val="black"/>
                </a:solidFill>
                <a:latin typeface="Arial"/>
                <a:cs typeface="Arial"/>
              </a:rPr>
              <a:t>dormance</a:t>
            </a:r>
            <a:r>
              <a:rPr sz="1050" spc="-101">
                <a:solidFill>
                  <a:prstClr val="black"/>
                </a:solidFill>
                <a:latin typeface="Arial"/>
                <a:cs typeface="Arial"/>
              </a:rPr>
              <a:t> </a:t>
            </a:r>
            <a:r>
              <a:rPr sz="1050" spc="-4" err="1">
                <a:solidFill>
                  <a:prstClr val="black"/>
                </a:solidFill>
                <a:latin typeface="Arial"/>
                <a:cs typeface="Arial"/>
              </a:rPr>
              <a:t>tumorale</a:t>
            </a:r>
            <a:endParaRPr sz="1050">
              <a:solidFill>
                <a:prstClr val="black"/>
              </a:solidFill>
              <a:latin typeface="Arial"/>
              <a:cs typeface="Arial"/>
            </a:endParaRPr>
          </a:p>
          <a:p>
            <a:pPr marL="953" algn="ctr" defTabSz="685800"/>
            <a:r>
              <a:rPr sz="1050" spc="-4">
                <a:solidFill>
                  <a:prstClr val="black"/>
                </a:solidFill>
                <a:latin typeface="Arial"/>
                <a:cs typeface="Arial"/>
              </a:rPr>
              <a:t>Poitiers,</a:t>
            </a:r>
            <a:r>
              <a:rPr sz="1050" spc="-34">
                <a:solidFill>
                  <a:prstClr val="black"/>
                </a:solidFill>
                <a:latin typeface="Arial"/>
                <a:cs typeface="Arial"/>
              </a:rPr>
              <a:t> </a:t>
            </a:r>
            <a:r>
              <a:rPr sz="1050">
                <a:solidFill>
                  <a:prstClr val="black"/>
                </a:solidFill>
                <a:latin typeface="Arial"/>
                <a:cs typeface="Arial"/>
              </a:rPr>
              <a:t>France</a:t>
            </a:r>
          </a:p>
        </p:txBody>
      </p:sp>
      <p:pic>
        <p:nvPicPr>
          <p:cNvPr id="12" name="Picture 11">
            <a:extLst>
              <a:ext uri="{FF2B5EF4-FFF2-40B4-BE49-F238E27FC236}">
                <a16:creationId xmlns:a16="http://schemas.microsoft.com/office/drawing/2014/main" id="{3E3E0705-6E6B-4049-AE48-1F916559845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762991" y="4335642"/>
            <a:ext cx="720581" cy="720581"/>
          </a:xfrm>
          <a:prstGeom prst="rect">
            <a:avLst/>
          </a:prstGeom>
        </p:spPr>
      </p:pic>
    </p:spTree>
    <p:extLst>
      <p:ext uri="{BB962C8B-B14F-4D97-AF65-F5344CB8AC3E}">
        <p14:creationId xmlns:p14="http://schemas.microsoft.com/office/powerpoint/2010/main" val="138586552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C592BB-4D52-4157-AD0D-A546A5CC7FC0}"/>
              </a:ext>
            </a:extLst>
          </p:cNvPr>
          <p:cNvGraphicFramePr>
            <a:graphicFrameLocks noChangeAspect="1"/>
          </p:cNvGraphicFramePr>
          <p:nvPr>
            <p:custDataLst>
              <p:tags r:id="rId1"/>
            </p:custDataLst>
          </p:nvPr>
        </p:nvGraphicFramePr>
        <p:xfrm>
          <a:off x="-1141809" y="1191"/>
          <a:ext cx="1191" cy="1191"/>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4" name="Object 3" hidden="1">
                        <a:extLst>
                          <a:ext uri="{FF2B5EF4-FFF2-40B4-BE49-F238E27FC236}">
                            <a16:creationId xmlns:a16="http://schemas.microsoft.com/office/drawing/2014/main" id="{02C592BB-4D52-4157-AD0D-A546A5CC7FC0}"/>
                          </a:ext>
                        </a:extLst>
                      </p:cNvPr>
                      <p:cNvPicPr/>
                      <p:nvPr/>
                    </p:nvPicPr>
                    <p:blipFill>
                      <a:blip r:embed="rId5"/>
                      <a:stretch>
                        <a:fillRect/>
                      </a:stretch>
                    </p:blipFill>
                    <p:spPr>
                      <a:xfrm>
                        <a:off x="-1141809" y="1191"/>
                        <a:ext cx="1191" cy="1191"/>
                      </a:xfrm>
                      <a:prstGeom prst="rect">
                        <a:avLst/>
                      </a:prstGeom>
                    </p:spPr>
                  </p:pic>
                </p:oleObj>
              </mc:Fallback>
            </mc:AlternateContent>
          </a:graphicData>
        </a:graphic>
      </p:graphicFrame>
      <p:sp>
        <p:nvSpPr>
          <p:cNvPr id="2" name="object 2"/>
          <p:cNvSpPr txBox="1">
            <a:spLocks noGrp="1"/>
          </p:cNvSpPr>
          <p:nvPr>
            <p:ph type="title"/>
          </p:nvPr>
        </p:nvSpPr>
        <p:spPr>
          <a:xfrm>
            <a:off x="890961" y="221836"/>
            <a:ext cx="1648778" cy="300467"/>
          </a:xfrm>
          <a:prstGeom prst="rect">
            <a:avLst/>
          </a:prstGeom>
        </p:spPr>
        <p:txBody>
          <a:bodyPr vert="horz" wrap="square" lIns="0" tIns="9525" rIns="0" bIns="0" rtlCol="0" anchor="ctr">
            <a:spAutoFit/>
          </a:bodyPr>
          <a:lstStyle/>
          <a:p>
            <a:pPr marL="9525">
              <a:spcBef>
                <a:spcPts val="75"/>
              </a:spcBef>
            </a:pPr>
            <a:r>
              <a:rPr lang="en-US" sz="2100" b="1" noProof="0">
                <a:solidFill>
                  <a:srgbClr val="0062A7"/>
                </a:solidFill>
                <a:latin typeface="+mn-lt"/>
                <a:cs typeface="Arial" panose="020B0604020202020204" pitchFamily="34" charset="0"/>
              </a:rPr>
              <a:t>Disclosures</a:t>
            </a:r>
          </a:p>
        </p:txBody>
      </p:sp>
      <p:sp>
        <p:nvSpPr>
          <p:cNvPr id="3" name="object 3"/>
          <p:cNvSpPr txBox="1"/>
          <p:nvPr/>
        </p:nvSpPr>
        <p:spPr>
          <a:xfrm>
            <a:off x="406695" y="908929"/>
            <a:ext cx="8490417" cy="881010"/>
          </a:xfrm>
          <a:prstGeom prst="rect">
            <a:avLst/>
          </a:prstGeom>
        </p:spPr>
        <p:txBody>
          <a:bodyPr vert="horz" wrap="square" lIns="0" tIns="49530" rIns="0" bIns="0" rtlCol="0">
            <a:spAutoFit/>
          </a:bodyPr>
          <a:lstStyle/>
          <a:p>
            <a:pPr marL="224314" indent="-215265" defTabSz="685800">
              <a:spcBef>
                <a:spcPts val="390"/>
              </a:spcBef>
              <a:buClr>
                <a:srgbClr val="007BC2"/>
              </a:buClr>
              <a:buFont typeface="Arial"/>
              <a:buChar char="•"/>
              <a:tabLst>
                <a:tab pos="224314" algn="l"/>
                <a:tab pos="224790" algn="l"/>
              </a:tabLst>
            </a:pPr>
            <a:r>
              <a:rPr i="1" spc="-4">
                <a:solidFill>
                  <a:prstClr val="black"/>
                </a:solidFill>
                <a:latin typeface="Arial"/>
                <a:cs typeface="Arial"/>
              </a:rPr>
              <a:t>Honorarium, </a:t>
            </a:r>
            <a:r>
              <a:rPr lang="en-US" i="1" spc="-4">
                <a:solidFill>
                  <a:prstClr val="black"/>
                </a:solidFill>
                <a:latin typeface="Arial"/>
                <a:cs typeface="Arial"/>
              </a:rPr>
              <a:t>g</a:t>
            </a:r>
            <a:r>
              <a:rPr i="1">
                <a:solidFill>
                  <a:prstClr val="black"/>
                </a:solidFill>
                <a:latin typeface="Arial"/>
                <a:cs typeface="Arial"/>
              </a:rPr>
              <a:t>rants/research </a:t>
            </a:r>
            <a:r>
              <a:rPr i="1" spc="-4">
                <a:solidFill>
                  <a:prstClr val="black"/>
                </a:solidFill>
                <a:latin typeface="Arial"/>
                <a:cs typeface="Arial"/>
              </a:rPr>
              <a:t>support, and </a:t>
            </a:r>
            <a:r>
              <a:rPr lang="en-US" i="1" spc="-4">
                <a:solidFill>
                  <a:prstClr val="black"/>
                </a:solidFill>
                <a:latin typeface="Arial"/>
                <a:cs typeface="Arial"/>
              </a:rPr>
              <a:t>c</a:t>
            </a:r>
            <a:r>
              <a:rPr i="1" spc="-4">
                <a:solidFill>
                  <a:prstClr val="black"/>
                </a:solidFill>
                <a:latin typeface="Arial"/>
                <a:cs typeface="Arial"/>
              </a:rPr>
              <a:t>onsulting</a:t>
            </a:r>
            <a:r>
              <a:rPr i="1" spc="49">
                <a:solidFill>
                  <a:prstClr val="black"/>
                </a:solidFill>
                <a:latin typeface="Arial"/>
                <a:cs typeface="Arial"/>
              </a:rPr>
              <a:t> </a:t>
            </a:r>
            <a:r>
              <a:rPr i="1">
                <a:solidFill>
                  <a:prstClr val="black"/>
                </a:solidFill>
                <a:latin typeface="Arial"/>
                <a:cs typeface="Arial"/>
              </a:rPr>
              <a:t>fees:</a:t>
            </a:r>
            <a:r>
              <a:rPr lang="en-US" i="1">
                <a:solidFill>
                  <a:prstClr val="black"/>
                </a:solidFill>
                <a:latin typeface="Arial"/>
                <a:cs typeface="Arial"/>
              </a:rPr>
              <a:t> </a:t>
            </a:r>
            <a:r>
              <a:rPr spc="-4">
                <a:solidFill>
                  <a:prstClr val="black"/>
                </a:solidFill>
                <a:latin typeface="Arial"/>
                <a:cs typeface="Arial"/>
              </a:rPr>
              <a:t>Amgen, BMS/Celgene, Janssen, Takeda, Novartis, Sanofi, Merck, </a:t>
            </a:r>
            <a:r>
              <a:rPr lang="en-US" spc="-4">
                <a:solidFill>
                  <a:prstClr val="black"/>
                </a:solidFill>
                <a:latin typeface="Arial"/>
                <a:cs typeface="Arial"/>
              </a:rPr>
              <a:t>GSK, </a:t>
            </a:r>
            <a:r>
              <a:rPr spc="-4">
                <a:solidFill>
                  <a:prstClr val="black"/>
                </a:solidFill>
                <a:latin typeface="Arial"/>
                <a:cs typeface="Arial"/>
              </a:rPr>
              <a:t>Oncopeptide</a:t>
            </a:r>
            <a:r>
              <a:rPr lang="en-US" spc="-4">
                <a:solidFill>
                  <a:prstClr val="black"/>
                </a:solidFill>
                <a:latin typeface="Arial"/>
                <a:cs typeface="Arial"/>
              </a:rPr>
              <a:t>s</a:t>
            </a:r>
            <a:r>
              <a:rPr spc="-4">
                <a:solidFill>
                  <a:prstClr val="black"/>
                </a:solidFill>
                <a:latin typeface="Arial"/>
                <a:cs typeface="Arial"/>
              </a:rPr>
              <a:t>, Roche, Abb</a:t>
            </a:r>
            <a:r>
              <a:rPr lang="en-US" spc="-4">
                <a:solidFill>
                  <a:prstClr val="black"/>
                </a:solidFill>
                <a:latin typeface="Arial"/>
                <a:cs typeface="Arial"/>
              </a:rPr>
              <a:t>V</a:t>
            </a:r>
            <a:r>
              <a:rPr spc="-4">
                <a:solidFill>
                  <a:prstClr val="black"/>
                </a:solidFill>
                <a:latin typeface="Arial"/>
                <a:cs typeface="Arial"/>
              </a:rPr>
              <a:t>ie, Gilead, </a:t>
            </a:r>
            <a:r>
              <a:rPr lang="en-US" spc="-4">
                <a:solidFill>
                  <a:prstClr val="black"/>
                </a:solidFill>
                <a:latin typeface="Arial"/>
                <a:cs typeface="Arial"/>
              </a:rPr>
              <a:t>Pfizer, Harpoon Therapeutics</a:t>
            </a:r>
            <a:endParaRPr>
              <a:solidFill>
                <a:prstClr val="black"/>
              </a:solidFill>
              <a:latin typeface="Arial"/>
              <a:cs typeface="Arial"/>
            </a:endParaRPr>
          </a:p>
        </p:txBody>
      </p:sp>
      <p:cxnSp>
        <p:nvCxnSpPr>
          <p:cNvPr id="6" name="Connecteur droit 5">
            <a:extLst>
              <a:ext uri="{FF2B5EF4-FFF2-40B4-BE49-F238E27FC236}">
                <a16:creationId xmlns:a16="http://schemas.microsoft.com/office/drawing/2014/main" id="{E04E87CD-234C-440F-B8A6-56E6902A223B}"/>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655732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6453C-1F2B-FA4C-8421-842C0FE8439E}"/>
              </a:ext>
            </a:extLst>
          </p:cNvPr>
          <p:cNvSpPr>
            <a:spLocks noGrp="1"/>
          </p:cNvSpPr>
          <p:nvPr>
            <p:ph type="title"/>
          </p:nvPr>
        </p:nvSpPr>
        <p:spPr>
          <a:xfrm>
            <a:off x="813383" y="53956"/>
            <a:ext cx="7942520" cy="849762"/>
          </a:xfrm>
        </p:spPr>
        <p:txBody>
          <a:bodyPr>
            <a:normAutofit/>
          </a:bodyPr>
          <a:lstStyle/>
          <a:p>
            <a:r>
              <a:rPr lang="en-US" sz="2100" b="1" noProof="0">
                <a:solidFill>
                  <a:srgbClr val="0062A7"/>
                </a:solidFill>
                <a:latin typeface="+mn-lt"/>
              </a:rPr>
              <a:t>Question. Do you give consolidation or move straight through to maintenance?</a:t>
            </a:r>
          </a:p>
        </p:txBody>
      </p:sp>
      <p:sp>
        <p:nvSpPr>
          <p:cNvPr id="4" name="TextBox 3">
            <a:extLst>
              <a:ext uri="{FF2B5EF4-FFF2-40B4-BE49-F238E27FC236}">
                <a16:creationId xmlns:a16="http://schemas.microsoft.com/office/drawing/2014/main" id="{7FA06324-E978-3842-BBB0-0D590D869CFC}"/>
              </a:ext>
            </a:extLst>
          </p:cNvPr>
          <p:cNvSpPr txBox="1"/>
          <p:nvPr/>
        </p:nvSpPr>
        <p:spPr>
          <a:xfrm>
            <a:off x="805408" y="1161666"/>
            <a:ext cx="7942520" cy="1933863"/>
          </a:xfrm>
          <a:prstGeom prst="rect">
            <a:avLst/>
          </a:prstGeom>
          <a:noFill/>
        </p:spPr>
        <p:txBody>
          <a:bodyPr wrap="square" rtlCol="0">
            <a:spAutoFit/>
          </a:bodyPr>
          <a:lstStyle/>
          <a:p>
            <a:pPr marL="342900" indent="-342900" defTabSz="685800">
              <a:lnSpc>
                <a:spcPct val="150000"/>
              </a:lnSpc>
              <a:spcBef>
                <a:spcPts val="600"/>
              </a:spcBef>
              <a:buClr>
                <a:srgbClr val="4F81BD"/>
              </a:buClr>
              <a:buFont typeface="+mj-lt"/>
              <a:buAutoNum type="arabicPeriod"/>
              <a:defRPr/>
            </a:pPr>
            <a:r>
              <a:rPr lang="en-FR">
                <a:latin typeface="Arial" panose="020B0604020202020204" pitchFamily="34" charset="0"/>
                <a:cs typeface="Arial" panose="020B0604020202020204" pitchFamily="34" charset="0"/>
              </a:rPr>
              <a:t>NO consolidation. Directly to </a:t>
            </a:r>
            <a:r>
              <a:rPr lang="en-US">
                <a:latin typeface="Arial" panose="020B0604020202020204" pitchFamily="34" charset="0"/>
                <a:cs typeface="Arial" panose="020B0604020202020204" pitchFamily="34" charset="0"/>
              </a:rPr>
              <a:t>m</a:t>
            </a:r>
            <a:r>
              <a:rPr lang="en-FR">
                <a:latin typeface="Arial" panose="020B0604020202020204" pitchFamily="34" charset="0"/>
                <a:cs typeface="Arial" panose="020B0604020202020204" pitchFamily="34" charset="0"/>
              </a:rPr>
              <a:t>aintenance </a:t>
            </a:r>
            <a:r>
              <a:rPr lang="en-US">
                <a:latin typeface="Arial" panose="020B0604020202020204" pitchFamily="34" charset="0"/>
                <a:cs typeface="Arial" panose="020B0604020202020204" pitchFamily="34" charset="0"/>
              </a:rPr>
              <a:t>for</a:t>
            </a:r>
            <a:r>
              <a:rPr lang="en-FR">
                <a:latin typeface="Arial" panose="020B0604020202020204" pitchFamily="34" charset="0"/>
                <a:cs typeface="Arial" panose="020B0604020202020204" pitchFamily="34" charset="0"/>
              </a:rPr>
              <a:t> all patients</a:t>
            </a:r>
          </a:p>
          <a:p>
            <a:pPr marL="342900" indent="-342900" defTabSz="685800">
              <a:lnSpc>
                <a:spcPct val="150000"/>
              </a:lnSpc>
              <a:spcBef>
                <a:spcPts val="600"/>
              </a:spcBef>
              <a:buClr>
                <a:srgbClr val="4F81BD"/>
              </a:buClr>
              <a:buFont typeface="+mj-lt"/>
              <a:buAutoNum type="arabicPeriod"/>
              <a:defRPr/>
            </a:pPr>
            <a:r>
              <a:rPr lang="en-FR">
                <a:latin typeface="Arial" panose="020B0604020202020204" pitchFamily="34" charset="0"/>
                <a:cs typeface="Arial" panose="020B0604020202020204" pitchFamily="34" charset="0"/>
              </a:rPr>
              <a:t>NO consolidation. Directly to </a:t>
            </a:r>
            <a:r>
              <a:rPr lang="en-US">
                <a:latin typeface="Arial" panose="020B0604020202020204" pitchFamily="34" charset="0"/>
                <a:cs typeface="Arial" panose="020B0604020202020204" pitchFamily="34" charset="0"/>
              </a:rPr>
              <a:t>m</a:t>
            </a:r>
            <a:r>
              <a:rPr lang="en-FR">
                <a:latin typeface="Arial" panose="020B0604020202020204" pitchFamily="34" charset="0"/>
                <a:cs typeface="Arial" panose="020B0604020202020204" pitchFamily="34" charset="0"/>
              </a:rPr>
              <a:t>aintenance only for HR NDMM</a:t>
            </a:r>
          </a:p>
          <a:p>
            <a:pPr marL="342900" indent="-342900" defTabSz="685800">
              <a:lnSpc>
                <a:spcPct val="150000"/>
              </a:lnSpc>
              <a:spcBef>
                <a:spcPts val="600"/>
              </a:spcBef>
              <a:buClr>
                <a:srgbClr val="4F81BD"/>
              </a:buClr>
              <a:buFont typeface="+mj-lt"/>
              <a:buAutoNum type="arabicPeriod"/>
              <a:defRPr/>
            </a:pPr>
            <a:r>
              <a:rPr lang="en-FR">
                <a:latin typeface="Arial" panose="020B0604020202020204" pitchFamily="34" charset="0"/>
                <a:cs typeface="Arial" panose="020B0604020202020204" pitchFamily="34" charset="0"/>
              </a:rPr>
              <a:t>YES</a:t>
            </a:r>
            <a:r>
              <a:rPr lang="en-US">
                <a:latin typeface="Arial" panose="020B0604020202020204" pitchFamily="34" charset="0"/>
                <a:cs typeface="Arial" panose="020B0604020202020204" pitchFamily="34" charset="0"/>
              </a:rPr>
              <a:t>,</a:t>
            </a:r>
            <a:r>
              <a:rPr lang="en-FR">
                <a:latin typeface="Arial" panose="020B0604020202020204" pitchFamily="34" charset="0"/>
                <a:cs typeface="Arial" panose="020B0604020202020204" pitchFamily="34" charset="0"/>
              </a:rPr>
              <a:t> consolidation before </a:t>
            </a:r>
            <a:r>
              <a:rPr lang="en-US">
                <a:latin typeface="Arial" panose="020B0604020202020204" pitchFamily="34" charset="0"/>
                <a:cs typeface="Arial" panose="020B0604020202020204" pitchFamily="34" charset="0"/>
              </a:rPr>
              <a:t>m</a:t>
            </a:r>
            <a:r>
              <a:rPr lang="en-FR">
                <a:latin typeface="Arial" panose="020B0604020202020204" pitchFamily="34" charset="0"/>
                <a:cs typeface="Arial" panose="020B0604020202020204" pitchFamily="34" charset="0"/>
              </a:rPr>
              <a:t>aintenance, only for HR NDMM</a:t>
            </a:r>
          </a:p>
          <a:p>
            <a:pPr marL="342900" indent="-342900" defTabSz="685800">
              <a:lnSpc>
                <a:spcPct val="150000"/>
              </a:lnSpc>
              <a:spcBef>
                <a:spcPts val="600"/>
              </a:spcBef>
              <a:buClr>
                <a:srgbClr val="4F81BD"/>
              </a:buClr>
              <a:buFont typeface="+mj-lt"/>
              <a:buAutoNum type="arabicPeriod"/>
              <a:defRPr/>
            </a:pPr>
            <a:r>
              <a:rPr lang="en-FR">
                <a:latin typeface="Arial" panose="020B0604020202020204" pitchFamily="34" charset="0"/>
                <a:cs typeface="Arial" panose="020B0604020202020204" pitchFamily="34" charset="0"/>
              </a:rPr>
              <a:t>YES</a:t>
            </a:r>
            <a:r>
              <a:rPr lang="en-US">
                <a:latin typeface="Arial" panose="020B0604020202020204" pitchFamily="34" charset="0"/>
                <a:cs typeface="Arial" panose="020B0604020202020204" pitchFamily="34" charset="0"/>
              </a:rPr>
              <a:t>,</a:t>
            </a:r>
            <a:r>
              <a:rPr lang="en-FR">
                <a:latin typeface="Arial" panose="020B0604020202020204" pitchFamily="34" charset="0"/>
                <a:cs typeface="Arial" panose="020B0604020202020204" pitchFamily="34" charset="0"/>
              </a:rPr>
              <a:t> consolidation before </a:t>
            </a:r>
            <a:r>
              <a:rPr lang="en-US">
                <a:latin typeface="Arial" panose="020B0604020202020204" pitchFamily="34" charset="0"/>
                <a:cs typeface="Arial" panose="020B0604020202020204" pitchFamily="34" charset="0"/>
              </a:rPr>
              <a:t>m</a:t>
            </a:r>
            <a:r>
              <a:rPr lang="en-FR">
                <a:latin typeface="Arial" panose="020B0604020202020204" pitchFamily="34" charset="0"/>
                <a:cs typeface="Arial" panose="020B0604020202020204" pitchFamily="34" charset="0"/>
              </a:rPr>
              <a:t>aintenance </a:t>
            </a:r>
            <a:r>
              <a:rPr lang="en-US">
                <a:latin typeface="Arial" panose="020B0604020202020204" pitchFamily="34" charset="0"/>
                <a:cs typeface="Arial" panose="020B0604020202020204" pitchFamily="34" charset="0"/>
              </a:rPr>
              <a:t>for</a:t>
            </a:r>
            <a:r>
              <a:rPr lang="en-FR">
                <a:latin typeface="Arial" panose="020B0604020202020204" pitchFamily="34" charset="0"/>
                <a:cs typeface="Arial" panose="020B0604020202020204" pitchFamily="34" charset="0"/>
              </a:rPr>
              <a:t> all patients</a:t>
            </a:r>
          </a:p>
        </p:txBody>
      </p:sp>
      <p:cxnSp>
        <p:nvCxnSpPr>
          <p:cNvPr id="8" name="Connecteur droit 5">
            <a:extLst>
              <a:ext uri="{FF2B5EF4-FFF2-40B4-BE49-F238E27FC236}">
                <a16:creationId xmlns:a16="http://schemas.microsoft.com/office/drawing/2014/main" id="{83FA7D70-D2CD-429B-994C-A654FBE08DEB}"/>
              </a:ext>
            </a:extLst>
          </p:cNvPr>
          <p:cNvCxnSpPr>
            <a:cxnSpLocks/>
          </p:cNvCxnSpPr>
          <p:nvPr/>
        </p:nvCxnSpPr>
        <p:spPr>
          <a:xfrm>
            <a:off x="800100" y="932283"/>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5F451FD6-0A2F-4D2C-8EFA-DA8CC0BAF996}"/>
              </a:ext>
            </a:extLst>
          </p:cNvPr>
          <p:cNvGrpSpPr/>
          <p:nvPr/>
        </p:nvGrpSpPr>
        <p:grpSpPr>
          <a:xfrm>
            <a:off x="52855" y="67643"/>
            <a:ext cx="720000" cy="720000"/>
            <a:chOff x="8151603" y="218984"/>
            <a:chExt cx="720000" cy="720000"/>
          </a:xfrm>
        </p:grpSpPr>
        <p:sp>
          <p:nvSpPr>
            <p:cNvPr id="10" name="Teardrop 9">
              <a:extLst>
                <a:ext uri="{FF2B5EF4-FFF2-40B4-BE49-F238E27FC236}">
                  <a16:creationId xmlns:a16="http://schemas.microsoft.com/office/drawing/2014/main" id="{AB7F0EFD-A8AF-41AB-BDBB-AECA36885AE2}"/>
                </a:ext>
              </a:extLst>
            </p:cNvPr>
            <p:cNvSpPr/>
            <p:nvPr/>
          </p:nvSpPr>
          <p:spPr bwMode="auto">
            <a:xfrm rot="5400000">
              <a:off x="8151603" y="218984"/>
              <a:ext cx="720000" cy="720000"/>
            </a:xfrm>
            <a:prstGeom prst="teardrop">
              <a:avLst/>
            </a:prstGeom>
            <a:solidFill>
              <a:srgbClr val="00AAB8"/>
            </a:solidFill>
            <a:ln w="25400" cap="flat" cmpd="sng" algn="ctr">
              <a:solidFill>
                <a:srgbClr val="00AAB8"/>
              </a:solidFill>
              <a:prstDash val="soli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defRPr/>
              </a:pPr>
              <a:endParaRPr lang="en-NL" sz="2100" b="1" kern="0">
                <a:solidFill>
                  <a:srgbClr val="FFFF00"/>
                </a:solidFill>
                <a:latin typeface="Arial" pitchFamily="34" charset="0"/>
              </a:endParaRPr>
            </a:p>
          </p:txBody>
        </p:sp>
        <p:sp>
          <p:nvSpPr>
            <p:cNvPr id="11" name="TextBox 10">
              <a:extLst>
                <a:ext uri="{FF2B5EF4-FFF2-40B4-BE49-F238E27FC236}">
                  <a16:creationId xmlns:a16="http://schemas.microsoft.com/office/drawing/2014/main" id="{4D5EF4EE-FB87-4783-9412-35BFE86C0D36}"/>
                </a:ext>
              </a:extLst>
            </p:cNvPr>
            <p:cNvSpPr txBox="1"/>
            <p:nvPr/>
          </p:nvSpPr>
          <p:spPr>
            <a:xfrm>
              <a:off x="8278208" y="240432"/>
              <a:ext cx="466795" cy="677108"/>
            </a:xfrm>
            <a:prstGeom prst="rect">
              <a:avLst/>
            </a:prstGeom>
            <a:noFill/>
            <a:ln>
              <a:noFill/>
            </a:ln>
          </p:spPr>
          <p:txBody>
            <a:bodyPr wrap="square" rtlCol="0" anchor="ctr">
              <a:spAutoFit/>
            </a:bodyPr>
            <a:lstStyle/>
            <a:p>
              <a:pPr algn="ctr" defTabSz="342900">
                <a:defRPr/>
              </a:pPr>
              <a:r>
                <a:rPr lang="en-US" sz="2700" b="1" kern="0">
                  <a:solidFill>
                    <a:srgbClr val="FFFFFF"/>
                  </a:solidFill>
                  <a:latin typeface="Arial" panose="020B0604020202020204" pitchFamily="34" charset="0"/>
                  <a:cs typeface="Arial" panose="020B0604020202020204" pitchFamily="34" charset="0"/>
                </a:rPr>
                <a:t>?</a:t>
              </a:r>
              <a:endParaRPr lang="en-NL" sz="2700" b="1" kern="0">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186079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4939" y="83854"/>
            <a:ext cx="5797648" cy="585329"/>
          </a:xfrm>
        </p:spPr>
        <p:txBody>
          <a:bodyPr>
            <a:normAutofit/>
          </a:bodyPr>
          <a:lstStyle/>
          <a:p>
            <a:r>
              <a:rPr lang="en-US" sz="2100" b="1" noProof="0">
                <a:solidFill>
                  <a:srgbClr val="0062A7"/>
                </a:solidFill>
                <a:latin typeface="Calibri" charset="0"/>
                <a:ea typeface="Calibri" charset="0"/>
                <a:cs typeface="Calibri" charset="0"/>
              </a:rPr>
              <a:t>Consolidation? </a:t>
            </a:r>
          </a:p>
        </p:txBody>
      </p:sp>
      <p:sp>
        <p:nvSpPr>
          <p:cNvPr id="12" name="Rectangle 11">
            <a:extLst>
              <a:ext uri="{FF2B5EF4-FFF2-40B4-BE49-F238E27FC236}">
                <a16:creationId xmlns:a16="http://schemas.microsoft.com/office/drawing/2014/main" id="{3B84BEF4-7528-9448-ACCB-A5117F04A253}"/>
              </a:ext>
            </a:extLst>
          </p:cNvPr>
          <p:cNvSpPr/>
          <p:nvPr/>
        </p:nvSpPr>
        <p:spPr>
          <a:xfrm>
            <a:off x="905488" y="1719857"/>
            <a:ext cx="6997118" cy="346249"/>
          </a:xfrm>
          <a:prstGeom prst="rect">
            <a:avLst/>
          </a:prstGeom>
        </p:spPr>
        <p:txBody>
          <a:bodyPr wrap="square">
            <a:spAutoFit/>
          </a:bodyPr>
          <a:lstStyle/>
          <a:p>
            <a:pPr marL="600060" lvl="1" indent="-257168" defTabSz="685800">
              <a:buFont typeface="Arial" charset="0"/>
              <a:buChar char="•"/>
            </a:pPr>
            <a:endParaRPr lang="fr-FR" sz="1650">
              <a:solidFill>
                <a:prstClr val="black"/>
              </a:solidFill>
              <a:latin typeface="Calibri" charset="0"/>
              <a:ea typeface="Calibri" charset="0"/>
              <a:cs typeface="Calibri" charset="0"/>
            </a:endParaRPr>
          </a:p>
        </p:txBody>
      </p:sp>
      <p:sp>
        <p:nvSpPr>
          <p:cNvPr id="13" name="Rectangle 12">
            <a:extLst>
              <a:ext uri="{FF2B5EF4-FFF2-40B4-BE49-F238E27FC236}">
                <a16:creationId xmlns:a16="http://schemas.microsoft.com/office/drawing/2014/main" id="{9048D87E-D485-324B-81A7-B25B300B375A}"/>
              </a:ext>
            </a:extLst>
          </p:cNvPr>
          <p:cNvSpPr/>
          <p:nvPr/>
        </p:nvSpPr>
        <p:spPr>
          <a:xfrm>
            <a:off x="5900972" y="928009"/>
            <a:ext cx="2287605" cy="2862322"/>
          </a:xfrm>
          <a:prstGeom prst="rect">
            <a:avLst/>
          </a:prstGeom>
        </p:spPr>
        <p:txBody>
          <a:bodyPr wrap="square">
            <a:spAutoFit/>
          </a:bodyPr>
          <a:lstStyle/>
          <a:p>
            <a:pPr marL="342900" lvl="1" defTabSz="685800"/>
            <a:r>
              <a:rPr lang="en-US" sz="1500" b="1">
                <a:solidFill>
                  <a:prstClr val="black"/>
                </a:solidFill>
                <a:latin typeface="Calibri" charset="0"/>
                <a:ea typeface="Calibri" charset="0"/>
                <a:cs typeface="Calibri" charset="0"/>
              </a:rPr>
              <a:t>Consolidation? </a:t>
            </a:r>
          </a:p>
          <a:p>
            <a:pPr marL="342900" lvl="1" defTabSz="685800"/>
            <a:r>
              <a:rPr lang="en-US" sz="1500">
                <a:solidFill>
                  <a:prstClr val="black"/>
                </a:solidFill>
                <a:latin typeface="Calibri" charset="0"/>
                <a:ea typeface="Calibri" charset="0"/>
                <a:cs typeface="Calibri" charset="0"/>
              </a:rPr>
              <a:t>Retrospective study</a:t>
            </a:r>
          </a:p>
          <a:p>
            <a:pPr marL="342900" lvl="1" defTabSz="685800"/>
            <a:r>
              <a:rPr lang="en-US" sz="1500">
                <a:solidFill>
                  <a:prstClr val="black"/>
                </a:solidFill>
                <a:latin typeface="Calibri" charset="0"/>
                <a:ea typeface="Calibri" charset="0"/>
                <a:cs typeface="Calibri" charset="0"/>
              </a:rPr>
              <a:t>217 patients</a:t>
            </a:r>
          </a:p>
          <a:p>
            <a:pPr marL="342900" lvl="1" defTabSz="685800"/>
            <a:r>
              <a:rPr lang="fr-FR" sz="1500">
                <a:solidFill>
                  <a:prstClr val="black"/>
                </a:solidFill>
                <a:latin typeface="Calibri" charset="0"/>
                <a:ea typeface="Calibri" charset="0"/>
                <a:cs typeface="Calibri" charset="0"/>
              </a:rPr>
              <a:t>						</a:t>
            </a:r>
          </a:p>
          <a:p>
            <a:pPr defTabSz="685800"/>
            <a:r>
              <a:rPr lang="fr-FR" sz="1500">
                <a:solidFill>
                  <a:prstClr val="black"/>
                </a:solidFill>
                <a:latin typeface="Calibri" charset="0"/>
                <a:ea typeface="Calibri" charset="0"/>
                <a:cs typeface="Calibri" charset="0"/>
              </a:rPr>
              <a:t>								</a:t>
            </a:r>
            <a:endParaRPr lang="fr-FR" sz="1500" b="1">
              <a:solidFill>
                <a:prstClr val="black"/>
              </a:solidFill>
              <a:latin typeface="Calibri" charset="0"/>
              <a:ea typeface="Calibri" charset="0"/>
              <a:cs typeface="Calibri" charset="0"/>
            </a:endParaRPr>
          </a:p>
          <a:p>
            <a:pPr defTabSz="685800"/>
            <a:endParaRPr lang="fr-FR" sz="1500" b="1">
              <a:solidFill>
                <a:prstClr val="black"/>
              </a:solidFill>
              <a:latin typeface="Calibri" charset="0"/>
              <a:ea typeface="Calibri" charset="0"/>
              <a:cs typeface="Calibri" charset="0"/>
            </a:endParaRPr>
          </a:p>
          <a:p>
            <a:pPr defTabSz="685800"/>
            <a:r>
              <a:rPr lang="fr-FR" sz="1500" b="1">
                <a:solidFill>
                  <a:prstClr val="black"/>
                </a:solidFill>
                <a:latin typeface="Calibri" charset="0"/>
                <a:ea typeface="Calibri" charset="0"/>
                <a:cs typeface="Calibri" charset="0"/>
              </a:rPr>
              <a:t>									</a:t>
            </a:r>
            <a:endParaRPr lang="fr-FR" sz="1500">
              <a:solidFill>
                <a:prstClr val="black"/>
              </a:solidFill>
              <a:latin typeface="Calibri" charset="0"/>
              <a:ea typeface="Calibri" charset="0"/>
              <a:cs typeface="Calibri" charset="0"/>
            </a:endParaRPr>
          </a:p>
        </p:txBody>
      </p:sp>
      <p:sp>
        <p:nvSpPr>
          <p:cNvPr id="15" name="Espace réservé du pied de page 3">
            <a:extLst>
              <a:ext uri="{FF2B5EF4-FFF2-40B4-BE49-F238E27FC236}">
                <a16:creationId xmlns:a16="http://schemas.microsoft.com/office/drawing/2014/main" id="{0BF72814-74F1-B74E-AA12-5465A0CF0722}"/>
              </a:ext>
            </a:extLst>
          </p:cNvPr>
          <p:cNvSpPr txBox="1">
            <a:spLocks/>
          </p:cNvSpPr>
          <p:nvPr/>
        </p:nvSpPr>
        <p:spPr bwMode="auto">
          <a:xfrm>
            <a:off x="3229776" y="4900879"/>
            <a:ext cx="5914224"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fr-FR" sz="1050"/>
              <a:t>Leleu X, et al. </a:t>
            </a:r>
            <a:r>
              <a:rPr lang="fr-FR" sz="1050" i="1"/>
              <a:t>Leukemia. </a:t>
            </a:r>
            <a:r>
              <a:rPr lang="fr-FR" sz="1050"/>
              <a:t>2013.</a:t>
            </a:r>
            <a:endParaRPr lang="nb-NO" sz="1050"/>
          </a:p>
        </p:txBody>
      </p:sp>
      <p:pic>
        <p:nvPicPr>
          <p:cNvPr id="4" name="Image 3">
            <a:extLst>
              <a:ext uri="{FF2B5EF4-FFF2-40B4-BE49-F238E27FC236}">
                <a16:creationId xmlns:a16="http://schemas.microsoft.com/office/drawing/2014/main" id="{3E16E3EF-ADF6-D54F-A0CD-0CF93B02112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5426" y="1118430"/>
            <a:ext cx="4874906" cy="3771154"/>
          </a:xfrm>
          <a:prstGeom prst="rect">
            <a:avLst/>
          </a:prstGeom>
        </p:spPr>
      </p:pic>
      <p:sp>
        <p:nvSpPr>
          <p:cNvPr id="5" name="Rectangle 4">
            <a:extLst>
              <a:ext uri="{FF2B5EF4-FFF2-40B4-BE49-F238E27FC236}">
                <a16:creationId xmlns:a16="http://schemas.microsoft.com/office/drawing/2014/main" id="{9F313E90-1291-5E4F-A6B3-BFC2283D0ADB}"/>
              </a:ext>
            </a:extLst>
          </p:cNvPr>
          <p:cNvSpPr/>
          <p:nvPr/>
        </p:nvSpPr>
        <p:spPr>
          <a:xfrm>
            <a:off x="1078428" y="824340"/>
            <a:ext cx="538545" cy="369332"/>
          </a:xfrm>
          <a:prstGeom prst="rect">
            <a:avLst/>
          </a:prstGeom>
        </p:spPr>
        <p:txBody>
          <a:bodyPr wrap="none">
            <a:spAutoFit/>
          </a:bodyPr>
          <a:lstStyle/>
          <a:p>
            <a:pPr defTabSz="685800"/>
            <a:r>
              <a:rPr lang="fr-FR" b="1">
                <a:solidFill>
                  <a:prstClr val="black"/>
                </a:solidFill>
                <a:latin typeface="Calibri" charset="0"/>
                <a:ea typeface="Calibri" charset="0"/>
                <a:cs typeface="Calibri" charset="0"/>
              </a:rPr>
              <a:t>TTP</a:t>
            </a:r>
            <a:endParaRPr lang="fr-FR" b="1">
              <a:solidFill>
                <a:prstClr val="black"/>
              </a:solidFill>
              <a:latin typeface="Calibri" panose="020F0502020204030204"/>
            </a:endParaRPr>
          </a:p>
        </p:txBody>
      </p:sp>
      <p:cxnSp>
        <p:nvCxnSpPr>
          <p:cNvPr id="9" name="Connecteur droit 5">
            <a:extLst>
              <a:ext uri="{FF2B5EF4-FFF2-40B4-BE49-F238E27FC236}">
                <a16:creationId xmlns:a16="http://schemas.microsoft.com/office/drawing/2014/main" id="{4845F61F-4BDD-412D-B7C0-66C7EE598EFE}"/>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487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4939" y="83854"/>
            <a:ext cx="5797648" cy="585329"/>
          </a:xfrm>
        </p:spPr>
        <p:txBody>
          <a:bodyPr>
            <a:normAutofit/>
          </a:bodyPr>
          <a:lstStyle/>
          <a:p>
            <a:r>
              <a:rPr lang="en-US" sz="2100" b="1" noProof="0">
                <a:solidFill>
                  <a:srgbClr val="0062A7"/>
                </a:solidFill>
                <a:latin typeface="Calibri" charset="0"/>
                <a:ea typeface="Calibri" charset="0"/>
                <a:cs typeface="Calibri" charset="0"/>
              </a:rPr>
              <a:t>Controversial: STAMINA</a:t>
            </a:r>
          </a:p>
        </p:txBody>
      </p:sp>
      <p:sp>
        <p:nvSpPr>
          <p:cNvPr id="12" name="Rectangle 11">
            <a:extLst>
              <a:ext uri="{FF2B5EF4-FFF2-40B4-BE49-F238E27FC236}">
                <a16:creationId xmlns:a16="http://schemas.microsoft.com/office/drawing/2014/main" id="{3B84BEF4-7528-9448-ACCB-A5117F04A253}"/>
              </a:ext>
            </a:extLst>
          </p:cNvPr>
          <p:cNvSpPr/>
          <p:nvPr/>
        </p:nvSpPr>
        <p:spPr>
          <a:xfrm>
            <a:off x="905488" y="1719857"/>
            <a:ext cx="6997118" cy="346249"/>
          </a:xfrm>
          <a:prstGeom prst="rect">
            <a:avLst/>
          </a:prstGeom>
        </p:spPr>
        <p:txBody>
          <a:bodyPr wrap="square">
            <a:spAutoFit/>
          </a:bodyPr>
          <a:lstStyle/>
          <a:p>
            <a:pPr marL="600060" lvl="1" indent="-257168" defTabSz="685800">
              <a:buFont typeface="Arial" charset="0"/>
              <a:buChar char="•"/>
            </a:pPr>
            <a:endParaRPr lang="fr-FR" sz="1650">
              <a:solidFill>
                <a:prstClr val="black"/>
              </a:solidFill>
              <a:latin typeface="Calibri" charset="0"/>
              <a:ea typeface="Calibri" charset="0"/>
              <a:cs typeface="Calibri" charset="0"/>
            </a:endParaRPr>
          </a:p>
        </p:txBody>
      </p:sp>
      <p:sp>
        <p:nvSpPr>
          <p:cNvPr id="15" name="Espace réservé du pied de page 3">
            <a:extLst>
              <a:ext uri="{FF2B5EF4-FFF2-40B4-BE49-F238E27FC236}">
                <a16:creationId xmlns:a16="http://schemas.microsoft.com/office/drawing/2014/main" id="{0BF72814-74F1-B74E-AA12-5465A0CF0722}"/>
              </a:ext>
            </a:extLst>
          </p:cNvPr>
          <p:cNvSpPr txBox="1">
            <a:spLocks/>
          </p:cNvSpPr>
          <p:nvPr/>
        </p:nvSpPr>
        <p:spPr bwMode="auto">
          <a:xfrm>
            <a:off x="3229776" y="4900878"/>
            <a:ext cx="5914224"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fr-FR" sz="1050"/>
              <a:t>Stadtmauer EA, et al. </a:t>
            </a:r>
            <a:r>
              <a:rPr lang="fr-FR" sz="1050" i="1"/>
              <a:t>J Clin Oncol. </a:t>
            </a:r>
            <a:r>
              <a:rPr lang="fr-FR" sz="1050"/>
              <a:t>2019.</a:t>
            </a:r>
            <a:endParaRPr lang="nb-NO" sz="1050"/>
          </a:p>
        </p:txBody>
      </p:sp>
      <p:pic>
        <p:nvPicPr>
          <p:cNvPr id="23" name="Image 22">
            <a:extLst>
              <a:ext uri="{FF2B5EF4-FFF2-40B4-BE49-F238E27FC236}">
                <a16:creationId xmlns:a16="http://schemas.microsoft.com/office/drawing/2014/main" id="{67F402D4-E283-B241-9D91-4EA8E58A58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1017" y="1145607"/>
            <a:ext cx="2621561" cy="3195514"/>
          </a:xfrm>
          <a:prstGeom prst="rect">
            <a:avLst/>
          </a:prstGeom>
        </p:spPr>
      </p:pic>
      <p:pic>
        <p:nvPicPr>
          <p:cNvPr id="4" name="Image 3" descr="Une image contenant capture d’écran&#10;&#10;Description générée automatiquement">
            <a:extLst>
              <a:ext uri="{FF2B5EF4-FFF2-40B4-BE49-F238E27FC236}">
                <a16:creationId xmlns:a16="http://schemas.microsoft.com/office/drawing/2014/main" id="{E28F6366-B992-3545-A03E-F8198647AB5D}"/>
              </a:ext>
            </a:extLst>
          </p:cNvPr>
          <p:cNvPicPr>
            <a:picLocks noChangeAspect="1"/>
          </p:cNvPicPr>
          <p:nvPr/>
        </p:nvPicPr>
        <p:blipFill>
          <a:blip r:embed="rId4"/>
          <a:stretch>
            <a:fillRect/>
          </a:stretch>
        </p:blipFill>
        <p:spPr>
          <a:xfrm>
            <a:off x="3537244" y="1076547"/>
            <a:ext cx="5138911" cy="3264574"/>
          </a:xfrm>
          <a:prstGeom prst="rect">
            <a:avLst/>
          </a:prstGeom>
        </p:spPr>
      </p:pic>
      <p:cxnSp>
        <p:nvCxnSpPr>
          <p:cNvPr id="8" name="Connecteur droit 5">
            <a:extLst>
              <a:ext uri="{FF2B5EF4-FFF2-40B4-BE49-F238E27FC236}">
                <a16:creationId xmlns:a16="http://schemas.microsoft.com/office/drawing/2014/main" id="{C62A0014-5334-4212-9D11-B49152738225}"/>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1513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2"/>
          <p:cNvSpPr txBox="1">
            <a:spLocks/>
          </p:cNvSpPr>
          <p:nvPr/>
        </p:nvSpPr>
        <p:spPr>
          <a:xfrm>
            <a:off x="1314450" y="882501"/>
            <a:ext cx="6800850" cy="1252537"/>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685800">
              <a:spcBef>
                <a:spcPts val="0"/>
              </a:spcBef>
              <a:buNone/>
            </a:pPr>
            <a:r>
              <a:rPr lang="en-US" sz="2700">
                <a:solidFill>
                  <a:srgbClr val="0070C0"/>
                </a:solidFill>
                <a:latin typeface="Arial" panose="020B0604020202020204" pitchFamily="34" charset="0"/>
                <a:cs typeface="Arial" panose="020B0604020202020204" pitchFamily="34" charset="0"/>
              </a:rPr>
              <a:t> </a:t>
            </a:r>
            <a:r>
              <a:rPr lang="en-US" sz="2700" b="1">
                <a:solidFill>
                  <a:srgbClr val="0070C0"/>
                </a:solidFill>
                <a:latin typeface="Arial" panose="020B0604020202020204" pitchFamily="34" charset="0"/>
                <a:cs typeface="Arial" panose="020B0604020202020204" pitchFamily="34" charset="0"/>
              </a:rPr>
              <a:t>Smoldering Myeloma:</a:t>
            </a:r>
          </a:p>
          <a:p>
            <a:pPr marL="0" indent="0" algn="ctr" defTabSz="685800">
              <a:spcBef>
                <a:spcPts val="0"/>
              </a:spcBef>
              <a:buNone/>
            </a:pPr>
            <a:r>
              <a:rPr lang="en-US" sz="2700" b="1">
                <a:solidFill>
                  <a:srgbClr val="0070C0"/>
                </a:solidFill>
                <a:latin typeface="Arial" panose="020B0604020202020204" pitchFamily="34" charset="0"/>
                <a:cs typeface="Arial" panose="020B0604020202020204" pitchFamily="34" charset="0"/>
              </a:rPr>
              <a:t>Diagnosis, Criteria, and When and How to Intervene</a:t>
            </a:r>
          </a:p>
        </p:txBody>
      </p:sp>
      <p:grpSp>
        <p:nvGrpSpPr>
          <p:cNvPr id="11" name="Group 10">
            <a:extLst>
              <a:ext uri="{FF2B5EF4-FFF2-40B4-BE49-F238E27FC236}">
                <a16:creationId xmlns:a16="http://schemas.microsoft.com/office/drawing/2014/main" id="{4C804F26-1BD4-A141-A739-8CCBCB330B44}"/>
              </a:ext>
            </a:extLst>
          </p:cNvPr>
          <p:cNvGrpSpPr/>
          <p:nvPr/>
        </p:nvGrpSpPr>
        <p:grpSpPr>
          <a:xfrm>
            <a:off x="0" y="4706167"/>
            <a:ext cx="9144000" cy="437333"/>
            <a:chOff x="0" y="6351089"/>
            <a:chExt cx="12192000" cy="583111"/>
          </a:xfrm>
        </p:grpSpPr>
        <p:pic>
          <p:nvPicPr>
            <p:cNvPr id="12" name="Picture 2">
              <a:extLst>
                <a:ext uri="{FF2B5EF4-FFF2-40B4-BE49-F238E27FC236}">
                  <a16:creationId xmlns:a16="http://schemas.microsoft.com/office/drawing/2014/main" id="{981690F1-8FA6-F44D-9E8C-94AF93714A1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6459537"/>
              <a:ext cx="12192000" cy="47466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799CB62-FB13-2446-BED1-2726BF54CF6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6351089"/>
              <a:ext cx="12192000" cy="109130"/>
            </a:xfrm>
            <a:prstGeom prst="rect">
              <a:avLst/>
            </a:prstGeom>
          </p:spPr>
        </p:pic>
      </p:grpSp>
      <p:sp>
        <p:nvSpPr>
          <p:cNvPr id="8" name="Body">
            <a:extLst>
              <a:ext uri="{FF2B5EF4-FFF2-40B4-BE49-F238E27FC236}">
                <a16:creationId xmlns:a16="http://schemas.microsoft.com/office/drawing/2014/main" id="{BCD50CEF-B908-F541-AB4E-D2EC029693B6}"/>
              </a:ext>
            </a:extLst>
          </p:cNvPr>
          <p:cNvSpPr txBox="1">
            <a:spLocks/>
          </p:cNvSpPr>
          <p:nvPr/>
        </p:nvSpPr>
        <p:spPr>
          <a:xfrm>
            <a:off x="1" y="2526559"/>
            <a:ext cx="9144000" cy="658338"/>
          </a:xfrm>
          <a:prstGeom prst="rect">
            <a:avLst/>
          </a:prstGeom>
        </p:spPr>
        <p:txBody>
          <a:bodyPr>
            <a:noAutofit/>
          </a:bodyPr>
          <a:lstStyle>
            <a:lvl1pPr marL="342900" indent="-342900" algn="l" defTabSz="457200" rtl="0" eaLnBrk="1" latinLnBrk="0" hangingPunct="1">
              <a:spcBef>
                <a:spcPct val="20000"/>
              </a:spcBef>
              <a:buClr>
                <a:schemeClr val="accent1"/>
              </a:buClr>
              <a:buSzPct val="100000"/>
              <a:buFont typeface="Wingdings" charset="2"/>
              <a:buChar char="§"/>
              <a:defRPr sz="20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00000"/>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0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50000"/>
              <a:buFont typeface="Wingdings" charset="2"/>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50000"/>
              <a:buFont typeface="Wingdings" charset="2"/>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342900">
              <a:buClr>
                <a:srgbClr val="4F81BD"/>
              </a:buClr>
              <a:buNone/>
              <a:defRPr sz="2400"/>
            </a:pPr>
            <a:r>
              <a:rPr lang="en-US" sz="1800">
                <a:solidFill>
                  <a:prstClr val="black"/>
                </a:solidFill>
                <a:latin typeface="Calibri"/>
              </a:rPr>
              <a:t>Irene Ghobrial, MD</a:t>
            </a:r>
          </a:p>
          <a:p>
            <a:pPr marL="0" indent="0" algn="ctr" defTabSz="342900">
              <a:buClr>
                <a:srgbClr val="4F81BD"/>
              </a:buClr>
              <a:buNone/>
              <a:defRPr sz="2400"/>
            </a:pPr>
            <a:r>
              <a:rPr lang="en-US" sz="1800">
                <a:solidFill>
                  <a:prstClr val="black"/>
                </a:solidFill>
                <a:latin typeface="Calibri"/>
              </a:rPr>
              <a:t>Lavine Family Chair of Preventative Cancer Therapy</a:t>
            </a:r>
          </a:p>
          <a:p>
            <a:pPr marL="0" indent="0" algn="ctr" defTabSz="342900">
              <a:buClr>
                <a:srgbClr val="4F81BD"/>
              </a:buClr>
              <a:buNone/>
              <a:defRPr sz="2400"/>
            </a:pPr>
            <a:r>
              <a:rPr lang="en-US" sz="1800">
                <a:solidFill>
                  <a:prstClr val="black"/>
                </a:solidFill>
                <a:latin typeface="Calibri"/>
              </a:rPr>
              <a:t>Professor of Medicine</a:t>
            </a:r>
          </a:p>
          <a:p>
            <a:pPr marL="0" indent="0" algn="ctr" defTabSz="342900">
              <a:buClr>
                <a:srgbClr val="4F81BD"/>
              </a:buClr>
              <a:buNone/>
              <a:defRPr sz="2400"/>
            </a:pPr>
            <a:r>
              <a:rPr lang="en-US" sz="1800">
                <a:solidFill>
                  <a:prstClr val="black"/>
                </a:solidFill>
                <a:latin typeface="Calibri"/>
              </a:rPr>
              <a:t>Harvard Medical School</a:t>
            </a:r>
          </a:p>
          <a:p>
            <a:pPr marL="0" indent="0" algn="ctr" defTabSz="342900">
              <a:buClr>
                <a:srgbClr val="4F81BD"/>
              </a:buClr>
              <a:buNone/>
              <a:defRPr sz="2400"/>
            </a:pPr>
            <a:r>
              <a:rPr lang="en-US" sz="1800">
                <a:solidFill>
                  <a:prstClr val="black"/>
                </a:solidFill>
                <a:latin typeface="Calibri"/>
              </a:rPr>
              <a:t>Dana-Farber Cancer Institute</a:t>
            </a:r>
          </a:p>
          <a:p>
            <a:pPr marL="0" indent="0" algn="ctr" defTabSz="342900">
              <a:buClr>
                <a:srgbClr val="4F81BD"/>
              </a:buClr>
              <a:buNone/>
              <a:defRPr sz="2400"/>
            </a:pPr>
            <a:r>
              <a:rPr lang="en-US" sz="1800">
                <a:solidFill>
                  <a:prstClr val="black"/>
                </a:solidFill>
                <a:latin typeface="Calibri"/>
              </a:rPr>
              <a:t>Boston, MA </a:t>
            </a:r>
          </a:p>
          <a:p>
            <a:pPr marL="0" indent="0" algn="ctr" defTabSz="342900">
              <a:buClr>
                <a:srgbClr val="4F81BD"/>
              </a:buClr>
              <a:buNone/>
            </a:pPr>
            <a:endParaRPr lang="en-US" sz="135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336800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4942" y="83854"/>
            <a:ext cx="5797648" cy="585329"/>
          </a:xfrm>
        </p:spPr>
        <p:txBody>
          <a:bodyPr>
            <a:normAutofit/>
          </a:bodyPr>
          <a:lstStyle/>
          <a:p>
            <a:r>
              <a:rPr lang="en-US" sz="2100" b="1" noProof="0">
                <a:solidFill>
                  <a:srgbClr val="0062A7"/>
                </a:solidFill>
                <a:latin typeface="Calibri" charset="0"/>
                <a:ea typeface="Calibri" charset="0"/>
                <a:cs typeface="Calibri" charset="0"/>
              </a:rPr>
              <a:t>However, Consolidation According to EU Standards </a:t>
            </a:r>
          </a:p>
        </p:txBody>
      </p:sp>
      <p:sp>
        <p:nvSpPr>
          <p:cNvPr id="12" name="Rectangle 11">
            <a:extLst>
              <a:ext uri="{FF2B5EF4-FFF2-40B4-BE49-F238E27FC236}">
                <a16:creationId xmlns:a16="http://schemas.microsoft.com/office/drawing/2014/main" id="{3B84BEF4-7528-9448-ACCB-A5117F04A253}"/>
              </a:ext>
            </a:extLst>
          </p:cNvPr>
          <p:cNvSpPr/>
          <p:nvPr/>
        </p:nvSpPr>
        <p:spPr>
          <a:xfrm>
            <a:off x="905488" y="1555288"/>
            <a:ext cx="6997118" cy="346249"/>
          </a:xfrm>
          <a:prstGeom prst="rect">
            <a:avLst/>
          </a:prstGeom>
        </p:spPr>
        <p:txBody>
          <a:bodyPr wrap="square">
            <a:spAutoFit/>
          </a:bodyPr>
          <a:lstStyle/>
          <a:p>
            <a:pPr marL="600060" lvl="1" indent="-257168" defTabSz="685800">
              <a:buFont typeface="Arial" charset="0"/>
              <a:buChar char="•"/>
            </a:pPr>
            <a:endParaRPr lang="fr-FR" sz="1650">
              <a:solidFill>
                <a:prstClr val="black"/>
              </a:solidFill>
              <a:latin typeface="Calibri" charset="0"/>
              <a:ea typeface="Calibri" charset="0"/>
              <a:cs typeface="Calibri" charset="0"/>
            </a:endParaRPr>
          </a:p>
        </p:txBody>
      </p:sp>
      <p:pic>
        <p:nvPicPr>
          <p:cNvPr id="14" name="Image 13">
            <a:extLst>
              <a:ext uri="{FF2B5EF4-FFF2-40B4-BE49-F238E27FC236}">
                <a16:creationId xmlns:a16="http://schemas.microsoft.com/office/drawing/2014/main" id="{38496D06-504E-1B4C-B6FC-DB669B24F3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21307" y="902887"/>
            <a:ext cx="5888490" cy="3640554"/>
          </a:xfrm>
          <a:prstGeom prst="rect">
            <a:avLst/>
          </a:prstGeom>
        </p:spPr>
      </p:pic>
      <p:sp>
        <p:nvSpPr>
          <p:cNvPr id="15" name="Espace réservé du pied de page 3">
            <a:extLst>
              <a:ext uri="{FF2B5EF4-FFF2-40B4-BE49-F238E27FC236}">
                <a16:creationId xmlns:a16="http://schemas.microsoft.com/office/drawing/2014/main" id="{0BF72814-74F1-B74E-AA12-5465A0CF0722}"/>
              </a:ext>
            </a:extLst>
          </p:cNvPr>
          <p:cNvSpPr txBox="1">
            <a:spLocks/>
          </p:cNvSpPr>
          <p:nvPr/>
        </p:nvSpPr>
        <p:spPr bwMode="auto">
          <a:xfrm>
            <a:off x="3229776" y="4900879"/>
            <a:ext cx="5914224"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fr-FR" sz="1050"/>
              <a:t>Sonneveld P, et al. ASH 2016.</a:t>
            </a:r>
            <a:endParaRPr lang="nb-NO" sz="1050"/>
          </a:p>
        </p:txBody>
      </p:sp>
      <p:pic>
        <p:nvPicPr>
          <p:cNvPr id="16" name="Image 15">
            <a:extLst>
              <a:ext uri="{FF2B5EF4-FFF2-40B4-BE49-F238E27FC236}">
                <a16:creationId xmlns:a16="http://schemas.microsoft.com/office/drawing/2014/main" id="{478F35F6-1A11-5540-B15B-29A16741825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8631" y="1145307"/>
            <a:ext cx="2505687" cy="3166277"/>
          </a:xfrm>
          <a:prstGeom prst="rect">
            <a:avLst/>
          </a:prstGeom>
        </p:spPr>
      </p:pic>
      <p:cxnSp>
        <p:nvCxnSpPr>
          <p:cNvPr id="8" name="Connecteur droit 5">
            <a:extLst>
              <a:ext uri="{FF2B5EF4-FFF2-40B4-BE49-F238E27FC236}">
                <a16:creationId xmlns:a16="http://schemas.microsoft.com/office/drawing/2014/main" id="{67B47ACA-00C1-428B-87E5-EF9524F91F31}"/>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2709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par>
                                <p:cTn id="8" presetID="22" presetClass="entr" presetSubtype="8"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ipe(left)">
                                      <p:cBhvr>
                                        <p:cTn id="1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3835" y="86010"/>
            <a:ext cx="7543800" cy="585329"/>
          </a:xfrm>
        </p:spPr>
        <p:txBody>
          <a:bodyPr>
            <a:noAutofit/>
          </a:bodyPr>
          <a:lstStyle/>
          <a:p>
            <a:r>
              <a:rPr lang="en-US" sz="2100" b="1" noProof="0">
                <a:solidFill>
                  <a:srgbClr val="0062A7"/>
                </a:solidFill>
                <a:latin typeface="Calibri" charset="0"/>
                <a:ea typeface="Calibri" charset="0"/>
                <a:cs typeface="Calibri" charset="0"/>
              </a:rPr>
              <a:t>MRD Negative Rate After Prolonged Treatment = Consolidation</a:t>
            </a:r>
          </a:p>
        </p:txBody>
      </p:sp>
      <p:sp>
        <p:nvSpPr>
          <p:cNvPr id="20" name="Rectangle à coins arrondis 4">
            <a:extLst>
              <a:ext uri="{FF2B5EF4-FFF2-40B4-BE49-F238E27FC236}">
                <a16:creationId xmlns:a16="http://schemas.microsoft.com/office/drawing/2014/main" id="{AB53BF17-C551-7C48-8365-8A87D228BD50}"/>
              </a:ext>
            </a:extLst>
          </p:cNvPr>
          <p:cNvSpPr/>
          <p:nvPr/>
        </p:nvSpPr>
        <p:spPr>
          <a:xfrm>
            <a:off x="1428752" y="921021"/>
            <a:ext cx="1130273" cy="555262"/>
          </a:xfrm>
          <a:prstGeom prst="roundRect">
            <a:avLst/>
          </a:prstGeom>
          <a:solidFill>
            <a:srgbClr val="BEECFF"/>
          </a:solidFill>
        </p:spPr>
        <p:style>
          <a:lnRef idx="2">
            <a:schemeClr val="accent6"/>
          </a:lnRef>
          <a:fillRef idx="1">
            <a:schemeClr val="lt1"/>
          </a:fillRef>
          <a:effectRef idx="0">
            <a:schemeClr val="accent6"/>
          </a:effectRef>
          <a:fontRef idx="minor">
            <a:schemeClr val="dk1"/>
          </a:fontRef>
        </p:style>
        <p:txBody>
          <a:bodyPr rtlCol="0" anchor="ctr"/>
          <a:lstStyle/>
          <a:p>
            <a:pPr algn="ctr" defTabSz="685800"/>
            <a:r>
              <a:rPr lang="fr-FR" sz="1200" b="1">
                <a:solidFill>
                  <a:prstClr val="black"/>
                </a:solidFill>
                <a:latin typeface="Calibri" charset="0"/>
                <a:ea typeface="Calibri" charset="0"/>
                <a:cs typeface="Calibri" charset="0"/>
              </a:rPr>
              <a:t>Induction </a:t>
            </a:r>
          </a:p>
        </p:txBody>
      </p:sp>
      <p:sp>
        <p:nvSpPr>
          <p:cNvPr id="21" name="Rectangle à coins arrondis 13">
            <a:extLst>
              <a:ext uri="{FF2B5EF4-FFF2-40B4-BE49-F238E27FC236}">
                <a16:creationId xmlns:a16="http://schemas.microsoft.com/office/drawing/2014/main" id="{B8744DA5-70BB-2E40-9ABC-E4162ED14828}"/>
              </a:ext>
            </a:extLst>
          </p:cNvPr>
          <p:cNvSpPr/>
          <p:nvPr/>
        </p:nvSpPr>
        <p:spPr>
          <a:xfrm>
            <a:off x="3136188" y="921021"/>
            <a:ext cx="1267858" cy="555262"/>
          </a:xfrm>
          <a:prstGeom prst="roundRect">
            <a:avLst/>
          </a:prstGeom>
          <a:solidFill>
            <a:srgbClr val="BEECFF"/>
          </a:solidFill>
        </p:spPr>
        <p:style>
          <a:lnRef idx="2">
            <a:schemeClr val="accent6"/>
          </a:lnRef>
          <a:fillRef idx="1">
            <a:schemeClr val="lt1"/>
          </a:fillRef>
          <a:effectRef idx="0">
            <a:schemeClr val="accent6"/>
          </a:effectRef>
          <a:fontRef idx="minor">
            <a:schemeClr val="dk1"/>
          </a:fontRef>
        </p:style>
        <p:txBody>
          <a:bodyPr rtlCol="0" anchor="ctr"/>
          <a:lstStyle/>
          <a:p>
            <a:pPr algn="ctr" defTabSz="685800"/>
            <a:r>
              <a:rPr lang="en-US" sz="1200" b="1">
                <a:solidFill>
                  <a:prstClr val="black"/>
                </a:solidFill>
                <a:latin typeface="Calibri" charset="0"/>
                <a:ea typeface="Calibri" charset="0"/>
                <a:cs typeface="Calibri" charset="0"/>
              </a:rPr>
              <a:t>Melphalan HD with ASCT</a:t>
            </a:r>
          </a:p>
        </p:txBody>
      </p:sp>
      <p:sp>
        <p:nvSpPr>
          <p:cNvPr id="22" name="Rectangle à coins arrondis 14">
            <a:extLst>
              <a:ext uri="{FF2B5EF4-FFF2-40B4-BE49-F238E27FC236}">
                <a16:creationId xmlns:a16="http://schemas.microsoft.com/office/drawing/2014/main" id="{CF379229-25A7-6B4B-BDB5-E9700003EB9E}"/>
              </a:ext>
            </a:extLst>
          </p:cNvPr>
          <p:cNvSpPr/>
          <p:nvPr/>
        </p:nvSpPr>
        <p:spPr>
          <a:xfrm>
            <a:off x="4898022" y="921021"/>
            <a:ext cx="1130273" cy="555262"/>
          </a:xfrm>
          <a:prstGeom prst="roundRect">
            <a:avLst/>
          </a:prstGeom>
          <a:solidFill>
            <a:srgbClr val="0082DE"/>
          </a:solidFill>
        </p:spPr>
        <p:style>
          <a:lnRef idx="2">
            <a:schemeClr val="accent6"/>
          </a:lnRef>
          <a:fillRef idx="1">
            <a:schemeClr val="lt1"/>
          </a:fillRef>
          <a:effectRef idx="0">
            <a:schemeClr val="accent6"/>
          </a:effectRef>
          <a:fontRef idx="minor">
            <a:schemeClr val="dk1"/>
          </a:fontRef>
        </p:style>
        <p:txBody>
          <a:bodyPr rtlCol="0" anchor="ctr"/>
          <a:lstStyle/>
          <a:p>
            <a:pPr algn="ctr" defTabSz="685800"/>
            <a:r>
              <a:rPr lang="fr-FR" sz="1200" b="1">
                <a:solidFill>
                  <a:prstClr val="white"/>
                </a:solidFill>
                <a:latin typeface="Calibri" charset="0"/>
                <a:ea typeface="Calibri" charset="0"/>
                <a:cs typeface="Calibri" charset="0"/>
              </a:rPr>
              <a:t>Consolidation</a:t>
            </a:r>
          </a:p>
        </p:txBody>
      </p:sp>
      <p:cxnSp>
        <p:nvCxnSpPr>
          <p:cNvPr id="24" name="Connecteur droit avec flèche 23">
            <a:extLst>
              <a:ext uri="{FF2B5EF4-FFF2-40B4-BE49-F238E27FC236}">
                <a16:creationId xmlns:a16="http://schemas.microsoft.com/office/drawing/2014/main" id="{4EBF5A62-8467-0D4D-A4FA-495D490FF162}"/>
              </a:ext>
            </a:extLst>
          </p:cNvPr>
          <p:cNvCxnSpPr>
            <a:cxnSpLocks/>
          </p:cNvCxnSpPr>
          <p:nvPr/>
        </p:nvCxnSpPr>
        <p:spPr>
          <a:xfrm>
            <a:off x="2698059" y="1176087"/>
            <a:ext cx="246340" cy="2"/>
          </a:xfrm>
          <a:prstGeom prst="straightConnector1">
            <a:avLst/>
          </a:prstGeom>
          <a:ln w="28575">
            <a:solidFill>
              <a:srgbClr val="0062A7"/>
            </a:solidFill>
            <a:tailEnd type="triangle"/>
          </a:ln>
        </p:spPr>
        <p:style>
          <a:lnRef idx="1">
            <a:schemeClr val="dk1"/>
          </a:lnRef>
          <a:fillRef idx="0">
            <a:schemeClr val="dk1"/>
          </a:fillRef>
          <a:effectRef idx="0">
            <a:schemeClr val="dk1"/>
          </a:effectRef>
          <a:fontRef idx="minor">
            <a:schemeClr val="tx1"/>
          </a:fontRef>
        </p:style>
      </p:cxnSp>
      <p:cxnSp>
        <p:nvCxnSpPr>
          <p:cNvPr id="25" name="Connecteur droit avec flèche 24">
            <a:extLst>
              <a:ext uri="{FF2B5EF4-FFF2-40B4-BE49-F238E27FC236}">
                <a16:creationId xmlns:a16="http://schemas.microsoft.com/office/drawing/2014/main" id="{C3B7663D-1582-4843-A157-19A766DFB2FB}"/>
              </a:ext>
            </a:extLst>
          </p:cNvPr>
          <p:cNvCxnSpPr>
            <a:cxnSpLocks/>
          </p:cNvCxnSpPr>
          <p:nvPr/>
        </p:nvCxnSpPr>
        <p:spPr>
          <a:xfrm>
            <a:off x="4515139" y="1168829"/>
            <a:ext cx="262040" cy="5"/>
          </a:xfrm>
          <a:prstGeom prst="straightConnector1">
            <a:avLst/>
          </a:prstGeom>
          <a:ln w="28575">
            <a:solidFill>
              <a:srgbClr val="0062A7"/>
            </a:solidFill>
            <a:tailEnd type="triangle"/>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3B84BEF4-7528-9448-ACCB-A5117F04A253}"/>
              </a:ext>
            </a:extLst>
          </p:cNvPr>
          <p:cNvSpPr/>
          <p:nvPr/>
        </p:nvSpPr>
        <p:spPr>
          <a:xfrm>
            <a:off x="905488" y="1719857"/>
            <a:ext cx="6997118" cy="346249"/>
          </a:xfrm>
          <a:prstGeom prst="rect">
            <a:avLst/>
          </a:prstGeom>
        </p:spPr>
        <p:txBody>
          <a:bodyPr wrap="square">
            <a:spAutoFit/>
          </a:bodyPr>
          <a:lstStyle/>
          <a:p>
            <a:pPr marL="600060" lvl="1" indent="-257168" defTabSz="685800">
              <a:buFont typeface="Arial" charset="0"/>
              <a:buChar char="•"/>
            </a:pPr>
            <a:endParaRPr lang="fr-FR" sz="1650">
              <a:solidFill>
                <a:prstClr val="black"/>
              </a:solidFill>
              <a:latin typeface="Calibri" charset="0"/>
              <a:ea typeface="Calibri" charset="0"/>
              <a:cs typeface="Calibri" charset="0"/>
            </a:endParaRPr>
          </a:p>
        </p:txBody>
      </p:sp>
      <p:graphicFrame>
        <p:nvGraphicFramePr>
          <p:cNvPr id="17" name="Tableau 16">
            <a:extLst>
              <a:ext uri="{FF2B5EF4-FFF2-40B4-BE49-F238E27FC236}">
                <a16:creationId xmlns:a16="http://schemas.microsoft.com/office/drawing/2014/main" id="{570C934D-1E6C-504F-95CE-56BFB7BF8DE7}"/>
              </a:ext>
            </a:extLst>
          </p:cNvPr>
          <p:cNvGraphicFramePr>
            <a:graphicFrameLocks noGrp="1"/>
          </p:cNvGraphicFramePr>
          <p:nvPr/>
        </p:nvGraphicFramePr>
        <p:xfrm>
          <a:off x="1428750" y="1756435"/>
          <a:ext cx="6357424" cy="3048000"/>
        </p:xfrm>
        <a:graphic>
          <a:graphicData uri="http://schemas.openxmlformats.org/drawingml/2006/table">
            <a:tbl>
              <a:tblPr firstRow="1" bandRow="1">
                <a:tableStyleId>{85BE263C-DBD7-4A20-BB59-AAB30ACAA65A}</a:tableStyleId>
              </a:tblPr>
              <a:tblGrid>
                <a:gridCol w="1429774">
                  <a:extLst>
                    <a:ext uri="{9D8B030D-6E8A-4147-A177-3AD203B41FA5}">
                      <a16:colId xmlns:a16="http://schemas.microsoft.com/office/drawing/2014/main" val="1057579959"/>
                    </a:ext>
                  </a:extLst>
                </a:gridCol>
                <a:gridCol w="1431656">
                  <a:extLst>
                    <a:ext uri="{9D8B030D-6E8A-4147-A177-3AD203B41FA5}">
                      <a16:colId xmlns:a16="http://schemas.microsoft.com/office/drawing/2014/main" val="1867333342"/>
                    </a:ext>
                  </a:extLst>
                </a:gridCol>
                <a:gridCol w="811408">
                  <a:extLst>
                    <a:ext uri="{9D8B030D-6E8A-4147-A177-3AD203B41FA5}">
                      <a16:colId xmlns:a16="http://schemas.microsoft.com/office/drawing/2014/main" val="1734558104"/>
                    </a:ext>
                  </a:extLst>
                </a:gridCol>
                <a:gridCol w="894862">
                  <a:extLst>
                    <a:ext uri="{9D8B030D-6E8A-4147-A177-3AD203B41FA5}">
                      <a16:colId xmlns:a16="http://schemas.microsoft.com/office/drawing/2014/main" val="4196066518"/>
                    </a:ext>
                  </a:extLst>
                </a:gridCol>
                <a:gridCol w="894862">
                  <a:extLst>
                    <a:ext uri="{9D8B030D-6E8A-4147-A177-3AD203B41FA5}">
                      <a16:colId xmlns:a16="http://schemas.microsoft.com/office/drawing/2014/main" val="2486568915"/>
                    </a:ext>
                  </a:extLst>
                </a:gridCol>
                <a:gridCol w="894862">
                  <a:extLst>
                    <a:ext uri="{9D8B030D-6E8A-4147-A177-3AD203B41FA5}">
                      <a16:colId xmlns:a16="http://schemas.microsoft.com/office/drawing/2014/main" val="3306213941"/>
                    </a:ext>
                  </a:extLst>
                </a:gridCol>
              </a:tblGrid>
              <a:tr h="434340">
                <a:tc>
                  <a:txBody>
                    <a:bodyPr/>
                    <a:lstStyle/>
                    <a:p>
                      <a:endParaRPr lang="en-US" sz="1200" noProof="0">
                        <a:solidFill>
                          <a:schemeClr val="tx1">
                            <a:lumMod val="85000"/>
                            <a:lumOff val="15000"/>
                          </a:schemeClr>
                        </a:solidFill>
                        <a:latin typeface="Calibri" panose="020F0502020204030204" pitchFamily="34" charset="0"/>
                        <a:cs typeface="Calibri" panose="020F0502020204030204" pitchFamily="34" charset="0"/>
                      </a:endParaRPr>
                    </a:p>
                  </a:txBody>
                  <a:tcPr marL="68580" marR="68580" marT="34290" marB="34290" anchor="ctr">
                    <a:lnL w="12700" cap="flat" cmpd="sng" algn="ctr">
                      <a:solidFill>
                        <a:srgbClr val="0062A7"/>
                      </a:solidFill>
                      <a:prstDash val="solid"/>
                      <a:round/>
                      <a:headEnd type="none" w="med" len="med"/>
                      <a:tailEnd type="none" w="med" len="med"/>
                    </a:lnL>
                    <a:lnT w="12700" cap="flat" cmpd="sng" algn="ctr">
                      <a:solidFill>
                        <a:srgbClr val="0062A7"/>
                      </a:solidFill>
                      <a:prstDash val="solid"/>
                      <a:round/>
                      <a:headEnd type="none" w="med" len="med"/>
                      <a:tailEnd type="none" w="med" len="med"/>
                    </a:lnT>
                    <a:lnB w="12700" cap="flat" cmpd="sng" algn="ctr">
                      <a:solidFill>
                        <a:srgbClr val="0062A7"/>
                      </a:solidFill>
                      <a:prstDash val="solid"/>
                      <a:round/>
                      <a:headEnd type="none" w="med" len="med"/>
                      <a:tailEnd type="none" w="med" len="med"/>
                    </a:lnB>
                    <a:solidFill>
                      <a:srgbClr val="0082DE"/>
                    </a:solidFill>
                  </a:tcPr>
                </a:tc>
                <a:tc>
                  <a:txBody>
                    <a:bodyPr/>
                    <a:lstStyle/>
                    <a:p>
                      <a:pPr algn="ctr"/>
                      <a:endParaRPr lang="en-US" sz="1200" noProof="0">
                        <a:solidFill>
                          <a:schemeClr val="tx1">
                            <a:lumMod val="85000"/>
                            <a:lumOff val="15000"/>
                          </a:schemeClr>
                        </a:solidFill>
                        <a:latin typeface="Calibri" panose="020F0502020204030204" pitchFamily="34" charset="0"/>
                        <a:cs typeface="Calibri" panose="020F0502020204030204" pitchFamily="34" charset="0"/>
                      </a:endParaRPr>
                    </a:p>
                  </a:txBody>
                  <a:tcPr marL="68580" marR="68580" marT="34290" marB="34290" anchor="ctr">
                    <a:lnT w="12700" cap="flat" cmpd="sng" algn="ctr">
                      <a:solidFill>
                        <a:srgbClr val="0062A7"/>
                      </a:solidFill>
                      <a:prstDash val="solid"/>
                      <a:round/>
                      <a:headEnd type="none" w="med" len="med"/>
                      <a:tailEnd type="none" w="med" len="med"/>
                    </a:lnT>
                    <a:lnB w="12700" cap="flat" cmpd="sng" algn="ctr">
                      <a:solidFill>
                        <a:srgbClr val="0062A7"/>
                      </a:solidFill>
                      <a:prstDash val="solid"/>
                      <a:round/>
                      <a:headEnd type="none" w="med" len="med"/>
                      <a:tailEnd type="none" w="med" len="med"/>
                    </a:lnB>
                    <a:solidFill>
                      <a:srgbClr val="0082DE"/>
                    </a:solidFill>
                  </a:tcPr>
                </a:tc>
                <a:tc>
                  <a:txBody>
                    <a:bodyPr/>
                    <a:lstStyle/>
                    <a:p>
                      <a:pPr algn="ctr"/>
                      <a:r>
                        <a:rPr lang="en-US" sz="1200" noProof="0">
                          <a:solidFill>
                            <a:schemeClr val="bg1"/>
                          </a:solidFill>
                          <a:latin typeface="Calibri" panose="020F0502020204030204" pitchFamily="34" charset="0"/>
                          <a:cs typeface="Calibri" panose="020F0502020204030204" pitchFamily="34" charset="0"/>
                        </a:rPr>
                        <a:t>≥ VGPR</a:t>
                      </a:r>
                    </a:p>
                  </a:txBody>
                  <a:tcPr marL="68580" marR="68580" marT="34290" marB="34290" anchor="ctr">
                    <a:lnT w="12700" cap="flat" cmpd="sng" algn="ctr">
                      <a:solidFill>
                        <a:srgbClr val="0062A7"/>
                      </a:solidFill>
                      <a:prstDash val="solid"/>
                      <a:round/>
                      <a:headEnd type="none" w="med" len="med"/>
                      <a:tailEnd type="none" w="med" len="med"/>
                    </a:lnT>
                    <a:lnB w="12700" cap="flat" cmpd="sng" algn="ctr">
                      <a:solidFill>
                        <a:srgbClr val="0062A7"/>
                      </a:solidFill>
                      <a:prstDash val="solid"/>
                      <a:round/>
                      <a:headEnd type="none" w="med" len="med"/>
                      <a:tailEnd type="none" w="med" len="med"/>
                    </a:lnB>
                    <a:solidFill>
                      <a:srgbClr val="0082DE"/>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noProof="0">
                          <a:solidFill>
                            <a:schemeClr val="bg1"/>
                          </a:solidFill>
                          <a:latin typeface="Calibri" panose="020F0502020204030204" pitchFamily="34" charset="0"/>
                          <a:cs typeface="Calibri" panose="020F0502020204030204" pitchFamily="34" charset="0"/>
                        </a:rPr>
                        <a:t>≥ CR</a:t>
                      </a:r>
                    </a:p>
                  </a:txBody>
                  <a:tcPr marL="68580" marR="68580" marT="34290" marB="34290" anchor="ctr">
                    <a:lnT w="12700" cap="flat" cmpd="sng" algn="ctr">
                      <a:solidFill>
                        <a:srgbClr val="0062A7"/>
                      </a:solidFill>
                      <a:prstDash val="solid"/>
                      <a:round/>
                      <a:headEnd type="none" w="med" len="med"/>
                      <a:tailEnd type="none" w="med" len="med"/>
                    </a:lnT>
                    <a:lnB w="12700" cap="flat" cmpd="sng" algn="ctr">
                      <a:solidFill>
                        <a:srgbClr val="0062A7"/>
                      </a:solidFill>
                      <a:prstDash val="solid"/>
                      <a:round/>
                      <a:headEnd type="none" w="med" len="med"/>
                      <a:tailEnd type="none" w="med" len="med"/>
                    </a:lnB>
                    <a:solidFill>
                      <a:srgbClr val="0082DE"/>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noProof="0">
                          <a:solidFill>
                            <a:schemeClr val="bg1"/>
                          </a:solidFill>
                          <a:latin typeface="Calibri" panose="020F0502020204030204" pitchFamily="34" charset="0"/>
                          <a:cs typeface="Calibri" panose="020F0502020204030204" pitchFamily="34" charset="0"/>
                        </a:rPr>
                        <a:t>≥ sCR</a:t>
                      </a:r>
                    </a:p>
                  </a:txBody>
                  <a:tcPr marL="68580" marR="68580" marT="34290" marB="34290" anchor="ctr">
                    <a:lnT w="12700" cap="flat" cmpd="sng" algn="ctr">
                      <a:solidFill>
                        <a:srgbClr val="0062A7"/>
                      </a:solidFill>
                      <a:prstDash val="solid"/>
                      <a:round/>
                      <a:headEnd type="none" w="med" len="med"/>
                      <a:tailEnd type="none" w="med" len="med"/>
                    </a:lnT>
                    <a:lnB w="12700" cap="flat" cmpd="sng" algn="ctr">
                      <a:solidFill>
                        <a:srgbClr val="0062A7"/>
                      </a:solidFill>
                      <a:prstDash val="solid"/>
                      <a:round/>
                      <a:headEnd type="none" w="med" len="med"/>
                      <a:tailEnd type="none" w="med" len="med"/>
                    </a:lnB>
                    <a:solidFill>
                      <a:srgbClr val="0082DE"/>
                    </a:solidFill>
                  </a:tcPr>
                </a:tc>
                <a:tc>
                  <a:txBody>
                    <a:bodyPr/>
                    <a:lstStyle/>
                    <a:p>
                      <a:pPr algn="ctr"/>
                      <a:r>
                        <a:rPr lang="en-US" sz="1200" noProof="0">
                          <a:solidFill>
                            <a:schemeClr val="bg1"/>
                          </a:solidFill>
                          <a:latin typeface="Calibri" panose="020F0502020204030204" pitchFamily="34" charset="0"/>
                          <a:cs typeface="Calibri" panose="020F0502020204030204" pitchFamily="34" charset="0"/>
                        </a:rPr>
                        <a:t>MRD neg (10</a:t>
                      </a:r>
                      <a:r>
                        <a:rPr lang="en-US" sz="1200" baseline="30000" noProof="0">
                          <a:solidFill>
                            <a:schemeClr val="bg1"/>
                          </a:solidFill>
                          <a:latin typeface="Calibri" panose="020F0502020204030204" pitchFamily="34" charset="0"/>
                          <a:cs typeface="Calibri" panose="020F0502020204030204" pitchFamily="34" charset="0"/>
                        </a:rPr>
                        <a:t>-5</a:t>
                      </a:r>
                      <a:r>
                        <a:rPr lang="en-US" sz="1200" noProof="0">
                          <a:solidFill>
                            <a:schemeClr val="bg1"/>
                          </a:solidFill>
                          <a:latin typeface="Calibri" panose="020F0502020204030204" pitchFamily="34" charset="0"/>
                          <a:cs typeface="Calibri" panose="020F0502020204030204" pitchFamily="34" charset="0"/>
                        </a:rPr>
                        <a:t>)</a:t>
                      </a:r>
                    </a:p>
                  </a:txBody>
                  <a:tcPr marL="68580" marR="68580" marT="34290" marB="34290" anchor="ctr">
                    <a:lnR w="12700" cap="flat" cmpd="sng" algn="ctr">
                      <a:solidFill>
                        <a:srgbClr val="0062A7"/>
                      </a:solidFill>
                      <a:prstDash val="solid"/>
                      <a:round/>
                      <a:headEnd type="none" w="med" len="med"/>
                      <a:tailEnd type="none" w="med" len="med"/>
                    </a:lnR>
                    <a:lnT w="12700" cap="flat" cmpd="sng" algn="ctr">
                      <a:solidFill>
                        <a:srgbClr val="0062A7"/>
                      </a:solidFill>
                      <a:prstDash val="solid"/>
                      <a:round/>
                      <a:headEnd type="none" w="med" len="med"/>
                      <a:tailEnd type="none" w="med" len="med"/>
                    </a:lnT>
                    <a:lnB w="12700" cap="flat" cmpd="sng" algn="ctr">
                      <a:solidFill>
                        <a:srgbClr val="0062A7"/>
                      </a:solidFill>
                      <a:prstDash val="solid"/>
                      <a:round/>
                      <a:headEnd type="none" w="med" len="med"/>
                      <a:tailEnd type="none" w="med" len="med"/>
                    </a:lnB>
                    <a:solidFill>
                      <a:srgbClr val="0082DE"/>
                    </a:solidFill>
                  </a:tcPr>
                </a:tc>
                <a:extLst>
                  <a:ext uri="{0D108BD9-81ED-4DB2-BD59-A6C34878D82A}">
                    <a16:rowId xmlns:a16="http://schemas.microsoft.com/office/drawing/2014/main" val="1522008252"/>
                  </a:ext>
                </a:extLst>
              </a:tr>
              <a:tr h="365760">
                <a:tc>
                  <a:txBody>
                    <a:bodyPr/>
                    <a:lstStyle/>
                    <a:p>
                      <a:r>
                        <a:rPr lang="en-US" sz="1200" b="1" noProof="0">
                          <a:solidFill>
                            <a:schemeClr val="tx1">
                              <a:lumMod val="85000"/>
                              <a:lumOff val="15000"/>
                            </a:schemeClr>
                          </a:solidFill>
                          <a:latin typeface="Calibri" panose="020F0502020204030204" pitchFamily="34" charset="0"/>
                          <a:cs typeface="Calibri" panose="020F0502020204030204" pitchFamily="34" charset="0"/>
                        </a:rPr>
                        <a:t>VTD auto VTD</a:t>
                      </a:r>
                    </a:p>
                  </a:txBody>
                  <a:tcPr marL="68580" marR="68580" marT="34290" marB="34290" anchor="ctr">
                    <a:lnT w="12700" cap="flat" cmpd="sng" algn="ctr">
                      <a:solidFill>
                        <a:srgbClr val="0062A7"/>
                      </a:solidFill>
                      <a:prstDash val="solid"/>
                      <a:round/>
                      <a:headEnd type="none" w="med" len="med"/>
                      <a:tailEnd type="none" w="med" len="med"/>
                    </a:lnT>
                    <a:solidFill>
                      <a:srgbClr val="BEECFF"/>
                    </a:solidFill>
                  </a:tcPr>
                </a:tc>
                <a:tc>
                  <a:txBody>
                    <a:bodyPr/>
                    <a:lstStyle/>
                    <a:p>
                      <a:pPr algn="ctr"/>
                      <a:r>
                        <a:rPr lang="en-US" sz="1000" b="0" i="0" noProof="0">
                          <a:solidFill>
                            <a:schemeClr val="tx1">
                              <a:lumMod val="85000"/>
                              <a:lumOff val="15000"/>
                            </a:schemeClr>
                          </a:solidFill>
                          <a:latin typeface="Calibri" panose="020F0502020204030204" pitchFamily="34" charset="0"/>
                          <a:cs typeface="Calibri" panose="020F0502020204030204" pitchFamily="34" charset="0"/>
                        </a:rPr>
                        <a:t>CASSIOPEIA</a:t>
                      </a:r>
                    </a:p>
                    <a:p>
                      <a:pPr algn="ctr"/>
                      <a:r>
                        <a:rPr lang="en-US" sz="1000" b="0" i="0" noProof="0">
                          <a:solidFill>
                            <a:schemeClr val="tx1">
                              <a:lumMod val="85000"/>
                              <a:lumOff val="15000"/>
                            </a:schemeClr>
                          </a:solidFill>
                          <a:latin typeface="Calibri" panose="020F0502020204030204" pitchFamily="34" charset="0"/>
                          <a:cs typeface="Calibri" panose="020F0502020204030204" pitchFamily="34" charset="0"/>
                        </a:rPr>
                        <a:t>N = 542</a:t>
                      </a:r>
                    </a:p>
                  </a:txBody>
                  <a:tcPr marL="68580" marR="68580" marT="34290" marB="34290" anchor="ctr">
                    <a:lnT w="12700" cap="flat" cmpd="sng" algn="ctr">
                      <a:solidFill>
                        <a:srgbClr val="0062A7"/>
                      </a:solidFill>
                      <a:prstDash val="solid"/>
                      <a:round/>
                      <a:headEnd type="none" w="med" len="med"/>
                      <a:tailEnd type="none" w="med" len="med"/>
                    </a:lnT>
                    <a:solidFill>
                      <a:srgbClr val="BEECFF"/>
                    </a:solidFill>
                  </a:tcPr>
                </a:tc>
                <a:tc>
                  <a:txBody>
                    <a:bodyPr/>
                    <a:lstStyle/>
                    <a:p>
                      <a:pPr algn="ctr"/>
                      <a:r>
                        <a:rPr lang="en-US" sz="1200" b="1" noProof="0">
                          <a:solidFill>
                            <a:schemeClr val="tx1"/>
                          </a:solidFill>
                          <a:latin typeface="Calibri" panose="020F0502020204030204" pitchFamily="34" charset="0"/>
                          <a:cs typeface="Calibri" panose="020F0502020204030204" pitchFamily="34" charset="0"/>
                        </a:rPr>
                        <a:t>78%</a:t>
                      </a:r>
                    </a:p>
                  </a:txBody>
                  <a:tcPr marL="68580" marR="68580" marT="34290" marB="34290" anchor="ctr">
                    <a:lnT w="12700" cap="flat" cmpd="sng" algn="ctr">
                      <a:solidFill>
                        <a:srgbClr val="0062A7"/>
                      </a:solidFill>
                      <a:prstDash val="solid"/>
                      <a:round/>
                      <a:headEnd type="none" w="med" len="med"/>
                      <a:tailEnd type="none" w="med" len="med"/>
                    </a:lnT>
                    <a:solidFill>
                      <a:srgbClr val="BEECFF"/>
                    </a:solidFill>
                  </a:tcPr>
                </a:tc>
                <a:tc>
                  <a:txBody>
                    <a:bodyPr/>
                    <a:lstStyle/>
                    <a:p>
                      <a:pPr algn="ctr"/>
                      <a:r>
                        <a:rPr lang="en-US" sz="1200" b="1" noProof="0">
                          <a:solidFill>
                            <a:schemeClr val="tx1"/>
                          </a:solidFill>
                          <a:latin typeface="Calibri" panose="020F0502020204030204" pitchFamily="34" charset="0"/>
                          <a:cs typeface="Calibri" panose="020F0502020204030204" pitchFamily="34" charset="0"/>
                        </a:rPr>
                        <a:t>26%</a:t>
                      </a:r>
                    </a:p>
                  </a:txBody>
                  <a:tcPr marL="68580" marR="68580" marT="34290" marB="34290" anchor="ctr">
                    <a:lnT w="12700" cap="flat" cmpd="sng" algn="ctr">
                      <a:solidFill>
                        <a:srgbClr val="0062A7"/>
                      </a:solidFill>
                      <a:prstDash val="solid"/>
                      <a:round/>
                      <a:headEnd type="none" w="med" len="med"/>
                      <a:tailEnd type="none" w="med" len="med"/>
                    </a:lnT>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20%</a:t>
                      </a:r>
                    </a:p>
                  </a:txBody>
                  <a:tcPr marL="68580" marR="68580" marT="34290" marB="34290" anchor="ctr">
                    <a:lnT w="12700" cap="flat" cmpd="sng" algn="ctr">
                      <a:solidFill>
                        <a:srgbClr val="0062A7"/>
                      </a:solidFill>
                      <a:prstDash val="solid"/>
                      <a:round/>
                      <a:headEnd type="none" w="med" len="med"/>
                      <a:tailEnd type="none" w="med" len="med"/>
                    </a:lnT>
                    <a:solidFill>
                      <a:srgbClr val="BEECFF"/>
                    </a:solidFill>
                  </a:tcPr>
                </a:tc>
                <a:tc>
                  <a:txBody>
                    <a:bodyPr/>
                    <a:lstStyle/>
                    <a:p>
                      <a:pPr algn="ctr"/>
                      <a:r>
                        <a:rPr lang="en-US" sz="1200" b="1" noProof="0">
                          <a:solidFill>
                            <a:schemeClr val="tx1"/>
                          </a:solidFill>
                          <a:latin typeface="Calibri" panose="020F0502020204030204" pitchFamily="34" charset="0"/>
                          <a:cs typeface="Calibri" panose="020F0502020204030204" pitchFamily="34" charset="0"/>
                        </a:rPr>
                        <a:t>44%</a:t>
                      </a:r>
                    </a:p>
                  </a:txBody>
                  <a:tcPr marL="68580" marR="68580" marT="34290" marB="34290" anchor="ctr">
                    <a:lnT w="12700" cap="flat" cmpd="sng" algn="ctr">
                      <a:solidFill>
                        <a:srgbClr val="0062A7"/>
                      </a:solidFill>
                      <a:prstDash val="solid"/>
                      <a:round/>
                      <a:headEnd type="none" w="med" len="med"/>
                      <a:tailEnd type="none" w="med" len="med"/>
                    </a:lnT>
                    <a:solidFill>
                      <a:srgbClr val="BEECFF"/>
                    </a:solidFill>
                  </a:tcPr>
                </a:tc>
                <a:extLst>
                  <a:ext uri="{0D108BD9-81ED-4DB2-BD59-A6C34878D82A}">
                    <a16:rowId xmlns:a16="http://schemas.microsoft.com/office/drawing/2014/main" val="1591360740"/>
                  </a:ext>
                </a:extLst>
              </a:tr>
              <a:tr h="365760">
                <a:tc>
                  <a:txBody>
                    <a:bodyPr/>
                    <a:lstStyle/>
                    <a:p>
                      <a:r>
                        <a:rPr lang="en-US" sz="1200" b="1" noProof="0">
                          <a:solidFill>
                            <a:schemeClr val="tx1">
                              <a:lumMod val="85000"/>
                              <a:lumOff val="15000"/>
                            </a:schemeClr>
                          </a:solidFill>
                          <a:latin typeface="Calibri" panose="020F0502020204030204" pitchFamily="34" charset="0"/>
                          <a:cs typeface="Calibri" panose="020F0502020204030204" pitchFamily="34" charset="0"/>
                        </a:rPr>
                        <a:t>D-VTD auto D-VTD </a:t>
                      </a:r>
                      <a:endParaRPr lang="en-US" sz="1200" b="0" noProof="0">
                        <a:solidFill>
                          <a:schemeClr val="tx1">
                            <a:lumMod val="85000"/>
                            <a:lumOff val="15000"/>
                          </a:schemeClr>
                        </a:solidFill>
                        <a:latin typeface="Calibri" panose="020F0502020204030204" pitchFamily="34" charset="0"/>
                        <a:cs typeface="Calibri" panose="020F0502020204030204" pitchFamily="34" charset="0"/>
                      </a:endParaRPr>
                    </a:p>
                  </a:txBody>
                  <a:tcPr marL="68580" marR="68580" marT="34290" marB="34290" anchor="ctr">
                    <a:solidFill>
                      <a:schemeClr val="bg1">
                        <a:lumMod val="95000"/>
                      </a:schemeClr>
                    </a:solidFill>
                  </a:tcPr>
                </a:tc>
                <a:tc>
                  <a:txBody>
                    <a:bodyPr/>
                    <a:lstStyle/>
                    <a:p>
                      <a:pPr algn="ctr"/>
                      <a:r>
                        <a:rPr lang="en-US" sz="1000" b="0" i="0" noProof="0">
                          <a:solidFill>
                            <a:schemeClr val="tx1">
                              <a:lumMod val="85000"/>
                              <a:lumOff val="15000"/>
                            </a:schemeClr>
                          </a:solidFill>
                          <a:latin typeface="Calibri" panose="020F0502020204030204" pitchFamily="34" charset="0"/>
                          <a:cs typeface="Calibri" panose="020F0502020204030204" pitchFamily="34" charset="0"/>
                        </a:rPr>
                        <a:t>CASSIOPEIA</a:t>
                      </a:r>
                    </a:p>
                    <a:p>
                      <a:pPr algn="ctr"/>
                      <a:r>
                        <a:rPr lang="en-US" sz="1000" b="0" i="0" noProof="0">
                          <a:solidFill>
                            <a:schemeClr val="tx1">
                              <a:lumMod val="85000"/>
                              <a:lumOff val="15000"/>
                            </a:schemeClr>
                          </a:solidFill>
                          <a:latin typeface="Calibri" panose="020F0502020204030204" pitchFamily="34" charset="0"/>
                          <a:cs typeface="Calibri" panose="020F0502020204030204" pitchFamily="34" charset="0"/>
                        </a:rPr>
                        <a:t>N = 543</a:t>
                      </a:r>
                    </a:p>
                  </a:txBody>
                  <a:tcPr marL="68580" marR="68580" marT="34290" marB="34290" anchor="ctr">
                    <a:solidFill>
                      <a:schemeClr val="bg1">
                        <a:lumMod val="95000"/>
                      </a:schemeClr>
                    </a:solidFill>
                  </a:tcPr>
                </a:tc>
                <a:tc>
                  <a:txBody>
                    <a:bodyPr/>
                    <a:lstStyle/>
                    <a:p>
                      <a:pPr algn="ctr"/>
                      <a:r>
                        <a:rPr lang="en-US" sz="1200" b="1" noProof="0">
                          <a:solidFill>
                            <a:schemeClr val="tx1"/>
                          </a:solidFill>
                          <a:latin typeface="Calibri" panose="020F0502020204030204" pitchFamily="34" charset="0"/>
                          <a:cs typeface="Calibri" panose="020F0502020204030204" pitchFamily="34" charset="0"/>
                        </a:rPr>
                        <a:t>84%</a:t>
                      </a:r>
                    </a:p>
                  </a:txBody>
                  <a:tcPr marL="68580" marR="68580" marT="34290" marB="34290" anchor="ctr">
                    <a:solidFill>
                      <a:schemeClr val="bg1">
                        <a:lumMod val="95000"/>
                      </a:schemeClr>
                    </a:solidFill>
                  </a:tcPr>
                </a:tc>
                <a:tc>
                  <a:txBody>
                    <a:bodyPr/>
                    <a:lstStyle/>
                    <a:p>
                      <a:pPr algn="ctr"/>
                      <a:r>
                        <a:rPr lang="en-US" sz="1200" b="1" noProof="0">
                          <a:solidFill>
                            <a:schemeClr val="tx1"/>
                          </a:solidFill>
                          <a:latin typeface="Calibri" panose="020F0502020204030204" pitchFamily="34" charset="0"/>
                          <a:cs typeface="Calibri" panose="020F0502020204030204" pitchFamily="34" charset="0"/>
                        </a:rPr>
                        <a:t>39%</a:t>
                      </a:r>
                    </a:p>
                  </a:txBody>
                  <a:tcPr marL="68580" marR="68580" marT="34290" marB="34290" anchor="ctr">
                    <a:solidFill>
                      <a:schemeClr val="bg1">
                        <a:lumMod val="95000"/>
                      </a:schemeClr>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29%</a:t>
                      </a:r>
                    </a:p>
                  </a:txBody>
                  <a:tcPr marL="68580" marR="68580" marT="34290" marB="34290" anchor="ctr">
                    <a:solidFill>
                      <a:schemeClr val="bg1">
                        <a:lumMod val="95000"/>
                      </a:schemeClr>
                    </a:solidFill>
                  </a:tcPr>
                </a:tc>
                <a:tc>
                  <a:txBody>
                    <a:bodyPr/>
                    <a:lstStyle/>
                    <a:p>
                      <a:pPr algn="ctr"/>
                      <a:r>
                        <a:rPr lang="en-US" sz="1200" b="1" noProof="0">
                          <a:solidFill>
                            <a:schemeClr val="tx1"/>
                          </a:solidFill>
                          <a:latin typeface="Calibri" panose="020F0502020204030204" pitchFamily="34" charset="0"/>
                          <a:cs typeface="Calibri" panose="020F0502020204030204" pitchFamily="34" charset="0"/>
                        </a:rPr>
                        <a:t>64%</a:t>
                      </a:r>
                    </a:p>
                  </a:txBody>
                  <a:tcPr marL="68580" marR="68580" marT="34290" marB="34290" anchor="ctr">
                    <a:solidFill>
                      <a:schemeClr val="bg1">
                        <a:lumMod val="95000"/>
                      </a:schemeClr>
                    </a:solidFill>
                  </a:tcPr>
                </a:tc>
                <a:extLst>
                  <a:ext uri="{0D108BD9-81ED-4DB2-BD59-A6C34878D82A}">
                    <a16:rowId xmlns:a16="http://schemas.microsoft.com/office/drawing/2014/main" val="3845214970"/>
                  </a:ext>
                </a:extLst>
              </a:tr>
              <a:tr h="365760">
                <a:tc>
                  <a:txBody>
                    <a:bodyPr/>
                    <a:lstStyle/>
                    <a:p>
                      <a:r>
                        <a:rPr lang="en-US" sz="1200" b="1" noProof="0">
                          <a:solidFill>
                            <a:schemeClr val="tx1">
                              <a:lumMod val="85000"/>
                              <a:lumOff val="15000"/>
                            </a:schemeClr>
                          </a:solidFill>
                          <a:latin typeface="Calibri" panose="020F0502020204030204" pitchFamily="34" charset="0"/>
                          <a:cs typeface="Calibri" panose="020F0502020204030204" pitchFamily="34" charset="0"/>
                        </a:rPr>
                        <a:t>VRD auto VRD</a:t>
                      </a:r>
                    </a:p>
                  </a:txBody>
                  <a:tcPr marL="68580" marR="68580" marT="34290" marB="34290" anchor="ctr">
                    <a:solidFill>
                      <a:srgbClr val="BEECFF"/>
                    </a:solidFill>
                  </a:tcPr>
                </a:tc>
                <a:tc>
                  <a:txBody>
                    <a:bodyPr/>
                    <a:lstStyle/>
                    <a:p>
                      <a:pPr algn="ctr"/>
                      <a:r>
                        <a:rPr lang="en-US" sz="1000" b="0" noProof="0">
                          <a:solidFill>
                            <a:schemeClr val="tx1">
                              <a:lumMod val="85000"/>
                              <a:lumOff val="15000"/>
                            </a:schemeClr>
                          </a:solidFill>
                          <a:latin typeface="Calibri" panose="020F0502020204030204" pitchFamily="34" charset="0"/>
                          <a:cs typeface="Calibri" panose="020F0502020204030204" pitchFamily="34" charset="0"/>
                        </a:rPr>
                        <a:t>GEM12MENOS65</a:t>
                      </a:r>
                    </a:p>
                    <a:p>
                      <a:pPr algn="ctr"/>
                      <a:r>
                        <a:rPr lang="en-US" sz="1000" b="0" i="1" noProof="0">
                          <a:solidFill>
                            <a:schemeClr val="tx1">
                              <a:lumMod val="85000"/>
                              <a:lumOff val="15000"/>
                            </a:schemeClr>
                          </a:solidFill>
                          <a:latin typeface="Calibri" panose="020F0502020204030204" pitchFamily="34" charset="0"/>
                          <a:cs typeface="Calibri" panose="020F0502020204030204" pitchFamily="34" charset="0"/>
                        </a:rPr>
                        <a:t>L Rosinol, ASH 2017</a:t>
                      </a:r>
                    </a:p>
                  </a:txBody>
                  <a:tcPr marL="68580" marR="68580" marT="34290" marB="34290" anchor="ctr">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78%</a:t>
                      </a:r>
                    </a:p>
                  </a:txBody>
                  <a:tcPr marL="68580" marR="68580" marT="34290" marB="34290" anchor="ctr">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58%</a:t>
                      </a:r>
                    </a:p>
                  </a:txBody>
                  <a:tcPr marL="68580" marR="68580" marT="34290" marB="34290" anchor="ctr">
                    <a:solidFill>
                      <a:srgbClr val="BEECFF"/>
                    </a:solidFill>
                  </a:tcPr>
                </a:tc>
                <a:tc>
                  <a:txBody>
                    <a:bodyPr/>
                    <a:lstStyle/>
                    <a:p>
                      <a:pPr algn="ctr"/>
                      <a:endParaRPr lang="en-US" sz="1200" b="1" noProof="0">
                        <a:solidFill>
                          <a:schemeClr val="tx1">
                            <a:lumMod val="85000"/>
                            <a:lumOff val="15000"/>
                          </a:schemeClr>
                        </a:solidFill>
                        <a:latin typeface="Calibri" panose="020F0502020204030204" pitchFamily="34" charset="0"/>
                        <a:cs typeface="Calibri" panose="020F0502020204030204" pitchFamily="34" charset="0"/>
                      </a:endParaRPr>
                    </a:p>
                  </a:txBody>
                  <a:tcPr marL="68580" marR="68580" marT="34290" marB="34290" anchor="ctr">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58%</a:t>
                      </a:r>
                    </a:p>
                  </a:txBody>
                  <a:tcPr marL="68580" marR="68580" marT="34290" marB="34290" anchor="ctr">
                    <a:solidFill>
                      <a:srgbClr val="BEECFF"/>
                    </a:solidFill>
                  </a:tcPr>
                </a:tc>
                <a:extLst>
                  <a:ext uri="{0D108BD9-81ED-4DB2-BD59-A6C34878D82A}">
                    <a16:rowId xmlns:a16="http://schemas.microsoft.com/office/drawing/2014/main" val="1466990147"/>
                  </a:ext>
                </a:extLst>
              </a:tr>
              <a:tr h="365760">
                <a:tc>
                  <a:txBody>
                    <a:bodyPr/>
                    <a:lstStyle/>
                    <a:p>
                      <a:r>
                        <a:rPr lang="en-US" sz="1200" b="1" noProof="0">
                          <a:solidFill>
                            <a:schemeClr val="tx1">
                              <a:lumMod val="85000"/>
                              <a:lumOff val="15000"/>
                            </a:schemeClr>
                          </a:solidFill>
                          <a:latin typeface="Calibri" panose="020F0502020204030204" pitchFamily="34" charset="0"/>
                          <a:cs typeface="Calibri" panose="020F0502020204030204" pitchFamily="34" charset="0"/>
                        </a:rPr>
                        <a:t>VRD auto VRD</a:t>
                      </a:r>
                    </a:p>
                  </a:txBody>
                  <a:tcPr marL="68580" marR="68580" marT="34290" marB="34290" anchor="ctr">
                    <a:solidFill>
                      <a:schemeClr val="bg1">
                        <a:lumMod val="95000"/>
                      </a:schemeClr>
                    </a:solidFill>
                  </a:tcPr>
                </a:tc>
                <a:tc>
                  <a:txBody>
                    <a:bodyPr/>
                    <a:lstStyle/>
                    <a:p>
                      <a:pPr algn="ctr"/>
                      <a:r>
                        <a:rPr lang="en-US" sz="1000" b="0" i="1" noProof="0">
                          <a:solidFill>
                            <a:schemeClr val="tx1">
                              <a:lumMod val="85000"/>
                              <a:lumOff val="15000"/>
                            </a:schemeClr>
                          </a:solidFill>
                          <a:latin typeface="Calibri" panose="020F0502020204030204" pitchFamily="34" charset="0"/>
                          <a:cs typeface="Calibri" panose="020F0502020204030204" pitchFamily="34" charset="0"/>
                        </a:rPr>
                        <a:t>IFM 2009</a:t>
                      </a:r>
                    </a:p>
                    <a:p>
                      <a:pPr algn="ctr"/>
                      <a:r>
                        <a:rPr lang="en-US" sz="1000" b="0" i="1" noProof="0">
                          <a:solidFill>
                            <a:schemeClr val="tx1">
                              <a:lumMod val="85000"/>
                              <a:lumOff val="15000"/>
                            </a:schemeClr>
                          </a:solidFill>
                          <a:latin typeface="Calibri" panose="020F0502020204030204" pitchFamily="34" charset="0"/>
                          <a:cs typeface="Calibri" panose="020F0502020204030204" pitchFamily="34" charset="0"/>
                        </a:rPr>
                        <a:t>M Attal, NEJM 2017</a:t>
                      </a:r>
                    </a:p>
                  </a:txBody>
                  <a:tcPr marL="68580" marR="68580" marT="34290" marB="34290" anchor="ctr">
                    <a:solidFill>
                      <a:schemeClr val="bg1">
                        <a:lumMod val="95000"/>
                      </a:schemeClr>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79%</a:t>
                      </a:r>
                    </a:p>
                  </a:txBody>
                  <a:tcPr marL="68580" marR="68580" marT="34290" marB="34290" anchor="ctr">
                    <a:solidFill>
                      <a:schemeClr val="bg1">
                        <a:lumMod val="95000"/>
                      </a:schemeClr>
                    </a:solidFill>
                  </a:tcPr>
                </a:tc>
                <a:tc>
                  <a:txBody>
                    <a:bodyPr/>
                    <a:lstStyle/>
                    <a:p>
                      <a:pPr algn="ctr"/>
                      <a:endParaRPr lang="en-US" sz="1200" b="1" noProof="0">
                        <a:solidFill>
                          <a:schemeClr val="tx1">
                            <a:lumMod val="85000"/>
                            <a:lumOff val="15000"/>
                          </a:schemeClr>
                        </a:solidFill>
                        <a:latin typeface="Calibri" panose="020F0502020204030204" pitchFamily="34" charset="0"/>
                        <a:cs typeface="Calibri" panose="020F0502020204030204" pitchFamily="34" charset="0"/>
                      </a:endParaRPr>
                    </a:p>
                  </a:txBody>
                  <a:tcPr marL="68580" marR="68580" marT="34290" marB="34290" anchor="ctr">
                    <a:solidFill>
                      <a:schemeClr val="bg1">
                        <a:lumMod val="95000"/>
                      </a:schemeClr>
                    </a:solidFill>
                  </a:tcPr>
                </a:tc>
                <a:tc>
                  <a:txBody>
                    <a:bodyPr/>
                    <a:lstStyle/>
                    <a:p>
                      <a:pPr algn="ctr"/>
                      <a:endParaRPr lang="en-US" sz="1200" b="1" noProof="0">
                        <a:solidFill>
                          <a:schemeClr val="tx1">
                            <a:lumMod val="85000"/>
                            <a:lumOff val="15000"/>
                          </a:schemeClr>
                        </a:solidFill>
                        <a:latin typeface="Calibri" panose="020F0502020204030204" pitchFamily="34" charset="0"/>
                        <a:cs typeface="Calibri" panose="020F0502020204030204" pitchFamily="34" charset="0"/>
                      </a:endParaRPr>
                    </a:p>
                  </a:txBody>
                  <a:tcPr marL="68580" marR="68580" marT="34290" marB="34290" anchor="ctr">
                    <a:solidFill>
                      <a:schemeClr val="bg1">
                        <a:lumMod val="95000"/>
                      </a:schemeClr>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30% 10</a:t>
                      </a:r>
                      <a:r>
                        <a:rPr lang="en-US" sz="1200" b="1" baseline="30000" noProof="0">
                          <a:solidFill>
                            <a:schemeClr val="tx1">
                              <a:lumMod val="85000"/>
                              <a:lumOff val="15000"/>
                            </a:schemeClr>
                          </a:solidFill>
                          <a:latin typeface="Calibri" panose="020F0502020204030204" pitchFamily="34" charset="0"/>
                          <a:cs typeface="Calibri" panose="020F0502020204030204" pitchFamily="34" charset="0"/>
                        </a:rPr>
                        <a:t>-6</a:t>
                      </a:r>
                    </a:p>
                  </a:txBody>
                  <a:tcPr marL="68580" marR="68580" marT="34290" marB="34290" anchor="ctr">
                    <a:solidFill>
                      <a:schemeClr val="bg1">
                        <a:lumMod val="95000"/>
                      </a:schemeClr>
                    </a:solidFill>
                  </a:tcPr>
                </a:tc>
                <a:extLst>
                  <a:ext uri="{0D108BD9-81ED-4DB2-BD59-A6C34878D82A}">
                    <a16:rowId xmlns:a16="http://schemas.microsoft.com/office/drawing/2014/main" val="3502084362"/>
                  </a:ext>
                </a:extLst>
              </a:tr>
              <a:tr h="365760">
                <a:tc>
                  <a:txBody>
                    <a:bodyPr/>
                    <a:lstStyle/>
                    <a:p>
                      <a:r>
                        <a:rPr lang="en-US" sz="1200" b="1" noProof="0">
                          <a:solidFill>
                            <a:schemeClr val="tx1">
                              <a:lumMod val="85000"/>
                              <a:lumOff val="15000"/>
                            </a:schemeClr>
                          </a:solidFill>
                          <a:latin typeface="Calibri" panose="020F0502020204030204" pitchFamily="34" charset="0"/>
                          <a:cs typeface="Calibri" panose="020F0502020204030204" pitchFamily="34" charset="0"/>
                        </a:rPr>
                        <a:t>VRD 8 cycles</a:t>
                      </a:r>
                    </a:p>
                  </a:txBody>
                  <a:tcPr marL="68580" marR="68580" marT="34290" marB="34290" anchor="ctr">
                    <a:solidFill>
                      <a:srgbClr val="BEECFF"/>
                    </a:solidFill>
                  </a:tcPr>
                </a:tc>
                <a:tc>
                  <a:txBody>
                    <a:bodyPr/>
                    <a:lstStyle/>
                    <a:p>
                      <a:pPr algn="ctr"/>
                      <a:r>
                        <a:rPr lang="en-US" sz="1000" b="0" i="1" noProof="0">
                          <a:solidFill>
                            <a:schemeClr val="tx1">
                              <a:lumMod val="85000"/>
                              <a:lumOff val="15000"/>
                            </a:schemeClr>
                          </a:solidFill>
                          <a:latin typeface="Calibri" panose="020F0502020204030204" pitchFamily="34" charset="0"/>
                          <a:cs typeface="Calibri" panose="020F0502020204030204" pitchFamily="34" charset="0"/>
                        </a:rPr>
                        <a:t>IFM 2009</a:t>
                      </a:r>
                    </a:p>
                    <a:p>
                      <a:pPr algn="ctr"/>
                      <a:r>
                        <a:rPr lang="en-US" sz="1000" b="0" i="1" noProof="0">
                          <a:solidFill>
                            <a:schemeClr val="tx1">
                              <a:lumMod val="85000"/>
                              <a:lumOff val="15000"/>
                            </a:schemeClr>
                          </a:solidFill>
                          <a:latin typeface="Calibri" panose="020F0502020204030204" pitchFamily="34" charset="0"/>
                          <a:cs typeface="Calibri" panose="020F0502020204030204" pitchFamily="34" charset="0"/>
                        </a:rPr>
                        <a:t>M Attal, NEJM 2017</a:t>
                      </a:r>
                    </a:p>
                  </a:txBody>
                  <a:tcPr marL="68580" marR="68580" marT="34290" marB="34290" anchor="ctr">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69%</a:t>
                      </a:r>
                    </a:p>
                  </a:txBody>
                  <a:tcPr marL="68580" marR="68580" marT="34290" marB="34290" anchor="ctr">
                    <a:solidFill>
                      <a:srgbClr val="BEECFF"/>
                    </a:solidFill>
                  </a:tcPr>
                </a:tc>
                <a:tc>
                  <a:txBody>
                    <a:bodyPr/>
                    <a:lstStyle/>
                    <a:p>
                      <a:pPr algn="ctr"/>
                      <a:endParaRPr lang="en-US" sz="1200" b="1" noProof="0">
                        <a:solidFill>
                          <a:schemeClr val="tx1">
                            <a:lumMod val="85000"/>
                            <a:lumOff val="15000"/>
                          </a:schemeClr>
                        </a:solidFill>
                        <a:latin typeface="Calibri" panose="020F0502020204030204" pitchFamily="34" charset="0"/>
                        <a:cs typeface="Calibri" panose="020F0502020204030204" pitchFamily="34" charset="0"/>
                      </a:endParaRPr>
                    </a:p>
                  </a:txBody>
                  <a:tcPr marL="68580" marR="68580" marT="34290" marB="34290" anchor="ctr">
                    <a:solidFill>
                      <a:srgbClr val="BEECFF"/>
                    </a:solidFill>
                  </a:tcPr>
                </a:tc>
                <a:tc>
                  <a:txBody>
                    <a:bodyPr/>
                    <a:lstStyle/>
                    <a:p>
                      <a:pPr algn="ctr"/>
                      <a:endParaRPr lang="en-US" sz="1200" b="1" noProof="0">
                        <a:solidFill>
                          <a:schemeClr val="tx1">
                            <a:lumMod val="85000"/>
                            <a:lumOff val="15000"/>
                          </a:schemeClr>
                        </a:solidFill>
                        <a:latin typeface="Calibri" panose="020F0502020204030204" pitchFamily="34" charset="0"/>
                        <a:cs typeface="Calibri" panose="020F0502020204030204" pitchFamily="34" charset="0"/>
                      </a:endParaRPr>
                    </a:p>
                  </a:txBody>
                  <a:tcPr marL="68580" marR="68580" marT="34290" marB="34290" anchor="ctr">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21% 10</a:t>
                      </a:r>
                      <a:r>
                        <a:rPr lang="en-US" sz="1200" b="1" baseline="30000" noProof="0">
                          <a:solidFill>
                            <a:schemeClr val="tx1">
                              <a:lumMod val="85000"/>
                              <a:lumOff val="15000"/>
                            </a:schemeClr>
                          </a:solidFill>
                          <a:latin typeface="Calibri" panose="020F0502020204030204" pitchFamily="34" charset="0"/>
                          <a:cs typeface="Calibri" panose="020F0502020204030204" pitchFamily="34" charset="0"/>
                        </a:rPr>
                        <a:t>-6</a:t>
                      </a:r>
                    </a:p>
                  </a:txBody>
                  <a:tcPr marL="68580" marR="68580" marT="34290" marB="34290" anchor="ctr">
                    <a:solidFill>
                      <a:srgbClr val="BEECFF"/>
                    </a:solidFill>
                  </a:tcPr>
                </a:tc>
                <a:extLst>
                  <a:ext uri="{0D108BD9-81ED-4DB2-BD59-A6C34878D82A}">
                    <a16:rowId xmlns:a16="http://schemas.microsoft.com/office/drawing/2014/main" val="1023302210"/>
                  </a:ext>
                </a:extLst>
              </a:tr>
              <a:tr h="365760">
                <a:tc>
                  <a:txBody>
                    <a:bodyPr/>
                    <a:lstStyle/>
                    <a:p>
                      <a:r>
                        <a:rPr lang="en-US" sz="1200" b="1" noProof="0">
                          <a:solidFill>
                            <a:schemeClr val="tx1">
                              <a:lumMod val="85000"/>
                              <a:lumOff val="15000"/>
                            </a:schemeClr>
                          </a:solidFill>
                          <a:latin typeface="Calibri" panose="020F0502020204030204" pitchFamily="34" charset="0"/>
                          <a:cs typeface="Calibri" panose="020F0502020204030204" pitchFamily="34" charset="0"/>
                        </a:rPr>
                        <a:t>KRD auto KRD</a:t>
                      </a:r>
                    </a:p>
                  </a:txBody>
                  <a:tcPr marL="68580" marR="68580" marT="34290" marB="34290" anchor="ctr">
                    <a:solidFill>
                      <a:schemeClr val="bg1">
                        <a:lumMod val="95000"/>
                      </a:schemeClr>
                    </a:solidFill>
                  </a:tcPr>
                </a:tc>
                <a:tc>
                  <a:txBody>
                    <a:bodyPr/>
                    <a:lstStyle/>
                    <a:p>
                      <a:pPr algn="ctr"/>
                      <a:r>
                        <a:rPr lang="en-US" sz="1000" b="0" noProof="0">
                          <a:solidFill>
                            <a:schemeClr val="tx1">
                              <a:lumMod val="85000"/>
                              <a:lumOff val="15000"/>
                            </a:schemeClr>
                          </a:solidFill>
                          <a:latin typeface="Calibri" panose="020F0502020204030204" pitchFamily="34" charset="0"/>
                          <a:cs typeface="Calibri" panose="020F0502020204030204" pitchFamily="34" charset="0"/>
                        </a:rPr>
                        <a:t>FORTE</a:t>
                      </a:r>
                    </a:p>
                    <a:p>
                      <a:pPr algn="ctr"/>
                      <a:r>
                        <a:rPr lang="en-US" sz="1000" b="0" i="1" noProof="0">
                          <a:solidFill>
                            <a:schemeClr val="tx1">
                              <a:lumMod val="85000"/>
                              <a:lumOff val="15000"/>
                            </a:schemeClr>
                          </a:solidFill>
                          <a:latin typeface="Calibri" panose="020F0502020204030204" pitchFamily="34" charset="0"/>
                          <a:cs typeface="Calibri" panose="020F0502020204030204" pitchFamily="34" charset="0"/>
                        </a:rPr>
                        <a:t>F Gay, EHA/ASH 2018</a:t>
                      </a:r>
                    </a:p>
                  </a:txBody>
                  <a:tcPr marL="68580" marR="68580" marT="34290" marB="34290" anchor="ctr">
                    <a:solidFill>
                      <a:schemeClr val="bg1">
                        <a:lumMod val="95000"/>
                      </a:schemeClr>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89%</a:t>
                      </a:r>
                    </a:p>
                  </a:txBody>
                  <a:tcPr marL="68580" marR="68580" marT="34290" marB="34290" anchor="ctr">
                    <a:solidFill>
                      <a:schemeClr val="bg1">
                        <a:lumMod val="95000"/>
                      </a:schemeClr>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60%</a:t>
                      </a:r>
                    </a:p>
                  </a:txBody>
                  <a:tcPr marL="68580" marR="68580" marT="34290" marB="34290" anchor="ctr">
                    <a:solidFill>
                      <a:schemeClr val="bg1">
                        <a:lumMod val="95000"/>
                      </a:schemeClr>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44%</a:t>
                      </a:r>
                    </a:p>
                  </a:txBody>
                  <a:tcPr marL="68580" marR="68580" marT="34290" marB="34290" anchor="ctr">
                    <a:solidFill>
                      <a:schemeClr val="bg1">
                        <a:lumMod val="95000"/>
                      </a:schemeClr>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58%</a:t>
                      </a:r>
                    </a:p>
                  </a:txBody>
                  <a:tcPr marL="68580" marR="68580" marT="34290" marB="34290" anchor="ctr">
                    <a:solidFill>
                      <a:schemeClr val="bg1">
                        <a:lumMod val="95000"/>
                      </a:schemeClr>
                    </a:solidFill>
                  </a:tcPr>
                </a:tc>
                <a:extLst>
                  <a:ext uri="{0D108BD9-81ED-4DB2-BD59-A6C34878D82A}">
                    <a16:rowId xmlns:a16="http://schemas.microsoft.com/office/drawing/2014/main" val="3502314614"/>
                  </a:ext>
                </a:extLst>
              </a:tr>
              <a:tr h="365760">
                <a:tc>
                  <a:txBody>
                    <a:bodyPr/>
                    <a:lstStyle/>
                    <a:p>
                      <a:r>
                        <a:rPr lang="en-US" sz="1200" b="1" noProof="0">
                          <a:solidFill>
                            <a:schemeClr val="tx1">
                              <a:lumMod val="85000"/>
                              <a:lumOff val="15000"/>
                            </a:schemeClr>
                          </a:solidFill>
                          <a:latin typeface="Calibri" panose="020F0502020204030204" pitchFamily="34" charset="0"/>
                          <a:cs typeface="Calibri" panose="020F0502020204030204" pitchFamily="34" charset="0"/>
                        </a:rPr>
                        <a:t>KRD 12 cycles</a:t>
                      </a:r>
                    </a:p>
                  </a:txBody>
                  <a:tcPr marL="68580" marR="68580" marT="34290" marB="34290" anchor="ctr">
                    <a:solidFill>
                      <a:srgbClr val="BEECFF"/>
                    </a:solidFill>
                  </a:tcPr>
                </a:tc>
                <a:tc>
                  <a:txBody>
                    <a:bodyPr/>
                    <a:lstStyle/>
                    <a:p>
                      <a:pPr algn="ctr"/>
                      <a:r>
                        <a:rPr lang="en-US" sz="1000" b="0" noProof="0">
                          <a:solidFill>
                            <a:schemeClr val="tx1">
                              <a:lumMod val="85000"/>
                              <a:lumOff val="15000"/>
                            </a:schemeClr>
                          </a:solidFill>
                          <a:latin typeface="Calibri" panose="020F0502020204030204" pitchFamily="34" charset="0"/>
                          <a:cs typeface="Calibri" panose="020F0502020204030204" pitchFamily="34" charset="0"/>
                        </a:rPr>
                        <a:t>FORTE</a:t>
                      </a:r>
                    </a:p>
                    <a:p>
                      <a:pPr algn="ctr"/>
                      <a:r>
                        <a:rPr lang="en-US" sz="1000" b="0" i="1" noProof="0">
                          <a:solidFill>
                            <a:schemeClr val="tx1">
                              <a:lumMod val="85000"/>
                              <a:lumOff val="15000"/>
                            </a:schemeClr>
                          </a:solidFill>
                          <a:latin typeface="Calibri" panose="020F0502020204030204" pitchFamily="34" charset="0"/>
                          <a:cs typeface="Calibri" panose="020F0502020204030204" pitchFamily="34" charset="0"/>
                        </a:rPr>
                        <a:t>F Gay, EHA/ASH 2018</a:t>
                      </a:r>
                    </a:p>
                  </a:txBody>
                  <a:tcPr marL="68580" marR="68580" marT="34290" marB="34290" anchor="ctr">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87%</a:t>
                      </a:r>
                    </a:p>
                  </a:txBody>
                  <a:tcPr marL="68580" marR="68580" marT="34290" marB="34290" anchor="ctr">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61%</a:t>
                      </a:r>
                    </a:p>
                  </a:txBody>
                  <a:tcPr marL="68580" marR="68580" marT="34290" marB="34290" anchor="ctr">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43%</a:t>
                      </a:r>
                    </a:p>
                  </a:txBody>
                  <a:tcPr marL="68580" marR="68580" marT="34290" marB="34290" anchor="ctr">
                    <a:solidFill>
                      <a:srgbClr val="BEECFF"/>
                    </a:solidFill>
                  </a:tcPr>
                </a:tc>
                <a:tc>
                  <a:txBody>
                    <a:bodyPr/>
                    <a:lstStyle/>
                    <a:p>
                      <a:pPr algn="ctr"/>
                      <a:r>
                        <a:rPr lang="en-US" sz="1200" b="1" noProof="0">
                          <a:solidFill>
                            <a:schemeClr val="tx1">
                              <a:lumMod val="85000"/>
                              <a:lumOff val="15000"/>
                            </a:schemeClr>
                          </a:solidFill>
                          <a:latin typeface="Calibri" panose="020F0502020204030204" pitchFamily="34" charset="0"/>
                          <a:cs typeface="Calibri" panose="020F0502020204030204" pitchFamily="34" charset="0"/>
                        </a:rPr>
                        <a:t>54%</a:t>
                      </a:r>
                    </a:p>
                  </a:txBody>
                  <a:tcPr marL="68580" marR="68580" marT="34290" marB="34290" anchor="ctr">
                    <a:solidFill>
                      <a:srgbClr val="BEECFF"/>
                    </a:solidFill>
                  </a:tcPr>
                </a:tc>
                <a:extLst>
                  <a:ext uri="{0D108BD9-81ED-4DB2-BD59-A6C34878D82A}">
                    <a16:rowId xmlns:a16="http://schemas.microsoft.com/office/drawing/2014/main" val="1597016114"/>
                  </a:ext>
                </a:extLst>
              </a:tr>
            </a:tbl>
          </a:graphicData>
        </a:graphic>
      </p:graphicFrame>
      <p:sp>
        <p:nvSpPr>
          <p:cNvPr id="3" name="Rectangle 2">
            <a:extLst>
              <a:ext uri="{FF2B5EF4-FFF2-40B4-BE49-F238E27FC236}">
                <a16:creationId xmlns:a16="http://schemas.microsoft.com/office/drawing/2014/main" id="{9C953A9D-5062-5845-828C-B403C0C4023B}"/>
              </a:ext>
            </a:extLst>
          </p:cNvPr>
          <p:cNvSpPr/>
          <p:nvPr/>
        </p:nvSpPr>
        <p:spPr>
          <a:xfrm>
            <a:off x="6812280" y="1756435"/>
            <a:ext cx="973893" cy="2994660"/>
          </a:xfrm>
          <a:prstGeom prst="rect">
            <a:avLst/>
          </a:prstGeom>
          <a:noFill/>
          <a:ln w="1270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FR" sz="1350">
              <a:solidFill>
                <a:prstClr val="white"/>
              </a:solidFill>
              <a:latin typeface="Calibri" panose="020F0502020204030204"/>
            </a:endParaRPr>
          </a:p>
        </p:txBody>
      </p:sp>
      <p:cxnSp>
        <p:nvCxnSpPr>
          <p:cNvPr id="13" name="Connecteur droit 5">
            <a:extLst>
              <a:ext uri="{FF2B5EF4-FFF2-40B4-BE49-F238E27FC236}">
                <a16:creationId xmlns:a16="http://schemas.microsoft.com/office/drawing/2014/main" id="{DC3BD66D-4245-44FA-9B2F-BFBD49F6F95D}"/>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3022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4936" y="83854"/>
            <a:ext cx="5797648" cy="585329"/>
          </a:xfrm>
        </p:spPr>
        <p:txBody>
          <a:bodyPr>
            <a:normAutofit/>
          </a:bodyPr>
          <a:lstStyle/>
          <a:p>
            <a:r>
              <a:rPr lang="en-US" sz="2100" b="1" noProof="0">
                <a:solidFill>
                  <a:srgbClr val="0062A7"/>
                </a:solidFill>
                <a:latin typeface="Calibri" charset="0"/>
                <a:ea typeface="Calibri" charset="0"/>
                <a:cs typeface="Calibri" charset="0"/>
              </a:rPr>
              <a:t>Single or Tandem ASCT ?</a:t>
            </a:r>
          </a:p>
        </p:txBody>
      </p:sp>
      <p:sp>
        <p:nvSpPr>
          <p:cNvPr id="15" name="Rectangle 14">
            <a:extLst>
              <a:ext uri="{FF2B5EF4-FFF2-40B4-BE49-F238E27FC236}">
                <a16:creationId xmlns:a16="http://schemas.microsoft.com/office/drawing/2014/main" id="{8D73DF1D-B5AC-124A-9CA6-AC9562F91F88}"/>
              </a:ext>
            </a:extLst>
          </p:cNvPr>
          <p:cNvSpPr/>
          <p:nvPr/>
        </p:nvSpPr>
        <p:spPr>
          <a:xfrm>
            <a:off x="372973" y="945232"/>
            <a:ext cx="6997118" cy="1938992"/>
          </a:xfrm>
          <a:prstGeom prst="rect">
            <a:avLst/>
          </a:prstGeom>
        </p:spPr>
        <p:txBody>
          <a:bodyPr wrap="square">
            <a:spAutoFit/>
          </a:bodyPr>
          <a:lstStyle/>
          <a:p>
            <a:pPr marL="0" lvl="1" defTabSz="685800"/>
            <a:r>
              <a:rPr lang="fr-FR" sz="1500" b="1">
                <a:solidFill>
                  <a:srgbClr val="C00000"/>
                </a:solidFill>
                <a:latin typeface="Calibri" charset="0"/>
                <a:ea typeface="Calibri" charset="0"/>
                <a:cs typeface="Calibri" charset="0"/>
              </a:rPr>
              <a:t>Single or tandem ASCT ? </a:t>
            </a:r>
          </a:p>
          <a:p>
            <a:pPr marL="0" lvl="1" defTabSz="685800"/>
            <a:r>
              <a:rPr lang="fr-FR" sz="1500">
                <a:solidFill>
                  <a:prstClr val="black"/>
                </a:solidFill>
                <a:latin typeface="Calibri" charset="0"/>
                <a:ea typeface="Calibri" charset="0"/>
                <a:cs typeface="Calibri" charset="0"/>
              </a:rPr>
              <a:t>EMN02</a:t>
            </a:r>
          </a:p>
          <a:p>
            <a:pPr marL="0" lvl="1" defTabSz="685800"/>
            <a:endParaRPr lang="fr-FR" sz="1500" b="1">
              <a:solidFill>
                <a:prstClr val="black"/>
              </a:solidFill>
              <a:latin typeface="Calibri" charset="0"/>
              <a:ea typeface="Calibri" charset="0"/>
              <a:cs typeface="Calibri" charset="0"/>
            </a:endParaRPr>
          </a:p>
          <a:p>
            <a:pPr marL="0" lvl="1" defTabSz="685800"/>
            <a:r>
              <a:rPr lang="fr-FR" sz="1500">
                <a:solidFill>
                  <a:prstClr val="black"/>
                </a:solidFill>
                <a:latin typeface="Calibri" charset="0"/>
                <a:ea typeface="Calibri" charset="0"/>
                <a:cs typeface="Calibri" charset="0"/>
              </a:rPr>
              <a:t>High Risk</a:t>
            </a:r>
          </a:p>
          <a:p>
            <a:pPr defTabSz="685800"/>
            <a:r>
              <a:rPr lang="fr-FR" sz="1500">
                <a:solidFill>
                  <a:prstClr val="black"/>
                </a:solidFill>
                <a:latin typeface="Calibri" charset="0"/>
                <a:ea typeface="Calibri" charset="0"/>
                <a:cs typeface="Calibri" charset="0"/>
              </a:rPr>
              <a:t>									</a:t>
            </a:r>
          </a:p>
          <a:p>
            <a:pPr defTabSz="685800"/>
            <a:r>
              <a:rPr lang="fr-FR" sz="1500">
                <a:solidFill>
                  <a:prstClr val="black"/>
                </a:solidFill>
                <a:latin typeface="Calibri" charset="0"/>
                <a:ea typeface="Calibri" charset="0"/>
                <a:cs typeface="Calibri" charset="0"/>
              </a:rPr>
              <a:t>								</a:t>
            </a:r>
            <a:endParaRPr lang="fr-FR" sz="1500" b="1">
              <a:solidFill>
                <a:srgbClr val="0062A7"/>
              </a:solidFill>
              <a:latin typeface="Calibri" charset="0"/>
              <a:ea typeface="Calibri" charset="0"/>
              <a:cs typeface="Calibri" charset="0"/>
            </a:endParaRPr>
          </a:p>
          <a:p>
            <a:pPr defTabSz="685800"/>
            <a:endParaRPr lang="fr-FR" sz="1500" b="1">
              <a:solidFill>
                <a:srgbClr val="0062A7"/>
              </a:solidFill>
              <a:latin typeface="Calibri" charset="0"/>
              <a:ea typeface="Calibri" charset="0"/>
              <a:cs typeface="Calibri" charset="0"/>
            </a:endParaRPr>
          </a:p>
          <a:p>
            <a:pPr defTabSz="685800"/>
            <a:r>
              <a:rPr lang="fr-FR" sz="1500" b="1">
                <a:solidFill>
                  <a:srgbClr val="0062A7"/>
                </a:solidFill>
                <a:latin typeface="Calibri" charset="0"/>
                <a:ea typeface="Calibri" charset="0"/>
                <a:cs typeface="Calibri" charset="0"/>
              </a:rPr>
              <a:t>									</a:t>
            </a:r>
            <a:endParaRPr lang="fr-FR" sz="1500">
              <a:solidFill>
                <a:prstClr val="black"/>
              </a:solidFill>
              <a:latin typeface="Calibri" charset="0"/>
              <a:ea typeface="Calibri" charset="0"/>
              <a:cs typeface="Calibri" charset="0"/>
            </a:endParaRPr>
          </a:p>
        </p:txBody>
      </p:sp>
      <p:sp>
        <p:nvSpPr>
          <p:cNvPr id="17" name="Espace réservé du pied de page 3">
            <a:extLst>
              <a:ext uri="{FF2B5EF4-FFF2-40B4-BE49-F238E27FC236}">
                <a16:creationId xmlns:a16="http://schemas.microsoft.com/office/drawing/2014/main" id="{6915796E-9002-4145-8723-B2D04333DA88}"/>
              </a:ext>
            </a:extLst>
          </p:cNvPr>
          <p:cNvSpPr txBox="1">
            <a:spLocks/>
          </p:cNvSpPr>
          <p:nvPr/>
        </p:nvSpPr>
        <p:spPr bwMode="auto">
          <a:xfrm>
            <a:off x="4383303" y="4900879"/>
            <a:ext cx="4760698"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nb-NO" sz="1050"/>
              <a:t>Cavo M, et al. ASH 2017.</a:t>
            </a:r>
          </a:p>
        </p:txBody>
      </p:sp>
      <p:pic>
        <p:nvPicPr>
          <p:cNvPr id="13" name="Immagine 15">
            <a:extLst>
              <a:ext uri="{FF2B5EF4-FFF2-40B4-BE49-F238E27FC236}">
                <a16:creationId xmlns:a16="http://schemas.microsoft.com/office/drawing/2014/main" id="{1BB08D28-8990-C146-9BE3-F1EFFBAD93D5}"/>
              </a:ext>
            </a:extLst>
          </p:cNvPr>
          <p:cNvPicPr>
            <a:picLocks noChangeAspect="1"/>
          </p:cNvPicPr>
          <p:nvPr/>
        </p:nvPicPr>
        <p:blipFill>
          <a:blip r:embed="rId3" cstate="screen">
            <a:extLst>
              <a:ext uri="{28A0092B-C50C-407E-A947-70E740481C1C}">
                <a14:useLocalDpi xmlns:a14="http://schemas.microsoft.com/office/drawing/2010/main"/>
              </a:ext>
            </a:extLst>
          </a:blip>
          <a:srcRect l="41524" t="1292" r="28700" b="92496"/>
          <a:stretch>
            <a:fillRect/>
          </a:stretch>
        </p:blipFill>
        <p:spPr bwMode="auto">
          <a:xfrm>
            <a:off x="4873505" y="847168"/>
            <a:ext cx="1585038" cy="323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Immagine 4">
            <a:extLst>
              <a:ext uri="{FF2B5EF4-FFF2-40B4-BE49-F238E27FC236}">
                <a16:creationId xmlns:a16="http://schemas.microsoft.com/office/drawing/2014/main" id="{D496FDB3-4470-B34A-9FAA-E9BD2481E6F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072082" y="1363337"/>
            <a:ext cx="3291840" cy="3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7">
            <a:extLst>
              <a:ext uri="{FF2B5EF4-FFF2-40B4-BE49-F238E27FC236}">
                <a16:creationId xmlns:a16="http://schemas.microsoft.com/office/drawing/2014/main" id="{26B1D0D3-9A58-F74D-B7B3-E2AF1406EE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20023" y="2287826"/>
            <a:ext cx="1707491" cy="2022465"/>
          </a:xfrm>
          <a:prstGeom prst="rect">
            <a:avLst/>
          </a:prstGeom>
        </p:spPr>
      </p:pic>
      <p:pic>
        <p:nvPicPr>
          <p:cNvPr id="18" name="Immagine 2">
            <a:extLst>
              <a:ext uri="{FF2B5EF4-FFF2-40B4-BE49-F238E27FC236}">
                <a16:creationId xmlns:a16="http://schemas.microsoft.com/office/drawing/2014/main" id="{9BF064D0-C6DE-1B44-BEBF-BEEF6892BE35}"/>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624870" y="1373819"/>
            <a:ext cx="3291840" cy="3169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Connecteur droit 5">
            <a:extLst>
              <a:ext uri="{FF2B5EF4-FFF2-40B4-BE49-F238E27FC236}">
                <a16:creationId xmlns:a16="http://schemas.microsoft.com/office/drawing/2014/main" id="{6D90A47E-A97D-4AF2-BE3F-DEAE08F0A8D0}"/>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767694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à coins arrondis 5"/>
          <p:cNvSpPr/>
          <p:nvPr/>
        </p:nvSpPr>
        <p:spPr>
          <a:xfrm>
            <a:off x="107504" y="1709560"/>
            <a:ext cx="3270135" cy="3178760"/>
          </a:xfrm>
          <a:prstGeom prst="roundRect">
            <a:avLst>
              <a:gd name="adj" fmla="val 3789"/>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prstClr val="white"/>
              </a:solidFill>
              <a:latin typeface="Calibri" panose="020F0502020204030204"/>
            </a:endParaRPr>
          </a:p>
        </p:txBody>
      </p:sp>
      <p:sp>
        <p:nvSpPr>
          <p:cNvPr id="4" name="Text Box 2"/>
          <p:cNvSpPr txBox="1">
            <a:spLocks noChangeArrowheads="1"/>
          </p:cNvSpPr>
          <p:nvPr/>
        </p:nvSpPr>
        <p:spPr bwMode="auto">
          <a:xfrm>
            <a:off x="807474" y="159845"/>
            <a:ext cx="810856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685800" eaLnBrk="1" hangingPunct="1"/>
            <a:r>
              <a:rPr lang="en-US" sz="2100" b="1">
                <a:solidFill>
                  <a:srgbClr val="0062A7"/>
                </a:solidFill>
              </a:rPr>
              <a:t>Prognostic Factors in Myeloma</a:t>
            </a:r>
          </a:p>
        </p:txBody>
      </p:sp>
      <p:sp>
        <p:nvSpPr>
          <p:cNvPr id="47" name="AutoShape 2" descr="An external file that holds a picture, illustration, etc.&#10;Object name is nihms549970f1a.jpg"/>
          <p:cNvSpPr>
            <a:spLocks noChangeAspect="1" noChangeArrowheads="1"/>
          </p:cNvSpPr>
          <p:nvPr/>
        </p:nvSpPr>
        <p:spPr bwMode="auto">
          <a:xfrm>
            <a:off x="155575" y="-108346"/>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fr-FR">
              <a:solidFill>
                <a:prstClr val="black"/>
              </a:solidFill>
              <a:latin typeface="Calibri" panose="020F0502020204030204"/>
            </a:endParaRPr>
          </a:p>
        </p:txBody>
      </p:sp>
      <p:sp>
        <p:nvSpPr>
          <p:cNvPr id="48" name="AutoShape 4" descr="An external file that holds a picture, illustration, etc.&#10;Object name is nihms549970f1a.jpg"/>
          <p:cNvSpPr>
            <a:spLocks noChangeAspect="1" noChangeArrowheads="1"/>
          </p:cNvSpPr>
          <p:nvPr/>
        </p:nvSpPr>
        <p:spPr bwMode="auto">
          <a:xfrm>
            <a:off x="307975" y="59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fr-FR">
              <a:solidFill>
                <a:prstClr val="black"/>
              </a:solidFill>
              <a:latin typeface="Calibri" panose="020F0502020204030204"/>
            </a:endParaRPr>
          </a:p>
        </p:txBody>
      </p:sp>
      <p:sp>
        <p:nvSpPr>
          <p:cNvPr id="50" name="AutoShape 6" descr="An external file that holds a picture, illustration, etc.&#10;Object name is nihms549970f1a.jpg"/>
          <p:cNvSpPr>
            <a:spLocks noChangeAspect="1" noChangeArrowheads="1"/>
          </p:cNvSpPr>
          <p:nvPr/>
        </p:nvSpPr>
        <p:spPr bwMode="auto">
          <a:xfrm>
            <a:off x="460375" y="1202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fr-FR">
              <a:solidFill>
                <a:prstClr val="black"/>
              </a:solidFill>
              <a:latin typeface="Calibri" panose="020F0502020204030204"/>
            </a:endParaRPr>
          </a:p>
        </p:txBody>
      </p:sp>
      <p:sp>
        <p:nvSpPr>
          <p:cNvPr id="3" name="ZoneTexte 2"/>
          <p:cNvSpPr txBox="1"/>
          <p:nvPr/>
        </p:nvSpPr>
        <p:spPr>
          <a:xfrm>
            <a:off x="3738873" y="1924080"/>
            <a:ext cx="2337589" cy="1477328"/>
          </a:xfrm>
          <a:prstGeom prst="rect">
            <a:avLst/>
          </a:prstGeom>
          <a:noFill/>
        </p:spPr>
        <p:txBody>
          <a:bodyPr wrap="square" rtlCol="0">
            <a:spAutoFit/>
          </a:bodyPr>
          <a:lstStyle/>
          <a:p>
            <a:pPr defTabSz="685800"/>
            <a:r>
              <a:rPr lang="en-US" b="1">
                <a:solidFill>
                  <a:prstClr val="black"/>
                </a:solidFill>
                <a:latin typeface="Calibri" panose="020F0502020204030204"/>
              </a:rPr>
              <a:t>Age/Frailty</a:t>
            </a:r>
          </a:p>
          <a:p>
            <a:pPr defTabSz="685800"/>
            <a:endParaRPr lang="en-US">
              <a:solidFill>
                <a:prstClr val="black"/>
              </a:solidFill>
              <a:latin typeface="Calibri" panose="020F0502020204030204"/>
            </a:endParaRPr>
          </a:p>
          <a:p>
            <a:pPr defTabSz="685800"/>
            <a:r>
              <a:rPr lang="en-US" b="1">
                <a:solidFill>
                  <a:prstClr val="black"/>
                </a:solidFill>
                <a:latin typeface="Calibri" panose="020F0502020204030204"/>
              </a:rPr>
              <a:t>Comorbidity</a:t>
            </a:r>
          </a:p>
          <a:p>
            <a:pPr defTabSz="685800"/>
            <a:endParaRPr lang="en-US">
              <a:solidFill>
                <a:prstClr val="black"/>
              </a:solidFill>
              <a:latin typeface="Calibri" panose="020F0502020204030204"/>
            </a:endParaRPr>
          </a:p>
          <a:p>
            <a:pPr defTabSz="685800"/>
            <a:r>
              <a:rPr lang="en-US" b="1">
                <a:solidFill>
                  <a:prstClr val="black"/>
                </a:solidFill>
                <a:latin typeface="Calibri" panose="020F0502020204030204"/>
              </a:rPr>
              <a:t>Renal insufficiency</a:t>
            </a:r>
          </a:p>
        </p:txBody>
      </p:sp>
      <p:sp>
        <p:nvSpPr>
          <p:cNvPr id="46" name="ZoneTexte 45"/>
          <p:cNvSpPr txBox="1"/>
          <p:nvPr/>
        </p:nvSpPr>
        <p:spPr>
          <a:xfrm>
            <a:off x="328694" y="1813887"/>
            <a:ext cx="2770645" cy="1015663"/>
          </a:xfrm>
          <a:prstGeom prst="rect">
            <a:avLst/>
          </a:prstGeom>
          <a:noFill/>
        </p:spPr>
        <p:txBody>
          <a:bodyPr wrap="square" rtlCol="0">
            <a:spAutoFit/>
          </a:bodyPr>
          <a:lstStyle/>
          <a:p>
            <a:pPr defTabSz="685800">
              <a:buClr>
                <a:srgbClr val="FF0000"/>
              </a:buClr>
              <a:buSzPct val="150000"/>
            </a:pPr>
            <a:r>
              <a:rPr lang="en-US" altLang="fr-FR" sz="1500" b="1">
                <a:solidFill>
                  <a:prstClr val="black"/>
                </a:solidFill>
                <a:latin typeface="Calibri" panose="020F0502020204030204"/>
              </a:rPr>
              <a:t>Biochemical</a:t>
            </a:r>
          </a:p>
          <a:p>
            <a:pPr marL="257175" indent="-257175" defTabSz="685800">
              <a:buClr>
                <a:srgbClr val="FF0000"/>
              </a:buClr>
              <a:buSzPct val="100000"/>
              <a:buFont typeface="Calibri" panose="020F0502020204030204" pitchFamily="34" charset="0"/>
              <a:buChar char="•"/>
            </a:pPr>
            <a:r>
              <a:rPr lang="en-US" altLang="fr-FR" sz="1500">
                <a:solidFill>
                  <a:prstClr val="black"/>
                </a:solidFill>
                <a:latin typeface="Calibri" panose="020F0502020204030204"/>
              </a:rPr>
              <a:t>β</a:t>
            </a:r>
            <a:r>
              <a:rPr lang="en-US" altLang="fr-FR" sz="1500" baseline="-25000">
                <a:solidFill>
                  <a:prstClr val="black"/>
                </a:solidFill>
                <a:latin typeface="Calibri" panose="020F0502020204030204"/>
              </a:rPr>
              <a:t>2</a:t>
            </a:r>
            <a:r>
              <a:rPr lang="en-US" altLang="fr-FR" sz="1500">
                <a:solidFill>
                  <a:prstClr val="black"/>
                </a:solidFill>
                <a:latin typeface="Calibri" panose="020F0502020204030204"/>
              </a:rPr>
              <a:t> microglobulin &gt;5,5 mg/L</a:t>
            </a:r>
          </a:p>
          <a:p>
            <a:pPr marL="257175" indent="-257175" defTabSz="685800">
              <a:buClr>
                <a:srgbClr val="FF0000"/>
              </a:buClr>
              <a:buSzPct val="100000"/>
              <a:buFont typeface="Calibri" panose="020F0502020204030204" pitchFamily="34" charset="0"/>
              <a:buChar char="•"/>
            </a:pPr>
            <a:r>
              <a:rPr lang="en-US" altLang="fr-FR" sz="1500">
                <a:solidFill>
                  <a:prstClr val="black"/>
                </a:solidFill>
                <a:latin typeface="Calibri" panose="020F0502020204030204"/>
              </a:rPr>
              <a:t>Albumin &lt;35 g/L</a:t>
            </a:r>
          </a:p>
          <a:p>
            <a:pPr marL="257175" indent="-257175" defTabSz="685800">
              <a:buClr>
                <a:srgbClr val="FF0000"/>
              </a:buClr>
              <a:buSzPct val="100000"/>
              <a:buFont typeface="Calibri" panose="020F0502020204030204" pitchFamily="34" charset="0"/>
              <a:buChar char="•"/>
            </a:pPr>
            <a:r>
              <a:rPr lang="en-US" altLang="fr-FR" sz="1500">
                <a:solidFill>
                  <a:prstClr val="black"/>
                </a:solidFill>
                <a:latin typeface="Calibri" panose="020F0502020204030204"/>
              </a:rPr>
              <a:t>LDH &gt;N</a:t>
            </a:r>
          </a:p>
        </p:txBody>
      </p:sp>
      <p:sp>
        <p:nvSpPr>
          <p:cNvPr id="51" name="ZoneTexte 50"/>
          <p:cNvSpPr txBox="1"/>
          <p:nvPr/>
        </p:nvSpPr>
        <p:spPr>
          <a:xfrm>
            <a:off x="328521" y="2978242"/>
            <a:ext cx="2616814" cy="784830"/>
          </a:xfrm>
          <a:prstGeom prst="rect">
            <a:avLst/>
          </a:prstGeom>
          <a:noFill/>
        </p:spPr>
        <p:txBody>
          <a:bodyPr wrap="square" rtlCol="0">
            <a:spAutoFit/>
          </a:bodyPr>
          <a:lstStyle/>
          <a:p>
            <a:pPr defTabSz="685800"/>
            <a:r>
              <a:rPr lang="en-US" altLang="fr-FR" sz="1500" b="1">
                <a:solidFill>
                  <a:prstClr val="black"/>
                </a:solidFill>
                <a:latin typeface="Calibri" panose="020F0502020204030204"/>
              </a:rPr>
              <a:t>Cytogenetic</a:t>
            </a:r>
          </a:p>
          <a:p>
            <a:pPr marL="257175" indent="-257175" defTabSz="685800">
              <a:buClr>
                <a:srgbClr val="FF0000"/>
              </a:buClr>
              <a:buFont typeface="Calibri" panose="020F0502020204030204" pitchFamily="34" charset="0"/>
              <a:buChar char="•"/>
            </a:pPr>
            <a:r>
              <a:rPr lang="en-US" altLang="fr-FR" sz="1500">
                <a:solidFill>
                  <a:prstClr val="black"/>
                </a:solidFill>
                <a:latin typeface="Calibri" panose="020F0502020204030204"/>
              </a:rPr>
              <a:t>t(4;14), t(14;16), Del 17p</a:t>
            </a:r>
          </a:p>
          <a:p>
            <a:pPr marL="257175" indent="-257175" defTabSz="685800">
              <a:buClr>
                <a:srgbClr val="FF0000"/>
              </a:buClr>
              <a:buFont typeface="Calibri" panose="020F0502020204030204" pitchFamily="34" charset="0"/>
              <a:buChar char="•"/>
            </a:pPr>
            <a:r>
              <a:rPr lang="en-US" altLang="fr-FR" sz="1500">
                <a:solidFill>
                  <a:prstClr val="black"/>
                </a:solidFill>
                <a:latin typeface="Calibri" panose="020F0502020204030204"/>
              </a:rPr>
              <a:t>Chromosome 1 abnormality</a:t>
            </a:r>
          </a:p>
        </p:txBody>
      </p:sp>
      <p:sp>
        <p:nvSpPr>
          <p:cNvPr id="54" name="ZoneTexte 53"/>
          <p:cNvSpPr txBox="1"/>
          <p:nvPr/>
        </p:nvSpPr>
        <p:spPr>
          <a:xfrm>
            <a:off x="351301" y="4032055"/>
            <a:ext cx="3026339" cy="784830"/>
          </a:xfrm>
          <a:prstGeom prst="rect">
            <a:avLst/>
          </a:prstGeom>
          <a:noFill/>
        </p:spPr>
        <p:txBody>
          <a:bodyPr wrap="square" rtlCol="0">
            <a:spAutoFit/>
          </a:bodyPr>
          <a:lstStyle/>
          <a:p>
            <a:pPr defTabSz="685800"/>
            <a:r>
              <a:rPr lang="en-GB" altLang="fr-FR" sz="1500" b="1">
                <a:solidFill>
                  <a:prstClr val="black"/>
                </a:solidFill>
                <a:latin typeface="Calibri" panose="020F0502020204030204"/>
              </a:rPr>
              <a:t>TEP</a:t>
            </a:r>
          </a:p>
          <a:p>
            <a:pPr marL="257175" indent="-257175" defTabSz="685800">
              <a:buClr>
                <a:srgbClr val="FF0000"/>
              </a:buClr>
              <a:buFont typeface="Calibri" panose="020F0502020204030204" pitchFamily="34" charset="0"/>
              <a:buChar char="•"/>
            </a:pPr>
            <a:r>
              <a:rPr lang="en-GB" altLang="fr-FR" sz="1500">
                <a:solidFill>
                  <a:prstClr val="black"/>
                </a:solidFill>
                <a:latin typeface="Calibri" panose="020F0502020204030204"/>
              </a:rPr>
              <a:t>PMD/EMD</a:t>
            </a:r>
          </a:p>
          <a:p>
            <a:pPr marL="257175" indent="-257175" defTabSz="685800">
              <a:buClr>
                <a:srgbClr val="FF0000"/>
              </a:buClr>
              <a:buFont typeface="Calibri" panose="020F0502020204030204" pitchFamily="34" charset="0"/>
              <a:buChar char="•"/>
            </a:pPr>
            <a:r>
              <a:rPr lang="en-GB" altLang="fr-FR" sz="1500">
                <a:solidFill>
                  <a:prstClr val="black"/>
                </a:solidFill>
                <a:latin typeface="Calibri" panose="020F0502020204030204"/>
              </a:rPr>
              <a:t>SUV max</a:t>
            </a:r>
          </a:p>
        </p:txBody>
      </p:sp>
      <p:sp>
        <p:nvSpPr>
          <p:cNvPr id="19" name="ZoneTexte 18"/>
          <p:cNvSpPr txBox="1"/>
          <p:nvPr/>
        </p:nvSpPr>
        <p:spPr>
          <a:xfrm>
            <a:off x="323191" y="1314843"/>
            <a:ext cx="2808312" cy="369332"/>
          </a:xfrm>
          <a:prstGeom prst="rect">
            <a:avLst/>
          </a:prstGeom>
          <a:noFill/>
        </p:spPr>
        <p:txBody>
          <a:bodyPr wrap="square" rtlCol="0">
            <a:spAutoFit/>
          </a:bodyPr>
          <a:lstStyle/>
          <a:p>
            <a:pPr algn="ctr" defTabSz="685800"/>
            <a:r>
              <a:rPr lang="en-US" b="1">
                <a:solidFill>
                  <a:srgbClr val="FF0000"/>
                </a:solidFill>
                <a:latin typeface="Calibri" panose="020F0502020204030204"/>
              </a:rPr>
              <a:t>Myeloma</a:t>
            </a:r>
            <a:endParaRPr lang="en-US" altLang="fr-FR" b="1">
              <a:solidFill>
                <a:srgbClr val="FF0000"/>
              </a:solidFill>
              <a:latin typeface="Calibri" panose="020F0502020204030204"/>
            </a:endParaRPr>
          </a:p>
        </p:txBody>
      </p:sp>
      <p:sp>
        <p:nvSpPr>
          <p:cNvPr id="21" name="ZoneTexte 20"/>
          <p:cNvSpPr txBox="1"/>
          <p:nvPr/>
        </p:nvSpPr>
        <p:spPr>
          <a:xfrm>
            <a:off x="3473889" y="1333029"/>
            <a:ext cx="2808312" cy="369332"/>
          </a:xfrm>
          <a:prstGeom prst="rect">
            <a:avLst/>
          </a:prstGeom>
          <a:noFill/>
        </p:spPr>
        <p:txBody>
          <a:bodyPr wrap="square" rtlCol="0">
            <a:spAutoFit/>
          </a:bodyPr>
          <a:lstStyle/>
          <a:p>
            <a:pPr algn="ctr" defTabSz="685800"/>
            <a:r>
              <a:rPr lang="fr-FR" b="1">
                <a:solidFill>
                  <a:srgbClr val="FF0000"/>
                </a:solidFill>
                <a:latin typeface="Calibri" panose="020F0502020204030204"/>
              </a:rPr>
              <a:t>Patient</a:t>
            </a:r>
            <a:endParaRPr lang="en-GB" altLang="fr-FR" b="1">
              <a:solidFill>
                <a:srgbClr val="FF0000"/>
              </a:solidFill>
              <a:latin typeface="Calibri" panose="020F0502020204030204"/>
            </a:endParaRPr>
          </a:p>
        </p:txBody>
      </p:sp>
      <p:sp>
        <p:nvSpPr>
          <p:cNvPr id="29" name="Rectangle à coins arrondis 28"/>
          <p:cNvSpPr/>
          <p:nvPr/>
        </p:nvSpPr>
        <p:spPr>
          <a:xfrm>
            <a:off x="3679769" y="1709560"/>
            <a:ext cx="2374523" cy="3178760"/>
          </a:xfrm>
          <a:prstGeom prst="roundRect">
            <a:avLst>
              <a:gd name="adj" fmla="val 4167"/>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prstClr val="white"/>
              </a:solidFill>
              <a:latin typeface="Calibri" panose="020F0502020204030204"/>
            </a:endParaRPr>
          </a:p>
        </p:txBody>
      </p:sp>
      <p:sp>
        <p:nvSpPr>
          <p:cNvPr id="31" name="ZoneTexte 30"/>
          <p:cNvSpPr txBox="1"/>
          <p:nvPr/>
        </p:nvSpPr>
        <p:spPr>
          <a:xfrm>
            <a:off x="6271229" y="1314842"/>
            <a:ext cx="2808312" cy="369332"/>
          </a:xfrm>
          <a:prstGeom prst="rect">
            <a:avLst/>
          </a:prstGeom>
          <a:noFill/>
        </p:spPr>
        <p:txBody>
          <a:bodyPr wrap="square" rtlCol="0">
            <a:spAutoFit/>
          </a:bodyPr>
          <a:lstStyle/>
          <a:p>
            <a:pPr algn="ctr" defTabSz="685800"/>
            <a:r>
              <a:rPr lang="en-US" b="1">
                <a:solidFill>
                  <a:srgbClr val="FF0000"/>
                </a:solidFill>
                <a:latin typeface="Calibri" panose="020F0502020204030204"/>
              </a:rPr>
              <a:t>Treatment</a:t>
            </a:r>
            <a:endParaRPr lang="en-US" altLang="fr-FR" b="1">
              <a:solidFill>
                <a:srgbClr val="FF0000"/>
              </a:solidFill>
              <a:latin typeface="Calibri" panose="020F0502020204030204"/>
            </a:endParaRPr>
          </a:p>
        </p:txBody>
      </p:sp>
      <p:sp>
        <p:nvSpPr>
          <p:cNvPr id="2" name="ZoneTexte 1"/>
          <p:cNvSpPr txBox="1"/>
          <p:nvPr/>
        </p:nvSpPr>
        <p:spPr>
          <a:xfrm>
            <a:off x="1956984" y="817646"/>
            <a:ext cx="1507016" cy="369332"/>
          </a:xfrm>
          <a:prstGeom prst="rect">
            <a:avLst/>
          </a:prstGeom>
          <a:noFill/>
        </p:spPr>
        <p:txBody>
          <a:bodyPr wrap="none" rtlCol="0">
            <a:spAutoFit/>
          </a:bodyPr>
          <a:lstStyle/>
          <a:p>
            <a:pPr defTabSz="685800"/>
            <a:r>
              <a:rPr lang="fr-FR" b="1">
                <a:solidFill>
                  <a:srgbClr val="FF0000"/>
                </a:solidFill>
                <a:latin typeface="Calibri" panose="020F0502020204030204"/>
              </a:rPr>
              <a:t>at DIAGNOSIS</a:t>
            </a:r>
          </a:p>
        </p:txBody>
      </p:sp>
      <p:cxnSp>
        <p:nvCxnSpPr>
          <p:cNvPr id="8" name="Connecteur droit 7"/>
          <p:cNvCxnSpPr/>
          <p:nvPr/>
        </p:nvCxnSpPr>
        <p:spPr>
          <a:xfrm>
            <a:off x="155575" y="1224835"/>
            <a:ext cx="5898716"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ZoneTexte 31"/>
          <p:cNvSpPr txBox="1"/>
          <p:nvPr/>
        </p:nvSpPr>
        <p:spPr>
          <a:xfrm>
            <a:off x="6985770" y="783273"/>
            <a:ext cx="1121013" cy="369332"/>
          </a:xfrm>
          <a:prstGeom prst="rect">
            <a:avLst/>
          </a:prstGeom>
          <a:noFill/>
        </p:spPr>
        <p:txBody>
          <a:bodyPr wrap="none" rtlCol="0">
            <a:spAutoFit/>
          </a:bodyPr>
          <a:lstStyle/>
          <a:p>
            <a:pPr defTabSz="685800"/>
            <a:r>
              <a:rPr lang="fr-FR" b="1">
                <a:solidFill>
                  <a:srgbClr val="FF0000"/>
                </a:solidFill>
                <a:latin typeface="Calibri" panose="020F0502020204030204"/>
              </a:rPr>
              <a:t>DYNAMIC</a:t>
            </a:r>
          </a:p>
        </p:txBody>
      </p:sp>
      <p:cxnSp>
        <p:nvCxnSpPr>
          <p:cNvPr id="33" name="Connecteur droit 32"/>
          <p:cNvCxnSpPr/>
          <p:nvPr/>
        </p:nvCxnSpPr>
        <p:spPr>
          <a:xfrm>
            <a:off x="6535554" y="1224835"/>
            <a:ext cx="225134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34" name="Rectangle à coins arrondis 33"/>
          <p:cNvSpPr/>
          <p:nvPr/>
        </p:nvSpPr>
        <p:spPr>
          <a:xfrm>
            <a:off x="6535555" y="1709558"/>
            <a:ext cx="2348564" cy="3178760"/>
          </a:xfrm>
          <a:prstGeom prst="roundRect">
            <a:avLst>
              <a:gd name="adj" fmla="val 4167"/>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prstClr val="white"/>
              </a:solidFill>
              <a:latin typeface="Calibri" panose="020F0502020204030204"/>
            </a:endParaRPr>
          </a:p>
        </p:txBody>
      </p:sp>
      <p:sp>
        <p:nvSpPr>
          <p:cNvPr id="35" name="ZoneTexte 34"/>
          <p:cNvSpPr txBox="1"/>
          <p:nvPr/>
        </p:nvSpPr>
        <p:spPr>
          <a:xfrm>
            <a:off x="6612557" y="1921541"/>
            <a:ext cx="2271562" cy="2031325"/>
          </a:xfrm>
          <a:prstGeom prst="rect">
            <a:avLst/>
          </a:prstGeom>
          <a:noFill/>
        </p:spPr>
        <p:txBody>
          <a:bodyPr wrap="square" rtlCol="0">
            <a:spAutoFit/>
          </a:bodyPr>
          <a:lstStyle/>
          <a:p>
            <a:pPr defTabSz="685800"/>
            <a:r>
              <a:rPr lang="en-US" b="1">
                <a:solidFill>
                  <a:prstClr val="black"/>
                </a:solidFill>
                <a:latin typeface="Calibri" panose="020F0502020204030204"/>
              </a:rPr>
              <a:t>MRD++</a:t>
            </a:r>
          </a:p>
          <a:p>
            <a:pPr defTabSz="685800"/>
            <a:endParaRPr lang="en-US">
              <a:solidFill>
                <a:prstClr val="black"/>
              </a:solidFill>
              <a:latin typeface="Calibri" panose="020F0502020204030204"/>
            </a:endParaRPr>
          </a:p>
          <a:p>
            <a:pPr defTabSz="685800"/>
            <a:r>
              <a:rPr lang="en-US">
                <a:solidFill>
                  <a:prstClr val="black"/>
                </a:solidFill>
                <a:latin typeface="Calibri" panose="020F0502020204030204"/>
              </a:rPr>
              <a:t>NGS, NGF</a:t>
            </a:r>
          </a:p>
          <a:p>
            <a:pPr defTabSz="685800"/>
            <a:endParaRPr lang="en-US" b="1">
              <a:solidFill>
                <a:prstClr val="black"/>
              </a:solidFill>
              <a:latin typeface="Calibri" panose="020F0502020204030204"/>
            </a:endParaRPr>
          </a:p>
          <a:p>
            <a:pPr defTabSz="685800"/>
            <a:r>
              <a:rPr lang="en-US" b="1">
                <a:solidFill>
                  <a:prstClr val="black"/>
                </a:solidFill>
                <a:latin typeface="Calibri" panose="020F0502020204030204"/>
              </a:rPr>
              <a:t>Metabolic response</a:t>
            </a:r>
          </a:p>
          <a:p>
            <a:pPr defTabSz="685800"/>
            <a:endParaRPr lang="en-US">
              <a:solidFill>
                <a:prstClr val="black"/>
              </a:solidFill>
              <a:latin typeface="Calibri" panose="020F0502020204030204"/>
            </a:endParaRPr>
          </a:p>
          <a:p>
            <a:pPr defTabSz="685800"/>
            <a:r>
              <a:rPr lang="en-US">
                <a:solidFill>
                  <a:prstClr val="black"/>
                </a:solidFill>
                <a:latin typeface="Calibri" panose="020F0502020204030204"/>
              </a:rPr>
              <a:t>TEP</a:t>
            </a:r>
          </a:p>
        </p:txBody>
      </p:sp>
      <p:cxnSp>
        <p:nvCxnSpPr>
          <p:cNvPr id="36" name="Connecteur droit 5">
            <a:extLst>
              <a:ext uri="{FF2B5EF4-FFF2-40B4-BE49-F238E27FC236}">
                <a16:creationId xmlns:a16="http://schemas.microsoft.com/office/drawing/2014/main" id="{054AF31C-D39C-400C-9DDB-DDD53BBF4567}"/>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978557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7475" y="83852"/>
            <a:ext cx="6273047" cy="585329"/>
          </a:xfrm>
        </p:spPr>
        <p:txBody>
          <a:bodyPr>
            <a:normAutofit/>
          </a:bodyPr>
          <a:lstStyle/>
          <a:p>
            <a:r>
              <a:rPr lang="en-US" sz="2100" b="1" noProof="0">
                <a:solidFill>
                  <a:srgbClr val="0062A7"/>
                </a:solidFill>
                <a:latin typeface="Calibri" charset="0"/>
                <a:ea typeface="Calibri" charset="0"/>
                <a:cs typeface="Calibri" charset="0"/>
              </a:rPr>
              <a:t>Perspectives 2021–2022</a:t>
            </a:r>
          </a:p>
        </p:txBody>
      </p:sp>
      <p:sp>
        <p:nvSpPr>
          <p:cNvPr id="20" name="Rectangle 19"/>
          <p:cNvSpPr/>
          <p:nvPr/>
        </p:nvSpPr>
        <p:spPr>
          <a:xfrm>
            <a:off x="723973" y="798009"/>
            <a:ext cx="6349175" cy="346249"/>
          </a:xfrm>
          <a:prstGeom prst="rect">
            <a:avLst/>
          </a:prstGeom>
        </p:spPr>
        <p:txBody>
          <a:bodyPr wrap="square">
            <a:spAutoFit/>
          </a:bodyPr>
          <a:lstStyle/>
          <a:p>
            <a:pPr defTabSz="685800"/>
            <a:r>
              <a:rPr lang="en-US" sz="1650" b="1">
                <a:solidFill>
                  <a:srgbClr val="C00000"/>
                </a:solidFill>
                <a:latin typeface="Calibri" charset="0"/>
                <a:ea typeface="Calibri" charset="0"/>
                <a:cs typeface="Calibri" charset="0"/>
              </a:rPr>
              <a:t>MRD-driven strategy: protocol IFM 2020-02 MIDAS</a:t>
            </a:r>
          </a:p>
        </p:txBody>
      </p:sp>
      <p:sp>
        <p:nvSpPr>
          <p:cNvPr id="7" name="Espace réservé du pied de page 3">
            <a:extLst>
              <a:ext uri="{FF2B5EF4-FFF2-40B4-BE49-F238E27FC236}">
                <a16:creationId xmlns:a16="http://schemas.microsoft.com/office/drawing/2014/main" id="{DD268448-7C4C-4676-910F-BA142FCAC81A}"/>
              </a:ext>
            </a:extLst>
          </p:cNvPr>
          <p:cNvSpPr txBox="1">
            <a:spLocks/>
          </p:cNvSpPr>
          <p:nvPr/>
        </p:nvSpPr>
        <p:spPr bwMode="auto">
          <a:xfrm>
            <a:off x="4383303" y="4900879"/>
            <a:ext cx="4760698"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nb-NO" sz="1050"/>
              <a:t>ClinicalTrials.gov; NCT04934475.</a:t>
            </a:r>
          </a:p>
        </p:txBody>
      </p:sp>
      <p:cxnSp>
        <p:nvCxnSpPr>
          <p:cNvPr id="8" name="Connecteur droit 5">
            <a:extLst>
              <a:ext uri="{FF2B5EF4-FFF2-40B4-BE49-F238E27FC236}">
                <a16:creationId xmlns:a16="http://schemas.microsoft.com/office/drawing/2014/main" id="{94361785-E280-42A1-B4B5-93110C25DCDB}"/>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43C7B6FA-796D-430F-80B4-94E32D25C92D}"/>
              </a:ext>
            </a:extLst>
          </p:cNvPr>
          <p:cNvGrpSpPr/>
          <p:nvPr/>
        </p:nvGrpSpPr>
        <p:grpSpPr>
          <a:xfrm>
            <a:off x="1239715" y="1271730"/>
            <a:ext cx="6548739" cy="3443679"/>
            <a:chOff x="1652952" y="1695640"/>
            <a:chExt cx="8731652" cy="4591572"/>
          </a:xfrm>
        </p:grpSpPr>
        <p:sp>
          <p:nvSpPr>
            <p:cNvPr id="3" name="Rectangle: Rounded Corners 2">
              <a:extLst>
                <a:ext uri="{FF2B5EF4-FFF2-40B4-BE49-F238E27FC236}">
                  <a16:creationId xmlns:a16="http://schemas.microsoft.com/office/drawing/2014/main" id="{48EAFC5A-3B11-4DD2-A5F5-B06F484A16C0}"/>
                </a:ext>
              </a:extLst>
            </p:cNvPr>
            <p:cNvSpPr/>
            <p:nvPr/>
          </p:nvSpPr>
          <p:spPr>
            <a:xfrm>
              <a:off x="1652952" y="3827732"/>
              <a:ext cx="1571132" cy="789340"/>
            </a:xfrm>
            <a:prstGeom prst="roundRect">
              <a:avLst/>
            </a:prstGeom>
            <a:solidFill>
              <a:srgbClr val="CCD9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IsaKRD 6 cycles</a:t>
              </a:r>
            </a:p>
            <a:p>
              <a:pPr algn="ctr" defTabSz="685800"/>
              <a:r>
                <a:rPr lang="en-US" sz="1050">
                  <a:solidFill>
                    <a:prstClr val="black"/>
                  </a:solidFill>
                  <a:latin typeface="Arial" panose="020B0604020202020204" pitchFamily="34" charset="0"/>
                  <a:cs typeface="Arial" panose="020B0604020202020204" pitchFamily="34" charset="0"/>
                </a:rPr>
                <a:t>(28-day cycles)</a:t>
              </a:r>
              <a:endParaRPr lang="en-NL" sz="1050">
                <a:solidFill>
                  <a:prstClr val="black"/>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3BEB8F9-4409-4BE4-AA52-5873A8E6540D}"/>
                </a:ext>
              </a:extLst>
            </p:cNvPr>
            <p:cNvSpPr txBox="1"/>
            <p:nvPr/>
          </p:nvSpPr>
          <p:spPr>
            <a:xfrm>
              <a:off x="1884162" y="1695640"/>
              <a:ext cx="2261119" cy="553997"/>
            </a:xfrm>
            <a:prstGeom prst="rect">
              <a:avLst/>
            </a:prstGeom>
            <a:noFill/>
          </p:spPr>
          <p:txBody>
            <a:bodyPr wrap="square" rtlCol="0" anchor="ctr">
              <a:spAutoFit/>
            </a:bodyPr>
            <a:lstStyle/>
            <a:p>
              <a:pPr algn="ctr" defTabSz="685800"/>
              <a:r>
                <a:rPr lang="en-US" sz="1050" b="1">
                  <a:solidFill>
                    <a:prstClr val="black"/>
                  </a:solidFill>
                  <a:latin typeface="Arial" panose="020B0604020202020204" pitchFamily="34" charset="0"/>
                  <a:cs typeface="Arial" panose="020B0604020202020204" pitchFamily="34" charset="0"/>
                </a:rPr>
                <a:t>Induction and cell collection</a:t>
              </a:r>
              <a:endParaRPr lang="en-NL" sz="1050" b="1">
                <a:solidFill>
                  <a:prstClr val="black"/>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B2714F0C-00AA-4C92-A28F-DB0F383CFB40}"/>
                </a:ext>
              </a:extLst>
            </p:cNvPr>
            <p:cNvSpPr txBox="1"/>
            <p:nvPr/>
          </p:nvSpPr>
          <p:spPr>
            <a:xfrm>
              <a:off x="3243992" y="4761725"/>
              <a:ext cx="1146048" cy="492443"/>
            </a:xfrm>
            <a:prstGeom prst="rect">
              <a:avLst/>
            </a:prstGeom>
            <a:noFill/>
          </p:spPr>
          <p:txBody>
            <a:bodyPr wrap="square" rtlCol="0">
              <a:spAutoFit/>
            </a:bodyPr>
            <a:lstStyle/>
            <a:p>
              <a:pPr algn="ctr" defTabSz="685800"/>
              <a:r>
                <a:rPr lang="en-US" sz="900">
                  <a:solidFill>
                    <a:srgbClr val="C00000"/>
                  </a:solidFill>
                  <a:latin typeface="Arial" panose="020B0604020202020204" pitchFamily="34" charset="0"/>
                  <a:cs typeface="Arial" panose="020B0604020202020204" pitchFamily="34" charset="0"/>
                </a:rPr>
                <a:t>High risk</a:t>
              </a:r>
            </a:p>
            <a:p>
              <a:pPr algn="ctr" defTabSz="685800"/>
              <a:r>
                <a:rPr lang="en-US" sz="900">
                  <a:solidFill>
                    <a:srgbClr val="C00000"/>
                  </a:solidFill>
                  <a:latin typeface="Arial" panose="020B0604020202020204" pitchFamily="34" charset="0"/>
                  <a:cs typeface="Arial" panose="020B0604020202020204" pitchFamily="34" charset="0"/>
                </a:rPr>
                <a:t>(MRD ≥10</a:t>
              </a:r>
              <a:r>
                <a:rPr lang="en-US" sz="900" baseline="30000">
                  <a:solidFill>
                    <a:srgbClr val="C00000"/>
                  </a:solidFill>
                  <a:latin typeface="Arial" panose="020B0604020202020204" pitchFamily="34" charset="0"/>
                  <a:cs typeface="Arial" panose="020B0604020202020204" pitchFamily="34" charset="0"/>
                </a:rPr>
                <a:t>-5</a:t>
              </a:r>
              <a:r>
                <a:rPr lang="en-US" sz="900">
                  <a:solidFill>
                    <a:srgbClr val="C00000"/>
                  </a:solidFill>
                  <a:latin typeface="Arial" panose="020B0604020202020204" pitchFamily="34" charset="0"/>
                  <a:cs typeface="Arial" panose="020B0604020202020204" pitchFamily="34" charset="0"/>
                </a:rPr>
                <a:t>)</a:t>
              </a:r>
              <a:endParaRPr lang="en-NL" sz="900">
                <a:solidFill>
                  <a:srgbClr val="C00000"/>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E643E9CC-4592-483E-8621-8929D54FD337}"/>
                </a:ext>
              </a:extLst>
            </p:cNvPr>
            <p:cNvSpPr/>
            <p:nvPr/>
          </p:nvSpPr>
          <p:spPr>
            <a:xfrm>
              <a:off x="4696157" y="2989372"/>
              <a:ext cx="451104" cy="4572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R</a:t>
              </a:r>
              <a:endParaRPr lang="en-NL" sz="1050">
                <a:solidFill>
                  <a:prstClr val="black"/>
                </a:solidFill>
                <a:latin typeface="Arial" panose="020B0604020202020204" pitchFamily="34" charset="0"/>
                <a:cs typeface="Arial" panose="020B0604020202020204" pitchFamily="34" charset="0"/>
              </a:endParaRPr>
            </a:p>
          </p:txBody>
        </p:sp>
        <p:cxnSp>
          <p:nvCxnSpPr>
            <p:cNvPr id="12" name="Straight Arrow Connector 11">
              <a:extLst>
                <a:ext uri="{FF2B5EF4-FFF2-40B4-BE49-F238E27FC236}">
                  <a16:creationId xmlns:a16="http://schemas.microsoft.com/office/drawing/2014/main" id="{1CD0BBD5-A4B6-4683-998E-102EDB2069ED}"/>
                </a:ext>
              </a:extLst>
            </p:cNvPr>
            <p:cNvCxnSpPr>
              <a:cxnSpLocks/>
              <a:stCxn id="10" idx="7"/>
            </p:cNvCxnSpPr>
            <p:nvPr/>
          </p:nvCxnSpPr>
          <p:spPr>
            <a:xfrm flipV="1">
              <a:off x="5081198" y="2683875"/>
              <a:ext cx="451104" cy="37245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44F053FC-5A98-47AD-BD43-2667C8A75343}"/>
                </a:ext>
              </a:extLst>
            </p:cNvPr>
            <p:cNvCxnSpPr>
              <a:cxnSpLocks/>
              <a:stCxn id="10" idx="5"/>
            </p:cNvCxnSpPr>
            <p:nvPr/>
          </p:nvCxnSpPr>
          <p:spPr>
            <a:xfrm>
              <a:off x="5081198" y="3379617"/>
              <a:ext cx="451104" cy="2761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9" name="Rectangle: Rounded Corners 18">
              <a:extLst>
                <a:ext uri="{FF2B5EF4-FFF2-40B4-BE49-F238E27FC236}">
                  <a16:creationId xmlns:a16="http://schemas.microsoft.com/office/drawing/2014/main" id="{822FC650-8199-407F-BBE6-4B8A52FFD9F6}"/>
                </a:ext>
              </a:extLst>
            </p:cNvPr>
            <p:cNvSpPr/>
            <p:nvPr/>
          </p:nvSpPr>
          <p:spPr>
            <a:xfrm>
              <a:off x="5608322" y="2379075"/>
              <a:ext cx="1865374" cy="609600"/>
            </a:xfrm>
            <a:prstGeom prst="roundRect">
              <a:avLst/>
            </a:prstGeom>
            <a:solidFill>
              <a:srgbClr val="BEEAC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IsaKRD 6 cycles</a:t>
              </a:r>
            </a:p>
          </p:txBody>
        </p:sp>
        <p:sp>
          <p:nvSpPr>
            <p:cNvPr id="21" name="Rectangle: Rounded Corners 20">
              <a:extLst>
                <a:ext uri="{FF2B5EF4-FFF2-40B4-BE49-F238E27FC236}">
                  <a16:creationId xmlns:a16="http://schemas.microsoft.com/office/drawing/2014/main" id="{DE7659F0-4A7D-41B0-AA99-11365C7199BC}"/>
                </a:ext>
              </a:extLst>
            </p:cNvPr>
            <p:cNvSpPr/>
            <p:nvPr/>
          </p:nvSpPr>
          <p:spPr>
            <a:xfrm>
              <a:off x="5608322" y="3350990"/>
              <a:ext cx="1865374" cy="609600"/>
            </a:xfrm>
            <a:prstGeom prst="roundRect">
              <a:avLst/>
            </a:prstGeom>
            <a:solidFill>
              <a:srgbClr val="BEEAC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ASCT + IsaKRD</a:t>
              </a:r>
            </a:p>
            <a:p>
              <a:pPr algn="ctr" defTabSz="685800"/>
              <a:r>
                <a:rPr lang="en-US" sz="1050">
                  <a:solidFill>
                    <a:prstClr val="black"/>
                  </a:solidFill>
                  <a:latin typeface="Arial" panose="020B0604020202020204" pitchFamily="34" charset="0"/>
                  <a:cs typeface="Arial" panose="020B0604020202020204" pitchFamily="34" charset="0"/>
                </a:rPr>
                <a:t>2 cycles</a:t>
              </a:r>
            </a:p>
          </p:txBody>
        </p:sp>
        <p:sp>
          <p:nvSpPr>
            <p:cNvPr id="22" name="TextBox 21">
              <a:extLst>
                <a:ext uri="{FF2B5EF4-FFF2-40B4-BE49-F238E27FC236}">
                  <a16:creationId xmlns:a16="http://schemas.microsoft.com/office/drawing/2014/main" id="{8B442409-B3F1-46FE-9BF1-362BBA9A24C6}"/>
                </a:ext>
              </a:extLst>
            </p:cNvPr>
            <p:cNvSpPr txBox="1"/>
            <p:nvPr/>
          </p:nvSpPr>
          <p:spPr>
            <a:xfrm>
              <a:off x="5949510" y="3002540"/>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Arm A</a:t>
              </a:r>
              <a:endParaRPr lang="en-NL" sz="1050">
                <a:solidFill>
                  <a:prstClr val="black"/>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6E8E5770-4E20-4DE8-9DF1-797FA8CEDEC5}"/>
                </a:ext>
              </a:extLst>
            </p:cNvPr>
            <p:cNvSpPr txBox="1"/>
            <p:nvPr/>
          </p:nvSpPr>
          <p:spPr>
            <a:xfrm>
              <a:off x="5967986" y="3961962"/>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Arm B</a:t>
              </a:r>
              <a:endParaRPr lang="en-NL" sz="1050">
                <a:solidFill>
                  <a:prstClr val="black"/>
                </a:solidFill>
                <a:latin typeface="Arial" panose="020B0604020202020204" pitchFamily="34" charset="0"/>
                <a:cs typeface="Arial" panose="020B0604020202020204" pitchFamily="34" charset="0"/>
              </a:endParaRPr>
            </a:p>
          </p:txBody>
        </p:sp>
        <p:sp>
          <p:nvSpPr>
            <p:cNvPr id="24" name="Oval 23">
              <a:extLst>
                <a:ext uri="{FF2B5EF4-FFF2-40B4-BE49-F238E27FC236}">
                  <a16:creationId xmlns:a16="http://schemas.microsoft.com/office/drawing/2014/main" id="{6F8B3F82-DD59-4BCC-BE46-E9025D03860B}"/>
                </a:ext>
              </a:extLst>
            </p:cNvPr>
            <p:cNvSpPr/>
            <p:nvPr/>
          </p:nvSpPr>
          <p:spPr>
            <a:xfrm>
              <a:off x="4696157" y="4959604"/>
              <a:ext cx="451104" cy="4572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R</a:t>
              </a:r>
              <a:endParaRPr lang="en-NL" sz="1050">
                <a:solidFill>
                  <a:prstClr val="black"/>
                </a:solidFill>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4B86583A-9C42-4766-A2EC-BB570D9B7415}"/>
                </a:ext>
              </a:extLst>
            </p:cNvPr>
            <p:cNvCxnSpPr>
              <a:cxnSpLocks/>
              <a:stCxn id="24" idx="7"/>
            </p:cNvCxnSpPr>
            <p:nvPr/>
          </p:nvCxnSpPr>
          <p:spPr>
            <a:xfrm flipV="1">
              <a:off x="5081198" y="4654107"/>
              <a:ext cx="451104" cy="37245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9ED5364F-6AE0-43F8-ABF5-C043F7777414}"/>
                </a:ext>
              </a:extLst>
            </p:cNvPr>
            <p:cNvCxnSpPr>
              <a:cxnSpLocks/>
              <a:stCxn id="24" idx="5"/>
            </p:cNvCxnSpPr>
            <p:nvPr/>
          </p:nvCxnSpPr>
          <p:spPr>
            <a:xfrm>
              <a:off x="5081198" y="5349849"/>
              <a:ext cx="451104" cy="2761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7" name="Rectangle: Rounded Corners 26">
              <a:extLst>
                <a:ext uri="{FF2B5EF4-FFF2-40B4-BE49-F238E27FC236}">
                  <a16:creationId xmlns:a16="http://schemas.microsoft.com/office/drawing/2014/main" id="{07816D05-C3B0-4C6C-B502-6B8E8CA7B7E8}"/>
                </a:ext>
              </a:extLst>
            </p:cNvPr>
            <p:cNvSpPr/>
            <p:nvPr/>
          </p:nvSpPr>
          <p:spPr>
            <a:xfrm>
              <a:off x="5608322" y="4349307"/>
              <a:ext cx="1865374" cy="609600"/>
            </a:xfrm>
            <a:prstGeom prst="roundRect">
              <a:avLst/>
            </a:prstGeom>
            <a:solidFill>
              <a:srgbClr val="FDEA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ASCT + IsaKRD</a:t>
              </a:r>
            </a:p>
            <a:p>
              <a:pPr algn="ctr" defTabSz="685800"/>
              <a:r>
                <a:rPr lang="en-US" sz="1050">
                  <a:solidFill>
                    <a:prstClr val="black"/>
                  </a:solidFill>
                  <a:latin typeface="Arial" panose="020B0604020202020204" pitchFamily="34" charset="0"/>
                  <a:cs typeface="Arial" panose="020B0604020202020204" pitchFamily="34" charset="0"/>
                </a:rPr>
                <a:t>2 cycles</a:t>
              </a:r>
            </a:p>
          </p:txBody>
        </p:sp>
        <p:sp>
          <p:nvSpPr>
            <p:cNvPr id="28" name="Rectangle: Rounded Corners 27">
              <a:extLst>
                <a:ext uri="{FF2B5EF4-FFF2-40B4-BE49-F238E27FC236}">
                  <a16:creationId xmlns:a16="http://schemas.microsoft.com/office/drawing/2014/main" id="{DD610FDB-61B8-49DB-A9EB-54AE0A92FE12}"/>
                </a:ext>
              </a:extLst>
            </p:cNvPr>
            <p:cNvSpPr/>
            <p:nvPr/>
          </p:nvSpPr>
          <p:spPr>
            <a:xfrm>
              <a:off x="5608322" y="5321222"/>
              <a:ext cx="1865374" cy="609600"/>
            </a:xfrm>
            <a:prstGeom prst="roundRect">
              <a:avLst/>
            </a:prstGeom>
            <a:solidFill>
              <a:srgbClr val="FDEA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Double ASCT</a:t>
              </a:r>
            </a:p>
          </p:txBody>
        </p:sp>
        <p:sp>
          <p:nvSpPr>
            <p:cNvPr id="29" name="TextBox 28">
              <a:extLst>
                <a:ext uri="{FF2B5EF4-FFF2-40B4-BE49-F238E27FC236}">
                  <a16:creationId xmlns:a16="http://schemas.microsoft.com/office/drawing/2014/main" id="{0ADCE61B-73CC-456B-A336-0667AEC338AF}"/>
                </a:ext>
              </a:extLst>
            </p:cNvPr>
            <p:cNvSpPr txBox="1"/>
            <p:nvPr/>
          </p:nvSpPr>
          <p:spPr>
            <a:xfrm>
              <a:off x="5949510" y="4972772"/>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Arm C</a:t>
              </a:r>
              <a:endParaRPr lang="en-NL" sz="1050">
                <a:solidFill>
                  <a:prstClr val="black"/>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BC64F53F-8078-4BBB-934D-641170D7A13F}"/>
                </a:ext>
              </a:extLst>
            </p:cNvPr>
            <p:cNvSpPr txBox="1"/>
            <p:nvPr/>
          </p:nvSpPr>
          <p:spPr>
            <a:xfrm>
              <a:off x="5949510" y="5948657"/>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Arm D</a:t>
              </a:r>
            </a:p>
          </p:txBody>
        </p:sp>
        <p:sp>
          <p:nvSpPr>
            <p:cNvPr id="31" name="Rectangle: Rounded Corners 30">
              <a:extLst>
                <a:ext uri="{FF2B5EF4-FFF2-40B4-BE49-F238E27FC236}">
                  <a16:creationId xmlns:a16="http://schemas.microsoft.com/office/drawing/2014/main" id="{3115F3A4-C1BB-4709-8546-A8A13F7A07DF}"/>
                </a:ext>
              </a:extLst>
            </p:cNvPr>
            <p:cNvSpPr/>
            <p:nvPr/>
          </p:nvSpPr>
          <p:spPr>
            <a:xfrm>
              <a:off x="8004075" y="2826454"/>
              <a:ext cx="2334279" cy="609600"/>
            </a:xfrm>
            <a:prstGeom prst="roundRect">
              <a:avLst/>
            </a:prstGeom>
            <a:solidFill>
              <a:srgbClr val="CCD9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Lenalidomide</a:t>
              </a:r>
            </a:p>
            <a:p>
              <a:pPr algn="ctr" defTabSz="685800"/>
              <a:r>
                <a:rPr lang="en-US" sz="1050">
                  <a:solidFill>
                    <a:prstClr val="black"/>
                  </a:solidFill>
                  <a:latin typeface="Arial" panose="020B0604020202020204" pitchFamily="34" charset="0"/>
                  <a:cs typeface="Arial" panose="020B0604020202020204" pitchFamily="34" charset="0"/>
                </a:rPr>
                <a:t>(3 years)</a:t>
              </a:r>
              <a:endParaRPr lang="en-NL" sz="1050">
                <a:solidFill>
                  <a:prstClr val="black"/>
                </a:solidFill>
                <a:latin typeface="Arial" panose="020B0604020202020204"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008C797F-071B-4AD0-85A5-4E414E6E3648}"/>
                </a:ext>
              </a:extLst>
            </p:cNvPr>
            <p:cNvSpPr/>
            <p:nvPr/>
          </p:nvSpPr>
          <p:spPr>
            <a:xfrm>
              <a:off x="8018371" y="4806575"/>
              <a:ext cx="2334279" cy="609600"/>
            </a:xfrm>
            <a:prstGeom prst="roundRect">
              <a:avLst/>
            </a:prstGeom>
            <a:solidFill>
              <a:srgbClr val="CCD9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Iberdomide + Isatuximab</a:t>
              </a:r>
            </a:p>
            <a:p>
              <a:pPr algn="ctr" defTabSz="685800"/>
              <a:r>
                <a:rPr lang="en-US" sz="1050">
                  <a:solidFill>
                    <a:prstClr val="black"/>
                  </a:solidFill>
                  <a:latin typeface="Arial" panose="020B0604020202020204" pitchFamily="34" charset="0"/>
                  <a:cs typeface="Arial" panose="020B0604020202020204" pitchFamily="34" charset="0"/>
                </a:rPr>
                <a:t>(3 years)</a:t>
              </a:r>
              <a:endParaRPr lang="en-NL" sz="1050">
                <a:solidFill>
                  <a:prstClr val="black"/>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99987B14-E9A8-4DAD-8371-FDDFB274CCD4}"/>
                </a:ext>
              </a:extLst>
            </p:cNvPr>
            <p:cNvSpPr txBox="1"/>
            <p:nvPr/>
          </p:nvSpPr>
          <p:spPr>
            <a:xfrm>
              <a:off x="1701588" y="4747292"/>
              <a:ext cx="1516899" cy="630941"/>
            </a:xfrm>
            <a:prstGeom prst="rect">
              <a:avLst/>
            </a:prstGeom>
            <a:noFill/>
          </p:spPr>
          <p:txBody>
            <a:bodyPr wrap="square" rtlCol="0">
              <a:spAutoFit/>
            </a:bodyPr>
            <a:lstStyle/>
            <a:p>
              <a:pPr algn="ctr" defTabSz="685800"/>
              <a:r>
                <a:rPr lang="en-US" sz="825">
                  <a:solidFill>
                    <a:prstClr val="black"/>
                  </a:solidFill>
                  <a:latin typeface="Arial" panose="020B0604020202020204" pitchFamily="34" charset="0"/>
                  <a:cs typeface="Arial" panose="020B0604020202020204" pitchFamily="34" charset="0"/>
                </a:rPr>
                <a:t>Stem cell collection after 3 cycles</a:t>
              </a:r>
            </a:p>
            <a:p>
              <a:pPr algn="ctr" defTabSz="685800"/>
              <a:r>
                <a:rPr lang="en-US" sz="825">
                  <a:solidFill>
                    <a:prstClr val="black"/>
                  </a:solidFill>
                  <a:latin typeface="Arial" panose="020B0604020202020204" pitchFamily="34" charset="0"/>
                  <a:cs typeface="Arial" panose="020B0604020202020204" pitchFamily="34" charset="0"/>
                </a:rPr>
                <a:t>(GCSF + plerixafor)</a:t>
              </a:r>
              <a:endParaRPr lang="en-NL" sz="825">
                <a:solidFill>
                  <a:prstClr val="black"/>
                </a:solidFill>
                <a:latin typeface="Arial" panose="020B0604020202020204" pitchFamily="34" charset="0"/>
                <a:cs typeface="Arial" panose="020B0604020202020204" pitchFamily="34" charset="0"/>
              </a:endParaRPr>
            </a:p>
          </p:txBody>
        </p:sp>
        <p:cxnSp>
          <p:nvCxnSpPr>
            <p:cNvPr id="34" name="Straight Connector 33">
              <a:extLst>
                <a:ext uri="{FF2B5EF4-FFF2-40B4-BE49-F238E27FC236}">
                  <a16:creationId xmlns:a16="http://schemas.microsoft.com/office/drawing/2014/main" id="{27E6BE15-6CCF-400A-9974-82A68B506330}"/>
                </a:ext>
              </a:extLst>
            </p:cNvPr>
            <p:cNvCxnSpPr>
              <a:cxnSpLocks/>
            </p:cNvCxnSpPr>
            <p:nvPr/>
          </p:nvCxnSpPr>
          <p:spPr>
            <a:xfrm>
              <a:off x="1701588" y="2229660"/>
              <a:ext cx="2443692" cy="0"/>
            </a:xfrm>
            <a:prstGeom prst="line">
              <a:avLst/>
            </a:prstGeom>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1EDF56DD-67EB-47D7-844C-6C2A9AC38309}"/>
                </a:ext>
              </a:extLst>
            </p:cNvPr>
            <p:cNvCxnSpPr>
              <a:cxnSpLocks/>
            </p:cNvCxnSpPr>
            <p:nvPr/>
          </p:nvCxnSpPr>
          <p:spPr>
            <a:xfrm>
              <a:off x="4764207" y="2244444"/>
              <a:ext cx="2977715" cy="0"/>
            </a:xfrm>
            <a:prstGeom prst="line">
              <a:avLst/>
            </a:prstGeom>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550EEAC9-7DCC-4216-B631-94887A8C1187}"/>
                </a:ext>
              </a:extLst>
            </p:cNvPr>
            <p:cNvCxnSpPr>
              <a:cxnSpLocks/>
            </p:cNvCxnSpPr>
            <p:nvPr/>
          </p:nvCxnSpPr>
          <p:spPr>
            <a:xfrm flipV="1">
              <a:off x="8190044" y="2244444"/>
              <a:ext cx="2194560" cy="0"/>
            </a:xfrm>
            <a:prstGeom prst="line">
              <a:avLst/>
            </a:prstGeom>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4F9F4F70-D35A-48B2-81AC-BD97CD26FDF1}"/>
                </a:ext>
              </a:extLst>
            </p:cNvPr>
            <p:cNvSpPr txBox="1"/>
            <p:nvPr/>
          </p:nvSpPr>
          <p:spPr>
            <a:xfrm>
              <a:off x="4800298" y="1828061"/>
              <a:ext cx="2923819" cy="338555"/>
            </a:xfrm>
            <a:prstGeom prst="rect">
              <a:avLst/>
            </a:prstGeom>
            <a:noFill/>
          </p:spPr>
          <p:txBody>
            <a:bodyPr wrap="square" rtlCol="0" anchor="ctr">
              <a:spAutoFit/>
            </a:bodyPr>
            <a:lstStyle/>
            <a:p>
              <a:pPr algn="ctr" defTabSz="685800"/>
              <a:r>
                <a:rPr lang="en-US" sz="1050" b="1">
                  <a:solidFill>
                    <a:prstClr val="black"/>
                  </a:solidFill>
                  <a:latin typeface="Arial" panose="020B0604020202020204" pitchFamily="34" charset="0"/>
                  <a:cs typeface="Arial" panose="020B0604020202020204" pitchFamily="34" charset="0"/>
                </a:rPr>
                <a:t>Risk adapted consolidation</a:t>
              </a:r>
              <a:endParaRPr lang="en-NL" sz="1050" b="1">
                <a:solidFill>
                  <a:prstClr val="black"/>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4FF99D96-6EDA-41C4-BDC2-C61A11030FA5}"/>
                </a:ext>
              </a:extLst>
            </p:cNvPr>
            <p:cNvSpPr txBox="1"/>
            <p:nvPr/>
          </p:nvSpPr>
          <p:spPr>
            <a:xfrm>
              <a:off x="8225125" y="1828061"/>
              <a:ext cx="2159479" cy="338555"/>
            </a:xfrm>
            <a:prstGeom prst="rect">
              <a:avLst/>
            </a:prstGeom>
            <a:noFill/>
          </p:spPr>
          <p:txBody>
            <a:bodyPr wrap="square" rtlCol="0" anchor="ctr">
              <a:spAutoFit/>
            </a:bodyPr>
            <a:lstStyle/>
            <a:p>
              <a:pPr algn="ctr" defTabSz="685800"/>
              <a:r>
                <a:rPr lang="en-US" sz="1050" b="1">
                  <a:solidFill>
                    <a:prstClr val="black"/>
                  </a:solidFill>
                  <a:latin typeface="Arial" panose="020B0604020202020204" pitchFamily="34" charset="0"/>
                  <a:cs typeface="Arial" panose="020B0604020202020204" pitchFamily="34" charset="0"/>
                </a:rPr>
                <a:t>Maintenance</a:t>
              </a:r>
              <a:endParaRPr lang="en-NL" sz="1050" b="1">
                <a:solidFill>
                  <a:prstClr val="black"/>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5B7F05D1-1958-45F8-8A9D-85F68CAE0FB1}"/>
                </a:ext>
              </a:extLst>
            </p:cNvPr>
            <p:cNvSpPr txBox="1"/>
            <p:nvPr/>
          </p:nvSpPr>
          <p:spPr>
            <a:xfrm>
              <a:off x="3317438" y="3281003"/>
              <a:ext cx="1146048" cy="492443"/>
            </a:xfrm>
            <a:prstGeom prst="rect">
              <a:avLst/>
            </a:prstGeom>
            <a:noFill/>
          </p:spPr>
          <p:txBody>
            <a:bodyPr wrap="square" rtlCol="0">
              <a:spAutoFit/>
            </a:bodyPr>
            <a:lstStyle/>
            <a:p>
              <a:pPr algn="ctr" defTabSz="685800"/>
              <a:r>
                <a:rPr lang="en-US" sz="900">
                  <a:solidFill>
                    <a:srgbClr val="00B050"/>
                  </a:solidFill>
                  <a:latin typeface="Arial" panose="020B0604020202020204" pitchFamily="34" charset="0"/>
                  <a:cs typeface="Arial" panose="020B0604020202020204" pitchFamily="34" charset="0"/>
                </a:rPr>
                <a:t>Standard risk</a:t>
              </a:r>
            </a:p>
            <a:p>
              <a:pPr algn="ctr" defTabSz="685800"/>
              <a:r>
                <a:rPr lang="en-US" sz="900">
                  <a:solidFill>
                    <a:srgbClr val="00B050"/>
                  </a:solidFill>
                  <a:latin typeface="Arial" panose="020B0604020202020204" pitchFamily="34" charset="0"/>
                  <a:cs typeface="Arial" panose="020B0604020202020204" pitchFamily="34" charset="0"/>
                </a:rPr>
                <a:t>(MRD &lt;10</a:t>
              </a:r>
              <a:r>
                <a:rPr lang="en-US" sz="900" baseline="30000">
                  <a:solidFill>
                    <a:srgbClr val="00B050"/>
                  </a:solidFill>
                  <a:latin typeface="Arial" panose="020B0604020202020204" pitchFamily="34" charset="0"/>
                  <a:cs typeface="Arial" panose="020B0604020202020204" pitchFamily="34" charset="0"/>
                </a:rPr>
                <a:t>-5</a:t>
              </a:r>
              <a:r>
                <a:rPr lang="en-US" sz="900">
                  <a:solidFill>
                    <a:srgbClr val="00B050"/>
                  </a:solidFill>
                  <a:latin typeface="Arial" panose="020B0604020202020204" pitchFamily="34" charset="0"/>
                  <a:cs typeface="Arial" panose="020B0604020202020204" pitchFamily="34" charset="0"/>
                </a:rPr>
                <a:t>)</a:t>
              </a:r>
              <a:endParaRPr lang="en-NL" sz="900">
                <a:solidFill>
                  <a:srgbClr val="00B050"/>
                </a:solidFill>
                <a:latin typeface="Arial" panose="020B0604020202020204" pitchFamily="34" charset="0"/>
                <a:cs typeface="Arial" panose="020B0604020202020204" pitchFamily="34" charset="0"/>
              </a:endParaRPr>
            </a:p>
          </p:txBody>
        </p:sp>
        <p:cxnSp>
          <p:nvCxnSpPr>
            <p:cNvPr id="43" name="Straight Connector 42">
              <a:extLst>
                <a:ext uri="{FF2B5EF4-FFF2-40B4-BE49-F238E27FC236}">
                  <a16:creationId xmlns:a16="http://schemas.microsoft.com/office/drawing/2014/main" id="{350096D8-1E79-4B18-BF34-6F1692BB985E}"/>
                </a:ext>
              </a:extLst>
            </p:cNvPr>
            <p:cNvCxnSpPr>
              <a:cxnSpLocks/>
            </p:cNvCxnSpPr>
            <p:nvPr/>
          </p:nvCxnSpPr>
          <p:spPr>
            <a:xfrm>
              <a:off x="3224084" y="4216575"/>
              <a:ext cx="1231392" cy="0"/>
            </a:xfrm>
            <a:prstGeom prst="line">
              <a:avLst/>
            </a:prstGeom>
          </p:spPr>
          <p:style>
            <a:lnRef idx="1">
              <a:schemeClr val="dk1"/>
            </a:lnRef>
            <a:fillRef idx="0">
              <a:schemeClr val="dk1"/>
            </a:fillRef>
            <a:effectRef idx="0">
              <a:schemeClr val="dk1"/>
            </a:effectRef>
            <a:fontRef idx="minor">
              <a:schemeClr val="tx1"/>
            </a:fontRef>
          </p:style>
        </p:cxnSp>
        <p:cxnSp>
          <p:nvCxnSpPr>
            <p:cNvPr id="45" name="Connector: Elbow 44">
              <a:extLst>
                <a:ext uri="{FF2B5EF4-FFF2-40B4-BE49-F238E27FC236}">
                  <a16:creationId xmlns:a16="http://schemas.microsoft.com/office/drawing/2014/main" id="{638DA060-2F62-4506-8CA1-7324162F5985}"/>
                </a:ext>
              </a:extLst>
            </p:cNvPr>
            <p:cNvCxnSpPr>
              <a:cxnSpLocks/>
            </p:cNvCxnSpPr>
            <p:nvPr/>
          </p:nvCxnSpPr>
          <p:spPr>
            <a:xfrm rot="10800000" flipV="1">
              <a:off x="4674891" y="3217972"/>
              <a:ext cx="12700" cy="1970232"/>
            </a:xfrm>
            <a:prstGeom prst="bentConnector3">
              <a:avLst>
                <a:gd name="adj1" fmla="val 1800000"/>
              </a:avLst>
            </a:prstGeom>
            <a:ln>
              <a:headEnd type="arrow" w="med" len="med"/>
              <a:tailEnd type="arrow" w="med" len="med"/>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20E76DBA-47E2-4601-98AD-16EDDD98A6BC}"/>
                </a:ext>
              </a:extLst>
            </p:cNvPr>
            <p:cNvSpPr/>
            <p:nvPr/>
          </p:nvSpPr>
          <p:spPr>
            <a:xfrm>
              <a:off x="3534980" y="4036449"/>
              <a:ext cx="694944" cy="362958"/>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MRD</a:t>
              </a:r>
              <a:endParaRPr lang="en-NL" sz="1050">
                <a:solidFill>
                  <a:prstClr val="black"/>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CB8DE732-AFB3-4C4E-A778-0E553FDAAFFA}"/>
                </a:ext>
              </a:extLst>
            </p:cNvPr>
            <p:cNvSpPr txBox="1"/>
            <p:nvPr/>
          </p:nvSpPr>
          <p:spPr>
            <a:xfrm>
              <a:off x="4800298" y="3013315"/>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1:1</a:t>
              </a:r>
              <a:endParaRPr lang="en-NL" sz="1050">
                <a:solidFill>
                  <a:prstClr val="black"/>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EE6DB5A7-5B0E-438E-96DD-BFA7CF8F997D}"/>
                </a:ext>
              </a:extLst>
            </p:cNvPr>
            <p:cNvSpPr txBox="1"/>
            <p:nvPr/>
          </p:nvSpPr>
          <p:spPr>
            <a:xfrm>
              <a:off x="4772542" y="4978059"/>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1:1</a:t>
              </a:r>
              <a:endParaRPr lang="en-NL" sz="1050">
                <a:solidFill>
                  <a:prstClr val="black"/>
                </a:solidFill>
                <a:latin typeface="Arial" panose="020B0604020202020204" pitchFamily="34" charset="0"/>
                <a:cs typeface="Arial" panose="020B0604020202020204" pitchFamily="34" charset="0"/>
              </a:endParaRPr>
            </a:p>
          </p:txBody>
        </p:sp>
        <p:cxnSp>
          <p:nvCxnSpPr>
            <p:cNvPr id="49" name="Connector: Elbow 48">
              <a:extLst>
                <a:ext uri="{FF2B5EF4-FFF2-40B4-BE49-F238E27FC236}">
                  <a16:creationId xmlns:a16="http://schemas.microsoft.com/office/drawing/2014/main" id="{DDA2AF38-587C-49BA-835B-EB65E5B9F997}"/>
                </a:ext>
              </a:extLst>
            </p:cNvPr>
            <p:cNvCxnSpPr>
              <a:stCxn id="19" idx="3"/>
              <a:endCxn id="21" idx="3"/>
            </p:cNvCxnSpPr>
            <p:nvPr/>
          </p:nvCxnSpPr>
          <p:spPr>
            <a:xfrm>
              <a:off x="7473696" y="2683875"/>
              <a:ext cx="12700" cy="971915"/>
            </a:xfrm>
            <a:prstGeom prst="bentConnector3">
              <a:avLst>
                <a:gd name="adj1" fmla="val 1800000"/>
              </a:avLst>
            </a:prstGeom>
          </p:spPr>
          <p:style>
            <a:lnRef idx="1">
              <a:schemeClr val="dk1"/>
            </a:lnRef>
            <a:fillRef idx="0">
              <a:schemeClr val="dk1"/>
            </a:fillRef>
            <a:effectRef idx="0">
              <a:schemeClr val="dk1"/>
            </a:effectRef>
            <a:fontRef idx="minor">
              <a:schemeClr val="tx1"/>
            </a:fontRef>
          </p:style>
        </p:cxnSp>
        <p:cxnSp>
          <p:nvCxnSpPr>
            <p:cNvPr id="51" name="Connector: Elbow 50">
              <a:extLst>
                <a:ext uri="{FF2B5EF4-FFF2-40B4-BE49-F238E27FC236}">
                  <a16:creationId xmlns:a16="http://schemas.microsoft.com/office/drawing/2014/main" id="{08815FC2-2EA8-4DF3-ABB6-D37138F9C114}"/>
                </a:ext>
              </a:extLst>
            </p:cNvPr>
            <p:cNvCxnSpPr>
              <a:stCxn id="27" idx="3"/>
              <a:endCxn id="28" idx="3"/>
            </p:cNvCxnSpPr>
            <p:nvPr/>
          </p:nvCxnSpPr>
          <p:spPr>
            <a:xfrm>
              <a:off x="7473696" y="4654107"/>
              <a:ext cx="12700" cy="971915"/>
            </a:xfrm>
            <a:prstGeom prst="bentConnector3">
              <a:avLst>
                <a:gd name="adj1" fmla="val 1800000"/>
              </a:avLst>
            </a:prstGeom>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id="{5C62D1A5-41CC-4537-B059-798226857E15}"/>
                </a:ext>
              </a:extLst>
            </p:cNvPr>
            <p:cNvCxnSpPr/>
            <p:nvPr/>
          </p:nvCxnSpPr>
          <p:spPr>
            <a:xfrm>
              <a:off x="7724117" y="3125700"/>
              <a:ext cx="25065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066F1F6C-A5CC-4905-8D97-26B404735ECE}"/>
                </a:ext>
              </a:extLst>
            </p:cNvPr>
            <p:cNvCxnSpPr/>
            <p:nvPr/>
          </p:nvCxnSpPr>
          <p:spPr>
            <a:xfrm>
              <a:off x="7724117" y="5112004"/>
              <a:ext cx="25065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51246491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ttps://www.gco-cancer.org/images/logos_gco/small/small_ifm.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638678" y="4067805"/>
            <a:ext cx="1342578" cy="86534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Image result for CHU Nantes"/>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9874" b="11330"/>
          <a:stretch/>
        </p:blipFill>
        <p:spPr bwMode="auto">
          <a:xfrm>
            <a:off x="135202" y="4025010"/>
            <a:ext cx="1418102" cy="924704"/>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p:cNvSpPr txBox="1"/>
          <p:nvPr/>
        </p:nvSpPr>
        <p:spPr>
          <a:xfrm>
            <a:off x="844253" y="1836790"/>
            <a:ext cx="1095172" cy="369332"/>
          </a:xfrm>
          <a:prstGeom prst="rect">
            <a:avLst/>
          </a:prstGeom>
          <a:noFill/>
        </p:spPr>
        <p:txBody>
          <a:bodyPr wrap="none" rtlCol="0">
            <a:spAutoFit/>
          </a:bodyPr>
          <a:lstStyle/>
          <a:p>
            <a:pPr defTabSz="685800"/>
            <a:r>
              <a:rPr lang="fr-FR" b="1">
                <a:solidFill>
                  <a:srgbClr val="FF0000"/>
                </a:solidFill>
                <a:latin typeface="Calibri" panose="020F0502020204030204"/>
              </a:rPr>
              <a:t>Induction</a:t>
            </a:r>
          </a:p>
        </p:txBody>
      </p:sp>
      <p:sp>
        <p:nvSpPr>
          <p:cNvPr id="7" name="Flèche droite 6"/>
          <p:cNvSpPr/>
          <p:nvPr/>
        </p:nvSpPr>
        <p:spPr>
          <a:xfrm>
            <a:off x="385978" y="2173224"/>
            <a:ext cx="2220851" cy="5974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prstClr val="white"/>
              </a:solidFill>
              <a:latin typeface="Calibri" panose="020F0502020204030204"/>
            </a:endParaRPr>
          </a:p>
        </p:txBody>
      </p:sp>
      <p:sp>
        <p:nvSpPr>
          <p:cNvPr id="8" name="Rectangle 7"/>
          <p:cNvSpPr/>
          <p:nvPr/>
        </p:nvSpPr>
        <p:spPr>
          <a:xfrm>
            <a:off x="2737104" y="2145792"/>
            <a:ext cx="615696" cy="6522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prstClr val="white"/>
              </a:solidFill>
              <a:latin typeface="Calibri" panose="020F0502020204030204"/>
            </a:endParaRPr>
          </a:p>
        </p:txBody>
      </p:sp>
      <p:sp>
        <p:nvSpPr>
          <p:cNvPr id="9" name="Flèche droite 8"/>
          <p:cNvSpPr/>
          <p:nvPr/>
        </p:nvSpPr>
        <p:spPr>
          <a:xfrm>
            <a:off x="3527678" y="2173224"/>
            <a:ext cx="2147699" cy="5974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prstClr val="white"/>
              </a:solidFill>
              <a:latin typeface="Calibri" panose="020F0502020204030204"/>
            </a:endParaRPr>
          </a:p>
        </p:txBody>
      </p:sp>
      <p:sp>
        <p:nvSpPr>
          <p:cNvPr id="10" name="Rectangle 9"/>
          <p:cNvSpPr/>
          <p:nvPr/>
        </p:nvSpPr>
        <p:spPr>
          <a:xfrm>
            <a:off x="5882640" y="2118360"/>
            <a:ext cx="615696" cy="6522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prstClr val="white"/>
              </a:solidFill>
              <a:latin typeface="Calibri" panose="020F0502020204030204"/>
            </a:endParaRPr>
          </a:p>
        </p:txBody>
      </p:sp>
      <p:sp>
        <p:nvSpPr>
          <p:cNvPr id="13" name="ZoneTexte 12"/>
          <p:cNvSpPr txBox="1"/>
          <p:nvPr/>
        </p:nvSpPr>
        <p:spPr>
          <a:xfrm>
            <a:off x="6869031" y="2262801"/>
            <a:ext cx="1455591" cy="369332"/>
          </a:xfrm>
          <a:prstGeom prst="rect">
            <a:avLst/>
          </a:prstGeom>
          <a:noFill/>
        </p:spPr>
        <p:txBody>
          <a:bodyPr wrap="none" rtlCol="0">
            <a:spAutoFit/>
          </a:bodyPr>
          <a:lstStyle/>
          <a:p>
            <a:pPr defTabSz="685800"/>
            <a:r>
              <a:rPr lang="fr-FR" b="1">
                <a:solidFill>
                  <a:prstClr val="black"/>
                </a:solidFill>
                <a:latin typeface="Calibri" panose="020F0502020204030204"/>
              </a:rPr>
              <a:t>Len-Dara 2 yr</a:t>
            </a:r>
          </a:p>
        </p:txBody>
      </p:sp>
      <p:sp>
        <p:nvSpPr>
          <p:cNvPr id="14" name="ZoneTexte 13"/>
          <p:cNvSpPr txBox="1"/>
          <p:nvPr/>
        </p:nvSpPr>
        <p:spPr>
          <a:xfrm>
            <a:off x="2714008" y="2154035"/>
            <a:ext cx="669928" cy="646331"/>
          </a:xfrm>
          <a:prstGeom prst="rect">
            <a:avLst/>
          </a:prstGeom>
          <a:noFill/>
        </p:spPr>
        <p:txBody>
          <a:bodyPr wrap="none" rtlCol="0">
            <a:spAutoFit/>
          </a:bodyPr>
          <a:lstStyle/>
          <a:p>
            <a:pPr algn="ctr" defTabSz="685800"/>
            <a:r>
              <a:rPr lang="fr-FR" b="1">
                <a:solidFill>
                  <a:prstClr val="white"/>
                </a:solidFill>
                <a:latin typeface="Calibri" panose="020F0502020204030204"/>
              </a:rPr>
              <a:t>ASCT</a:t>
            </a:r>
          </a:p>
          <a:p>
            <a:pPr algn="ctr" defTabSz="685800"/>
            <a:r>
              <a:rPr lang="fr-FR" b="1">
                <a:solidFill>
                  <a:prstClr val="white"/>
                </a:solidFill>
                <a:latin typeface="Calibri" panose="020F0502020204030204"/>
              </a:rPr>
              <a:t>#1</a:t>
            </a:r>
          </a:p>
        </p:txBody>
      </p:sp>
      <p:sp>
        <p:nvSpPr>
          <p:cNvPr id="15" name="ZoneTexte 14"/>
          <p:cNvSpPr txBox="1"/>
          <p:nvPr/>
        </p:nvSpPr>
        <p:spPr>
          <a:xfrm>
            <a:off x="5855525" y="2124302"/>
            <a:ext cx="669928" cy="646331"/>
          </a:xfrm>
          <a:prstGeom prst="rect">
            <a:avLst/>
          </a:prstGeom>
          <a:noFill/>
        </p:spPr>
        <p:txBody>
          <a:bodyPr wrap="none" rtlCol="0">
            <a:spAutoFit/>
          </a:bodyPr>
          <a:lstStyle/>
          <a:p>
            <a:pPr algn="ctr" defTabSz="685800"/>
            <a:r>
              <a:rPr lang="fr-FR" b="1">
                <a:solidFill>
                  <a:prstClr val="white"/>
                </a:solidFill>
                <a:latin typeface="Calibri" panose="020F0502020204030204"/>
              </a:rPr>
              <a:t>ASCT</a:t>
            </a:r>
          </a:p>
          <a:p>
            <a:pPr algn="ctr" defTabSz="685800"/>
            <a:r>
              <a:rPr lang="fr-FR" b="1">
                <a:solidFill>
                  <a:prstClr val="white"/>
                </a:solidFill>
                <a:latin typeface="Calibri" panose="020F0502020204030204"/>
              </a:rPr>
              <a:t>#2</a:t>
            </a:r>
          </a:p>
        </p:txBody>
      </p:sp>
      <p:sp>
        <p:nvSpPr>
          <p:cNvPr id="16" name="ZoneTexte 15"/>
          <p:cNvSpPr txBox="1"/>
          <p:nvPr/>
        </p:nvSpPr>
        <p:spPr>
          <a:xfrm>
            <a:off x="844252" y="2292534"/>
            <a:ext cx="1140056" cy="369332"/>
          </a:xfrm>
          <a:prstGeom prst="rect">
            <a:avLst/>
          </a:prstGeom>
          <a:noFill/>
        </p:spPr>
        <p:txBody>
          <a:bodyPr wrap="none" rtlCol="0">
            <a:spAutoFit/>
          </a:bodyPr>
          <a:lstStyle/>
          <a:p>
            <a:pPr defTabSz="685800"/>
            <a:r>
              <a:rPr lang="fr-FR">
                <a:solidFill>
                  <a:prstClr val="white"/>
                </a:solidFill>
                <a:latin typeface="Calibri" panose="020F0502020204030204"/>
              </a:rPr>
              <a:t>D-KRd x 6 </a:t>
            </a:r>
          </a:p>
        </p:txBody>
      </p:sp>
      <p:sp>
        <p:nvSpPr>
          <p:cNvPr id="17" name="ZoneTexte 16"/>
          <p:cNvSpPr txBox="1"/>
          <p:nvPr/>
        </p:nvSpPr>
        <p:spPr>
          <a:xfrm>
            <a:off x="3736395" y="1836790"/>
            <a:ext cx="1498615" cy="369332"/>
          </a:xfrm>
          <a:prstGeom prst="rect">
            <a:avLst/>
          </a:prstGeom>
          <a:noFill/>
        </p:spPr>
        <p:txBody>
          <a:bodyPr wrap="none" rtlCol="0">
            <a:spAutoFit/>
          </a:bodyPr>
          <a:lstStyle/>
          <a:p>
            <a:pPr defTabSz="685800"/>
            <a:r>
              <a:rPr lang="fr-FR" b="1">
                <a:solidFill>
                  <a:srgbClr val="FF0000"/>
                </a:solidFill>
                <a:latin typeface="Calibri" panose="020F0502020204030204"/>
              </a:rPr>
              <a:t>Consolidation</a:t>
            </a:r>
          </a:p>
        </p:txBody>
      </p:sp>
      <p:sp>
        <p:nvSpPr>
          <p:cNvPr id="18" name="ZoneTexte 17"/>
          <p:cNvSpPr txBox="1"/>
          <p:nvPr/>
        </p:nvSpPr>
        <p:spPr>
          <a:xfrm>
            <a:off x="7011602" y="1844779"/>
            <a:ext cx="1442896" cy="369332"/>
          </a:xfrm>
          <a:prstGeom prst="rect">
            <a:avLst/>
          </a:prstGeom>
          <a:noFill/>
        </p:spPr>
        <p:txBody>
          <a:bodyPr wrap="none" rtlCol="0">
            <a:spAutoFit/>
          </a:bodyPr>
          <a:lstStyle/>
          <a:p>
            <a:pPr defTabSz="685800"/>
            <a:r>
              <a:rPr lang="fr-FR" b="1">
                <a:solidFill>
                  <a:srgbClr val="FF0000"/>
                </a:solidFill>
                <a:latin typeface="Calibri" panose="020F0502020204030204"/>
              </a:rPr>
              <a:t>Maintenance</a:t>
            </a:r>
          </a:p>
        </p:txBody>
      </p:sp>
      <p:sp>
        <p:nvSpPr>
          <p:cNvPr id="19" name="ZoneTexte 18"/>
          <p:cNvSpPr txBox="1"/>
          <p:nvPr/>
        </p:nvSpPr>
        <p:spPr>
          <a:xfrm>
            <a:off x="3933961" y="2292971"/>
            <a:ext cx="1140056" cy="369332"/>
          </a:xfrm>
          <a:prstGeom prst="rect">
            <a:avLst/>
          </a:prstGeom>
          <a:noFill/>
        </p:spPr>
        <p:txBody>
          <a:bodyPr wrap="none" rtlCol="0">
            <a:spAutoFit/>
          </a:bodyPr>
          <a:lstStyle/>
          <a:p>
            <a:pPr defTabSz="685800"/>
            <a:r>
              <a:rPr lang="fr-FR">
                <a:solidFill>
                  <a:prstClr val="white"/>
                </a:solidFill>
                <a:latin typeface="Calibri" panose="020F0502020204030204"/>
              </a:rPr>
              <a:t>D-KRd x 4 </a:t>
            </a:r>
          </a:p>
        </p:txBody>
      </p:sp>
      <p:sp>
        <p:nvSpPr>
          <p:cNvPr id="21" name="ZoneTexte 20"/>
          <p:cNvSpPr txBox="1"/>
          <p:nvPr/>
        </p:nvSpPr>
        <p:spPr>
          <a:xfrm>
            <a:off x="3169458" y="957811"/>
            <a:ext cx="2173993" cy="369332"/>
          </a:xfrm>
          <a:prstGeom prst="rect">
            <a:avLst/>
          </a:prstGeom>
          <a:noFill/>
        </p:spPr>
        <p:txBody>
          <a:bodyPr wrap="none" rtlCol="0">
            <a:spAutoFit/>
          </a:bodyPr>
          <a:lstStyle/>
          <a:p>
            <a:pPr defTabSz="685800"/>
            <a:r>
              <a:rPr lang="fr-FR" b="1">
                <a:solidFill>
                  <a:prstClr val="black"/>
                </a:solidFill>
                <a:latin typeface="Calibri" panose="020F0502020204030204"/>
              </a:rPr>
              <a:t>Phase II IFM 2018-04</a:t>
            </a:r>
          </a:p>
        </p:txBody>
      </p:sp>
      <p:sp>
        <p:nvSpPr>
          <p:cNvPr id="24" name="ZoneTexte 23"/>
          <p:cNvSpPr txBox="1"/>
          <p:nvPr/>
        </p:nvSpPr>
        <p:spPr>
          <a:xfrm>
            <a:off x="2170176" y="3701844"/>
            <a:ext cx="5126736" cy="646331"/>
          </a:xfrm>
          <a:prstGeom prst="rect">
            <a:avLst/>
          </a:prstGeom>
          <a:noFill/>
        </p:spPr>
        <p:txBody>
          <a:bodyPr wrap="square" rtlCol="0">
            <a:spAutoFit/>
          </a:bodyPr>
          <a:lstStyle/>
          <a:p>
            <a:pPr marL="257175" indent="-257175" defTabSz="685800">
              <a:buFont typeface="Arial" panose="020B0604020202020204" pitchFamily="34" charset="0"/>
              <a:buChar char="•"/>
            </a:pPr>
            <a:r>
              <a:rPr lang="en-US">
                <a:solidFill>
                  <a:prstClr val="black"/>
                </a:solidFill>
                <a:latin typeface="Calibri" panose="020F0502020204030204"/>
              </a:rPr>
              <a:t>50 patients</a:t>
            </a:r>
          </a:p>
          <a:p>
            <a:pPr marL="257175" indent="-257175" defTabSz="685800">
              <a:buFont typeface="Arial" panose="020B0604020202020204" pitchFamily="34" charset="0"/>
              <a:buChar char="•"/>
            </a:pPr>
            <a:r>
              <a:rPr lang="en-US" u="sng">
                <a:solidFill>
                  <a:prstClr val="black"/>
                </a:solidFill>
                <a:latin typeface="Calibri" panose="020F0502020204030204"/>
              </a:rPr>
              <a:t>HR NDMM cytogenetic</a:t>
            </a:r>
            <a:r>
              <a:rPr lang="en-US">
                <a:solidFill>
                  <a:prstClr val="black"/>
                </a:solidFill>
                <a:latin typeface="Calibri" panose="020F0502020204030204"/>
              </a:rPr>
              <a:t>: del17, t(4;14) t(14;16) </a:t>
            </a:r>
          </a:p>
        </p:txBody>
      </p:sp>
      <p:sp>
        <p:nvSpPr>
          <p:cNvPr id="22" name="Text Box 2">
            <a:extLst>
              <a:ext uri="{FF2B5EF4-FFF2-40B4-BE49-F238E27FC236}">
                <a16:creationId xmlns:a16="http://schemas.microsoft.com/office/drawing/2014/main" id="{0EE2CE19-9435-4341-9249-306151F1980F}"/>
              </a:ext>
            </a:extLst>
          </p:cNvPr>
          <p:cNvSpPr txBox="1">
            <a:spLocks noChangeArrowheads="1"/>
          </p:cNvSpPr>
          <p:nvPr/>
        </p:nvSpPr>
        <p:spPr bwMode="auto">
          <a:xfrm>
            <a:off x="816933" y="164395"/>
            <a:ext cx="773962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685800" eaLnBrk="1" hangingPunct="1"/>
            <a:r>
              <a:rPr lang="en-US" sz="2100" b="1">
                <a:solidFill>
                  <a:srgbClr val="0062A7"/>
                </a:solidFill>
              </a:rPr>
              <a:t>Tandem ASCT for HR NDMM </a:t>
            </a:r>
          </a:p>
        </p:txBody>
      </p:sp>
      <p:cxnSp>
        <p:nvCxnSpPr>
          <p:cNvPr id="25" name="Connecteur droit 5">
            <a:extLst>
              <a:ext uri="{FF2B5EF4-FFF2-40B4-BE49-F238E27FC236}">
                <a16:creationId xmlns:a16="http://schemas.microsoft.com/office/drawing/2014/main" id="{C8DB824A-BFE1-4549-9198-2D409BF245AD}"/>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
        <p:nvSpPr>
          <p:cNvPr id="26" name="Espace réservé du pied de page 3">
            <a:extLst>
              <a:ext uri="{FF2B5EF4-FFF2-40B4-BE49-F238E27FC236}">
                <a16:creationId xmlns:a16="http://schemas.microsoft.com/office/drawing/2014/main" id="{2A388CDC-1313-4AD2-BC68-7FBC3EA76BB4}"/>
              </a:ext>
            </a:extLst>
          </p:cNvPr>
          <p:cNvSpPr txBox="1">
            <a:spLocks/>
          </p:cNvSpPr>
          <p:nvPr/>
        </p:nvSpPr>
        <p:spPr bwMode="auto">
          <a:xfrm>
            <a:off x="4383303" y="4900879"/>
            <a:ext cx="4760698"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nb-NO" sz="1050"/>
              <a:t>ClinicalTrials.gov; NCT03606577.</a:t>
            </a:r>
          </a:p>
        </p:txBody>
      </p:sp>
    </p:spTree>
    <p:extLst>
      <p:ext uri="{BB962C8B-B14F-4D97-AF65-F5344CB8AC3E}">
        <p14:creationId xmlns:p14="http://schemas.microsoft.com/office/powerpoint/2010/main" val="252048491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AAD8C8-2955-1E45-86D1-79AF55EB95BC}"/>
              </a:ext>
            </a:extLst>
          </p:cNvPr>
          <p:cNvSpPr>
            <a:spLocks noGrp="1"/>
          </p:cNvSpPr>
          <p:nvPr>
            <p:ph type="title"/>
          </p:nvPr>
        </p:nvSpPr>
        <p:spPr>
          <a:xfrm>
            <a:off x="805791" y="93780"/>
            <a:ext cx="7886700" cy="576548"/>
          </a:xfrm>
        </p:spPr>
        <p:txBody>
          <a:bodyPr>
            <a:normAutofit/>
          </a:bodyPr>
          <a:lstStyle/>
          <a:p>
            <a:r>
              <a:rPr lang="en-US" sz="2100" b="1" noProof="0">
                <a:solidFill>
                  <a:srgbClr val="0062A7"/>
                </a:solidFill>
                <a:latin typeface="+mn-lt"/>
              </a:rPr>
              <a:t>Remaining Questions on Consolidation</a:t>
            </a:r>
          </a:p>
        </p:txBody>
      </p:sp>
      <p:sp>
        <p:nvSpPr>
          <p:cNvPr id="3" name="Content Placeholder 2">
            <a:extLst>
              <a:ext uri="{FF2B5EF4-FFF2-40B4-BE49-F238E27FC236}">
                <a16:creationId xmlns:a16="http://schemas.microsoft.com/office/drawing/2014/main" id="{6B571D4B-B4E2-4F4A-ADDD-CEDF9C753420}"/>
              </a:ext>
            </a:extLst>
          </p:cNvPr>
          <p:cNvSpPr>
            <a:spLocks noGrp="1"/>
          </p:cNvSpPr>
          <p:nvPr>
            <p:ph idx="1"/>
          </p:nvPr>
        </p:nvSpPr>
        <p:spPr>
          <a:xfrm>
            <a:off x="351246" y="928727"/>
            <a:ext cx="8579358" cy="1949506"/>
          </a:xfrm>
        </p:spPr>
        <p:txBody>
          <a:bodyPr>
            <a:noAutofit/>
          </a:bodyPr>
          <a:lstStyle/>
          <a:p>
            <a:pPr marL="0" indent="0">
              <a:spcBef>
                <a:spcPts val="1350"/>
              </a:spcBef>
              <a:buNone/>
            </a:pPr>
            <a:r>
              <a:rPr lang="en-US" noProof="0"/>
              <a:t>Consolidation VRd/DaraVT/Rd × 2 minimum, and possibly 6 to 12 maximum</a:t>
            </a:r>
          </a:p>
          <a:p>
            <a:pPr>
              <a:spcBef>
                <a:spcPts val="1350"/>
              </a:spcBef>
            </a:pPr>
            <a:r>
              <a:rPr lang="en-US" noProof="0"/>
              <a:t>For everyone?</a:t>
            </a:r>
          </a:p>
          <a:p>
            <a:pPr>
              <a:spcBef>
                <a:spcPts val="1350"/>
              </a:spcBef>
            </a:pPr>
            <a:r>
              <a:rPr lang="en-US" noProof="0"/>
              <a:t>How many cycles?</a:t>
            </a:r>
          </a:p>
          <a:p>
            <a:pPr>
              <a:spcBef>
                <a:spcPts val="1350"/>
              </a:spcBef>
            </a:pPr>
            <a:r>
              <a:rPr lang="en-US" noProof="0"/>
              <a:t>What are the goals and objectives?</a:t>
            </a:r>
          </a:p>
          <a:p>
            <a:pPr>
              <a:spcBef>
                <a:spcPts val="1350"/>
              </a:spcBef>
            </a:pPr>
            <a:r>
              <a:rPr lang="en-US" noProof="0"/>
              <a:t>Should we introduce new drugs?</a:t>
            </a:r>
          </a:p>
          <a:p>
            <a:pPr>
              <a:spcBef>
                <a:spcPts val="1350"/>
              </a:spcBef>
            </a:pPr>
            <a:endParaRPr lang="en-US" noProof="0"/>
          </a:p>
        </p:txBody>
      </p:sp>
      <p:cxnSp>
        <p:nvCxnSpPr>
          <p:cNvPr id="4" name="Connecteur droit 5">
            <a:extLst>
              <a:ext uri="{FF2B5EF4-FFF2-40B4-BE49-F238E27FC236}">
                <a16:creationId xmlns:a16="http://schemas.microsoft.com/office/drawing/2014/main" id="{40402060-FB99-40DC-842F-3D65E9D826C4}"/>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236478"/>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33A1029C-BAB7-BB4D-9D79-1D8357DD0E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63462" y="1295904"/>
            <a:ext cx="7105625" cy="3489667"/>
          </a:xfrm>
          <a:prstGeom prst="rect">
            <a:avLst/>
          </a:prstGeom>
        </p:spPr>
      </p:pic>
      <p:sp>
        <p:nvSpPr>
          <p:cNvPr id="2" name="Titre 1"/>
          <p:cNvSpPr>
            <a:spLocks noGrp="1"/>
          </p:cNvSpPr>
          <p:nvPr>
            <p:ph type="title"/>
          </p:nvPr>
        </p:nvSpPr>
        <p:spPr>
          <a:xfrm>
            <a:off x="804942" y="83854"/>
            <a:ext cx="5797648" cy="585329"/>
          </a:xfrm>
        </p:spPr>
        <p:txBody>
          <a:bodyPr>
            <a:normAutofit/>
          </a:bodyPr>
          <a:lstStyle/>
          <a:p>
            <a:r>
              <a:rPr lang="en-US" sz="2100" b="1" noProof="0">
                <a:solidFill>
                  <a:srgbClr val="0062A7"/>
                </a:solidFill>
                <a:latin typeface="Calibri" charset="0"/>
                <a:ea typeface="Calibri" charset="0"/>
                <a:cs typeface="Calibri" charset="0"/>
              </a:rPr>
              <a:t>Maintenance Lenalidomide </a:t>
            </a:r>
          </a:p>
        </p:txBody>
      </p:sp>
      <p:sp>
        <p:nvSpPr>
          <p:cNvPr id="12" name="Rectangle 11">
            <a:extLst>
              <a:ext uri="{FF2B5EF4-FFF2-40B4-BE49-F238E27FC236}">
                <a16:creationId xmlns:a16="http://schemas.microsoft.com/office/drawing/2014/main" id="{3B84BEF4-7528-9448-ACCB-A5117F04A253}"/>
              </a:ext>
            </a:extLst>
          </p:cNvPr>
          <p:cNvSpPr/>
          <p:nvPr/>
        </p:nvSpPr>
        <p:spPr>
          <a:xfrm>
            <a:off x="905488" y="1719857"/>
            <a:ext cx="6997118" cy="346249"/>
          </a:xfrm>
          <a:prstGeom prst="rect">
            <a:avLst/>
          </a:prstGeom>
        </p:spPr>
        <p:txBody>
          <a:bodyPr wrap="square">
            <a:spAutoFit/>
          </a:bodyPr>
          <a:lstStyle/>
          <a:p>
            <a:pPr marL="600060" lvl="1" indent="-257168" defTabSz="685800">
              <a:buFont typeface="Arial" charset="0"/>
              <a:buChar char="•"/>
            </a:pPr>
            <a:endParaRPr lang="fr-FR" sz="1650">
              <a:solidFill>
                <a:prstClr val="black"/>
              </a:solidFill>
              <a:latin typeface="Calibri" charset="0"/>
              <a:ea typeface="Calibri" charset="0"/>
              <a:cs typeface="Calibri" charset="0"/>
            </a:endParaRPr>
          </a:p>
        </p:txBody>
      </p:sp>
      <p:sp>
        <p:nvSpPr>
          <p:cNvPr id="14" name="Rectangle 13">
            <a:extLst>
              <a:ext uri="{FF2B5EF4-FFF2-40B4-BE49-F238E27FC236}">
                <a16:creationId xmlns:a16="http://schemas.microsoft.com/office/drawing/2014/main" id="{07FEC64C-6497-3842-8050-B100DD11DAC7}"/>
              </a:ext>
            </a:extLst>
          </p:cNvPr>
          <p:cNvSpPr/>
          <p:nvPr/>
        </p:nvSpPr>
        <p:spPr>
          <a:xfrm>
            <a:off x="358806" y="915825"/>
            <a:ext cx="7543800" cy="923330"/>
          </a:xfrm>
          <a:prstGeom prst="rect">
            <a:avLst/>
          </a:prstGeom>
        </p:spPr>
        <p:txBody>
          <a:bodyPr wrap="square">
            <a:spAutoFit/>
          </a:bodyPr>
          <a:lstStyle/>
          <a:p>
            <a:pPr marL="0" lvl="1" defTabSz="685800"/>
            <a:r>
              <a:rPr lang="en-US" b="1">
                <a:solidFill>
                  <a:srgbClr val="C00000"/>
                </a:solidFill>
                <a:latin typeface="Calibri" charset="0"/>
                <a:ea typeface="Calibri" charset="0"/>
                <a:cs typeface="Calibri" charset="0"/>
              </a:rPr>
              <a:t>Standard: Lenalidomide</a:t>
            </a:r>
          </a:p>
          <a:p>
            <a:pPr marL="600075" lvl="1" indent="-257175" defTabSz="685800">
              <a:buFont typeface="Arial" panose="020B0604020202020204" pitchFamily="34" charset="0"/>
              <a:buChar char="•"/>
            </a:pPr>
            <a:endParaRPr lang="fr-FR" b="1">
              <a:solidFill>
                <a:srgbClr val="D91414"/>
              </a:solidFill>
              <a:latin typeface="Calibri" charset="0"/>
              <a:ea typeface="Calibri" charset="0"/>
              <a:cs typeface="Calibri" charset="0"/>
            </a:endParaRPr>
          </a:p>
          <a:p>
            <a:pPr marL="600060" lvl="1" indent="-257168" defTabSz="685800">
              <a:buFont typeface="Arial" charset="0"/>
              <a:buChar char="•"/>
            </a:pPr>
            <a:endParaRPr lang="fr-FR">
              <a:solidFill>
                <a:prstClr val="black"/>
              </a:solidFill>
              <a:latin typeface="Calibri" charset="0"/>
              <a:ea typeface="Calibri" charset="0"/>
              <a:cs typeface="Calibri" charset="0"/>
            </a:endParaRPr>
          </a:p>
        </p:txBody>
      </p:sp>
      <p:sp>
        <p:nvSpPr>
          <p:cNvPr id="15" name="Espace réservé du pied de page 3">
            <a:extLst>
              <a:ext uri="{FF2B5EF4-FFF2-40B4-BE49-F238E27FC236}">
                <a16:creationId xmlns:a16="http://schemas.microsoft.com/office/drawing/2014/main" id="{38F7E455-348F-8D48-86D1-184F31D8F1DE}"/>
              </a:ext>
            </a:extLst>
          </p:cNvPr>
          <p:cNvSpPr txBox="1">
            <a:spLocks/>
          </p:cNvSpPr>
          <p:nvPr/>
        </p:nvSpPr>
        <p:spPr bwMode="auto">
          <a:xfrm>
            <a:off x="3229776" y="4900878"/>
            <a:ext cx="5914224"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fr-FR" sz="1050"/>
              <a:t>McCarthy PL, et al. </a:t>
            </a:r>
            <a:r>
              <a:rPr lang="fr-FR" sz="1050" i="1"/>
              <a:t>J Clin Oncol. </a:t>
            </a:r>
            <a:r>
              <a:rPr lang="fr-FR" sz="1050"/>
              <a:t>2017.</a:t>
            </a:r>
            <a:endParaRPr lang="nb-NO" sz="1050"/>
          </a:p>
        </p:txBody>
      </p:sp>
      <p:sp>
        <p:nvSpPr>
          <p:cNvPr id="3" name="Rectangle 2">
            <a:extLst>
              <a:ext uri="{FF2B5EF4-FFF2-40B4-BE49-F238E27FC236}">
                <a16:creationId xmlns:a16="http://schemas.microsoft.com/office/drawing/2014/main" id="{9BA7DEF7-8A06-5F40-823D-B12CCCC07692}"/>
              </a:ext>
            </a:extLst>
          </p:cNvPr>
          <p:cNvSpPr/>
          <p:nvPr/>
        </p:nvSpPr>
        <p:spPr>
          <a:xfrm>
            <a:off x="1565787" y="1799304"/>
            <a:ext cx="108366" cy="157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prstClr val="white"/>
              </a:solidFill>
              <a:latin typeface="Calibri" panose="020F0502020204030204"/>
            </a:endParaRPr>
          </a:p>
        </p:txBody>
      </p:sp>
      <p:sp>
        <p:nvSpPr>
          <p:cNvPr id="19" name="Rectangle 18">
            <a:extLst>
              <a:ext uri="{FF2B5EF4-FFF2-40B4-BE49-F238E27FC236}">
                <a16:creationId xmlns:a16="http://schemas.microsoft.com/office/drawing/2014/main" id="{DE014D6F-52BC-E54A-8F26-9908A37677EC}"/>
              </a:ext>
            </a:extLst>
          </p:cNvPr>
          <p:cNvSpPr/>
          <p:nvPr/>
        </p:nvSpPr>
        <p:spPr>
          <a:xfrm>
            <a:off x="4156593" y="1804224"/>
            <a:ext cx="108366" cy="157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prstClr val="white"/>
              </a:solidFill>
              <a:latin typeface="Calibri" panose="020F0502020204030204"/>
            </a:endParaRPr>
          </a:p>
        </p:txBody>
      </p:sp>
      <p:cxnSp>
        <p:nvCxnSpPr>
          <p:cNvPr id="10" name="Connecteur droit 5">
            <a:extLst>
              <a:ext uri="{FF2B5EF4-FFF2-40B4-BE49-F238E27FC236}">
                <a16:creationId xmlns:a16="http://schemas.microsoft.com/office/drawing/2014/main" id="{A755A56A-4848-486A-869F-5D3A9F939462}"/>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445334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4937" y="83854"/>
            <a:ext cx="5797648" cy="585329"/>
          </a:xfrm>
        </p:spPr>
        <p:txBody>
          <a:bodyPr>
            <a:normAutofit/>
          </a:bodyPr>
          <a:lstStyle/>
          <a:p>
            <a:r>
              <a:rPr lang="en-US" sz="2100" b="1" noProof="0">
                <a:solidFill>
                  <a:srgbClr val="0062A7"/>
                </a:solidFill>
                <a:latin typeface="Calibri" charset="0"/>
                <a:ea typeface="Calibri" charset="0"/>
                <a:cs typeface="Calibri" charset="0"/>
              </a:rPr>
              <a:t>Maintenance Lenalidomide in HR NDMM</a:t>
            </a:r>
          </a:p>
        </p:txBody>
      </p:sp>
      <p:sp>
        <p:nvSpPr>
          <p:cNvPr id="12" name="Rectangle 11">
            <a:extLst>
              <a:ext uri="{FF2B5EF4-FFF2-40B4-BE49-F238E27FC236}">
                <a16:creationId xmlns:a16="http://schemas.microsoft.com/office/drawing/2014/main" id="{3B84BEF4-7528-9448-ACCB-A5117F04A253}"/>
              </a:ext>
            </a:extLst>
          </p:cNvPr>
          <p:cNvSpPr/>
          <p:nvPr/>
        </p:nvSpPr>
        <p:spPr>
          <a:xfrm>
            <a:off x="800101" y="1384159"/>
            <a:ext cx="6997118" cy="346249"/>
          </a:xfrm>
          <a:prstGeom prst="rect">
            <a:avLst/>
          </a:prstGeom>
        </p:spPr>
        <p:txBody>
          <a:bodyPr wrap="square">
            <a:spAutoFit/>
          </a:bodyPr>
          <a:lstStyle/>
          <a:p>
            <a:pPr marL="600060" lvl="1" indent="-257168" defTabSz="685800">
              <a:buFont typeface="Arial" charset="0"/>
              <a:buChar char="•"/>
            </a:pPr>
            <a:endParaRPr lang="fr-FR" sz="1650">
              <a:solidFill>
                <a:prstClr val="black"/>
              </a:solidFill>
              <a:latin typeface="Calibri" charset="0"/>
              <a:ea typeface="Calibri" charset="0"/>
              <a:cs typeface="Calibri" charset="0"/>
            </a:endParaRPr>
          </a:p>
        </p:txBody>
      </p:sp>
      <p:pic>
        <p:nvPicPr>
          <p:cNvPr id="4" name="Image 3">
            <a:extLst>
              <a:ext uri="{FF2B5EF4-FFF2-40B4-BE49-F238E27FC236}">
                <a16:creationId xmlns:a16="http://schemas.microsoft.com/office/drawing/2014/main" id="{022048B1-EE0E-BF4C-AA68-1F71C12233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86618" y="1086382"/>
            <a:ext cx="6755428" cy="3407782"/>
          </a:xfrm>
          <a:prstGeom prst="rect">
            <a:avLst/>
          </a:prstGeom>
        </p:spPr>
      </p:pic>
      <p:sp>
        <p:nvSpPr>
          <p:cNvPr id="15" name="Espace réservé du pied de page 3">
            <a:extLst>
              <a:ext uri="{FF2B5EF4-FFF2-40B4-BE49-F238E27FC236}">
                <a16:creationId xmlns:a16="http://schemas.microsoft.com/office/drawing/2014/main" id="{38F7E455-348F-8D48-86D1-184F31D8F1DE}"/>
              </a:ext>
            </a:extLst>
          </p:cNvPr>
          <p:cNvSpPr txBox="1">
            <a:spLocks/>
          </p:cNvSpPr>
          <p:nvPr/>
        </p:nvSpPr>
        <p:spPr bwMode="auto">
          <a:xfrm>
            <a:off x="3229776" y="4900879"/>
            <a:ext cx="5914224"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fr-FR" sz="1050"/>
              <a:t>Jackson G, et al. ASH 2017.</a:t>
            </a:r>
            <a:endParaRPr lang="nb-NO" sz="1050"/>
          </a:p>
        </p:txBody>
      </p:sp>
      <p:sp>
        <p:nvSpPr>
          <p:cNvPr id="3" name="Oval 2">
            <a:extLst>
              <a:ext uri="{FF2B5EF4-FFF2-40B4-BE49-F238E27FC236}">
                <a16:creationId xmlns:a16="http://schemas.microsoft.com/office/drawing/2014/main" id="{63351CFF-4150-EE47-82E3-2CE8C1354D3D}"/>
              </a:ext>
            </a:extLst>
          </p:cNvPr>
          <p:cNvSpPr/>
          <p:nvPr/>
        </p:nvSpPr>
        <p:spPr>
          <a:xfrm>
            <a:off x="6541940" y="1418788"/>
            <a:ext cx="1493927" cy="701420"/>
          </a:xfrm>
          <a:prstGeom prst="ellipse">
            <a:avLst/>
          </a:prstGeom>
          <a:noFill/>
          <a:ln w="1270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FR" sz="1350">
              <a:solidFill>
                <a:prstClr val="white"/>
              </a:solidFill>
              <a:latin typeface="Calibri" panose="020F0502020204030204"/>
            </a:endParaRPr>
          </a:p>
        </p:txBody>
      </p:sp>
      <p:sp>
        <p:nvSpPr>
          <p:cNvPr id="9" name="Oval 8">
            <a:extLst>
              <a:ext uri="{FF2B5EF4-FFF2-40B4-BE49-F238E27FC236}">
                <a16:creationId xmlns:a16="http://schemas.microsoft.com/office/drawing/2014/main" id="{D08B79C2-E2D3-1644-9722-92BC391393E7}"/>
              </a:ext>
            </a:extLst>
          </p:cNvPr>
          <p:cNvSpPr/>
          <p:nvPr/>
        </p:nvSpPr>
        <p:spPr>
          <a:xfrm>
            <a:off x="3282846" y="1356614"/>
            <a:ext cx="1493927" cy="701420"/>
          </a:xfrm>
          <a:prstGeom prst="ellipse">
            <a:avLst/>
          </a:prstGeom>
          <a:noFill/>
          <a:ln w="1270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FR" sz="1350">
              <a:solidFill>
                <a:prstClr val="white"/>
              </a:solidFill>
              <a:latin typeface="Calibri" panose="020F0502020204030204"/>
            </a:endParaRPr>
          </a:p>
        </p:txBody>
      </p:sp>
      <p:cxnSp>
        <p:nvCxnSpPr>
          <p:cNvPr id="10" name="Connecteur droit 5">
            <a:extLst>
              <a:ext uri="{FF2B5EF4-FFF2-40B4-BE49-F238E27FC236}">
                <a16:creationId xmlns:a16="http://schemas.microsoft.com/office/drawing/2014/main" id="{D226DCDB-E945-4349-B079-B85C2C68BC39}"/>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284171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4936" y="83854"/>
            <a:ext cx="5797648" cy="585329"/>
          </a:xfrm>
        </p:spPr>
        <p:txBody>
          <a:bodyPr>
            <a:normAutofit/>
          </a:bodyPr>
          <a:lstStyle/>
          <a:p>
            <a:r>
              <a:rPr lang="en-US" sz="2100" b="1" noProof="0">
                <a:solidFill>
                  <a:srgbClr val="0062A7"/>
                </a:solidFill>
                <a:latin typeface="Calibri" charset="0"/>
                <a:ea typeface="Calibri" charset="0"/>
                <a:cs typeface="Calibri" charset="0"/>
              </a:rPr>
              <a:t>Maintenance Ixazomib? </a:t>
            </a:r>
          </a:p>
        </p:txBody>
      </p:sp>
      <p:sp>
        <p:nvSpPr>
          <p:cNvPr id="16" name="Espace réservé du pied de page 3">
            <a:extLst>
              <a:ext uri="{FF2B5EF4-FFF2-40B4-BE49-F238E27FC236}">
                <a16:creationId xmlns:a16="http://schemas.microsoft.com/office/drawing/2014/main" id="{9F63B598-9C0C-8343-9778-D41E57639D19}"/>
              </a:ext>
            </a:extLst>
          </p:cNvPr>
          <p:cNvSpPr txBox="1">
            <a:spLocks/>
          </p:cNvSpPr>
          <p:nvPr/>
        </p:nvSpPr>
        <p:spPr bwMode="auto">
          <a:xfrm>
            <a:off x="4527534" y="4901538"/>
            <a:ext cx="4616466"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nb-NO" sz="1050"/>
              <a:t>Dimopoulos MA, et al. ASH 2018.</a:t>
            </a:r>
            <a:endParaRPr lang="en-US" sz="1050"/>
          </a:p>
        </p:txBody>
      </p:sp>
      <p:grpSp>
        <p:nvGrpSpPr>
          <p:cNvPr id="3" name="Group 2">
            <a:extLst>
              <a:ext uri="{FF2B5EF4-FFF2-40B4-BE49-F238E27FC236}">
                <a16:creationId xmlns:a16="http://schemas.microsoft.com/office/drawing/2014/main" id="{D8FBE6A3-50EE-CC46-A9F8-12C0E0963B48}"/>
              </a:ext>
            </a:extLst>
          </p:cNvPr>
          <p:cNvGrpSpPr/>
          <p:nvPr/>
        </p:nvGrpSpPr>
        <p:grpSpPr>
          <a:xfrm>
            <a:off x="333654" y="903619"/>
            <a:ext cx="4193881" cy="2345635"/>
            <a:chOff x="771888" y="1297340"/>
            <a:chExt cx="10783995" cy="4243440"/>
          </a:xfrm>
        </p:grpSpPr>
        <p:sp>
          <p:nvSpPr>
            <p:cNvPr id="12" name="Rectangle 11">
              <a:extLst>
                <a:ext uri="{FF2B5EF4-FFF2-40B4-BE49-F238E27FC236}">
                  <a16:creationId xmlns:a16="http://schemas.microsoft.com/office/drawing/2014/main" id="{3B84BEF4-7528-9448-ACCB-A5117F04A253}"/>
                </a:ext>
              </a:extLst>
            </p:cNvPr>
            <p:cNvSpPr/>
            <p:nvPr/>
          </p:nvSpPr>
          <p:spPr>
            <a:xfrm>
              <a:off x="1207315" y="2175807"/>
              <a:ext cx="9460686" cy="626392"/>
            </a:xfrm>
            <a:prstGeom prst="rect">
              <a:avLst/>
            </a:prstGeom>
          </p:spPr>
          <p:txBody>
            <a:bodyPr wrap="square">
              <a:spAutoFit/>
            </a:bodyPr>
            <a:lstStyle/>
            <a:p>
              <a:pPr marL="600060" lvl="1" indent="-257168" defTabSz="685800">
                <a:buFont typeface="Arial" charset="0"/>
                <a:buChar char="•"/>
              </a:pPr>
              <a:endParaRPr lang="fr-FR" sz="1650">
                <a:solidFill>
                  <a:prstClr val="black"/>
                </a:solidFill>
                <a:latin typeface="Calibri" charset="0"/>
                <a:ea typeface="Calibri" charset="0"/>
                <a:cs typeface="Calibri" charset="0"/>
              </a:endParaRPr>
            </a:p>
          </p:txBody>
        </p:sp>
        <p:sp>
          <p:nvSpPr>
            <p:cNvPr id="14" name="Rectangle 13">
              <a:extLst>
                <a:ext uri="{FF2B5EF4-FFF2-40B4-BE49-F238E27FC236}">
                  <a16:creationId xmlns:a16="http://schemas.microsoft.com/office/drawing/2014/main" id="{07FEC64C-6497-3842-8050-B100DD11DAC7}"/>
                </a:ext>
              </a:extLst>
            </p:cNvPr>
            <p:cNvSpPr/>
            <p:nvPr/>
          </p:nvSpPr>
          <p:spPr>
            <a:xfrm>
              <a:off x="771888" y="1297340"/>
              <a:ext cx="9329490" cy="1670377"/>
            </a:xfrm>
            <a:prstGeom prst="rect">
              <a:avLst/>
            </a:prstGeom>
          </p:spPr>
          <p:txBody>
            <a:bodyPr wrap="square">
              <a:spAutoFit/>
            </a:bodyPr>
            <a:lstStyle/>
            <a:p>
              <a:pPr marL="0" lvl="1" defTabSz="685800"/>
              <a:r>
                <a:rPr lang="fr-FR" b="1">
                  <a:solidFill>
                    <a:srgbClr val="C00000"/>
                  </a:solidFill>
                  <a:latin typeface="Calibri" charset="0"/>
                  <a:ea typeface="Calibri" charset="0"/>
                  <a:cs typeface="Calibri" charset="0"/>
                </a:rPr>
                <a:t>TOURMALINE – MM3</a:t>
              </a:r>
            </a:p>
            <a:p>
              <a:pPr marL="342900" lvl="1" defTabSz="685800"/>
              <a:endParaRPr lang="fr-FR" b="1">
                <a:solidFill>
                  <a:srgbClr val="D91414"/>
                </a:solidFill>
                <a:latin typeface="Calibri" charset="0"/>
                <a:ea typeface="Calibri" charset="0"/>
                <a:cs typeface="Calibri" charset="0"/>
              </a:endParaRPr>
            </a:p>
            <a:p>
              <a:pPr marL="600060" lvl="1" indent="-257168" defTabSz="685800">
                <a:buFont typeface="Arial" charset="0"/>
                <a:buChar char="•"/>
              </a:pPr>
              <a:endParaRPr lang="fr-FR">
                <a:solidFill>
                  <a:prstClr val="black"/>
                </a:solidFill>
                <a:latin typeface="Calibri" charset="0"/>
                <a:ea typeface="Calibri" charset="0"/>
                <a:cs typeface="Calibri" charset="0"/>
              </a:endParaRPr>
            </a:p>
          </p:txBody>
        </p:sp>
        <p:pic>
          <p:nvPicPr>
            <p:cNvPr id="17" name="Image 16">
              <a:extLst>
                <a:ext uri="{FF2B5EF4-FFF2-40B4-BE49-F238E27FC236}">
                  <a16:creationId xmlns:a16="http://schemas.microsoft.com/office/drawing/2014/main" id="{32A7CCEF-3A39-B046-A248-CE78284CB2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76087" y="1982291"/>
              <a:ext cx="8590424" cy="1761607"/>
            </a:xfrm>
            <a:prstGeom prst="rect">
              <a:avLst/>
            </a:prstGeom>
          </p:spPr>
        </p:pic>
        <p:pic>
          <p:nvPicPr>
            <p:cNvPr id="18" name="Image 17">
              <a:extLst>
                <a:ext uri="{FF2B5EF4-FFF2-40B4-BE49-F238E27FC236}">
                  <a16:creationId xmlns:a16="http://schemas.microsoft.com/office/drawing/2014/main" id="{CA56372A-7567-8B4B-87BE-7C917A58B2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6087" y="4123548"/>
              <a:ext cx="10579796" cy="1417232"/>
            </a:xfrm>
            <a:prstGeom prst="rect">
              <a:avLst/>
            </a:prstGeom>
          </p:spPr>
        </p:pic>
        <p:pic>
          <p:nvPicPr>
            <p:cNvPr id="19" name="Image 18">
              <a:extLst>
                <a:ext uri="{FF2B5EF4-FFF2-40B4-BE49-F238E27FC236}">
                  <a16:creationId xmlns:a16="http://schemas.microsoft.com/office/drawing/2014/main" id="{C26BD2B4-6C08-D945-B241-4F837A107D6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97021" y="2263117"/>
              <a:ext cx="1541955" cy="1276100"/>
            </a:xfrm>
            <a:prstGeom prst="rect">
              <a:avLst/>
            </a:prstGeom>
          </p:spPr>
        </p:pic>
      </p:grpSp>
      <p:grpSp>
        <p:nvGrpSpPr>
          <p:cNvPr id="11" name="Group 10">
            <a:extLst>
              <a:ext uri="{FF2B5EF4-FFF2-40B4-BE49-F238E27FC236}">
                <a16:creationId xmlns:a16="http://schemas.microsoft.com/office/drawing/2014/main" id="{F1C01A1A-401B-0B43-AF5C-5943F086AF70}"/>
              </a:ext>
            </a:extLst>
          </p:cNvPr>
          <p:cNvGrpSpPr/>
          <p:nvPr/>
        </p:nvGrpSpPr>
        <p:grpSpPr>
          <a:xfrm>
            <a:off x="431440" y="1199650"/>
            <a:ext cx="8625369" cy="3449545"/>
            <a:chOff x="-3905245" y="1417939"/>
            <a:chExt cx="12526730" cy="5738705"/>
          </a:xfrm>
        </p:grpSpPr>
        <p:pic>
          <p:nvPicPr>
            <p:cNvPr id="13" name="Image 27" descr="Une image contenant carte, texte&#10;&#10;&#10;&#10;Description générée automatiquement">
              <a:extLst>
                <a:ext uri="{FF2B5EF4-FFF2-40B4-BE49-F238E27FC236}">
                  <a16:creationId xmlns:a16="http://schemas.microsoft.com/office/drawing/2014/main" id="{701F7B8D-44CE-C04A-B50D-5A21720431B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362046" y="1961123"/>
              <a:ext cx="6259439" cy="4718973"/>
            </a:xfrm>
            <a:prstGeom prst="rect">
              <a:avLst/>
            </a:prstGeom>
          </p:spPr>
        </p:pic>
        <p:pic>
          <p:nvPicPr>
            <p:cNvPr id="15" name="Image 28">
              <a:extLst>
                <a:ext uri="{FF2B5EF4-FFF2-40B4-BE49-F238E27FC236}">
                  <a16:creationId xmlns:a16="http://schemas.microsoft.com/office/drawing/2014/main" id="{9A935C52-CFC4-9F40-B938-3DA3BFCC858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45030" y="1588554"/>
              <a:ext cx="2988732" cy="745136"/>
            </a:xfrm>
            <a:prstGeom prst="rect">
              <a:avLst/>
            </a:prstGeom>
          </p:spPr>
        </p:pic>
        <p:sp>
          <p:nvSpPr>
            <p:cNvPr id="20" name="ZoneTexte 29">
              <a:extLst>
                <a:ext uri="{FF2B5EF4-FFF2-40B4-BE49-F238E27FC236}">
                  <a16:creationId xmlns:a16="http://schemas.microsoft.com/office/drawing/2014/main" id="{C1413F26-6BE3-FE4E-A5AE-CB0A2CA24F2A}"/>
                </a:ext>
              </a:extLst>
            </p:cNvPr>
            <p:cNvSpPr txBox="1"/>
            <p:nvPr/>
          </p:nvSpPr>
          <p:spPr>
            <a:xfrm>
              <a:off x="-3905245" y="5966195"/>
              <a:ext cx="5153985" cy="1190449"/>
            </a:xfrm>
            <a:prstGeom prst="rect">
              <a:avLst/>
            </a:prstGeom>
            <a:noFill/>
          </p:spPr>
          <p:txBody>
            <a:bodyPr wrap="square" rtlCol="0">
              <a:spAutoFit/>
            </a:bodyPr>
            <a:lstStyle/>
            <a:p>
              <a:pPr defTabSz="685800"/>
              <a:r>
                <a:rPr lang="en-US" sz="1350" b="1">
                  <a:solidFill>
                    <a:srgbClr val="C00000"/>
                  </a:solidFill>
                  <a:latin typeface="Calibri" panose="020F0502020204030204" pitchFamily="34" charset="0"/>
                  <a:cs typeface="Calibri" panose="020F0502020204030204" pitchFamily="34" charset="0"/>
                </a:rPr>
                <a:t>28% reduced risk of progression or death</a:t>
              </a:r>
            </a:p>
            <a:p>
              <a:pPr defTabSz="685800"/>
              <a:endParaRPr lang="fr-FR" sz="1350" b="1">
                <a:solidFill>
                  <a:srgbClr val="0062A7"/>
                </a:solidFill>
                <a:latin typeface="Calibri" panose="020F0502020204030204" pitchFamily="34" charset="0"/>
                <a:cs typeface="Calibri" panose="020F0502020204030204" pitchFamily="34" charset="0"/>
              </a:endParaRPr>
            </a:p>
            <a:p>
              <a:pPr defTabSz="685800"/>
              <a:r>
                <a:rPr lang="en-US" sz="1350" b="1">
                  <a:solidFill>
                    <a:prstClr val="black"/>
                  </a:solidFill>
                  <a:latin typeface="Calibri" panose="020F0502020204030204" pitchFamily="34" charset="0"/>
                  <a:cs typeface="Calibri" panose="020F0502020204030204" pitchFamily="34" charset="0"/>
                </a:rPr>
                <a:t>PFS benefit 5, 2 months</a:t>
              </a:r>
            </a:p>
          </p:txBody>
        </p:sp>
        <p:sp>
          <p:nvSpPr>
            <p:cNvPr id="21" name="Rectangle 20">
              <a:extLst>
                <a:ext uri="{FF2B5EF4-FFF2-40B4-BE49-F238E27FC236}">
                  <a16:creationId xmlns:a16="http://schemas.microsoft.com/office/drawing/2014/main" id="{BE9335E2-BEEB-A847-A780-FD7593E9A155}"/>
                </a:ext>
              </a:extLst>
            </p:cNvPr>
            <p:cNvSpPr/>
            <p:nvPr/>
          </p:nvSpPr>
          <p:spPr>
            <a:xfrm>
              <a:off x="2531302" y="1417939"/>
              <a:ext cx="674207" cy="537621"/>
            </a:xfrm>
            <a:prstGeom prst="rect">
              <a:avLst/>
            </a:prstGeom>
          </p:spPr>
          <p:txBody>
            <a:bodyPr wrap="none">
              <a:spAutoFit/>
            </a:bodyPr>
            <a:lstStyle/>
            <a:p>
              <a:pPr defTabSz="685800"/>
              <a:r>
                <a:rPr lang="fr-FR" sz="1500" b="1">
                  <a:solidFill>
                    <a:prstClr val="black"/>
                  </a:solidFill>
                  <a:latin typeface="Calibri" charset="0"/>
                  <a:ea typeface="Calibri" charset="0"/>
                  <a:cs typeface="Calibri" charset="0"/>
                </a:rPr>
                <a:t>PFS</a:t>
              </a:r>
              <a:endParaRPr lang="fr-FR" sz="1500" b="1">
                <a:solidFill>
                  <a:prstClr val="black"/>
                </a:solidFill>
                <a:latin typeface="Calibri" panose="020F0502020204030204"/>
              </a:endParaRPr>
            </a:p>
          </p:txBody>
        </p:sp>
      </p:grpSp>
      <p:cxnSp>
        <p:nvCxnSpPr>
          <p:cNvPr id="22" name="Connecteur droit 5">
            <a:extLst>
              <a:ext uri="{FF2B5EF4-FFF2-40B4-BE49-F238E27FC236}">
                <a16:creationId xmlns:a16="http://schemas.microsoft.com/office/drawing/2014/main" id="{0865655F-C06A-422C-9AE0-560AE7BD7F9F}"/>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6062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DBCD9-B88C-462B-9ED5-B456D7BF9BE3}"/>
              </a:ext>
            </a:extLst>
          </p:cNvPr>
          <p:cNvSpPr>
            <a:spLocks noGrp="1"/>
          </p:cNvSpPr>
          <p:nvPr>
            <p:ph type="title"/>
          </p:nvPr>
        </p:nvSpPr>
        <p:spPr>
          <a:xfrm>
            <a:off x="457200" y="84966"/>
            <a:ext cx="8229600" cy="503035"/>
          </a:xfrm>
        </p:spPr>
        <p:txBody>
          <a:bodyPr vert="horz" lIns="68580" tIns="34290" rIns="68580" bIns="34290" rtlCol="0" anchor="ctr">
            <a:noAutofit/>
          </a:bodyPr>
          <a:lstStyle/>
          <a:p>
            <a:r>
              <a:rPr lang="en-US" sz="2400" b="1" noProof="0">
                <a:solidFill>
                  <a:srgbClr val="0070C0"/>
                </a:solidFill>
                <a:latin typeface="Arial" panose="020B0604020202020204" pitchFamily="34" charset="0"/>
                <a:cs typeface="Arial" panose="020B0604020202020204" pitchFamily="34" charset="0"/>
              </a:rPr>
              <a:t>Disruption of the cancer care model</a:t>
            </a:r>
          </a:p>
        </p:txBody>
      </p:sp>
      <p:grpSp>
        <p:nvGrpSpPr>
          <p:cNvPr id="3" name="Group 2">
            <a:extLst>
              <a:ext uri="{FF2B5EF4-FFF2-40B4-BE49-F238E27FC236}">
                <a16:creationId xmlns:a16="http://schemas.microsoft.com/office/drawing/2014/main" id="{FC86335B-7AAA-4863-B0F4-50E5F6B4C6C7}"/>
              </a:ext>
            </a:extLst>
          </p:cNvPr>
          <p:cNvGrpSpPr/>
          <p:nvPr/>
        </p:nvGrpSpPr>
        <p:grpSpPr>
          <a:xfrm>
            <a:off x="3335512" y="621041"/>
            <a:ext cx="1699592" cy="2988128"/>
            <a:chOff x="3665551" y="930303"/>
            <a:chExt cx="2266122" cy="4659464"/>
          </a:xfrm>
        </p:grpSpPr>
        <p:sp>
          <p:nvSpPr>
            <p:cNvPr id="4" name="Arrow: Pentagon 3">
              <a:extLst>
                <a:ext uri="{FF2B5EF4-FFF2-40B4-BE49-F238E27FC236}">
                  <a16:creationId xmlns:a16="http://schemas.microsoft.com/office/drawing/2014/main" id="{8F56A0E9-E0F0-4ED9-9AB6-53D4ABF41953}"/>
                </a:ext>
              </a:extLst>
            </p:cNvPr>
            <p:cNvSpPr/>
            <p:nvPr/>
          </p:nvSpPr>
          <p:spPr>
            <a:xfrm>
              <a:off x="3776870" y="1001864"/>
              <a:ext cx="2154803" cy="4524293"/>
            </a:xfrm>
            <a:prstGeom prst="homePlate">
              <a:avLst/>
            </a:prstGeom>
            <a:solidFill>
              <a:schemeClr val="bg1"/>
            </a:solidFill>
            <a:ln w="762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
          <p:nvSpPr>
            <p:cNvPr id="5" name="Rectangle 4">
              <a:extLst>
                <a:ext uri="{FF2B5EF4-FFF2-40B4-BE49-F238E27FC236}">
                  <a16:creationId xmlns:a16="http://schemas.microsoft.com/office/drawing/2014/main" id="{8064CACF-D2D2-4DB4-8F3B-818C73814E9D}"/>
                </a:ext>
              </a:extLst>
            </p:cNvPr>
            <p:cNvSpPr/>
            <p:nvPr/>
          </p:nvSpPr>
          <p:spPr>
            <a:xfrm>
              <a:off x="3665551" y="930303"/>
              <a:ext cx="1240403" cy="46594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grpSp>
      <p:sp>
        <p:nvSpPr>
          <p:cNvPr id="6" name="Oval 5">
            <a:extLst>
              <a:ext uri="{FF2B5EF4-FFF2-40B4-BE49-F238E27FC236}">
                <a16:creationId xmlns:a16="http://schemas.microsoft.com/office/drawing/2014/main" id="{5DA9F116-7CEF-4FFB-BA76-F36E8B57C482}"/>
              </a:ext>
            </a:extLst>
          </p:cNvPr>
          <p:cNvSpPr/>
          <p:nvPr/>
        </p:nvSpPr>
        <p:spPr>
          <a:xfrm>
            <a:off x="1385262" y="2822936"/>
            <a:ext cx="754380" cy="754380"/>
          </a:xfrm>
          <a:prstGeom prst="ellipse">
            <a:avLst/>
          </a:prstGeom>
          <a:solidFill>
            <a:schemeClr val="accent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b="1">
              <a:solidFill>
                <a:srgbClr val="FFFFFF"/>
              </a:solidFill>
              <a:latin typeface="Calibri" panose="020F0502020204030204"/>
            </a:endParaRPr>
          </a:p>
        </p:txBody>
      </p:sp>
      <p:sp>
        <p:nvSpPr>
          <p:cNvPr id="7" name="Oval 6">
            <a:extLst>
              <a:ext uri="{FF2B5EF4-FFF2-40B4-BE49-F238E27FC236}">
                <a16:creationId xmlns:a16="http://schemas.microsoft.com/office/drawing/2014/main" id="{15EBE025-24B5-4B6C-A40D-3AB7E8A7E355}"/>
              </a:ext>
            </a:extLst>
          </p:cNvPr>
          <p:cNvSpPr/>
          <p:nvPr/>
        </p:nvSpPr>
        <p:spPr>
          <a:xfrm>
            <a:off x="1385262" y="1873298"/>
            <a:ext cx="754380" cy="754380"/>
          </a:xfrm>
          <a:prstGeom prst="ellipse">
            <a:avLst/>
          </a:prstGeom>
          <a:solidFill>
            <a:schemeClr val="accent4"/>
          </a:solidFill>
          <a:ln w="381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b="1">
              <a:solidFill>
                <a:srgbClr val="FFFFFF"/>
              </a:solidFill>
              <a:latin typeface="Calibri" panose="020F0502020204030204"/>
            </a:endParaRPr>
          </a:p>
        </p:txBody>
      </p:sp>
      <p:sp>
        <p:nvSpPr>
          <p:cNvPr id="8" name="Oval 7">
            <a:extLst>
              <a:ext uri="{FF2B5EF4-FFF2-40B4-BE49-F238E27FC236}">
                <a16:creationId xmlns:a16="http://schemas.microsoft.com/office/drawing/2014/main" id="{8578B707-70B3-4824-8605-1F47CF3E353E}"/>
              </a:ext>
            </a:extLst>
          </p:cNvPr>
          <p:cNvSpPr/>
          <p:nvPr/>
        </p:nvSpPr>
        <p:spPr>
          <a:xfrm>
            <a:off x="1385262" y="877169"/>
            <a:ext cx="754380" cy="754380"/>
          </a:xfrm>
          <a:prstGeom prst="ellipse">
            <a:avLst/>
          </a:prstGeom>
          <a:solidFill>
            <a:schemeClr val="accent3"/>
          </a:solid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b="1">
              <a:solidFill>
                <a:srgbClr val="FFFFFF"/>
              </a:solidFill>
              <a:latin typeface="Calibri" panose="020F0502020204030204"/>
            </a:endParaRPr>
          </a:p>
        </p:txBody>
      </p:sp>
      <p:sp>
        <p:nvSpPr>
          <p:cNvPr id="9" name="Oval 8">
            <a:extLst>
              <a:ext uri="{FF2B5EF4-FFF2-40B4-BE49-F238E27FC236}">
                <a16:creationId xmlns:a16="http://schemas.microsoft.com/office/drawing/2014/main" id="{80BAF319-264B-46BC-801F-5648CAA3F9B9}"/>
              </a:ext>
            </a:extLst>
          </p:cNvPr>
          <p:cNvSpPr/>
          <p:nvPr/>
        </p:nvSpPr>
        <p:spPr>
          <a:xfrm>
            <a:off x="5118593" y="1738952"/>
            <a:ext cx="754380" cy="754380"/>
          </a:xfrm>
          <a:prstGeom prst="ellipse">
            <a:avLst/>
          </a:prstGeom>
          <a:solidFill>
            <a:schemeClr val="bg1">
              <a:lumMod val="75000"/>
            </a:schemeClr>
          </a:solid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b="1">
              <a:solidFill>
                <a:srgbClr val="FFFFFF"/>
              </a:solidFill>
              <a:latin typeface="Calibri" panose="020F0502020204030204"/>
            </a:endParaRPr>
          </a:p>
        </p:txBody>
      </p:sp>
      <p:sp>
        <p:nvSpPr>
          <p:cNvPr id="10" name="TextBox 9">
            <a:extLst>
              <a:ext uri="{FF2B5EF4-FFF2-40B4-BE49-F238E27FC236}">
                <a16:creationId xmlns:a16="http://schemas.microsoft.com/office/drawing/2014/main" id="{18DC08EB-8613-4359-824A-10EF0F627896}"/>
              </a:ext>
            </a:extLst>
          </p:cNvPr>
          <p:cNvSpPr txBox="1"/>
          <p:nvPr/>
        </p:nvSpPr>
        <p:spPr>
          <a:xfrm>
            <a:off x="2172913" y="885354"/>
            <a:ext cx="2173166" cy="623248"/>
          </a:xfrm>
          <a:prstGeom prst="rect">
            <a:avLst/>
          </a:prstGeom>
          <a:noFill/>
        </p:spPr>
        <p:txBody>
          <a:bodyPr wrap="square" lIns="68580" tIns="34290" rIns="68580" bIns="34290" rtlCol="0" anchor="t">
            <a:spAutoFit/>
          </a:bodyPr>
          <a:lstStyle/>
          <a:p>
            <a:pPr defTabSz="685800">
              <a:defRPr/>
            </a:pPr>
            <a:r>
              <a:rPr lang="en-US" sz="1200">
                <a:solidFill>
                  <a:prstClr val="black">
                    <a:lumMod val="65000"/>
                    <a:lumOff val="35000"/>
                  </a:prstClr>
                </a:solidFill>
                <a:latin typeface="Arial"/>
                <a:cs typeface="Arial"/>
              </a:rPr>
              <a:t>Pre-malignant conditions are very common and affect millions of people</a:t>
            </a:r>
          </a:p>
        </p:txBody>
      </p:sp>
      <p:sp>
        <p:nvSpPr>
          <p:cNvPr id="11" name="TextBox 10">
            <a:extLst>
              <a:ext uri="{FF2B5EF4-FFF2-40B4-BE49-F238E27FC236}">
                <a16:creationId xmlns:a16="http://schemas.microsoft.com/office/drawing/2014/main" id="{3329C071-42EE-4E70-B58D-345E0D9B9615}"/>
              </a:ext>
            </a:extLst>
          </p:cNvPr>
          <p:cNvSpPr txBox="1"/>
          <p:nvPr/>
        </p:nvSpPr>
        <p:spPr>
          <a:xfrm>
            <a:off x="2172913" y="1873299"/>
            <a:ext cx="2173166" cy="807913"/>
          </a:xfrm>
          <a:prstGeom prst="rect">
            <a:avLst/>
          </a:prstGeom>
          <a:noFill/>
        </p:spPr>
        <p:txBody>
          <a:bodyPr wrap="square" lIns="68580" tIns="34290" rIns="68580" bIns="34290" rtlCol="0" anchor="t">
            <a:spAutoFit/>
          </a:bodyPr>
          <a:lstStyle>
            <a:defPPr>
              <a:defRPr lang="en-US"/>
            </a:defPPr>
            <a:lvl1pPr lvl="0">
              <a:defRPr sz="1600">
                <a:solidFill>
                  <a:srgbClr val="000000">
                    <a:lumMod val="65000"/>
                    <a:lumOff val="35000"/>
                  </a:srgbClr>
                </a:solidFill>
                <a:latin typeface="Calibri" panose="020F0502020204030204" pitchFamily="34" charset="0"/>
              </a:defRPr>
            </a:lvl1pPr>
          </a:lstStyle>
          <a:p>
            <a:pPr defTabSz="685800"/>
            <a:r>
              <a:rPr lang="en-US" sz="1200">
                <a:solidFill>
                  <a:prstClr val="black">
                    <a:lumMod val="65000"/>
                    <a:lumOff val="35000"/>
                  </a:prstClr>
                </a:solidFill>
                <a:latin typeface="Arial"/>
                <a:cs typeface="Arial"/>
              </a:rPr>
              <a:t>Cancer centers and industry have been focusing largely on improving survival for late-stage cancers</a:t>
            </a:r>
          </a:p>
        </p:txBody>
      </p:sp>
      <p:sp>
        <p:nvSpPr>
          <p:cNvPr id="12" name="TextBox 11">
            <a:extLst>
              <a:ext uri="{FF2B5EF4-FFF2-40B4-BE49-F238E27FC236}">
                <a16:creationId xmlns:a16="http://schemas.microsoft.com/office/drawing/2014/main" id="{4D56F582-2051-4625-863D-EBB2C20243FE}"/>
              </a:ext>
            </a:extLst>
          </p:cNvPr>
          <p:cNvSpPr txBox="1"/>
          <p:nvPr/>
        </p:nvSpPr>
        <p:spPr>
          <a:xfrm>
            <a:off x="2172913" y="2856087"/>
            <a:ext cx="2173166" cy="623248"/>
          </a:xfrm>
          <a:prstGeom prst="rect">
            <a:avLst/>
          </a:prstGeom>
          <a:noFill/>
        </p:spPr>
        <p:txBody>
          <a:bodyPr wrap="square" lIns="68580" tIns="34290" rIns="68580" bIns="34290" rtlCol="0" anchor="t">
            <a:spAutoFit/>
          </a:bodyPr>
          <a:lstStyle>
            <a:defPPr>
              <a:defRPr lang="en-US"/>
            </a:defPPr>
            <a:lvl1pPr lvl="0">
              <a:defRPr sz="1600">
                <a:solidFill>
                  <a:srgbClr val="000000">
                    <a:lumMod val="65000"/>
                    <a:lumOff val="35000"/>
                  </a:srgbClr>
                </a:solidFill>
                <a:latin typeface="Calibri" panose="020F0502020204030204" pitchFamily="34" charset="0"/>
              </a:defRPr>
            </a:lvl1pPr>
          </a:lstStyle>
          <a:p>
            <a:pPr defTabSz="685800"/>
            <a:r>
              <a:rPr lang="en-US" sz="1200">
                <a:latin typeface="Arial"/>
                <a:cs typeface="Arial"/>
              </a:rPr>
              <a:t>Patients are diagnosed by chance when they have symptoms</a:t>
            </a:r>
          </a:p>
        </p:txBody>
      </p:sp>
      <p:sp>
        <p:nvSpPr>
          <p:cNvPr id="13" name="TextBox 12">
            <a:extLst>
              <a:ext uri="{FF2B5EF4-FFF2-40B4-BE49-F238E27FC236}">
                <a16:creationId xmlns:a16="http://schemas.microsoft.com/office/drawing/2014/main" id="{518B5AF2-A651-442D-AD0E-7703E05AAADD}"/>
              </a:ext>
            </a:extLst>
          </p:cNvPr>
          <p:cNvSpPr txBox="1"/>
          <p:nvPr/>
        </p:nvSpPr>
        <p:spPr>
          <a:xfrm>
            <a:off x="5904872" y="1416595"/>
            <a:ext cx="2173166" cy="1384995"/>
          </a:xfrm>
          <a:prstGeom prst="rect">
            <a:avLst/>
          </a:prstGeom>
          <a:noFill/>
        </p:spPr>
        <p:txBody>
          <a:bodyPr wrap="square" lIns="68580" tIns="34290" rIns="68580" bIns="34290" rtlCol="0" anchor="t">
            <a:spAutoFit/>
          </a:bodyPr>
          <a:lstStyle>
            <a:defPPr>
              <a:defRPr lang="en-US"/>
            </a:defPPr>
            <a:lvl1pPr lvl="0">
              <a:defRPr sz="1600">
                <a:solidFill>
                  <a:srgbClr val="000000">
                    <a:lumMod val="65000"/>
                    <a:lumOff val="35000"/>
                  </a:srgbClr>
                </a:solidFill>
                <a:latin typeface="Calibri" panose="020F0502020204030204" pitchFamily="34" charset="0"/>
              </a:defRPr>
            </a:lvl1pPr>
          </a:lstStyle>
          <a:p>
            <a:pPr defTabSz="685800"/>
            <a:r>
              <a:rPr lang="en-US" sz="1200" b="1">
                <a:latin typeface="Arial"/>
                <a:cs typeface="Arial"/>
              </a:rPr>
              <a:t>Early detection </a:t>
            </a:r>
            <a:r>
              <a:rPr lang="en-US" sz="1200">
                <a:latin typeface="Arial"/>
                <a:cs typeface="Arial"/>
              </a:rPr>
              <a:t>(Edx) can </a:t>
            </a:r>
            <a:r>
              <a:rPr lang="en-US" sz="1350">
                <a:latin typeface="Arial"/>
                <a:cs typeface="Arial"/>
              </a:rPr>
              <a:t>disrupt</a:t>
            </a:r>
            <a:r>
              <a:rPr lang="en-US" sz="1200">
                <a:latin typeface="Arial"/>
                <a:cs typeface="Arial"/>
              </a:rPr>
              <a:t> cancer diagnosis, care delivery, and survival</a:t>
            </a:r>
          </a:p>
          <a:p>
            <a:pPr defTabSz="685800"/>
            <a:endParaRPr lang="en-US" sz="1200">
              <a:latin typeface="Arial"/>
              <a:cs typeface="Arial"/>
            </a:endParaRPr>
          </a:p>
          <a:p>
            <a:pPr defTabSz="685800"/>
            <a:r>
              <a:rPr lang="en-US" sz="1200" b="1">
                <a:latin typeface="Arial"/>
                <a:cs typeface="Arial"/>
              </a:rPr>
              <a:t>Early intervention </a:t>
            </a:r>
            <a:r>
              <a:rPr lang="en-US" sz="1200">
                <a:latin typeface="Arial"/>
                <a:cs typeface="Arial"/>
              </a:rPr>
              <a:t>on premalignant precursors can prevent cancer altogether</a:t>
            </a:r>
          </a:p>
        </p:txBody>
      </p:sp>
      <p:pic>
        <p:nvPicPr>
          <p:cNvPr id="18" name="Graphic 17" descr="Group of people outline">
            <a:extLst>
              <a:ext uri="{FF2B5EF4-FFF2-40B4-BE49-F238E27FC236}">
                <a16:creationId xmlns:a16="http://schemas.microsoft.com/office/drawing/2014/main" id="{74B7BE02-148B-40EA-8708-4BFF2FB2904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526866" y="1016282"/>
            <a:ext cx="480060" cy="480060"/>
          </a:xfrm>
          <a:prstGeom prst="rect">
            <a:avLst/>
          </a:prstGeom>
        </p:spPr>
      </p:pic>
      <p:grpSp>
        <p:nvGrpSpPr>
          <p:cNvPr id="31" name="Group 30">
            <a:extLst>
              <a:ext uri="{FF2B5EF4-FFF2-40B4-BE49-F238E27FC236}">
                <a16:creationId xmlns:a16="http://schemas.microsoft.com/office/drawing/2014/main" id="{EE1C0284-BF7B-475F-AE71-6AA756EB5AD1}"/>
              </a:ext>
            </a:extLst>
          </p:cNvPr>
          <p:cNvGrpSpPr/>
          <p:nvPr/>
        </p:nvGrpSpPr>
        <p:grpSpPr>
          <a:xfrm>
            <a:off x="1547687" y="2043635"/>
            <a:ext cx="411480" cy="411480"/>
            <a:chOff x="5257800" y="1295401"/>
            <a:chExt cx="979109" cy="968730"/>
          </a:xfrm>
          <a:solidFill>
            <a:schemeClr val="bg1"/>
          </a:solidFill>
        </p:grpSpPr>
        <p:sp>
          <p:nvSpPr>
            <p:cNvPr id="32" name="Freeform: Shape 31">
              <a:extLst>
                <a:ext uri="{FF2B5EF4-FFF2-40B4-BE49-F238E27FC236}">
                  <a16:creationId xmlns:a16="http://schemas.microsoft.com/office/drawing/2014/main" id="{D35A65EF-101B-4D12-91AE-CC197A18F297}"/>
                </a:ext>
              </a:extLst>
            </p:cNvPr>
            <p:cNvSpPr/>
            <p:nvPr/>
          </p:nvSpPr>
          <p:spPr>
            <a:xfrm rot="16200000">
              <a:off x="5422037" y="1506918"/>
              <a:ext cx="592976" cy="921449"/>
            </a:xfrm>
            <a:custGeom>
              <a:avLst/>
              <a:gdLst>
                <a:gd name="connsiteX0" fmla="*/ 592976 w 592976"/>
                <a:gd name="connsiteY0" fmla="*/ 921449 h 921449"/>
                <a:gd name="connsiteX1" fmla="*/ 416159 w 592976"/>
                <a:gd name="connsiteY1" fmla="*/ 921449 h 921449"/>
                <a:gd name="connsiteX2" fmla="*/ 408020 w 592976"/>
                <a:gd name="connsiteY2" fmla="*/ 921449 h 921449"/>
                <a:gd name="connsiteX3" fmla="*/ 314533 w 592976"/>
                <a:gd name="connsiteY3" fmla="*/ 921449 h 921449"/>
                <a:gd name="connsiteX4" fmla="*/ 226096 w 592976"/>
                <a:gd name="connsiteY4" fmla="*/ 921449 h 921449"/>
                <a:gd name="connsiteX5" fmla="*/ 0 w 592976"/>
                <a:gd name="connsiteY5" fmla="*/ 921449 h 921449"/>
                <a:gd name="connsiteX6" fmla="*/ 0 w 592976"/>
                <a:gd name="connsiteY6" fmla="*/ 827091 h 921449"/>
                <a:gd name="connsiteX7" fmla="*/ 178578 w 592976"/>
                <a:gd name="connsiteY7" fmla="*/ 827091 h 921449"/>
                <a:gd name="connsiteX8" fmla="*/ 178578 w 592976"/>
                <a:gd name="connsiteY8" fmla="*/ 94358 h 921449"/>
                <a:gd name="connsiteX9" fmla="*/ 0 w 592976"/>
                <a:gd name="connsiteY9" fmla="*/ 94358 h 921449"/>
                <a:gd name="connsiteX10" fmla="*/ 0 w 592976"/>
                <a:gd name="connsiteY10" fmla="*/ 0 h 921449"/>
                <a:gd name="connsiteX11" fmla="*/ 226096 w 592976"/>
                <a:gd name="connsiteY11" fmla="*/ 0 h 921449"/>
                <a:gd name="connsiteX12" fmla="*/ 314533 w 592976"/>
                <a:gd name="connsiteY12" fmla="*/ 0 h 921449"/>
                <a:gd name="connsiteX13" fmla="*/ 416160 w 592976"/>
                <a:gd name="connsiteY13" fmla="*/ 0 h 921449"/>
                <a:gd name="connsiteX14" fmla="*/ 463678 w 592976"/>
                <a:gd name="connsiteY14" fmla="*/ 47519 h 921449"/>
                <a:gd name="connsiteX15" fmla="*/ 463678 w 592976"/>
                <a:gd name="connsiteY15" fmla="*/ 409357 h 921449"/>
                <a:gd name="connsiteX16" fmla="*/ 316755 w 592976"/>
                <a:gd name="connsiteY16" fmla="*/ 409357 h 921449"/>
                <a:gd name="connsiteX17" fmla="*/ 316755 w 592976"/>
                <a:gd name="connsiteY17" fmla="*/ 644949 h 921449"/>
                <a:gd name="connsiteX18" fmla="*/ 317206 w 592976"/>
                <a:gd name="connsiteY18" fmla="*/ 644949 h 921449"/>
                <a:gd name="connsiteX19" fmla="*/ 317206 w 592976"/>
                <a:gd name="connsiteY19" fmla="*/ 645678 h 92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2976" h="921449">
                  <a:moveTo>
                    <a:pt x="592976" y="921449"/>
                  </a:moveTo>
                  <a:lnTo>
                    <a:pt x="416159" y="921449"/>
                  </a:lnTo>
                  <a:lnTo>
                    <a:pt x="408020" y="921449"/>
                  </a:lnTo>
                  <a:lnTo>
                    <a:pt x="314533" y="921449"/>
                  </a:lnTo>
                  <a:lnTo>
                    <a:pt x="226096" y="921449"/>
                  </a:lnTo>
                  <a:lnTo>
                    <a:pt x="0" y="921449"/>
                  </a:lnTo>
                  <a:lnTo>
                    <a:pt x="0" y="827091"/>
                  </a:lnTo>
                  <a:lnTo>
                    <a:pt x="178578" y="827091"/>
                  </a:lnTo>
                  <a:lnTo>
                    <a:pt x="178578" y="94358"/>
                  </a:lnTo>
                  <a:lnTo>
                    <a:pt x="0" y="94358"/>
                  </a:lnTo>
                  <a:lnTo>
                    <a:pt x="0" y="0"/>
                  </a:lnTo>
                  <a:lnTo>
                    <a:pt x="226096" y="0"/>
                  </a:lnTo>
                  <a:lnTo>
                    <a:pt x="314533" y="0"/>
                  </a:lnTo>
                  <a:lnTo>
                    <a:pt x="416160" y="0"/>
                  </a:lnTo>
                  <a:cubicBezTo>
                    <a:pt x="442404" y="0"/>
                    <a:pt x="463678" y="21275"/>
                    <a:pt x="463678" y="47519"/>
                  </a:cubicBezTo>
                  <a:lnTo>
                    <a:pt x="463678" y="409357"/>
                  </a:lnTo>
                  <a:lnTo>
                    <a:pt x="316755" y="409357"/>
                  </a:lnTo>
                  <a:lnTo>
                    <a:pt x="316755" y="644949"/>
                  </a:lnTo>
                  <a:lnTo>
                    <a:pt x="317206" y="644949"/>
                  </a:lnTo>
                  <a:lnTo>
                    <a:pt x="317206" y="64567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a:endParaRPr>
            </a:p>
          </p:txBody>
        </p:sp>
        <p:sp>
          <p:nvSpPr>
            <p:cNvPr id="33" name="Freeform: Shape 32">
              <a:extLst>
                <a:ext uri="{FF2B5EF4-FFF2-40B4-BE49-F238E27FC236}">
                  <a16:creationId xmlns:a16="http://schemas.microsoft.com/office/drawing/2014/main" id="{1F6C2E64-BC03-46F1-B8FB-B6DD581AC4A6}"/>
                </a:ext>
              </a:extLst>
            </p:cNvPr>
            <p:cNvSpPr/>
            <p:nvPr/>
          </p:nvSpPr>
          <p:spPr>
            <a:xfrm rot="18900000">
              <a:off x="5641115" y="1634374"/>
              <a:ext cx="540435" cy="217347"/>
            </a:xfrm>
            <a:custGeom>
              <a:avLst/>
              <a:gdLst>
                <a:gd name="connsiteX0" fmla="*/ 493308 w 517947"/>
                <a:gd name="connsiteY0" fmla="*/ 142691 h 208303"/>
                <a:gd name="connsiteX1" fmla="*/ 517947 w 517947"/>
                <a:gd name="connsiteY1" fmla="*/ 202176 h 208303"/>
                <a:gd name="connsiteX2" fmla="*/ 516711 w 517947"/>
                <a:gd name="connsiteY2" fmla="*/ 208303 h 208303"/>
                <a:gd name="connsiteX3" fmla="*/ 145116 w 517947"/>
                <a:gd name="connsiteY3" fmla="*/ 208303 h 208303"/>
                <a:gd name="connsiteX4" fmla="*/ 0 w 517947"/>
                <a:gd name="connsiteY4" fmla="*/ 63187 h 208303"/>
                <a:gd name="connsiteX5" fmla="*/ 63187 w 517947"/>
                <a:gd name="connsiteY5" fmla="*/ 0 h 208303"/>
                <a:gd name="connsiteX6" fmla="*/ 258576 w 517947"/>
                <a:gd name="connsiteY6" fmla="*/ 118052 h 208303"/>
                <a:gd name="connsiteX7" fmla="*/ 433824 w 517947"/>
                <a:gd name="connsiteY7" fmla="*/ 118052 h 208303"/>
                <a:gd name="connsiteX8" fmla="*/ 493308 w 517947"/>
                <a:gd name="connsiteY8" fmla="*/ 142691 h 20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947" h="208303">
                  <a:moveTo>
                    <a:pt x="493308" y="142691"/>
                  </a:moveTo>
                  <a:cubicBezTo>
                    <a:pt x="508532" y="157915"/>
                    <a:pt x="517947" y="178946"/>
                    <a:pt x="517947" y="202176"/>
                  </a:cubicBezTo>
                  <a:lnTo>
                    <a:pt x="516711" y="208303"/>
                  </a:lnTo>
                  <a:lnTo>
                    <a:pt x="145116" y="208303"/>
                  </a:lnTo>
                  <a:lnTo>
                    <a:pt x="0" y="63187"/>
                  </a:lnTo>
                  <a:lnTo>
                    <a:pt x="63187" y="0"/>
                  </a:lnTo>
                  <a:cubicBezTo>
                    <a:pt x="128317" y="39351"/>
                    <a:pt x="181660" y="137634"/>
                    <a:pt x="258576" y="118052"/>
                  </a:cubicBezTo>
                  <a:cubicBezTo>
                    <a:pt x="322043" y="109633"/>
                    <a:pt x="375408" y="118052"/>
                    <a:pt x="433824" y="118052"/>
                  </a:cubicBezTo>
                  <a:cubicBezTo>
                    <a:pt x="457054" y="118052"/>
                    <a:pt x="478085" y="127469"/>
                    <a:pt x="493308" y="14269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a:endParaRPr>
            </a:p>
          </p:txBody>
        </p:sp>
        <p:sp>
          <p:nvSpPr>
            <p:cNvPr id="34" name="Oval 33">
              <a:extLst>
                <a:ext uri="{FF2B5EF4-FFF2-40B4-BE49-F238E27FC236}">
                  <a16:creationId xmlns:a16="http://schemas.microsoft.com/office/drawing/2014/main" id="{42071589-48B1-485D-B198-CD48B98BC0C7}"/>
                </a:ext>
              </a:extLst>
            </p:cNvPr>
            <p:cNvSpPr/>
            <p:nvPr/>
          </p:nvSpPr>
          <p:spPr>
            <a:xfrm>
              <a:off x="6066977" y="1417987"/>
              <a:ext cx="169932" cy="16993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a:endParaRPr>
            </a:p>
          </p:txBody>
        </p:sp>
        <p:sp>
          <p:nvSpPr>
            <p:cNvPr id="35" name="Freeform: Shape 34">
              <a:extLst>
                <a:ext uri="{FF2B5EF4-FFF2-40B4-BE49-F238E27FC236}">
                  <a16:creationId xmlns:a16="http://schemas.microsoft.com/office/drawing/2014/main" id="{503B357C-F279-447D-8352-29BF066E1C84}"/>
                </a:ext>
              </a:extLst>
            </p:cNvPr>
            <p:cNvSpPr/>
            <p:nvPr/>
          </p:nvSpPr>
          <p:spPr>
            <a:xfrm>
              <a:off x="5350898" y="1295401"/>
              <a:ext cx="292518" cy="292518"/>
            </a:xfrm>
            <a:custGeom>
              <a:avLst/>
              <a:gdLst>
                <a:gd name="connsiteX0" fmla="*/ 456433 w 914400"/>
                <a:gd name="connsiteY0" fmla="*/ 90487 h 914400"/>
                <a:gd name="connsiteX1" fmla="*/ 89720 w 914400"/>
                <a:gd name="connsiteY1" fmla="*/ 457200 h 914400"/>
                <a:gd name="connsiteX2" fmla="*/ 456433 w 914400"/>
                <a:gd name="connsiteY2" fmla="*/ 823913 h 914400"/>
                <a:gd name="connsiteX3" fmla="*/ 823146 w 914400"/>
                <a:gd name="connsiteY3" fmla="*/ 457200 h 914400"/>
                <a:gd name="connsiteX4" fmla="*/ 456433 w 914400"/>
                <a:gd name="connsiteY4" fmla="*/ 90487 h 914400"/>
                <a:gd name="connsiteX5" fmla="*/ 152403 w 914400"/>
                <a:gd name="connsiteY5" fmla="*/ 0 h 914400"/>
                <a:gd name="connsiteX6" fmla="*/ 761997 w 914400"/>
                <a:gd name="connsiteY6" fmla="*/ 0 h 914400"/>
                <a:gd name="connsiteX7" fmla="*/ 914400 w 914400"/>
                <a:gd name="connsiteY7" fmla="*/ 152403 h 914400"/>
                <a:gd name="connsiteX8" fmla="*/ 914400 w 914400"/>
                <a:gd name="connsiteY8" fmla="*/ 761997 h 914400"/>
                <a:gd name="connsiteX9" fmla="*/ 761997 w 914400"/>
                <a:gd name="connsiteY9" fmla="*/ 914400 h 914400"/>
                <a:gd name="connsiteX10" fmla="*/ 152403 w 914400"/>
                <a:gd name="connsiteY10" fmla="*/ 914400 h 914400"/>
                <a:gd name="connsiteX11" fmla="*/ 0 w 914400"/>
                <a:gd name="connsiteY11" fmla="*/ 761997 h 914400"/>
                <a:gd name="connsiteX12" fmla="*/ 0 w 914400"/>
                <a:gd name="connsiteY12" fmla="*/ 152403 h 914400"/>
                <a:gd name="connsiteX13" fmla="*/ 152403 w 914400"/>
                <a:gd name="connsiteY13"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 h="914400">
                  <a:moveTo>
                    <a:pt x="456433" y="90487"/>
                  </a:moveTo>
                  <a:cubicBezTo>
                    <a:pt x="253903" y="90487"/>
                    <a:pt x="89720" y="254670"/>
                    <a:pt x="89720" y="457200"/>
                  </a:cubicBezTo>
                  <a:cubicBezTo>
                    <a:pt x="89720" y="659730"/>
                    <a:pt x="253903" y="823913"/>
                    <a:pt x="456433" y="823913"/>
                  </a:cubicBezTo>
                  <a:cubicBezTo>
                    <a:pt x="658963" y="823913"/>
                    <a:pt x="823146" y="659730"/>
                    <a:pt x="823146" y="457200"/>
                  </a:cubicBezTo>
                  <a:cubicBezTo>
                    <a:pt x="823146" y="254670"/>
                    <a:pt x="658963" y="90487"/>
                    <a:pt x="456433" y="90487"/>
                  </a:cubicBezTo>
                  <a:close/>
                  <a:moveTo>
                    <a:pt x="152403" y="0"/>
                  </a:moveTo>
                  <a:lnTo>
                    <a:pt x="761997" y="0"/>
                  </a:lnTo>
                  <a:cubicBezTo>
                    <a:pt x="846167" y="0"/>
                    <a:pt x="914400" y="68233"/>
                    <a:pt x="914400" y="152403"/>
                  </a:cubicBezTo>
                  <a:lnTo>
                    <a:pt x="914400" y="761997"/>
                  </a:lnTo>
                  <a:cubicBezTo>
                    <a:pt x="914400" y="846167"/>
                    <a:pt x="846167" y="914400"/>
                    <a:pt x="761997" y="914400"/>
                  </a:cubicBezTo>
                  <a:lnTo>
                    <a:pt x="152403" y="914400"/>
                  </a:lnTo>
                  <a:cubicBezTo>
                    <a:pt x="68233" y="914400"/>
                    <a:pt x="0" y="846167"/>
                    <a:pt x="0" y="761997"/>
                  </a:cubicBezTo>
                  <a:lnTo>
                    <a:pt x="0" y="152403"/>
                  </a:lnTo>
                  <a:cubicBezTo>
                    <a:pt x="0" y="68233"/>
                    <a:pt x="68233" y="0"/>
                    <a:pt x="15240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a:endParaRPr>
            </a:p>
          </p:txBody>
        </p:sp>
        <p:sp>
          <p:nvSpPr>
            <p:cNvPr id="36" name="Freeform: Shape 35">
              <a:extLst>
                <a:ext uri="{FF2B5EF4-FFF2-40B4-BE49-F238E27FC236}">
                  <a16:creationId xmlns:a16="http://schemas.microsoft.com/office/drawing/2014/main" id="{8F10F115-8C43-4642-9A4F-8EB639F52280}"/>
                </a:ext>
              </a:extLst>
            </p:cNvPr>
            <p:cNvSpPr/>
            <p:nvPr/>
          </p:nvSpPr>
          <p:spPr>
            <a:xfrm>
              <a:off x="5419458" y="1373314"/>
              <a:ext cx="149306" cy="149306"/>
            </a:xfrm>
            <a:custGeom>
              <a:avLst/>
              <a:gdLst>
                <a:gd name="connsiteX0" fmla="*/ 426244 w 466725"/>
                <a:gd name="connsiteY0" fmla="*/ 159544 h 466725"/>
                <a:gd name="connsiteX1" fmla="*/ 311944 w 466725"/>
                <a:gd name="connsiteY1" fmla="*/ 159544 h 466725"/>
                <a:gd name="connsiteX2" fmla="*/ 311944 w 466725"/>
                <a:gd name="connsiteY2" fmla="*/ 45244 h 466725"/>
                <a:gd name="connsiteX3" fmla="*/ 273844 w 466725"/>
                <a:gd name="connsiteY3" fmla="*/ 7144 h 466725"/>
                <a:gd name="connsiteX4" fmla="*/ 197644 w 466725"/>
                <a:gd name="connsiteY4" fmla="*/ 7144 h 466725"/>
                <a:gd name="connsiteX5" fmla="*/ 159544 w 466725"/>
                <a:gd name="connsiteY5" fmla="*/ 45244 h 466725"/>
                <a:gd name="connsiteX6" fmla="*/ 159544 w 466725"/>
                <a:gd name="connsiteY6" fmla="*/ 159544 h 466725"/>
                <a:gd name="connsiteX7" fmla="*/ 45244 w 466725"/>
                <a:gd name="connsiteY7" fmla="*/ 159544 h 466725"/>
                <a:gd name="connsiteX8" fmla="*/ 7144 w 466725"/>
                <a:gd name="connsiteY8" fmla="*/ 197644 h 466725"/>
                <a:gd name="connsiteX9" fmla="*/ 7144 w 466725"/>
                <a:gd name="connsiteY9" fmla="*/ 273844 h 466725"/>
                <a:gd name="connsiteX10" fmla="*/ 45244 w 466725"/>
                <a:gd name="connsiteY10" fmla="*/ 311944 h 466725"/>
                <a:gd name="connsiteX11" fmla="*/ 159544 w 466725"/>
                <a:gd name="connsiteY11" fmla="*/ 311944 h 466725"/>
                <a:gd name="connsiteX12" fmla="*/ 159544 w 466725"/>
                <a:gd name="connsiteY12" fmla="*/ 426244 h 466725"/>
                <a:gd name="connsiteX13" fmla="*/ 197644 w 466725"/>
                <a:gd name="connsiteY13" fmla="*/ 464344 h 466725"/>
                <a:gd name="connsiteX14" fmla="*/ 273844 w 466725"/>
                <a:gd name="connsiteY14" fmla="*/ 464344 h 466725"/>
                <a:gd name="connsiteX15" fmla="*/ 311944 w 466725"/>
                <a:gd name="connsiteY15" fmla="*/ 426244 h 466725"/>
                <a:gd name="connsiteX16" fmla="*/ 311944 w 466725"/>
                <a:gd name="connsiteY16" fmla="*/ 311944 h 466725"/>
                <a:gd name="connsiteX17" fmla="*/ 426244 w 466725"/>
                <a:gd name="connsiteY17" fmla="*/ 311944 h 466725"/>
                <a:gd name="connsiteX18" fmla="*/ 464344 w 466725"/>
                <a:gd name="connsiteY18" fmla="*/ 273844 h 466725"/>
                <a:gd name="connsiteX19" fmla="*/ 464344 w 466725"/>
                <a:gd name="connsiteY19" fmla="*/ 197644 h 466725"/>
                <a:gd name="connsiteX20" fmla="*/ 426244 w 466725"/>
                <a:gd name="connsiteY20" fmla="*/ 159544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6725" h="466725">
                  <a:moveTo>
                    <a:pt x="426244" y="159544"/>
                  </a:moveTo>
                  <a:lnTo>
                    <a:pt x="311944" y="159544"/>
                  </a:lnTo>
                  <a:lnTo>
                    <a:pt x="311944" y="45244"/>
                  </a:lnTo>
                  <a:cubicBezTo>
                    <a:pt x="311944" y="24289"/>
                    <a:pt x="294799" y="7144"/>
                    <a:pt x="273844" y="7144"/>
                  </a:cubicBezTo>
                  <a:lnTo>
                    <a:pt x="197644" y="7144"/>
                  </a:lnTo>
                  <a:cubicBezTo>
                    <a:pt x="176689" y="7144"/>
                    <a:pt x="159544" y="24289"/>
                    <a:pt x="159544" y="45244"/>
                  </a:cubicBezTo>
                  <a:lnTo>
                    <a:pt x="159544" y="159544"/>
                  </a:lnTo>
                  <a:lnTo>
                    <a:pt x="45244" y="159544"/>
                  </a:lnTo>
                  <a:cubicBezTo>
                    <a:pt x="24289" y="159544"/>
                    <a:pt x="7144" y="176689"/>
                    <a:pt x="7144" y="197644"/>
                  </a:cubicBezTo>
                  <a:lnTo>
                    <a:pt x="7144" y="273844"/>
                  </a:lnTo>
                  <a:cubicBezTo>
                    <a:pt x="7144" y="294799"/>
                    <a:pt x="24289" y="311944"/>
                    <a:pt x="45244" y="311944"/>
                  </a:cubicBezTo>
                  <a:lnTo>
                    <a:pt x="159544" y="311944"/>
                  </a:lnTo>
                  <a:lnTo>
                    <a:pt x="159544" y="426244"/>
                  </a:lnTo>
                  <a:cubicBezTo>
                    <a:pt x="159544" y="447199"/>
                    <a:pt x="176689" y="464344"/>
                    <a:pt x="197644" y="464344"/>
                  </a:cubicBezTo>
                  <a:lnTo>
                    <a:pt x="273844" y="464344"/>
                  </a:lnTo>
                  <a:cubicBezTo>
                    <a:pt x="294799" y="464344"/>
                    <a:pt x="311944" y="447199"/>
                    <a:pt x="311944" y="426244"/>
                  </a:cubicBezTo>
                  <a:lnTo>
                    <a:pt x="311944" y="311944"/>
                  </a:lnTo>
                  <a:lnTo>
                    <a:pt x="426244" y="311944"/>
                  </a:lnTo>
                  <a:cubicBezTo>
                    <a:pt x="447199" y="311944"/>
                    <a:pt x="464344" y="294799"/>
                    <a:pt x="464344" y="273844"/>
                  </a:cubicBezTo>
                  <a:lnTo>
                    <a:pt x="464344" y="197644"/>
                  </a:lnTo>
                  <a:cubicBezTo>
                    <a:pt x="464344" y="176689"/>
                    <a:pt x="447199" y="159544"/>
                    <a:pt x="426244" y="159544"/>
                  </a:cubicBezTo>
                  <a:close/>
                </a:path>
              </a:pathLst>
            </a:custGeom>
            <a:grpFill/>
            <a:ln w="9525" cap="flat">
              <a:noFill/>
              <a:prstDash val="solid"/>
              <a:miter/>
            </a:ln>
          </p:spPr>
          <p:txBody>
            <a:bodyPr rtlCol="0" anchor="ctr"/>
            <a:lstStyle/>
            <a:p>
              <a:pPr defTabSz="685800"/>
              <a:endParaRPr lang="en-US" sz="1350">
                <a:solidFill>
                  <a:prstClr val="black"/>
                </a:solidFill>
                <a:latin typeface="Calibri"/>
              </a:endParaRPr>
            </a:p>
          </p:txBody>
        </p:sp>
      </p:grpSp>
      <p:sp>
        <p:nvSpPr>
          <p:cNvPr id="37" name="Freeform: Shape 36">
            <a:extLst>
              <a:ext uri="{FF2B5EF4-FFF2-40B4-BE49-F238E27FC236}">
                <a16:creationId xmlns:a16="http://schemas.microsoft.com/office/drawing/2014/main" id="{33B2FC3A-8984-4FAD-AE99-6E4E3CBA71E6}"/>
              </a:ext>
            </a:extLst>
          </p:cNvPr>
          <p:cNvSpPr/>
          <p:nvPr/>
        </p:nvSpPr>
        <p:spPr>
          <a:xfrm rot="20915260">
            <a:off x="1540219" y="3011942"/>
            <a:ext cx="449051" cy="453472"/>
          </a:xfrm>
          <a:custGeom>
            <a:avLst/>
            <a:gdLst>
              <a:gd name="connsiteX0" fmla="*/ 331801 w 2842318"/>
              <a:gd name="connsiteY0" fmla="*/ 1808355 h 2870295"/>
              <a:gd name="connsiteX1" fmla="*/ 241609 w 2842318"/>
              <a:gd name="connsiteY1" fmla="*/ 2159201 h 2870295"/>
              <a:gd name="connsiteX2" fmla="*/ 526532 w 2842318"/>
              <a:gd name="connsiteY2" fmla="*/ 2216715 h 2870295"/>
              <a:gd name="connsiteX3" fmla="*/ 579500 w 2842318"/>
              <a:gd name="connsiteY3" fmla="*/ 1858356 h 2870295"/>
              <a:gd name="connsiteX4" fmla="*/ 779871 w 2842318"/>
              <a:gd name="connsiteY4" fmla="*/ 1755996 h 2870295"/>
              <a:gd name="connsiteX5" fmla="*/ 780613 w 2842318"/>
              <a:gd name="connsiteY5" fmla="*/ 1759788 h 2870295"/>
              <a:gd name="connsiteX6" fmla="*/ 756477 w 2842318"/>
              <a:gd name="connsiteY6" fmla="*/ 1879361 h 2870295"/>
              <a:gd name="connsiteX7" fmla="*/ 724770 w 2842318"/>
              <a:gd name="connsiteY7" fmla="*/ 2093872 h 2870295"/>
              <a:gd name="connsiteX8" fmla="*/ 886612 w 2842318"/>
              <a:gd name="connsiteY8" fmla="*/ 1777543 h 2870295"/>
              <a:gd name="connsiteX9" fmla="*/ 1068983 w 2842318"/>
              <a:gd name="connsiteY9" fmla="*/ 1485367 h 2870295"/>
              <a:gd name="connsiteX10" fmla="*/ 1067314 w 2842318"/>
              <a:gd name="connsiteY10" fmla="*/ 1493639 h 2870295"/>
              <a:gd name="connsiteX11" fmla="*/ 1080999 w 2842318"/>
              <a:gd name="connsiteY11" fmla="*/ 1488483 h 2870295"/>
              <a:gd name="connsiteX12" fmla="*/ 2444236 w 2842318"/>
              <a:gd name="connsiteY12" fmla="*/ 1505178 h 2870295"/>
              <a:gd name="connsiteX13" fmla="*/ 2468825 w 2842318"/>
              <a:gd name="connsiteY13" fmla="*/ 1529767 h 2870295"/>
              <a:gd name="connsiteX14" fmla="*/ 2468825 w 2842318"/>
              <a:gd name="connsiteY14" fmla="*/ 1628119 h 2870295"/>
              <a:gd name="connsiteX15" fmla="*/ 2444236 w 2842318"/>
              <a:gd name="connsiteY15" fmla="*/ 1652708 h 2870295"/>
              <a:gd name="connsiteX16" fmla="*/ 2138102 w 2842318"/>
              <a:gd name="connsiteY16" fmla="*/ 1652708 h 2870295"/>
              <a:gd name="connsiteX17" fmla="*/ 2113513 w 2842318"/>
              <a:gd name="connsiteY17" fmla="*/ 1628119 h 2870295"/>
              <a:gd name="connsiteX18" fmla="*/ 2113513 w 2842318"/>
              <a:gd name="connsiteY18" fmla="*/ 1529767 h 2870295"/>
              <a:gd name="connsiteX19" fmla="*/ 2138102 w 2842318"/>
              <a:gd name="connsiteY19" fmla="*/ 1505178 h 2870295"/>
              <a:gd name="connsiteX20" fmla="*/ 820766 w 2842318"/>
              <a:gd name="connsiteY20" fmla="*/ 621070 h 2870295"/>
              <a:gd name="connsiteX21" fmla="*/ 864909 w 2842318"/>
              <a:gd name="connsiteY21" fmla="*/ 635051 h 2870295"/>
              <a:gd name="connsiteX22" fmla="*/ 984283 w 2842318"/>
              <a:gd name="connsiteY22" fmla="*/ 935493 h 2870295"/>
              <a:gd name="connsiteX23" fmla="*/ 888685 w 2842318"/>
              <a:gd name="connsiteY23" fmla="*/ 1157141 h 2870295"/>
              <a:gd name="connsiteX24" fmla="*/ 889546 w 2842318"/>
              <a:gd name="connsiteY24" fmla="*/ 1160756 h 2870295"/>
              <a:gd name="connsiteX25" fmla="*/ 924834 w 2842318"/>
              <a:gd name="connsiteY25" fmla="*/ 1274404 h 2870295"/>
              <a:gd name="connsiteX26" fmla="*/ 1020086 w 2842318"/>
              <a:gd name="connsiteY26" fmla="*/ 1375915 h 2870295"/>
              <a:gd name="connsiteX27" fmla="*/ 1114193 w 2842318"/>
              <a:gd name="connsiteY27" fmla="*/ 1444671 h 2870295"/>
              <a:gd name="connsiteX28" fmla="*/ 1161121 w 2842318"/>
              <a:gd name="connsiteY28" fmla="*/ 1470005 h 2870295"/>
              <a:gd name="connsiteX29" fmla="*/ 1182590 w 2842318"/>
              <a:gd name="connsiteY29" fmla="*/ 1481856 h 2870295"/>
              <a:gd name="connsiteX30" fmla="*/ 1221055 w 2842318"/>
              <a:gd name="connsiteY30" fmla="*/ 1492654 h 2870295"/>
              <a:gd name="connsiteX31" fmla="*/ 1294088 w 2842318"/>
              <a:gd name="connsiteY31" fmla="*/ 1718706 h 2870295"/>
              <a:gd name="connsiteX32" fmla="*/ 968148 w 2842318"/>
              <a:gd name="connsiteY32" fmla="*/ 2355772 h 2870295"/>
              <a:gd name="connsiteX33" fmla="*/ 742096 w 2842318"/>
              <a:gd name="connsiteY33" fmla="*/ 2428804 h 2870295"/>
              <a:gd name="connsiteX34" fmla="*/ 689901 w 2842318"/>
              <a:gd name="connsiteY34" fmla="*/ 2387271 h 2870295"/>
              <a:gd name="connsiteX35" fmla="*/ 683197 w 2842318"/>
              <a:gd name="connsiteY35" fmla="*/ 2375136 h 2870295"/>
              <a:gd name="connsiteX36" fmla="*/ 662032 w 2842318"/>
              <a:gd name="connsiteY36" fmla="*/ 2518329 h 2870295"/>
              <a:gd name="connsiteX37" fmla="*/ 628317 w 2842318"/>
              <a:gd name="connsiteY37" fmla="*/ 2543360 h 2870295"/>
              <a:gd name="connsiteX38" fmla="*/ 510831 w 2842318"/>
              <a:gd name="connsiteY38" fmla="*/ 2525994 h 2870295"/>
              <a:gd name="connsiteX39" fmla="*/ 485801 w 2842318"/>
              <a:gd name="connsiteY39" fmla="*/ 2492280 h 2870295"/>
              <a:gd name="connsiteX40" fmla="*/ 514832 w 2842318"/>
              <a:gd name="connsiteY40" fmla="*/ 2295864 h 2870295"/>
              <a:gd name="connsiteX41" fmla="*/ 511317 w 2842318"/>
              <a:gd name="connsiteY41" fmla="*/ 2313279 h 2870295"/>
              <a:gd name="connsiteX42" fmla="*/ 217261 w 2842318"/>
              <a:gd name="connsiteY42" fmla="*/ 2253921 h 2870295"/>
              <a:gd name="connsiteX43" fmla="*/ 173477 w 2842318"/>
              <a:gd name="connsiteY43" fmla="*/ 2424238 h 2870295"/>
              <a:gd name="connsiteX44" fmla="*/ 137328 w 2842318"/>
              <a:gd name="connsiteY44" fmla="*/ 2445603 h 2870295"/>
              <a:gd name="connsiteX45" fmla="*/ 22306 w 2842318"/>
              <a:gd name="connsiteY45" fmla="*/ 2416034 h 2870295"/>
              <a:gd name="connsiteX46" fmla="*/ 941 w 2842318"/>
              <a:gd name="connsiteY46" fmla="*/ 2379885 h 2870295"/>
              <a:gd name="connsiteX47" fmla="*/ 161754 w 2842318"/>
              <a:gd name="connsiteY47" fmla="*/ 1754317 h 2870295"/>
              <a:gd name="connsiteX48" fmla="*/ 184923 w 2842318"/>
              <a:gd name="connsiteY48" fmla="*/ 1639543 h 2870295"/>
              <a:gd name="connsiteX49" fmla="*/ 217065 w 2842318"/>
              <a:gd name="connsiteY49" fmla="*/ 1618197 h 2870295"/>
              <a:gd name="connsiteX50" fmla="*/ 431263 w 2842318"/>
              <a:gd name="connsiteY50" fmla="*/ 1661435 h 2870295"/>
              <a:gd name="connsiteX51" fmla="*/ 362934 w 2842318"/>
              <a:gd name="connsiteY51" fmla="*/ 1592144 h 2870295"/>
              <a:gd name="connsiteX52" fmla="*/ 323679 w 2842318"/>
              <a:gd name="connsiteY52" fmla="*/ 1391830 h 2870295"/>
              <a:gd name="connsiteX53" fmla="*/ 330289 w 2842318"/>
              <a:gd name="connsiteY53" fmla="*/ 1370437 h 2870295"/>
              <a:gd name="connsiteX54" fmla="*/ 321943 w 2842318"/>
              <a:gd name="connsiteY54" fmla="*/ 1329261 h 2870295"/>
              <a:gd name="connsiteX55" fmla="*/ 407554 w 2842318"/>
              <a:gd name="connsiteY55" fmla="*/ 1004428 h 2870295"/>
              <a:gd name="connsiteX56" fmla="*/ 545994 w 2842318"/>
              <a:gd name="connsiteY56" fmla="*/ 765373 h 2870295"/>
              <a:gd name="connsiteX57" fmla="*/ 578360 w 2842318"/>
              <a:gd name="connsiteY57" fmla="*/ 729452 h 2870295"/>
              <a:gd name="connsiteX58" fmla="*/ 586976 w 2842318"/>
              <a:gd name="connsiteY58" fmla="*/ 713960 h 2870295"/>
              <a:gd name="connsiteX59" fmla="*/ 776088 w 2842318"/>
              <a:gd name="connsiteY59" fmla="*/ 616307 h 2870295"/>
              <a:gd name="connsiteX60" fmla="*/ 820766 w 2842318"/>
              <a:gd name="connsiteY60" fmla="*/ 621070 h 2870295"/>
              <a:gd name="connsiteX61" fmla="*/ 2503980 w 2842318"/>
              <a:gd name="connsiteY61" fmla="*/ 698752 h 2870295"/>
              <a:gd name="connsiteX62" fmla="*/ 2522723 w 2842318"/>
              <a:gd name="connsiteY62" fmla="*/ 739886 h 2870295"/>
              <a:gd name="connsiteX63" fmla="*/ 2454453 w 2842318"/>
              <a:gd name="connsiteY63" fmla="*/ 1035502 h 2870295"/>
              <a:gd name="connsiteX64" fmla="*/ 2144930 w 2842318"/>
              <a:gd name="connsiteY64" fmla="*/ 1055812 h 2870295"/>
              <a:gd name="connsiteX65" fmla="*/ 2117730 w 2842318"/>
              <a:gd name="connsiteY65" fmla="*/ 1052665 h 2870295"/>
              <a:gd name="connsiteX66" fmla="*/ 2097076 w 2842318"/>
              <a:gd name="connsiteY66" fmla="*/ 1260158 h 2870295"/>
              <a:gd name="connsiteX67" fmla="*/ 2068850 w 2842318"/>
              <a:gd name="connsiteY67" fmla="*/ 1459726 h 2870295"/>
              <a:gd name="connsiteX68" fmla="*/ 1890605 w 2842318"/>
              <a:gd name="connsiteY68" fmla="*/ 2027059 h 2870295"/>
              <a:gd name="connsiteX69" fmla="*/ 2659968 w 2842318"/>
              <a:gd name="connsiteY69" fmla="*/ 2146781 h 2870295"/>
              <a:gd name="connsiteX70" fmla="*/ 2684668 w 2842318"/>
              <a:gd name="connsiteY70" fmla="*/ 971568 h 2870295"/>
              <a:gd name="connsiteX71" fmla="*/ 2518146 w 2842318"/>
              <a:gd name="connsiteY71" fmla="*/ 706723 h 2870295"/>
              <a:gd name="connsiteX72" fmla="*/ 1468618 w 2842318"/>
              <a:gd name="connsiteY72" fmla="*/ 397887 h 2870295"/>
              <a:gd name="connsiteX73" fmla="*/ 1474141 w 2842318"/>
              <a:gd name="connsiteY73" fmla="*/ 443271 h 2870295"/>
              <a:gd name="connsiteX74" fmla="*/ 1322857 w 2842318"/>
              <a:gd name="connsiteY74" fmla="*/ 461681 h 2870295"/>
              <a:gd name="connsiteX75" fmla="*/ 1317334 w 2842318"/>
              <a:gd name="connsiteY75" fmla="*/ 416297 h 2870295"/>
              <a:gd name="connsiteX76" fmla="*/ 1320097 w 2842318"/>
              <a:gd name="connsiteY76" fmla="*/ 321265 h 2870295"/>
              <a:gd name="connsiteX77" fmla="*/ 1436619 w 2842318"/>
              <a:gd name="connsiteY77" fmla="*/ 344786 h 2870295"/>
              <a:gd name="connsiteX78" fmla="*/ 1427573 w 2842318"/>
              <a:gd name="connsiteY78" fmla="*/ 389601 h 2870295"/>
              <a:gd name="connsiteX79" fmla="*/ 1311051 w 2842318"/>
              <a:gd name="connsiteY79" fmla="*/ 366080 h 2870295"/>
              <a:gd name="connsiteX80" fmla="*/ 1755362 w 2842318"/>
              <a:gd name="connsiteY80" fmla="*/ 393678 h 2870295"/>
              <a:gd name="connsiteX81" fmla="*/ 1733658 w 2842318"/>
              <a:gd name="connsiteY81" fmla="*/ 391782 h 2870295"/>
              <a:gd name="connsiteX82" fmla="*/ 1685271 w 2842318"/>
              <a:gd name="connsiteY82" fmla="*/ 452434 h 2870295"/>
              <a:gd name="connsiteX83" fmla="*/ 1742813 w 2842318"/>
              <a:gd name="connsiteY83" fmla="*/ 754249 h 2870295"/>
              <a:gd name="connsiteX84" fmla="*/ 1886751 w 2842318"/>
              <a:gd name="connsiteY84" fmla="*/ 904309 h 2870295"/>
              <a:gd name="connsiteX85" fmla="*/ 1997101 w 2842318"/>
              <a:gd name="connsiteY85" fmla="*/ 940458 h 2870295"/>
              <a:gd name="connsiteX86" fmla="*/ 2160143 w 2842318"/>
              <a:gd name="connsiteY86" fmla="*/ 939701 h 2870295"/>
              <a:gd name="connsiteX87" fmla="*/ 2364007 w 2842318"/>
              <a:gd name="connsiteY87" fmla="*/ 917476 h 2870295"/>
              <a:gd name="connsiteX88" fmla="*/ 2412602 w 2842318"/>
              <a:gd name="connsiteY88" fmla="*/ 856990 h 2870295"/>
              <a:gd name="connsiteX89" fmla="*/ 2352116 w 2842318"/>
              <a:gd name="connsiteY89" fmla="*/ 808395 h 2870295"/>
              <a:gd name="connsiteX90" fmla="*/ 2083429 w 2842318"/>
              <a:gd name="connsiteY90" fmla="*/ 838311 h 2870295"/>
              <a:gd name="connsiteX91" fmla="*/ 1935496 w 2842318"/>
              <a:gd name="connsiteY91" fmla="*/ 806913 h 2870295"/>
              <a:gd name="connsiteX92" fmla="*/ 1838290 w 2842318"/>
              <a:gd name="connsiteY92" fmla="*/ 701936 h 2870295"/>
              <a:gd name="connsiteX93" fmla="*/ 1794311 w 2842318"/>
              <a:gd name="connsiteY93" fmla="*/ 440169 h 2870295"/>
              <a:gd name="connsiteX94" fmla="*/ 1755362 w 2842318"/>
              <a:gd name="connsiteY94" fmla="*/ 393678 h 2870295"/>
              <a:gd name="connsiteX95" fmla="*/ 1386258 w 2842318"/>
              <a:gd name="connsiteY95" fmla="*/ 221043 h 2870295"/>
              <a:gd name="connsiteX96" fmla="*/ 1499361 w 2842318"/>
              <a:gd name="connsiteY96" fmla="*/ 323187 h 2870295"/>
              <a:gd name="connsiteX97" fmla="*/ 1468718 w 2842318"/>
              <a:gd name="connsiteY97" fmla="*/ 357118 h 2870295"/>
              <a:gd name="connsiteX98" fmla="*/ 1355615 w 2842318"/>
              <a:gd name="connsiteY98" fmla="*/ 254973 h 2870295"/>
              <a:gd name="connsiteX99" fmla="*/ 2304829 w 2842318"/>
              <a:gd name="connsiteY99" fmla="*/ 6085 h 2870295"/>
              <a:gd name="connsiteX100" fmla="*/ 2543292 w 2842318"/>
              <a:gd name="connsiteY100" fmla="*/ 365169 h 2870295"/>
              <a:gd name="connsiteX101" fmla="*/ 2413138 w 2842318"/>
              <a:gd name="connsiteY101" fmla="*/ 558769 h 2870295"/>
              <a:gd name="connsiteX102" fmla="*/ 2379066 w 2842318"/>
              <a:gd name="connsiteY102" fmla="*/ 576971 h 2870295"/>
              <a:gd name="connsiteX103" fmla="*/ 2456316 w 2842318"/>
              <a:gd name="connsiteY103" fmla="*/ 586631 h 2870295"/>
              <a:gd name="connsiteX104" fmla="*/ 2777308 w 2842318"/>
              <a:gd name="connsiteY104" fmla="*/ 922703 h 2870295"/>
              <a:gd name="connsiteX105" fmla="*/ 2717119 w 2842318"/>
              <a:gd name="connsiteY105" fmla="*/ 2229637 h 2870295"/>
              <a:gd name="connsiteX106" fmla="*/ 2293175 w 2842318"/>
              <a:gd name="connsiteY106" fmla="*/ 2259096 h 2870295"/>
              <a:gd name="connsiteX107" fmla="*/ 2275759 w 2842318"/>
              <a:gd name="connsiteY107" fmla="*/ 2257539 h 2870295"/>
              <a:gd name="connsiteX108" fmla="*/ 2275519 w 2842318"/>
              <a:gd name="connsiteY108" fmla="*/ 2663372 h 2870295"/>
              <a:gd name="connsiteX109" fmla="*/ 2053847 w 2842318"/>
              <a:gd name="connsiteY109" fmla="*/ 2870164 h 2870295"/>
              <a:gd name="connsiteX110" fmla="*/ 1847055 w 2842318"/>
              <a:gd name="connsiteY110" fmla="*/ 2648492 h 2870295"/>
              <a:gd name="connsiteX111" fmla="*/ 1861960 w 2842318"/>
              <a:gd name="connsiteY111" fmla="*/ 2200434 h 2870295"/>
              <a:gd name="connsiteX112" fmla="*/ 1862692 w 2842318"/>
              <a:gd name="connsiteY112" fmla="*/ 2178940 h 2870295"/>
              <a:gd name="connsiteX113" fmla="*/ 1854963 w 2842318"/>
              <a:gd name="connsiteY113" fmla="*/ 2176542 h 2870295"/>
              <a:gd name="connsiteX114" fmla="*/ 1743593 w 2842318"/>
              <a:gd name="connsiteY114" fmla="*/ 2116573 h 2870295"/>
              <a:gd name="connsiteX115" fmla="*/ 1931357 w 2842318"/>
              <a:gd name="connsiteY115" fmla="*/ 1479335 h 2870295"/>
              <a:gd name="connsiteX116" fmla="*/ 1990752 w 2842318"/>
              <a:gd name="connsiteY116" fmla="*/ 1129485 h 2870295"/>
              <a:gd name="connsiteX117" fmla="*/ 2005071 w 2842318"/>
              <a:gd name="connsiteY117" fmla="*/ 1035731 h 2870295"/>
              <a:gd name="connsiteX118" fmla="*/ 1970318 w 2842318"/>
              <a:gd name="connsiteY118" fmla="*/ 1027386 h 2870295"/>
              <a:gd name="connsiteX119" fmla="*/ 1411364 w 2842318"/>
              <a:gd name="connsiteY119" fmla="*/ 624460 h 2870295"/>
              <a:gd name="connsiteX120" fmla="*/ 1402359 w 2842318"/>
              <a:gd name="connsiteY120" fmla="*/ 592842 h 2870295"/>
              <a:gd name="connsiteX121" fmla="*/ 1216215 w 2842318"/>
              <a:gd name="connsiteY121" fmla="*/ 555266 h 2870295"/>
              <a:gd name="connsiteX122" fmla="*/ 1207107 w 2842318"/>
              <a:gd name="connsiteY122" fmla="*/ 549143 h 2870295"/>
              <a:gd name="connsiteX123" fmla="*/ 1206905 w 2842318"/>
              <a:gd name="connsiteY123" fmla="*/ 548117 h 2870295"/>
              <a:gd name="connsiteX124" fmla="*/ 1172918 w 2842318"/>
              <a:gd name="connsiteY124" fmla="*/ 575701 h 2870295"/>
              <a:gd name="connsiteX125" fmla="*/ 972604 w 2842318"/>
              <a:gd name="connsiteY125" fmla="*/ 614956 h 2870295"/>
              <a:gd name="connsiteX126" fmla="*/ 763949 w 2842318"/>
              <a:gd name="connsiteY126" fmla="*/ 300757 h 2870295"/>
              <a:gd name="connsiteX127" fmla="*/ 1078147 w 2842318"/>
              <a:gd name="connsiteY127" fmla="*/ 92103 h 2870295"/>
              <a:gd name="connsiteX128" fmla="*/ 1286803 w 2842318"/>
              <a:gd name="connsiteY128" fmla="*/ 406301 h 2870295"/>
              <a:gd name="connsiteX129" fmla="*/ 1270857 w 2842318"/>
              <a:gd name="connsiteY129" fmla="*/ 457915 h 2870295"/>
              <a:gd name="connsiteX130" fmla="*/ 1260709 w 2842318"/>
              <a:gd name="connsiteY130" fmla="*/ 476483 h 2870295"/>
              <a:gd name="connsiteX131" fmla="*/ 1415753 w 2842318"/>
              <a:gd name="connsiteY131" fmla="*/ 507779 h 2870295"/>
              <a:gd name="connsiteX132" fmla="*/ 1485180 w 2842318"/>
              <a:gd name="connsiteY132" fmla="*/ 456478 h 2870295"/>
              <a:gd name="connsiteX133" fmla="*/ 1482777 w 2842318"/>
              <a:gd name="connsiteY133" fmla="*/ 449178 h 2870295"/>
              <a:gd name="connsiteX134" fmla="*/ 1516735 w 2842318"/>
              <a:gd name="connsiteY134" fmla="*/ 304165 h 2870295"/>
              <a:gd name="connsiteX135" fmla="*/ 1599646 w 2842318"/>
              <a:gd name="connsiteY135" fmla="*/ 349345 h 2870295"/>
              <a:gd name="connsiteX136" fmla="*/ 1602245 w 2842318"/>
              <a:gd name="connsiteY136" fmla="*/ 351283 h 2870295"/>
              <a:gd name="connsiteX137" fmla="*/ 1629050 w 2842318"/>
              <a:gd name="connsiteY137" fmla="*/ 356693 h 2870295"/>
              <a:gd name="connsiteX138" fmla="*/ 1642670 w 2842318"/>
              <a:gd name="connsiteY138" fmla="*/ 348637 h 2870295"/>
              <a:gd name="connsiteX139" fmla="*/ 1761441 w 2842318"/>
              <a:gd name="connsiteY139" fmla="*/ 320990 h 2870295"/>
              <a:gd name="connsiteX140" fmla="*/ 1807734 w 2842318"/>
              <a:gd name="connsiteY140" fmla="*/ 332960 h 2870295"/>
              <a:gd name="connsiteX141" fmla="*/ 1855819 w 2842318"/>
              <a:gd name="connsiteY141" fmla="*/ 376525 h 2870295"/>
              <a:gd name="connsiteX142" fmla="*/ 1864988 w 2842318"/>
              <a:gd name="connsiteY142" fmla="*/ 404319 h 2870295"/>
              <a:gd name="connsiteX143" fmla="*/ 1921638 w 2842318"/>
              <a:gd name="connsiteY143" fmla="*/ 415754 h 2870295"/>
              <a:gd name="connsiteX144" fmla="*/ 1934484 w 2842318"/>
              <a:gd name="connsiteY144" fmla="*/ 435099 h 2870295"/>
              <a:gd name="connsiteX145" fmla="*/ 1921488 w 2842318"/>
              <a:gd name="connsiteY145" fmla="*/ 499479 h 2870295"/>
              <a:gd name="connsiteX146" fmla="*/ 1902144 w 2842318"/>
              <a:gd name="connsiteY146" fmla="*/ 512325 h 2870295"/>
              <a:gd name="connsiteX147" fmla="*/ 1883755 w 2842318"/>
              <a:gd name="connsiteY147" fmla="*/ 508613 h 2870295"/>
              <a:gd name="connsiteX148" fmla="*/ 1890581 w 2842318"/>
              <a:gd name="connsiteY148" fmla="*/ 554329 h 2870295"/>
              <a:gd name="connsiteX149" fmla="*/ 1921174 w 2842318"/>
              <a:gd name="connsiteY149" fmla="*/ 645707 h 2870295"/>
              <a:gd name="connsiteX150" fmla="*/ 2190278 w 2842318"/>
              <a:gd name="connsiteY150" fmla="*/ 615707 h 2870295"/>
              <a:gd name="connsiteX151" fmla="*/ 2233936 w 2842318"/>
              <a:gd name="connsiteY151" fmla="*/ 614523 h 2870295"/>
              <a:gd name="connsiteX152" fmla="*/ 2243024 w 2842318"/>
              <a:gd name="connsiteY152" fmla="*/ 609457 h 2870295"/>
              <a:gd name="connsiteX153" fmla="*/ 2184208 w 2842318"/>
              <a:gd name="connsiteY153" fmla="*/ 603632 h 2870295"/>
              <a:gd name="connsiteX154" fmla="*/ 1945745 w 2842318"/>
              <a:gd name="connsiteY154" fmla="*/ 244548 h 2870295"/>
              <a:gd name="connsiteX155" fmla="*/ 2304829 w 2842318"/>
              <a:gd name="connsiteY155" fmla="*/ 6085 h 2870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2842318" h="2870295">
                <a:moveTo>
                  <a:pt x="331801" y="1808355"/>
                </a:moveTo>
                <a:lnTo>
                  <a:pt x="241609" y="2159201"/>
                </a:lnTo>
                <a:lnTo>
                  <a:pt x="526532" y="2216715"/>
                </a:lnTo>
                <a:lnTo>
                  <a:pt x="579500" y="1858356"/>
                </a:lnTo>
                <a:close/>
                <a:moveTo>
                  <a:pt x="779871" y="1755996"/>
                </a:moveTo>
                <a:lnTo>
                  <a:pt x="780613" y="1759788"/>
                </a:lnTo>
                <a:lnTo>
                  <a:pt x="756477" y="1879361"/>
                </a:lnTo>
                <a:lnTo>
                  <a:pt x="724770" y="2093872"/>
                </a:lnTo>
                <a:lnTo>
                  <a:pt x="886612" y="1777543"/>
                </a:lnTo>
                <a:close/>
                <a:moveTo>
                  <a:pt x="1068983" y="1485367"/>
                </a:moveTo>
                <a:lnTo>
                  <a:pt x="1067314" y="1493639"/>
                </a:lnTo>
                <a:lnTo>
                  <a:pt x="1080999" y="1488483"/>
                </a:lnTo>
                <a:close/>
                <a:moveTo>
                  <a:pt x="2444236" y="1505178"/>
                </a:moveTo>
                <a:cubicBezTo>
                  <a:pt x="2457816" y="1505178"/>
                  <a:pt x="2468825" y="1516187"/>
                  <a:pt x="2468825" y="1529767"/>
                </a:cubicBezTo>
                <a:lnTo>
                  <a:pt x="2468825" y="1628119"/>
                </a:lnTo>
                <a:cubicBezTo>
                  <a:pt x="2468825" y="1641699"/>
                  <a:pt x="2457816" y="1652708"/>
                  <a:pt x="2444236" y="1652708"/>
                </a:cubicBezTo>
                <a:lnTo>
                  <a:pt x="2138102" y="1652708"/>
                </a:lnTo>
                <a:cubicBezTo>
                  <a:pt x="2124522" y="1652708"/>
                  <a:pt x="2113513" y="1641699"/>
                  <a:pt x="2113513" y="1628119"/>
                </a:cubicBezTo>
                <a:lnTo>
                  <a:pt x="2113513" y="1529767"/>
                </a:lnTo>
                <a:cubicBezTo>
                  <a:pt x="2113513" y="1516187"/>
                  <a:pt x="2124522" y="1505178"/>
                  <a:pt x="2138102" y="1505178"/>
                </a:cubicBezTo>
                <a:close/>
                <a:moveTo>
                  <a:pt x="820766" y="621070"/>
                </a:moveTo>
                <a:cubicBezTo>
                  <a:pt x="835636" y="624167"/>
                  <a:pt x="850418" y="628801"/>
                  <a:pt x="864909" y="635051"/>
                </a:cubicBezTo>
                <a:cubicBezTo>
                  <a:pt x="980838" y="685051"/>
                  <a:pt x="1034283" y="819564"/>
                  <a:pt x="984283" y="935493"/>
                </a:cubicBezTo>
                <a:lnTo>
                  <a:pt x="888685" y="1157141"/>
                </a:lnTo>
                <a:lnTo>
                  <a:pt x="889546" y="1160756"/>
                </a:lnTo>
                <a:cubicBezTo>
                  <a:pt x="896844" y="1193880"/>
                  <a:pt x="907742" y="1244261"/>
                  <a:pt x="924834" y="1274404"/>
                </a:cubicBezTo>
                <a:cubicBezTo>
                  <a:pt x="947623" y="1314595"/>
                  <a:pt x="988527" y="1347537"/>
                  <a:pt x="1020086" y="1375915"/>
                </a:cubicBezTo>
                <a:cubicBezTo>
                  <a:pt x="1051646" y="1404292"/>
                  <a:pt x="1082388" y="1426236"/>
                  <a:pt x="1114193" y="1444671"/>
                </a:cubicBezTo>
                <a:cubicBezTo>
                  <a:pt x="1117320" y="1447811"/>
                  <a:pt x="1139568" y="1458748"/>
                  <a:pt x="1161121" y="1470005"/>
                </a:cubicBezTo>
                <a:lnTo>
                  <a:pt x="1182590" y="1481856"/>
                </a:lnTo>
                <a:lnTo>
                  <a:pt x="1221055" y="1492654"/>
                </a:lnTo>
                <a:cubicBezTo>
                  <a:pt x="1303646" y="1534910"/>
                  <a:pt x="1336344" y="1636116"/>
                  <a:pt x="1294088" y="1718706"/>
                </a:cubicBezTo>
                <a:lnTo>
                  <a:pt x="968148" y="2355772"/>
                </a:lnTo>
                <a:cubicBezTo>
                  <a:pt x="925893" y="2438363"/>
                  <a:pt x="824687" y="2471059"/>
                  <a:pt x="742096" y="2428804"/>
                </a:cubicBezTo>
                <a:cubicBezTo>
                  <a:pt x="721449" y="2418241"/>
                  <a:pt x="703920" y="2403992"/>
                  <a:pt x="689901" y="2387271"/>
                </a:cubicBezTo>
                <a:lnTo>
                  <a:pt x="683197" y="2375136"/>
                </a:lnTo>
                <a:lnTo>
                  <a:pt x="662032" y="2518329"/>
                </a:lnTo>
                <a:cubicBezTo>
                  <a:pt x="659634" y="2534550"/>
                  <a:pt x="644539" y="2545758"/>
                  <a:pt x="628317" y="2543360"/>
                </a:cubicBezTo>
                <a:lnTo>
                  <a:pt x="510831" y="2525994"/>
                </a:lnTo>
                <a:cubicBezTo>
                  <a:pt x="494609" y="2523596"/>
                  <a:pt x="483402" y="2508501"/>
                  <a:pt x="485801" y="2492280"/>
                </a:cubicBezTo>
                <a:lnTo>
                  <a:pt x="514832" y="2295864"/>
                </a:lnTo>
                <a:lnTo>
                  <a:pt x="511317" y="2313279"/>
                </a:lnTo>
                <a:lnTo>
                  <a:pt x="217261" y="2253921"/>
                </a:lnTo>
                <a:lnTo>
                  <a:pt x="173477" y="2424238"/>
                </a:lnTo>
                <a:cubicBezTo>
                  <a:pt x="169395" y="2440120"/>
                  <a:pt x="153210" y="2449685"/>
                  <a:pt x="137328" y="2445603"/>
                </a:cubicBezTo>
                <a:lnTo>
                  <a:pt x="22306" y="2416034"/>
                </a:lnTo>
                <a:cubicBezTo>
                  <a:pt x="6424" y="2411951"/>
                  <a:pt x="-3141" y="2395767"/>
                  <a:pt x="941" y="2379885"/>
                </a:cubicBezTo>
                <a:lnTo>
                  <a:pt x="161754" y="1754317"/>
                </a:lnTo>
                <a:lnTo>
                  <a:pt x="184923" y="1639543"/>
                </a:lnTo>
                <a:cubicBezTo>
                  <a:pt x="187904" y="1624772"/>
                  <a:pt x="202294" y="1615216"/>
                  <a:pt x="217065" y="1618197"/>
                </a:cubicBezTo>
                <a:lnTo>
                  <a:pt x="431263" y="1661435"/>
                </a:lnTo>
                <a:lnTo>
                  <a:pt x="362934" y="1592144"/>
                </a:lnTo>
                <a:cubicBezTo>
                  <a:pt x="325176" y="1535284"/>
                  <a:pt x="309108" y="1464021"/>
                  <a:pt x="323679" y="1391830"/>
                </a:cubicBezTo>
                <a:lnTo>
                  <a:pt x="330289" y="1370437"/>
                </a:lnTo>
                <a:lnTo>
                  <a:pt x="321943" y="1329261"/>
                </a:lnTo>
                <a:cubicBezTo>
                  <a:pt x="320905" y="1254531"/>
                  <a:pt x="351294" y="1133372"/>
                  <a:pt x="407554" y="1004428"/>
                </a:cubicBezTo>
                <a:cubicBezTo>
                  <a:pt x="450419" y="906185"/>
                  <a:pt x="500184" y="822023"/>
                  <a:pt x="545994" y="765373"/>
                </a:cubicBezTo>
                <a:lnTo>
                  <a:pt x="578360" y="729452"/>
                </a:lnTo>
                <a:lnTo>
                  <a:pt x="586976" y="713960"/>
                </a:lnTo>
                <a:cubicBezTo>
                  <a:pt x="630425" y="651668"/>
                  <a:pt x="701852" y="615783"/>
                  <a:pt x="776088" y="616307"/>
                </a:cubicBezTo>
                <a:cubicBezTo>
                  <a:pt x="790936" y="616412"/>
                  <a:pt x="805895" y="617973"/>
                  <a:pt x="820766" y="621070"/>
                </a:cubicBezTo>
                <a:close/>
                <a:moveTo>
                  <a:pt x="2503980" y="698752"/>
                </a:moveTo>
                <a:lnTo>
                  <a:pt x="2522723" y="739886"/>
                </a:lnTo>
                <a:cubicBezTo>
                  <a:pt x="2551223" y="838620"/>
                  <a:pt x="2516495" y="1000723"/>
                  <a:pt x="2454453" y="1035502"/>
                </a:cubicBezTo>
                <a:cubicBezTo>
                  <a:pt x="2415153" y="1068376"/>
                  <a:pt x="2269648" y="1067644"/>
                  <a:pt x="2144930" y="1055812"/>
                </a:cubicBezTo>
                <a:lnTo>
                  <a:pt x="2117730" y="1052665"/>
                </a:lnTo>
                <a:lnTo>
                  <a:pt x="2097076" y="1260158"/>
                </a:lnTo>
                <a:cubicBezTo>
                  <a:pt x="2090138" y="1334656"/>
                  <a:pt x="2082303" y="1404166"/>
                  <a:pt x="2068850" y="1459726"/>
                </a:cubicBezTo>
                <a:cubicBezTo>
                  <a:pt x="2015038" y="1681966"/>
                  <a:pt x="1828836" y="1947181"/>
                  <a:pt x="1890605" y="2027059"/>
                </a:cubicBezTo>
                <a:cubicBezTo>
                  <a:pt x="2081308" y="2198035"/>
                  <a:pt x="2596333" y="2184688"/>
                  <a:pt x="2659968" y="2146781"/>
                </a:cubicBezTo>
                <a:cubicBezTo>
                  <a:pt x="2781723" y="2016853"/>
                  <a:pt x="2750865" y="1213214"/>
                  <a:pt x="2684668" y="971568"/>
                </a:cubicBezTo>
                <a:cubicBezTo>
                  <a:pt x="2653638" y="858296"/>
                  <a:pt x="2590963" y="762966"/>
                  <a:pt x="2518146" y="706723"/>
                </a:cubicBezTo>
                <a:close/>
                <a:moveTo>
                  <a:pt x="1468618" y="397887"/>
                </a:moveTo>
                <a:lnTo>
                  <a:pt x="1474141" y="443271"/>
                </a:lnTo>
                <a:lnTo>
                  <a:pt x="1322857" y="461681"/>
                </a:lnTo>
                <a:lnTo>
                  <a:pt x="1317334" y="416297"/>
                </a:lnTo>
                <a:close/>
                <a:moveTo>
                  <a:pt x="1320097" y="321265"/>
                </a:moveTo>
                <a:lnTo>
                  <a:pt x="1436619" y="344786"/>
                </a:lnTo>
                <a:lnTo>
                  <a:pt x="1427573" y="389601"/>
                </a:lnTo>
                <a:lnTo>
                  <a:pt x="1311051" y="366080"/>
                </a:lnTo>
                <a:close/>
                <a:moveTo>
                  <a:pt x="1755362" y="393678"/>
                </a:moveTo>
                <a:cubicBezTo>
                  <a:pt x="1748528" y="391654"/>
                  <a:pt x="1741187" y="390935"/>
                  <a:pt x="1733658" y="391782"/>
                </a:cubicBezTo>
                <a:cubicBezTo>
                  <a:pt x="1703548" y="395168"/>
                  <a:pt x="1681883" y="422323"/>
                  <a:pt x="1685271" y="452434"/>
                </a:cubicBezTo>
                <a:cubicBezTo>
                  <a:pt x="1686797" y="512845"/>
                  <a:pt x="1692583" y="678906"/>
                  <a:pt x="1742813" y="754249"/>
                </a:cubicBezTo>
                <a:cubicBezTo>
                  <a:pt x="1773690" y="817473"/>
                  <a:pt x="1828914" y="875620"/>
                  <a:pt x="1886751" y="904309"/>
                </a:cubicBezTo>
                <a:cubicBezTo>
                  <a:pt x="1917741" y="918243"/>
                  <a:pt x="1957370" y="934754"/>
                  <a:pt x="1997101" y="940458"/>
                </a:cubicBezTo>
                <a:cubicBezTo>
                  <a:pt x="2042667" y="946357"/>
                  <a:pt x="2092189" y="947108"/>
                  <a:pt x="2160143" y="939701"/>
                </a:cubicBezTo>
                <a:lnTo>
                  <a:pt x="2364007" y="917476"/>
                </a:lnTo>
                <a:cubicBezTo>
                  <a:pt x="2394130" y="914193"/>
                  <a:pt x="2415887" y="887113"/>
                  <a:pt x="2412602" y="856990"/>
                </a:cubicBezTo>
                <a:cubicBezTo>
                  <a:pt x="2409319" y="826868"/>
                  <a:pt x="2406978" y="811508"/>
                  <a:pt x="2352116" y="808395"/>
                </a:cubicBezTo>
                <a:cubicBezTo>
                  <a:pt x="2297253" y="805282"/>
                  <a:pt x="2153490" y="837469"/>
                  <a:pt x="2083429" y="838311"/>
                </a:cubicBezTo>
                <a:cubicBezTo>
                  <a:pt x="2023571" y="839972"/>
                  <a:pt x="1976352" y="829642"/>
                  <a:pt x="1935496" y="806913"/>
                </a:cubicBezTo>
                <a:cubicBezTo>
                  <a:pt x="1894638" y="784184"/>
                  <a:pt x="1861821" y="763060"/>
                  <a:pt x="1838290" y="701936"/>
                </a:cubicBezTo>
                <a:cubicBezTo>
                  <a:pt x="1814761" y="640812"/>
                  <a:pt x="1806944" y="529444"/>
                  <a:pt x="1794311" y="440169"/>
                </a:cubicBezTo>
                <a:cubicBezTo>
                  <a:pt x="1791770" y="417586"/>
                  <a:pt x="1775861" y="399754"/>
                  <a:pt x="1755362" y="393678"/>
                </a:cubicBezTo>
                <a:close/>
                <a:moveTo>
                  <a:pt x="1386258" y="221043"/>
                </a:moveTo>
                <a:lnTo>
                  <a:pt x="1499361" y="323187"/>
                </a:lnTo>
                <a:lnTo>
                  <a:pt x="1468718" y="357118"/>
                </a:lnTo>
                <a:lnTo>
                  <a:pt x="1355615" y="254973"/>
                </a:lnTo>
                <a:close/>
                <a:moveTo>
                  <a:pt x="2304829" y="6085"/>
                </a:moveTo>
                <a:cubicBezTo>
                  <a:pt x="2469837" y="39393"/>
                  <a:pt x="2576601" y="200161"/>
                  <a:pt x="2543292" y="365169"/>
                </a:cubicBezTo>
                <a:cubicBezTo>
                  <a:pt x="2526638" y="447672"/>
                  <a:pt x="2478119" y="515615"/>
                  <a:pt x="2413138" y="558769"/>
                </a:cubicBezTo>
                <a:lnTo>
                  <a:pt x="2379066" y="576971"/>
                </a:lnTo>
                <a:lnTo>
                  <a:pt x="2456316" y="586631"/>
                </a:lnTo>
                <a:cubicBezTo>
                  <a:pt x="2594999" y="625546"/>
                  <a:pt x="2724651" y="755759"/>
                  <a:pt x="2777308" y="922703"/>
                </a:cubicBezTo>
                <a:cubicBezTo>
                  <a:pt x="2861560" y="1189814"/>
                  <a:pt x="2885134" y="2082443"/>
                  <a:pt x="2717119" y="2229637"/>
                </a:cubicBezTo>
                <a:cubicBezTo>
                  <a:pt x="2673554" y="2251430"/>
                  <a:pt x="2493834" y="2269594"/>
                  <a:pt x="2293175" y="2259096"/>
                </a:cubicBezTo>
                <a:lnTo>
                  <a:pt x="2275759" y="2257539"/>
                </a:lnTo>
                <a:lnTo>
                  <a:pt x="2275519" y="2663372"/>
                </a:lnTo>
                <a:cubicBezTo>
                  <a:pt x="2271410" y="2781688"/>
                  <a:pt x="2172164" y="2874273"/>
                  <a:pt x="2053847" y="2870164"/>
                </a:cubicBezTo>
                <a:cubicBezTo>
                  <a:pt x="1935531" y="2866056"/>
                  <a:pt x="1842946" y="2766809"/>
                  <a:pt x="1847055" y="2648492"/>
                </a:cubicBezTo>
                <a:cubicBezTo>
                  <a:pt x="1849858" y="2567785"/>
                  <a:pt x="1857857" y="2322329"/>
                  <a:pt x="1861960" y="2200434"/>
                </a:cubicBezTo>
                <a:lnTo>
                  <a:pt x="1862692" y="2178940"/>
                </a:lnTo>
                <a:lnTo>
                  <a:pt x="1854963" y="2176542"/>
                </a:lnTo>
                <a:cubicBezTo>
                  <a:pt x="1813147" y="2159647"/>
                  <a:pt x="1775424" y="2139788"/>
                  <a:pt x="1743593" y="2116573"/>
                </a:cubicBezTo>
                <a:cubicBezTo>
                  <a:pt x="1661668" y="2029183"/>
                  <a:pt x="1853354" y="1727601"/>
                  <a:pt x="1931357" y="1479335"/>
                </a:cubicBezTo>
                <a:cubicBezTo>
                  <a:pt x="1960608" y="1386235"/>
                  <a:pt x="1973434" y="1258534"/>
                  <a:pt x="1990752" y="1129485"/>
                </a:cubicBezTo>
                <a:lnTo>
                  <a:pt x="2005071" y="1035731"/>
                </a:lnTo>
                <a:lnTo>
                  <a:pt x="1970318" y="1027386"/>
                </a:lnTo>
                <a:cubicBezTo>
                  <a:pt x="1894638" y="1003514"/>
                  <a:pt x="1516540" y="837162"/>
                  <a:pt x="1411364" y="624460"/>
                </a:cubicBezTo>
                <a:lnTo>
                  <a:pt x="1402359" y="592842"/>
                </a:lnTo>
                <a:lnTo>
                  <a:pt x="1216215" y="555266"/>
                </a:lnTo>
                <a:cubicBezTo>
                  <a:pt x="1212333" y="554483"/>
                  <a:pt x="1209136" y="552200"/>
                  <a:pt x="1207107" y="549143"/>
                </a:cubicBezTo>
                <a:lnTo>
                  <a:pt x="1206905" y="548117"/>
                </a:lnTo>
                <a:lnTo>
                  <a:pt x="1172918" y="575701"/>
                </a:lnTo>
                <a:cubicBezTo>
                  <a:pt x="1116059" y="613460"/>
                  <a:pt x="1044796" y="629529"/>
                  <a:pt x="972604" y="614956"/>
                </a:cubicBezTo>
                <a:cubicBezTo>
                  <a:pt x="828223" y="585812"/>
                  <a:pt x="734804" y="445140"/>
                  <a:pt x="763949" y="300757"/>
                </a:cubicBezTo>
                <a:cubicBezTo>
                  <a:pt x="793094" y="156377"/>
                  <a:pt x="933766" y="62957"/>
                  <a:pt x="1078147" y="92103"/>
                </a:cubicBezTo>
                <a:cubicBezTo>
                  <a:pt x="1222530" y="121248"/>
                  <a:pt x="1315948" y="261919"/>
                  <a:pt x="1286803" y="406301"/>
                </a:cubicBezTo>
                <a:cubicBezTo>
                  <a:pt x="1283160" y="424349"/>
                  <a:pt x="1277774" y="441600"/>
                  <a:pt x="1270857" y="457915"/>
                </a:cubicBezTo>
                <a:lnTo>
                  <a:pt x="1260709" y="476483"/>
                </a:lnTo>
                <a:lnTo>
                  <a:pt x="1415753" y="507779"/>
                </a:lnTo>
                <a:lnTo>
                  <a:pt x="1485180" y="456478"/>
                </a:lnTo>
                <a:lnTo>
                  <a:pt x="1482777" y="449178"/>
                </a:lnTo>
                <a:cubicBezTo>
                  <a:pt x="1480387" y="416245"/>
                  <a:pt x="1506587" y="305787"/>
                  <a:pt x="1516735" y="304165"/>
                </a:cubicBezTo>
                <a:cubicBezTo>
                  <a:pt x="1522535" y="303238"/>
                  <a:pt x="1562137" y="324573"/>
                  <a:pt x="1599646" y="349345"/>
                </a:cubicBezTo>
                <a:lnTo>
                  <a:pt x="1602245" y="351283"/>
                </a:lnTo>
                <a:lnTo>
                  <a:pt x="1629050" y="356693"/>
                </a:lnTo>
                <a:lnTo>
                  <a:pt x="1642670" y="348637"/>
                </a:lnTo>
                <a:cubicBezTo>
                  <a:pt x="1683939" y="327001"/>
                  <a:pt x="1721833" y="316454"/>
                  <a:pt x="1761441" y="320990"/>
                </a:cubicBezTo>
                <a:cubicBezTo>
                  <a:pt x="1776530" y="322717"/>
                  <a:pt x="1791867" y="326634"/>
                  <a:pt x="1807734" y="332960"/>
                </a:cubicBezTo>
                <a:cubicBezTo>
                  <a:pt x="1830834" y="338872"/>
                  <a:pt x="1845642" y="354584"/>
                  <a:pt x="1855819" y="376525"/>
                </a:cubicBezTo>
                <a:lnTo>
                  <a:pt x="1864988" y="404319"/>
                </a:lnTo>
                <a:lnTo>
                  <a:pt x="1921638" y="415754"/>
                </a:lnTo>
                <a:cubicBezTo>
                  <a:pt x="1930528" y="417549"/>
                  <a:pt x="1936279" y="426210"/>
                  <a:pt x="1934484" y="435099"/>
                </a:cubicBezTo>
                <a:lnTo>
                  <a:pt x="1921488" y="499479"/>
                </a:lnTo>
                <a:cubicBezTo>
                  <a:pt x="1919694" y="508368"/>
                  <a:pt x="1911033" y="514120"/>
                  <a:pt x="1902144" y="512325"/>
                </a:cubicBezTo>
                <a:lnTo>
                  <a:pt x="1883755" y="508613"/>
                </a:lnTo>
                <a:lnTo>
                  <a:pt x="1890581" y="554329"/>
                </a:lnTo>
                <a:cubicBezTo>
                  <a:pt x="1896872" y="586894"/>
                  <a:pt x="1905849" y="618544"/>
                  <a:pt x="1921174" y="645707"/>
                </a:cubicBezTo>
                <a:cubicBezTo>
                  <a:pt x="1989813" y="689061"/>
                  <a:pt x="2066620" y="630170"/>
                  <a:pt x="2190278" y="615707"/>
                </a:cubicBezTo>
                <a:lnTo>
                  <a:pt x="2233936" y="614523"/>
                </a:lnTo>
                <a:lnTo>
                  <a:pt x="2243024" y="609457"/>
                </a:lnTo>
                <a:lnTo>
                  <a:pt x="2184208" y="603632"/>
                </a:lnTo>
                <a:cubicBezTo>
                  <a:pt x="2019201" y="570324"/>
                  <a:pt x="1912437" y="409556"/>
                  <a:pt x="1945745" y="244548"/>
                </a:cubicBezTo>
                <a:cubicBezTo>
                  <a:pt x="1979053" y="79540"/>
                  <a:pt x="2139821" y="-27224"/>
                  <a:pt x="2304829" y="608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a:endParaRPr>
          </a:p>
        </p:txBody>
      </p:sp>
      <p:sp>
        <p:nvSpPr>
          <p:cNvPr id="38" name="Freeform: Shape 37" descr="Line arrow Clockwise curve">
            <a:extLst>
              <a:ext uri="{FF2B5EF4-FFF2-40B4-BE49-F238E27FC236}">
                <a16:creationId xmlns:a16="http://schemas.microsoft.com/office/drawing/2014/main" id="{46872CFD-A34C-460E-8958-95399E63DA82}"/>
              </a:ext>
            </a:extLst>
          </p:cNvPr>
          <p:cNvSpPr/>
          <p:nvPr/>
        </p:nvSpPr>
        <p:spPr>
          <a:xfrm rot="14400000" flipV="1">
            <a:off x="5253400" y="1808983"/>
            <a:ext cx="502220" cy="607431"/>
          </a:xfrm>
          <a:custGeom>
            <a:avLst/>
            <a:gdLst>
              <a:gd name="connsiteX0" fmla="*/ 534309 w 1158184"/>
              <a:gd name="connsiteY0" fmla="*/ 1229352 h 1341642"/>
              <a:gd name="connsiteX1" fmla="*/ 479021 w 1158184"/>
              <a:gd name="connsiteY1" fmla="*/ 1133592 h 1341642"/>
              <a:gd name="connsiteX2" fmla="*/ 462404 w 1158184"/>
              <a:gd name="connsiteY2" fmla="*/ 1206975 h 1341642"/>
              <a:gd name="connsiteX3" fmla="*/ 534309 w 1158184"/>
              <a:gd name="connsiteY3" fmla="*/ 1229352 h 1341642"/>
              <a:gd name="connsiteX4" fmla="*/ 222715 w 1158184"/>
              <a:gd name="connsiteY4" fmla="*/ 671495 h 1341642"/>
              <a:gd name="connsiteX5" fmla="*/ 129258 w 1158184"/>
              <a:gd name="connsiteY5" fmla="*/ 576035 h 1341642"/>
              <a:gd name="connsiteX6" fmla="*/ 120580 w 1158184"/>
              <a:gd name="connsiteY6" fmla="*/ 570694 h 1341642"/>
              <a:gd name="connsiteX7" fmla="*/ 119245 w 1158184"/>
              <a:gd name="connsiteY7" fmla="*/ 570694 h 1341642"/>
              <a:gd name="connsiteX8" fmla="*/ 117910 w 1158184"/>
              <a:gd name="connsiteY8" fmla="*/ 570694 h 1341642"/>
              <a:gd name="connsiteX9" fmla="*/ 115239 w 1158184"/>
              <a:gd name="connsiteY9" fmla="*/ 570694 h 1341642"/>
              <a:gd name="connsiteX10" fmla="*/ 113237 w 1158184"/>
              <a:gd name="connsiteY10" fmla="*/ 570694 h 1341642"/>
              <a:gd name="connsiteX11" fmla="*/ 101221 w 1158184"/>
              <a:gd name="connsiteY11" fmla="*/ 576035 h 1341642"/>
              <a:gd name="connsiteX12" fmla="*/ 5761 w 1158184"/>
              <a:gd name="connsiteY12" fmla="*/ 669492 h 1341642"/>
              <a:gd name="connsiteX13" fmla="*/ 5761 w 1158184"/>
              <a:gd name="connsiteY13" fmla="*/ 697529 h 1341642"/>
              <a:gd name="connsiteX14" fmla="*/ 33798 w 1158184"/>
              <a:gd name="connsiteY14" fmla="*/ 697529 h 1341642"/>
              <a:gd name="connsiteX15" fmla="*/ 96548 w 1158184"/>
              <a:gd name="connsiteY15" fmla="*/ 636782 h 1341642"/>
              <a:gd name="connsiteX16" fmla="*/ 214705 w 1158184"/>
              <a:gd name="connsiteY16" fmla="*/ 991254 h 1341642"/>
              <a:gd name="connsiteX17" fmla="*/ 388269 w 1158184"/>
              <a:gd name="connsiteY17" fmla="*/ 1099397 h 1341642"/>
              <a:gd name="connsiteX18" fmla="*/ 413636 w 1158184"/>
              <a:gd name="connsiteY18" fmla="*/ 1087381 h 1341642"/>
              <a:gd name="connsiteX19" fmla="*/ 401620 w 1158184"/>
              <a:gd name="connsiteY19" fmla="*/ 1062014 h 1341642"/>
              <a:gd name="connsiteX20" fmla="*/ 241407 w 1158184"/>
              <a:gd name="connsiteY20" fmla="*/ 961881 h 1341642"/>
              <a:gd name="connsiteX21" fmla="*/ 137269 w 1158184"/>
              <a:gd name="connsiteY21" fmla="*/ 640787 h 1341642"/>
              <a:gd name="connsiteX22" fmla="*/ 194678 w 1158184"/>
              <a:gd name="connsiteY22" fmla="*/ 699532 h 1341642"/>
              <a:gd name="connsiteX23" fmla="*/ 222715 w 1158184"/>
              <a:gd name="connsiteY23" fmla="*/ 699532 h 1341642"/>
              <a:gd name="connsiteX24" fmla="*/ 222715 w 1158184"/>
              <a:gd name="connsiteY24" fmla="*/ 671495 h 1341642"/>
              <a:gd name="connsiteX25" fmla="*/ 619662 w 1158184"/>
              <a:gd name="connsiteY25" fmla="*/ 1204201 h 1341642"/>
              <a:gd name="connsiteX26" fmla="*/ 543481 w 1158184"/>
              <a:gd name="connsiteY26" fmla="*/ 1072252 h 1341642"/>
              <a:gd name="connsiteX27" fmla="*/ 510646 w 1158184"/>
              <a:gd name="connsiteY27" fmla="*/ 1063454 h 1341642"/>
              <a:gd name="connsiteX28" fmla="*/ 499243 w 1158184"/>
              <a:gd name="connsiteY28" fmla="*/ 1097793 h 1341642"/>
              <a:gd name="connsiteX29" fmla="*/ 575424 w 1158184"/>
              <a:gd name="connsiteY29" fmla="*/ 1229742 h 1341642"/>
              <a:gd name="connsiteX30" fmla="*/ 608259 w 1158184"/>
              <a:gd name="connsiteY30" fmla="*/ 1238541 h 1341642"/>
              <a:gd name="connsiteX31" fmla="*/ 619662 w 1158184"/>
              <a:gd name="connsiteY31" fmla="*/ 1204201 h 1341642"/>
              <a:gd name="connsiteX32" fmla="*/ 772999 w 1158184"/>
              <a:gd name="connsiteY32" fmla="*/ 1254996 h 1341642"/>
              <a:gd name="connsiteX33" fmla="*/ 763554 w 1158184"/>
              <a:gd name="connsiteY33" fmla="*/ 1247151 h 1341642"/>
              <a:gd name="connsiteX34" fmla="*/ 740967 w 1158184"/>
              <a:gd name="connsiteY34" fmla="*/ 1257961 h 1341642"/>
              <a:gd name="connsiteX35" fmla="*/ 724543 w 1158184"/>
              <a:gd name="connsiteY35" fmla="*/ 1318045 h 1341642"/>
              <a:gd name="connsiteX36" fmla="*/ 723837 w 1158184"/>
              <a:gd name="connsiteY36" fmla="*/ 1320684 h 1341642"/>
              <a:gd name="connsiteX37" fmla="*/ 737992 w 1158184"/>
              <a:gd name="connsiteY37" fmla="*/ 1341339 h 1341642"/>
              <a:gd name="connsiteX38" fmla="*/ 758647 w 1158184"/>
              <a:gd name="connsiteY38" fmla="*/ 1327183 h 1341642"/>
              <a:gd name="connsiteX39" fmla="*/ 775071 w 1158184"/>
              <a:gd name="connsiteY39" fmla="*/ 1267099 h 1341642"/>
              <a:gd name="connsiteX40" fmla="*/ 772999 w 1158184"/>
              <a:gd name="connsiteY40" fmla="*/ 1254996 h 1341642"/>
              <a:gd name="connsiteX41" fmla="*/ 578881 w 1158184"/>
              <a:gd name="connsiteY41" fmla="*/ 908925 h 1341642"/>
              <a:gd name="connsiteX42" fmla="*/ 567724 w 1158184"/>
              <a:gd name="connsiteY42" fmla="*/ 901234 h 1341642"/>
              <a:gd name="connsiteX43" fmla="*/ 507993 w 1158184"/>
              <a:gd name="connsiteY43" fmla="*/ 885424 h 1341642"/>
              <a:gd name="connsiteX44" fmla="*/ 504185 w 1158184"/>
              <a:gd name="connsiteY44" fmla="*/ 884316 h 1341642"/>
              <a:gd name="connsiteX45" fmla="*/ 483726 w 1158184"/>
              <a:gd name="connsiteY45" fmla="*/ 898752 h 1341642"/>
              <a:gd name="connsiteX46" fmla="*/ 498162 w 1158184"/>
              <a:gd name="connsiteY46" fmla="*/ 919213 h 1341642"/>
              <a:gd name="connsiteX47" fmla="*/ 558630 w 1158184"/>
              <a:gd name="connsiteY47" fmla="*/ 935415 h 1341642"/>
              <a:gd name="connsiteX48" fmla="*/ 560313 w 1158184"/>
              <a:gd name="connsiteY48" fmla="*/ 935864 h 1341642"/>
              <a:gd name="connsiteX49" fmla="*/ 581333 w 1158184"/>
              <a:gd name="connsiteY49" fmla="*/ 922254 h 1341642"/>
              <a:gd name="connsiteX50" fmla="*/ 578881 w 1158184"/>
              <a:gd name="connsiteY50" fmla="*/ 908925 h 1341642"/>
              <a:gd name="connsiteX51" fmla="*/ 1004416 w 1158184"/>
              <a:gd name="connsiteY51" fmla="*/ 1281176 h 1341642"/>
              <a:gd name="connsiteX52" fmla="*/ 973430 w 1158184"/>
              <a:gd name="connsiteY52" fmla="*/ 1227507 h 1341642"/>
              <a:gd name="connsiteX53" fmla="*/ 949243 w 1158184"/>
              <a:gd name="connsiteY53" fmla="*/ 1221026 h 1341642"/>
              <a:gd name="connsiteX54" fmla="*/ 942763 w 1158184"/>
              <a:gd name="connsiteY54" fmla="*/ 1245213 h 1341642"/>
              <a:gd name="connsiteX55" fmla="*/ 973749 w 1158184"/>
              <a:gd name="connsiteY55" fmla="*/ 1298882 h 1341642"/>
              <a:gd name="connsiteX56" fmla="*/ 997935 w 1158184"/>
              <a:gd name="connsiteY56" fmla="*/ 1305363 h 1341642"/>
              <a:gd name="connsiteX57" fmla="*/ 1004416 w 1158184"/>
              <a:gd name="connsiteY57" fmla="*/ 1281176 h 1341642"/>
              <a:gd name="connsiteX58" fmla="*/ 700628 w 1158184"/>
              <a:gd name="connsiteY58" fmla="*/ 753761 h 1341642"/>
              <a:gd name="connsiteX59" fmla="*/ 669642 w 1158184"/>
              <a:gd name="connsiteY59" fmla="*/ 700092 h 1341642"/>
              <a:gd name="connsiteX60" fmla="*/ 645455 w 1158184"/>
              <a:gd name="connsiteY60" fmla="*/ 693611 h 1341642"/>
              <a:gd name="connsiteX61" fmla="*/ 638974 w 1158184"/>
              <a:gd name="connsiteY61" fmla="*/ 717798 h 1341642"/>
              <a:gd name="connsiteX62" fmla="*/ 669960 w 1158184"/>
              <a:gd name="connsiteY62" fmla="*/ 771467 h 1341642"/>
              <a:gd name="connsiteX63" fmla="*/ 694147 w 1158184"/>
              <a:gd name="connsiteY63" fmla="*/ 777948 h 1341642"/>
              <a:gd name="connsiteX64" fmla="*/ 700628 w 1158184"/>
              <a:gd name="connsiteY64" fmla="*/ 753761 h 1341642"/>
              <a:gd name="connsiteX65" fmla="*/ 459219 w 1158184"/>
              <a:gd name="connsiteY65" fmla="*/ 239389 h 1341642"/>
              <a:gd name="connsiteX66" fmla="*/ 469744 w 1158184"/>
              <a:gd name="connsiteY66" fmla="*/ 317164 h 1341642"/>
              <a:gd name="connsiteX67" fmla="*/ 343966 w 1158184"/>
              <a:gd name="connsiteY67" fmla="*/ 389784 h 1341642"/>
              <a:gd name="connsiteX68" fmla="*/ 271347 w 1158184"/>
              <a:gd name="connsiteY68" fmla="*/ 264004 h 1341642"/>
              <a:gd name="connsiteX69" fmla="*/ 397126 w 1158184"/>
              <a:gd name="connsiteY69" fmla="*/ 191386 h 1341642"/>
              <a:gd name="connsiteX70" fmla="*/ 459219 w 1158184"/>
              <a:gd name="connsiteY70" fmla="*/ 239389 h 1341642"/>
              <a:gd name="connsiteX71" fmla="*/ 966392 w 1158184"/>
              <a:gd name="connsiteY71" fmla="*/ 916612 h 1341642"/>
              <a:gd name="connsiteX72" fmla="*/ 905752 w 1158184"/>
              <a:gd name="connsiteY72" fmla="*/ 1147999 h 1341642"/>
              <a:gd name="connsiteX73" fmla="*/ 900233 w 1158184"/>
              <a:gd name="connsiteY73" fmla="*/ 1151186 h 1341642"/>
              <a:gd name="connsiteX74" fmla="*/ 842602 w 1158184"/>
              <a:gd name="connsiteY74" fmla="*/ 1170353 h 1341642"/>
              <a:gd name="connsiteX75" fmla="*/ 787778 w 1158184"/>
              <a:gd name="connsiteY75" fmla="*/ 1168884 h 1341642"/>
              <a:gd name="connsiteX76" fmla="*/ 696581 w 1158184"/>
              <a:gd name="connsiteY76" fmla="*/ 1164084 h 1341642"/>
              <a:gd name="connsiteX77" fmla="*/ 616904 w 1158184"/>
              <a:gd name="connsiteY77" fmla="*/ 1026079 h 1341642"/>
              <a:gd name="connsiteX78" fmla="*/ 657895 w 1158184"/>
              <a:gd name="connsiteY78" fmla="*/ 944450 h 1341642"/>
              <a:gd name="connsiteX79" fmla="*/ 684035 w 1158184"/>
              <a:gd name="connsiteY79" fmla="*/ 896236 h 1341642"/>
              <a:gd name="connsiteX80" fmla="*/ 729670 w 1158184"/>
              <a:gd name="connsiteY80" fmla="*/ 856293 h 1341642"/>
              <a:gd name="connsiteX81" fmla="*/ 735685 w 1158184"/>
              <a:gd name="connsiteY81" fmla="*/ 853434 h 1341642"/>
              <a:gd name="connsiteX82" fmla="*/ 966392 w 1158184"/>
              <a:gd name="connsiteY82" fmla="*/ 916612 h 1341642"/>
              <a:gd name="connsiteX83" fmla="*/ 1010037 w 1158184"/>
              <a:gd name="connsiteY83" fmla="*/ 891106 h 1341642"/>
              <a:gd name="connsiteX84" fmla="*/ 710076 w 1158184"/>
              <a:gd name="connsiteY84" fmla="*/ 808723 h 1341642"/>
              <a:gd name="connsiteX85" fmla="*/ 703482 w 1158184"/>
              <a:gd name="connsiteY85" fmla="*/ 812530 h 1341642"/>
              <a:gd name="connsiteX86" fmla="*/ 644865 w 1158184"/>
              <a:gd name="connsiteY86" fmla="*/ 864160 h 1341642"/>
              <a:gd name="connsiteX87" fmla="*/ 609564 w 1158184"/>
              <a:gd name="connsiteY87" fmla="*/ 928908 h 1341642"/>
              <a:gd name="connsiteX88" fmla="*/ 562623 w 1158184"/>
              <a:gd name="connsiteY88" fmla="*/ 1015811 h 1341642"/>
              <a:gd name="connsiteX89" fmla="*/ 562109 w 1158184"/>
              <a:gd name="connsiteY89" fmla="*/ 1033691 h 1341642"/>
              <a:gd name="connsiteX90" fmla="*/ 662592 w 1158184"/>
              <a:gd name="connsiteY90" fmla="*/ 1207732 h 1341642"/>
              <a:gd name="connsiteX91" fmla="*/ 678333 w 1158184"/>
              <a:gd name="connsiteY91" fmla="*/ 1216226 h 1341642"/>
              <a:gd name="connsiteX92" fmla="*/ 777064 w 1158184"/>
              <a:gd name="connsiteY92" fmla="*/ 1219026 h 1341642"/>
              <a:gd name="connsiteX93" fmla="*/ 850788 w 1158184"/>
              <a:gd name="connsiteY93" fmla="*/ 1220829 h 1341642"/>
              <a:gd name="connsiteX94" fmla="*/ 924809 w 1158184"/>
              <a:gd name="connsiteY94" fmla="*/ 1195879 h 1341642"/>
              <a:gd name="connsiteX95" fmla="*/ 931403 w 1158184"/>
              <a:gd name="connsiteY95" fmla="*/ 1192072 h 1341642"/>
              <a:gd name="connsiteX96" fmla="*/ 1010037 w 1158184"/>
              <a:gd name="connsiteY96" fmla="*/ 891106 h 1341642"/>
              <a:gd name="connsiteX97" fmla="*/ 903486 w 1158184"/>
              <a:gd name="connsiteY97" fmla="*/ 661562 h 1341642"/>
              <a:gd name="connsiteX98" fmla="*/ 880060 w 1158184"/>
              <a:gd name="connsiteY98" fmla="*/ 670407 h 1341642"/>
              <a:gd name="connsiteX99" fmla="*/ 863593 w 1158184"/>
              <a:gd name="connsiteY99" fmla="*/ 730415 h 1341642"/>
              <a:gd name="connsiteX100" fmla="*/ 865354 w 1158184"/>
              <a:gd name="connsiteY100" fmla="*/ 743913 h 1341642"/>
              <a:gd name="connsiteX101" fmla="*/ 875958 w 1158184"/>
              <a:gd name="connsiteY101" fmla="*/ 752717 h 1341642"/>
              <a:gd name="connsiteX102" fmla="*/ 897579 w 1158184"/>
              <a:gd name="connsiteY102" fmla="*/ 740234 h 1341642"/>
              <a:gd name="connsiteX103" fmla="*/ 913781 w 1158184"/>
              <a:gd name="connsiteY103" fmla="*/ 679766 h 1341642"/>
              <a:gd name="connsiteX104" fmla="*/ 903486 w 1158184"/>
              <a:gd name="connsiteY104" fmla="*/ 661562 h 1341642"/>
              <a:gd name="connsiteX105" fmla="*/ 1156238 w 1158184"/>
              <a:gd name="connsiteY105" fmla="*/ 1083549 h 1341642"/>
              <a:gd name="connsiteX106" fmla="*/ 1145921 w 1158184"/>
              <a:gd name="connsiteY106" fmla="*/ 1074762 h 1341642"/>
              <a:gd name="connsiteX107" fmla="*/ 1085904 w 1158184"/>
              <a:gd name="connsiteY107" fmla="*/ 1058810 h 1341642"/>
              <a:gd name="connsiteX108" fmla="*/ 1064284 w 1158184"/>
              <a:gd name="connsiteY108" fmla="*/ 1071293 h 1341642"/>
              <a:gd name="connsiteX109" fmla="*/ 1076766 w 1158184"/>
              <a:gd name="connsiteY109" fmla="*/ 1092913 h 1341642"/>
              <a:gd name="connsiteX110" fmla="*/ 1136706 w 1158184"/>
              <a:gd name="connsiteY110" fmla="*/ 1108910 h 1341642"/>
              <a:gd name="connsiteX111" fmla="*/ 1157320 w 1158184"/>
              <a:gd name="connsiteY111" fmla="*/ 1097058 h 1341642"/>
              <a:gd name="connsiteX112" fmla="*/ 1156238 w 1158184"/>
              <a:gd name="connsiteY112" fmla="*/ 1083549 h 1341642"/>
              <a:gd name="connsiteX113" fmla="*/ 641209 w 1158184"/>
              <a:gd name="connsiteY113" fmla="*/ 174567 h 1341642"/>
              <a:gd name="connsiteX114" fmla="*/ 606352 w 1158184"/>
              <a:gd name="connsiteY114" fmla="*/ 114193 h 1341642"/>
              <a:gd name="connsiteX115" fmla="*/ 538518 w 1158184"/>
              <a:gd name="connsiteY115" fmla="*/ 118698 h 1341642"/>
              <a:gd name="connsiteX116" fmla="*/ 492604 w 1158184"/>
              <a:gd name="connsiteY116" fmla="*/ 83714 h 1341642"/>
              <a:gd name="connsiteX117" fmla="*/ 479099 w 1158184"/>
              <a:gd name="connsiteY117" fmla="*/ 17720 h 1341642"/>
              <a:gd name="connsiteX118" fmla="*/ 412967 w 1158184"/>
              <a:gd name="connsiteY118" fmla="*/ 0 h 1341642"/>
              <a:gd name="connsiteX119" fmla="*/ 368275 w 1158184"/>
              <a:gd name="connsiteY119" fmla="*/ 50400 h 1341642"/>
              <a:gd name="connsiteX120" fmla="*/ 311022 w 1158184"/>
              <a:gd name="connsiteY120" fmla="*/ 57741 h 1341642"/>
              <a:gd name="connsiteX121" fmla="*/ 254527 w 1158184"/>
              <a:gd name="connsiteY121" fmla="*/ 19921 h 1341642"/>
              <a:gd name="connsiteX122" fmla="*/ 194153 w 1158184"/>
              <a:gd name="connsiteY122" fmla="*/ 54778 h 1341642"/>
              <a:gd name="connsiteX123" fmla="*/ 198659 w 1158184"/>
              <a:gd name="connsiteY123" fmla="*/ 122613 h 1341642"/>
              <a:gd name="connsiteX124" fmla="*/ 163674 w 1158184"/>
              <a:gd name="connsiteY124" fmla="*/ 168526 h 1341642"/>
              <a:gd name="connsiteX125" fmla="*/ 97680 w 1158184"/>
              <a:gd name="connsiteY125" fmla="*/ 182031 h 1341642"/>
              <a:gd name="connsiteX126" fmla="*/ 79961 w 1158184"/>
              <a:gd name="connsiteY126" fmla="*/ 248163 h 1341642"/>
              <a:gd name="connsiteX127" fmla="*/ 130360 w 1158184"/>
              <a:gd name="connsiteY127" fmla="*/ 292856 h 1341642"/>
              <a:gd name="connsiteX128" fmla="*/ 139025 w 1158184"/>
              <a:gd name="connsiteY128" fmla="*/ 350463 h 1341642"/>
              <a:gd name="connsiteX129" fmla="*/ 101205 w 1158184"/>
              <a:gd name="connsiteY129" fmla="*/ 406958 h 1341642"/>
              <a:gd name="connsiteX130" fmla="*/ 136416 w 1158184"/>
              <a:gd name="connsiteY130" fmla="*/ 466009 h 1341642"/>
              <a:gd name="connsiteX131" fmla="*/ 204251 w 1158184"/>
              <a:gd name="connsiteY131" fmla="*/ 461503 h 1341642"/>
              <a:gd name="connsiteX132" fmla="*/ 250164 w 1158184"/>
              <a:gd name="connsiteY132" fmla="*/ 496488 h 1341642"/>
              <a:gd name="connsiteX133" fmla="*/ 263669 w 1158184"/>
              <a:gd name="connsiteY133" fmla="*/ 562481 h 1341642"/>
              <a:gd name="connsiteX134" fmla="*/ 329801 w 1158184"/>
              <a:gd name="connsiteY134" fmla="*/ 580201 h 1341642"/>
              <a:gd name="connsiteX135" fmla="*/ 374494 w 1158184"/>
              <a:gd name="connsiteY135" fmla="*/ 529801 h 1341642"/>
              <a:gd name="connsiteX136" fmla="*/ 431747 w 1158184"/>
              <a:gd name="connsiteY136" fmla="*/ 522460 h 1341642"/>
              <a:gd name="connsiteX137" fmla="*/ 488242 w 1158184"/>
              <a:gd name="connsiteY137" fmla="*/ 560280 h 1341642"/>
              <a:gd name="connsiteX138" fmla="*/ 546938 w 1158184"/>
              <a:gd name="connsiteY138" fmla="*/ 526392 h 1341642"/>
              <a:gd name="connsiteX139" fmla="*/ 542432 w 1158184"/>
              <a:gd name="connsiteY139" fmla="*/ 458556 h 1341642"/>
              <a:gd name="connsiteX140" fmla="*/ 577416 w 1158184"/>
              <a:gd name="connsiteY140" fmla="*/ 412644 h 1341642"/>
              <a:gd name="connsiteX141" fmla="*/ 643410 w 1158184"/>
              <a:gd name="connsiteY141" fmla="*/ 399139 h 1341642"/>
              <a:gd name="connsiteX142" fmla="*/ 661130 w 1158184"/>
              <a:gd name="connsiteY142" fmla="*/ 333006 h 1341642"/>
              <a:gd name="connsiteX143" fmla="*/ 610730 w 1158184"/>
              <a:gd name="connsiteY143" fmla="*/ 288314 h 1341642"/>
              <a:gd name="connsiteX144" fmla="*/ 603390 w 1158184"/>
              <a:gd name="connsiteY144" fmla="*/ 231060 h 1341642"/>
              <a:gd name="connsiteX145" fmla="*/ 1123455 w 1158184"/>
              <a:gd name="connsiteY145" fmla="*/ 823375 h 1341642"/>
              <a:gd name="connsiteX146" fmla="*/ 1099267 w 1158184"/>
              <a:gd name="connsiteY146" fmla="*/ 816894 h 1341642"/>
              <a:gd name="connsiteX147" fmla="*/ 1045598 w 1158184"/>
              <a:gd name="connsiteY147" fmla="*/ 847880 h 1341642"/>
              <a:gd name="connsiteX148" fmla="*/ 1039118 w 1158184"/>
              <a:gd name="connsiteY148" fmla="*/ 872067 h 1341642"/>
              <a:gd name="connsiteX149" fmla="*/ 1063305 w 1158184"/>
              <a:gd name="connsiteY149" fmla="*/ 878548 h 1341642"/>
              <a:gd name="connsiteX150" fmla="*/ 1116974 w 1158184"/>
              <a:gd name="connsiteY150" fmla="*/ 847562 h 1341642"/>
              <a:gd name="connsiteX151" fmla="*/ 1123455 w 1158184"/>
              <a:gd name="connsiteY151" fmla="*/ 823375 h 1341642"/>
              <a:gd name="connsiteX152" fmla="*/ 863261 w 1158184"/>
              <a:gd name="connsiteY152" fmla="*/ 193144 h 1341642"/>
              <a:gd name="connsiteX153" fmla="*/ 838980 w 1158184"/>
              <a:gd name="connsiteY153" fmla="*/ 179126 h 1341642"/>
              <a:gd name="connsiteX154" fmla="*/ 710314 w 1158184"/>
              <a:gd name="connsiteY154" fmla="*/ 215068 h 1341642"/>
              <a:gd name="connsiteX155" fmla="*/ 699681 w 1158184"/>
              <a:gd name="connsiteY155" fmla="*/ 222804 h 1341642"/>
              <a:gd name="connsiteX156" fmla="*/ 698680 w 1158184"/>
              <a:gd name="connsiteY156" fmla="*/ 224537 h 1341642"/>
              <a:gd name="connsiteX157" fmla="*/ 697344 w 1158184"/>
              <a:gd name="connsiteY157" fmla="*/ 226851 h 1341642"/>
              <a:gd name="connsiteX158" fmla="*/ 696677 w 1158184"/>
              <a:gd name="connsiteY158" fmla="*/ 228007 h 1341642"/>
              <a:gd name="connsiteX159" fmla="*/ 696009 w 1158184"/>
              <a:gd name="connsiteY159" fmla="*/ 229163 h 1341642"/>
              <a:gd name="connsiteX160" fmla="*/ 696296 w 1158184"/>
              <a:gd name="connsiteY160" fmla="*/ 239349 h 1341642"/>
              <a:gd name="connsiteX161" fmla="*/ 732238 w 1158184"/>
              <a:gd name="connsiteY161" fmla="*/ 368015 h 1341642"/>
              <a:gd name="connsiteX162" fmla="*/ 756519 w 1158184"/>
              <a:gd name="connsiteY162" fmla="*/ 382033 h 1341642"/>
              <a:gd name="connsiteX163" fmla="*/ 770537 w 1158184"/>
              <a:gd name="connsiteY163" fmla="*/ 357753 h 1341642"/>
              <a:gd name="connsiteX164" fmla="*/ 748367 w 1158184"/>
              <a:gd name="connsiteY164" fmla="*/ 278663 h 1341642"/>
              <a:gd name="connsiteX165" fmla="*/ 974373 w 1158184"/>
              <a:gd name="connsiteY165" fmla="*/ 529395 h 1341642"/>
              <a:gd name="connsiteX166" fmla="*/ 980985 w 1158184"/>
              <a:gd name="connsiteY166" fmla="*/ 718211 h 1341642"/>
              <a:gd name="connsiteX167" fmla="*/ 996945 w 1158184"/>
              <a:gd name="connsiteY167" fmla="*/ 741300 h 1341642"/>
              <a:gd name="connsiteX168" fmla="*/ 1020035 w 1158184"/>
              <a:gd name="connsiteY168" fmla="*/ 725340 h 1341642"/>
              <a:gd name="connsiteX169" fmla="*/ 1013162 w 1158184"/>
              <a:gd name="connsiteY169" fmla="*/ 520957 h 1341642"/>
              <a:gd name="connsiteX170" fmla="*/ 765259 w 1158184"/>
              <a:gd name="connsiteY170" fmla="*/ 241395 h 1341642"/>
              <a:gd name="connsiteX171" fmla="*/ 849243 w 1158184"/>
              <a:gd name="connsiteY171" fmla="*/ 217425 h 1341642"/>
              <a:gd name="connsiteX172" fmla="*/ 863261 w 1158184"/>
              <a:gd name="connsiteY172" fmla="*/ 193144 h 134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1158184" h="1341642">
                <a:moveTo>
                  <a:pt x="534309" y="1229352"/>
                </a:moveTo>
                <a:lnTo>
                  <a:pt x="479021" y="1133592"/>
                </a:lnTo>
                <a:cubicBezTo>
                  <a:pt x="455220" y="1149995"/>
                  <a:pt x="447991" y="1181918"/>
                  <a:pt x="462404" y="1206975"/>
                </a:cubicBezTo>
                <a:cubicBezTo>
                  <a:pt x="476903" y="1232001"/>
                  <a:pt x="508168" y="1241732"/>
                  <a:pt x="534309" y="1229352"/>
                </a:cubicBezTo>
                <a:close/>
                <a:moveTo>
                  <a:pt x="222715" y="671495"/>
                </a:moveTo>
                <a:lnTo>
                  <a:pt x="129258" y="576035"/>
                </a:lnTo>
                <a:cubicBezTo>
                  <a:pt x="127255" y="573364"/>
                  <a:pt x="123917" y="571362"/>
                  <a:pt x="120580" y="570694"/>
                </a:cubicBezTo>
                <a:lnTo>
                  <a:pt x="119245" y="570694"/>
                </a:lnTo>
                <a:lnTo>
                  <a:pt x="117910" y="570694"/>
                </a:lnTo>
                <a:cubicBezTo>
                  <a:pt x="116574" y="570694"/>
                  <a:pt x="115907" y="570694"/>
                  <a:pt x="115239" y="570694"/>
                </a:cubicBezTo>
                <a:cubicBezTo>
                  <a:pt x="114572" y="570694"/>
                  <a:pt x="113904" y="570694"/>
                  <a:pt x="113237" y="570694"/>
                </a:cubicBezTo>
                <a:cubicBezTo>
                  <a:pt x="108564" y="570694"/>
                  <a:pt x="104558" y="572697"/>
                  <a:pt x="101221" y="576035"/>
                </a:cubicBezTo>
                <a:lnTo>
                  <a:pt x="5761" y="669492"/>
                </a:lnTo>
                <a:cubicBezTo>
                  <a:pt x="-1582" y="676835"/>
                  <a:pt x="-2250" y="689519"/>
                  <a:pt x="5761" y="697529"/>
                </a:cubicBezTo>
                <a:cubicBezTo>
                  <a:pt x="13104" y="704872"/>
                  <a:pt x="25787" y="705540"/>
                  <a:pt x="33798" y="697529"/>
                </a:cubicBezTo>
                <a:lnTo>
                  <a:pt x="96548" y="636782"/>
                </a:lnTo>
                <a:cubicBezTo>
                  <a:pt x="63838" y="809011"/>
                  <a:pt x="141941" y="924498"/>
                  <a:pt x="214705" y="991254"/>
                </a:cubicBezTo>
                <a:cubicBezTo>
                  <a:pt x="265439" y="1037982"/>
                  <a:pt x="324183" y="1074698"/>
                  <a:pt x="388269" y="1099397"/>
                </a:cubicBezTo>
                <a:cubicBezTo>
                  <a:pt x="398282" y="1103403"/>
                  <a:pt x="409630" y="1098062"/>
                  <a:pt x="413636" y="1087381"/>
                </a:cubicBezTo>
                <a:cubicBezTo>
                  <a:pt x="417641" y="1077368"/>
                  <a:pt x="412300" y="1066020"/>
                  <a:pt x="401620" y="1062014"/>
                </a:cubicBezTo>
                <a:cubicBezTo>
                  <a:pt x="342207" y="1038650"/>
                  <a:pt x="288136" y="1004605"/>
                  <a:pt x="241407" y="961881"/>
                </a:cubicBezTo>
                <a:cubicBezTo>
                  <a:pt x="147282" y="874432"/>
                  <a:pt x="112569" y="766288"/>
                  <a:pt x="137269" y="640787"/>
                </a:cubicBezTo>
                <a:lnTo>
                  <a:pt x="194678" y="699532"/>
                </a:lnTo>
                <a:cubicBezTo>
                  <a:pt x="202021" y="706875"/>
                  <a:pt x="214705" y="707543"/>
                  <a:pt x="222715" y="699532"/>
                </a:cubicBezTo>
                <a:cubicBezTo>
                  <a:pt x="230058" y="692189"/>
                  <a:pt x="230726" y="679505"/>
                  <a:pt x="222715" y="671495"/>
                </a:cubicBezTo>
                <a:close/>
                <a:moveTo>
                  <a:pt x="619662" y="1204201"/>
                </a:moveTo>
                <a:lnTo>
                  <a:pt x="543481" y="1072252"/>
                </a:lnTo>
                <a:cubicBezTo>
                  <a:pt x="536349" y="1061422"/>
                  <a:pt x="522240" y="1057642"/>
                  <a:pt x="510646" y="1063454"/>
                </a:cubicBezTo>
                <a:cubicBezTo>
                  <a:pt x="498015" y="1069787"/>
                  <a:pt x="492910" y="1085162"/>
                  <a:pt x="499243" y="1097793"/>
                </a:cubicBezTo>
                <a:lnTo>
                  <a:pt x="575424" y="1229742"/>
                </a:lnTo>
                <a:cubicBezTo>
                  <a:pt x="582556" y="1240573"/>
                  <a:pt x="596665" y="1244353"/>
                  <a:pt x="608259" y="1238541"/>
                </a:cubicBezTo>
                <a:cubicBezTo>
                  <a:pt x="620890" y="1232207"/>
                  <a:pt x="625996" y="1216832"/>
                  <a:pt x="619662" y="1204201"/>
                </a:cubicBezTo>
                <a:close/>
                <a:moveTo>
                  <a:pt x="772999" y="1254996"/>
                </a:moveTo>
                <a:cubicBezTo>
                  <a:pt x="770948" y="1251443"/>
                  <a:pt x="767669" y="1248602"/>
                  <a:pt x="763554" y="1247151"/>
                </a:cubicBezTo>
                <a:cubicBezTo>
                  <a:pt x="754331" y="1243898"/>
                  <a:pt x="744219" y="1248738"/>
                  <a:pt x="740967" y="1257961"/>
                </a:cubicBezTo>
                <a:lnTo>
                  <a:pt x="724543" y="1318045"/>
                </a:lnTo>
                <a:cubicBezTo>
                  <a:pt x="724240" y="1318905"/>
                  <a:pt x="724004" y="1319787"/>
                  <a:pt x="723837" y="1320684"/>
                </a:cubicBezTo>
                <a:cubicBezTo>
                  <a:pt x="722041" y="1330296"/>
                  <a:pt x="728379" y="1339544"/>
                  <a:pt x="737992" y="1341339"/>
                </a:cubicBezTo>
                <a:cubicBezTo>
                  <a:pt x="747606" y="1343134"/>
                  <a:pt x="756852" y="1336796"/>
                  <a:pt x="758647" y="1327183"/>
                </a:cubicBezTo>
                <a:lnTo>
                  <a:pt x="775071" y="1267099"/>
                </a:lnTo>
                <a:cubicBezTo>
                  <a:pt x="775871" y="1262809"/>
                  <a:pt x="775050" y="1258548"/>
                  <a:pt x="772999" y="1254996"/>
                </a:cubicBezTo>
                <a:close/>
                <a:moveTo>
                  <a:pt x="578881" y="908925"/>
                </a:moveTo>
                <a:cubicBezTo>
                  <a:pt x="576418" y="905121"/>
                  <a:pt x="572505" y="902257"/>
                  <a:pt x="567724" y="901234"/>
                </a:cubicBezTo>
                <a:lnTo>
                  <a:pt x="507993" y="885424"/>
                </a:lnTo>
                <a:cubicBezTo>
                  <a:pt x="506768" y="884913"/>
                  <a:pt x="505493" y="884542"/>
                  <a:pt x="504185" y="884316"/>
                </a:cubicBezTo>
                <a:cubicBezTo>
                  <a:pt x="494550" y="882653"/>
                  <a:pt x="485390" y="889116"/>
                  <a:pt x="483726" y="898752"/>
                </a:cubicBezTo>
                <a:cubicBezTo>
                  <a:pt x="482062" y="908388"/>
                  <a:pt x="488525" y="917548"/>
                  <a:pt x="498162" y="919213"/>
                </a:cubicBezTo>
                <a:lnTo>
                  <a:pt x="558630" y="935415"/>
                </a:lnTo>
                <a:cubicBezTo>
                  <a:pt x="559182" y="935591"/>
                  <a:pt x="559745" y="935741"/>
                  <a:pt x="560313" y="935864"/>
                </a:cubicBezTo>
                <a:cubicBezTo>
                  <a:pt x="569876" y="937909"/>
                  <a:pt x="579286" y="931817"/>
                  <a:pt x="581333" y="922254"/>
                </a:cubicBezTo>
                <a:cubicBezTo>
                  <a:pt x="582356" y="917472"/>
                  <a:pt x="581344" y="912729"/>
                  <a:pt x="578881" y="908925"/>
                </a:cubicBezTo>
                <a:close/>
                <a:moveTo>
                  <a:pt x="1004416" y="1281176"/>
                </a:moveTo>
                <a:lnTo>
                  <a:pt x="973430" y="1227507"/>
                </a:lnTo>
                <a:cubicBezTo>
                  <a:pt x="968541" y="1219039"/>
                  <a:pt x="957713" y="1216136"/>
                  <a:pt x="949243" y="1221026"/>
                </a:cubicBezTo>
                <a:cubicBezTo>
                  <a:pt x="940775" y="1225916"/>
                  <a:pt x="937873" y="1236745"/>
                  <a:pt x="942763" y="1245213"/>
                </a:cubicBezTo>
                <a:lnTo>
                  <a:pt x="973749" y="1298882"/>
                </a:lnTo>
                <a:cubicBezTo>
                  <a:pt x="978638" y="1307351"/>
                  <a:pt x="989467" y="1310253"/>
                  <a:pt x="997935" y="1305363"/>
                </a:cubicBezTo>
                <a:cubicBezTo>
                  <a:pt x="1006405" y="1300473"/>
                  <a:pt x="1009306" y="1289645"/>
                  <a:pt x="1004416" y="1281176"/>
                </a:cubicBezTo>
                <a:close/>
                <a:moveTo>
                  <a:pt x="700628" y="753761"/>
                </a:moveTo>
                <a:lnTo>
                  <a:pt x="669642" y="700092"/>
                </a:lnTo>
                <a:cubicBezTo>
                  <a:pt x="664753" y="691624"/>
                  <a:pt x="653925" y="688721"/>
                  <a:pt x="645455" y="693611"/>
                </a:cubicBezTo>
                <a:cubicBezTo>
                  <a:pt x="636986" y="698501"/>
                  <a:pt x="634085" y="709330"/>
                  <a:pt x="638974" y="717798"/>
                </a:cubicBezTo>
                <a:lnTo>
                  <a:pt x="669960" y="771467"/>
                </a:lnTo>
                <a:cubicBezTo>
                  <a:pt x="674850" y="779937"/>
                  <a:pt x="685678" y="782838"/>
                  <a:pt x="694147" y="777948"/>
                </a:cubicBezTo>
                <a:cubicBezTo>
                  <a:pt x="702617" y="773058"/>
                  <a:pt x="705518" y="762231"/>
                  <a:pt x="700628" y="753761"/>
                </a:cubicBezTo>
                <a:close/>
                <a:moveTo>
                  <a:pt x="459219" y="239389"/>
                </a:moveTo>
                <a:cubicBezTo>
                  <a:pt x="472412" y="262238"/>
                  <a:pt x="477009" y="290051"/>
                  <a:pt x="469744" y="317164"/>
                </a:cubicBezTo>
                <a:cubicBezTo>
                  <a:pt x="455213" y="371394"/>
                  <a:pt x="399517" y="404669"/>
                  <a:pt x="343966" y="389784"/>
                </a:cubicBezTo>
                <a:cubicBezTo>
                  <a:pt x="289736" y="375253"/>
                  <a:pt x="256816" y="318233"/>
                  <a:pt x="271347" y="264004"/>
                </a:cubicBezTo>
                <a:cubicBezTo>
                  <a:pt x="285877" y="209776"/>
                  <a:pt x="341575" y="176501"/>
                  <a:pt x="397126" y="191386"/>
                </a:cubicBezTo>
                <a:cubicBezTo>
                  <a:pt x="424240" y="198652"/>
                  <a:pt x="446027" y="216539"/>
                  <a:pt x="459219" y="239389"/>
                </a:cubicBezTo>
                <a:close/>
                <a:moveTo>
                  <a:pt x="966392" y="916612"/>
                </a:moveTo>
                <a:cubicBezTo>
                  <a:pt x="1012389" y="997408"/>
                  <a:pt x="985463" y="1100147"/>
                  <a:pt x="905752" y="1147999"/>
                </a:cubicBezTo>
                <a:lnTo>
                  <a:pt x="900233" y="1151186"/>
                </a:lnTo>
                <a:cubicBezTo>
                  <a:pt x="882208" y="1160703"/>
                  <a:pt x="862736" y="1167178"/>
                  <a:pt x="842602" y="1170353"/>
                </a:cubicBezTo>
                <a:cubicBezTo>
                  <a:pt x="824384" y="1173107"/>
                  <a:pt x="805822" y="1172610"/>
                  <a:pt x="787778" y="1168884"/>
                </a:cubicBezTo>
                <a:cubicBezTo>
                  <a:pt x="757671" y="1163733"/>
                  <a:pt x="727063" y="1162123"/>
                  <a:pt x="696581" y="1164084"/>
                </a:cubicBezTo>
                <a:lnTo>
                  <a:pt x="616904" y="1026079"/>
                </a:lnTo>
                <a:cubicBezTo>
                  <a:pt x="633704" y="1000561"/>
                  <a:pt x="647461" y="973165"/>
                  <a:pt x="657895" y="944450"/>
                </a:cubicBezTo>
                <a:cubicBezTo>
                  <a:pt x="663689" y="926960"/>
                  <a:pt x="672539" y="910636"/>
                  <a:pt x="684035" y="896236"/>
                </a:cubicBezTo>
                <a:cubicBezTo>
                  <a:pt x="696948" y="880505"/>
                  <a:pt x="712366" y="867010"/>
                  <a:pt x="729670" y="856293"/>
                </a:cubicBezTo>
                <a:lnTo>
                  <a:pt x="735685" y="853434"/>
                </a:lnTo>
                <a:cubicBezTo>
                  <a:pt x="816982" y="808328"/>
                  <a:pt x="919419" y="836380"/>
                  <a:pt x="966392" y="916612"/>
                </a:cubicBezTo>
                <a:close/>
                <a:moveTo>
                  <a:pt x="1010037" y="891106"/>
                </a:moveTo>
                <a:cubicBezTo>
                  <a:pt x="948961" y="786813"/>
                  <a:pt x="815855" y="750256"/>
                  <a:pt x="710076" y="808723"/>
                </a:cubicBezTo>
                <a:lnTo>
                  <a:pt x="703482" y="812530"/>
                </a:lnTo>
                <a:cubicBezTo>
                  <a:pt x="681190" y="826335"/>
                  <a:pt x="661375" y="843788"/>
                  <a:pt x="644865" y="864160"/>
                </a:cubicBezTo>
                <a:cubicBezTo>
                  <a:pt x="629340" y="883470"/>
                  <a:pt x="617385" y="905397"/>
                  <a:pt x="609564" y="928908"/>
                </a:cubicBezTo>
                <a:cubicBezTo>
                  <a:pt x="600533" y="957531"/>
                  <a:pt x="574492" y="998123"/>
                  <a:pt x="562623" y="1015811"/>
                </a:cubicBezTo>
                <a:cubicBezTo>
                  <a:pt x="559055" y="1021185"/>
                  <a:pt x="558857" y="1028121"/>
                  <a:pt x="562109" y="1033691"/>
                </a:cubicBezTo>
                <a:lnTo>
                  <a:pt x="662592" y="1207732"/>
                </a:lnTo>
                <a:cubicBezTo>
                  <a:pt x="665790" y="1213334"/>
                  <a:pt x="671895" y="1216629"/>
                  <a:pt x="678333" y="1216226"/>
                </a:cubicBezTo>
                <a:cubicBezTo>
                  <a:pt x="699586" y="1214792"/>
                  <a:pt x="747837" y="1212491"/>
                  <a:pt x="777064" y="1219026"/>
                </a:cubicBezTo>
                <a:cubicBezTo>
                  <a:pt x="801336" y="1224009"/>
                  <a:pt x="826302" y="1224618"/>
                  <a:pt x="850788" y="1220829"/>
                </a:cubicBezTo>
                <a:cubicBezTo>
                  <a:pt x="876685" y="1216717"/>
                  <a:pt x="901708" y="1208283"/>
                  <a:pt x="924809" y="1195879"/>
                </a:cubicBezTo>
                <a:lnTo>
                  <a:pt x="931403" y="1192072"/>
                </a:lnTo>
                <a:cubicBezTo>
                  <a:pt x="1034926" y="1129698"/>
                  <a:pt x="1069820" y="996148"/>
                  <a:pt x="1010037" y="891106"/>
                </a:cubicBezTo>
                <a:close/>
                <a:moveTo>
                  <a:pt x="903486" y="661562"/>
                </a:moveTo>
                <a:cubicBezTo>
                  <a:pt x="894575" y="657535"/>
                  <a:pt x="884088" y="661496"/>
                  <a:pt x="880060" y="670407"/>
                </a:cubicBezTo>
                <a:lnTo>
                  <a:pt x="863593" y="730415"/>
                </a:lnTo>
                <a:cubicBezTo>
                  <a:pt x="862358" y="734969"/>
                  <a:pt x="862992" y="739829"/>
                  <a:pt x="865354" y="743913"/>
                </a:cubicBezTo>
                <a:cubicBezTo>
                  <a:pt x="867555" y="748159"/>
                  <a:pt x="871379" y="751335"/>
                  <a:pt x="875958" y="752717"/>
                </a:cubicBezTo>
                <a:cubicBezTo>
                  <a:pt x="885371" y="755209"/>
                  <a:pt x="895030" y="749633"/>
                  <a:pt x="897579" y="740234"/>
                </a:cubicBezTo>
                <a:lnTo>
                  <a:pt x="913781" y="679766"/>
                </a:lnTo>
                <a:cubicBezTo>
                  <a:pt x="914683" y="672103"/>
                  <a:pt x="910518" y="664739"/>
                  <a:pt x="903486" y="661562"/>
                </a:cubicBezTo>
                <a:close/>
                <a:moveTo>
                  <a:pt x="1156238" y="1083549"/>
                </a:moveTo>
                <a:cubicBezTo>
                  <a:pt x="1154175" y="1079514"/>
                  <a:pt x="1150573" y="1076266"/>
                  <a:pt x="1145921" y="1074762"/>
                </a:cubicBezTo>
                <a:lnTo>
                  <a:pt x="1085904" y="1058810"/>
                </a:lnTo>
                <a:cubicBezTo>
                  <a:pt x="1076491" y="1056318"/>
                  <a:pt x="1066832" y="1061895"/>
                  <a:pt x="1064284" y="1071293"/>
                </a:cubicBezTo>
                <a:cubicBezTo>
                  <a:pt x="1061791" y="1080706"/>
                  <a:pt x="1067368" y="1090365"/>
                  <a:pt x="1076766" y="1092913"/>
                </a:cubicBezTo>
                <a:lnTo>
                  <a:pt x="1136706" y="1108910"/>
                </a:lnTo>
                <a:cubicBezTo>
                  <a:pt x="1145602" y="1110847"/>
                  <a:pt x="1154518" y="1105721"/>
                  <a:pt x="1157320" y="1097058"/>
                </a:cubicBezTo>
                <a:cubicBezTo>
                  <a:pt x="1158825" y="1092405"/>
                  <a:pt x="1158301" y="1087583"/>
                  <a:pt x="1156238" y="1083549"/>
                </a:cubicBezTo>
                <a:close/>
                <a:moveTo>
                  <a:pt x="641209" y="174567"/>
                </a:moveTo>
                <a:lnTo>
                  <a:pt x="606352" y="114193"/>
                </a:lnTo>
                <a:lnTo>
                  <a:pt x="538518" y="118698"/>
                </a:lnTo>
                <a:cubicBezTo>
                  <a:pt x="525127" y="105186"/>
                  <a:pt x="509703" y="93966"/>
                  <a:pt x="492604" y="83714"/>
                </a:cubicBezTo>
                <a:lnTo>
                  <a:pt x="479099" y="17720"/>
                </a:lnTo>
                <a:lnTo>
                  <a:pt x="412967" y="0"/>
                </a:lnTo>
                <a:lnTo>
                  <a:pt x="368275" y="50400"/>
                </a:lnTo>
                <a:cubicBezTo>
                  <a:pt x="348340" y="50729"/>
                  <a:pt x="329374" y="52734"/>
                  <a:pt x="311022" y="57741"/>
                </a:cubicBezTo>
                <a:lnTo>
                  <a:pt x="254527" y="19921"/>
                </a:lnTo>
                <a:lnTo>
                  <a:pt x="194153" y="54778"/>
                </a:lnTo>
                <a:lnTo>
                  <a:pt x="198659" y="122613"/>
                </a:lnTo>
                <a:cubicBezTo>
                  <a:pt x="185148" y="136004"/>
                  <a:pt x="173926" y="151427"/>
                  <a:pt x="163674" y="168526"/>
                </a:cubicBezTo>
                <a:lnTo>
                  <a:pt x="97680" y="182031"/>
                </a:lnTo>
                <a:lnTo>
                  <a:pt x="79961" y="248163"/>
                </a:lnTo>
                <a:lnTo>
                  <a:pt x="130360" y="292856"/>
                </a:lnTo>
                <a:cubicBezTo>
                  <a:pt x="131044" y="311467"/>
                  <a:pt x="134018" y="332110"/>
                  <a:pt x="139025" y="350463"/>
                </a:cubicBezTo>
                <a:lnTo>
                  <a:pt x="101205" y="406958"/>
                </a:lnTo>
                <a:lnTo>
                  <a:pt x="136416" y="466009"/>
                </a:lnTo>
                <a:lnTo>
                  <a:pt x="204251" y="461503"/>
                </a:lnTo>
                <a:cubicBezTo>
                  <a:pt x="217642" y="475015"/>
                  <a:pt x="233065" y="486235"/>
                  <a:pt x="250164" y="496488"/>
                </a:cubicBezTo>
                <a:lnTo>
                  <a:pt x="263669" y="562481"/>
                </a:lnTo>
                <a:lnTo>
                  <a:pt x="329801" y="580201"/>
                </a:lnTo>
                <a:lnTo>
                  <a:pt x="374494" y="529801"/>
                </a:lnTo>
                <a:cubicBezTo>
                  <a:pt x="394428" y="529472"/>
                  <a:pt x="413394" y="527467"/>
                  <a:pt x="431747" y="522460"/>
                </a:cubicBezTo>
                <a:lnTo>
                  <a:pt x="488242" y="560280"/>
                </a:lnTo>
                <a:lnTo>
                  <a:pt x="546938" y="526392"/>
                </a:lnTo>
                <a:lnTo>
                  <a:pt x="542432" y="458556"/>
                </a:lnTo>
                <a:cubicBezTo>
                  <a:pt x="555944" y="445165"/>
                  <a:pt x="567164" y="429743"/>
                  <a:pt x="577416" y="412644"/>
                </a:cubicBezTo>
                <a:lnTo>
                  <a:pt x="643410" y="399139"/>
                </a:lnTo>
                <a:lnTo>
                  <a:pt x="661130" y="333006"/>
                </a:lnTo>
                <a:lnTo>
                  <a:pt x="610730" y="288314"/>
                </a:lnTo>
                <a:cubicBezTo>
                  <a:pt x="610401" y="268380"/>
                  <a:pt x="608396" y="249413"/>
                  <a:pt x="603390" y="231060"/>
                </a:cubicBezTo>
                <a:close/>
                <a:moveTo>
                  <a:pt x="1123455" y="823375"/>
                </a:moveTo>
                <a:cubicBezTo>
                  <a:pt x="1118565" y="814906"/>
                  <a:pt x="1107736" y="812004"/>
                  <a:pt x="1099267" y="816894"/>
                </a:cubicBezTo>
                <a:lnTo>
                  <a:pt x="1045598" y="847880"/>
                </a:lnTo>
                <a:cubicBezTo>
                  <a:pt x="1037130" y="852769"/>
                  <a:pt x="1034228" y="863598"/>
                  <a:pt x="1039118" y="872067"/>
                </a:cubicBezTo>
                <a:cubicBezTo>
                  <a:pt x="1044008" y="880537"/>
                  <a:pt x="1054836" y="883438"/>
                  <a:pt x="1063305" y="878548"/>
                </a:cubicBezTo>
                <a:lnTo>
                  <a:pt x="1116974" y="847562"/>
                </a:lnTo>
                <a:cubicBezTo>
                  <a:pt x="1125443" y="842673"/>
                  <a:pt x="1128345" y="831845"/>
                  <a:pt x="1123455" y="823375"/>
                </a:cubicBezTo>
                <a:close/>
                <a:moveTo>
                  <a:pt x="863261" y="193144"/>
                </a:moveTo>
                <a:cubicBezTo>
                  <a:pt x="860330" y="182201"/>
                  <a:pt x="849011" y="176438"/>
                  <a:pt x="838980" y="179126"/>
                </a:cubicBezTo>
                <a:lnTo>
                  <a:pt x="710314" y="215068"/>
                </a:lnTo>
                <a:cubicBezTo>
                  <a:pt x="705755" y="216289"/>
                  <a:pt x="702017" y="218757"/>
                  <a:pt x="699681" y="222804"/>
                </a:cubicBezTo>
                <a:cubicBezTo>
                  <a:pt x="699347" y="223381"/>
                  <a:pt x="699013" y="223960"/>
                  <a:pt x="698680" y="224537"/>
                </a:cubicBezTo>
                <a:cubicBezTo>
                  <a:pt x="698346" y="225116"/>
                  <a:pt x="698012" y="225694"/>
                  <a:pt x="697344" y="226851"/>
                </a:cubicBezTo>
                <a:lnTo>
                  <a:pt x="696677" y="228007"/>
                </a:lnTo>
                <a:lnTo>
                  <a:pt x="696009" y="229163"/>
                </a:lnTo>
                <a:cubicBezTo>
                  <a:pt x="694919" y="232387"/>
                  <a:pt x="694984" y="236279"/>
                  <a:pt x="696296" y="239349"/>
                </a:cubicBezTo>
                <a:lnTo>
                  <a:pt x="732238" y="368015"/>
                </a:lnTo>
                <a:cubicBezTo>
                  <a:pt x="735170" y="378958"/>
                  <a:pt x="746488" y="384721"/>
                  <a:pt x="756519" y="382033"/>
                </a:cubicBezTo>
                <a:cubicBezTo>
                  <a:pt x="767462" y="379102"/>
                  <a:pt x="773225" y="367783"/>
                  <a:pt x="770537" y="357753"/>
                </a:cubicBezTo>
                <a:lnTo>
                  <a:pt x="748367" y="278663"/>
                </a:lnTo>
                <a:cubicBezTo>
                  <a:pt x="869404" y="320022"/>
                  <a:pt x="945703" y="404156"/>
                  <a:pt x="974373" y="529395"/>
                </a:cubicBezTo>
                <a:cubicBezTo>
                  <a:pt x="988009" y="591226"/>
                  <a:pt x="990457" y="655075"/>
                  <a:pt x="980985" y="718211"/>
                </a:cubicBezTo>
                <a:cubicBezTo>
                  <a:pt x="979114" y="729463"/>
                  <a:pt x="986271" y="739762"/>
                  <a:pt x="996945" y="741300"/>
                </a:cubicBezTo>
                <a:cubicBezTo>
                  <a:pt x="1008198" y="743171"/>
                  <a:pt x="1018498" y="736014"/>
                  <a:pt x="1020035" y="725340"/>
                </a:cubicBezTo>
                <a:cubicBezTo>
                  <a:pt x="1030688" y="657490"/>
                  <a:pt x="1028263" y="588258"/>
                  <a:pt x="1013162" y="520957"/>
                </a:cubicBezTo>
                <a:cubicBezTo>
                  <a:pt x="991732" y="424564"/>
                  <a:pt x="930769" y="299182"/>
                  <a:pt x="765259" y="241395"/>
                </a:cubicBezTo>
                <a:lnTo>
                  <a:pt x="849243" y="217425"/>
                </a:lnTo>
                <a:cubicBezTo>
                  <a:pt x="860186" y="214493"/>
                  <a:pt x="865949" y="203175"/>
                  <a:pt x="863261" y="193144"/>
                </a:cubicBezTo>
                <a:close/>
              </a:path>
            </a:pathLst>
          </a:custGeom>
          <a:solidFill>
            <a:schemeClr val="accent1"/>
          </a:solidFill>
          <a:ln w="6648" cap="flat">
            <a:noFill/>
            <a:prstDash val="solid"/>
            <a:miter/>
          </a:ln>
        </p:spPr>
        <p:txBody>
          <a:bodyPr rtlCol="0" anchor="ctr"/>
          <a:lstStyle/>
          <a:p>
            <a:pPr defTabSz="685800"/>
            <a:endParaRPr lang="en-US" sz="1350">
              <a:solidFill>
                <a:prstClr val="black"/>
              </a:solidFill>
              <a:latin typeface="Calibri"/>
            </a:endParaRPr>
          </a:p>
        </p:txBody>
      </p:sp>
      <p:sp>
        <p:nvSpPr>
          <p:cNvPr id="40" name="Rectangle: Rounded Corners 39">
            <a:extLst>
              <a:ext uri="{FF2B5EF4-FFF2-40B4-BE49-F238E27FC236}">
                <a16:creationId xmlns:a16="http://schemas.microsoft.com/office/drawing/2014/main" id="{807EAE42-FCCC-435A-B791-2E679EA686BF}"/>
              </a:ext>
            </a:extLst>
          </p:cNvPr>
          <p:cNvSpPr/>
          <p:nvPr/>
        </p:nvSpPr>
        <p:spPr>
          <a:xfrm>
            <a:off x="1449061" y="3833829"/>
            <a:ext cx="6545855" cy="81323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i="1">
                <a:solidFill>
                  <a:prstClr val="white"/>
                </a:solidFill>
                <a:latin typeface="Calibri"/>
              </a:rPr>
              <a:t>We can change the cancer experience if we act </a:t>
            </a:r>
            <a:r>
              <a:rPr lang="en-US" b="1" i="1">
                <a:solidFill>
                  <a:prstClr val="white"/>
                </a:solidFill>
                <a:latin typeface="Calibri"/>
              </a:rPr>
              <a:t>In Advance</a:t>
            </a:r>
          </a:p>
        </p:txBody>
      </p:sp>
    </p:spTree>
    <p:extLst>
      <p:ext uri="{BB962C8B-B14F-4D97-AF65-F5344CB8AC3E}">
        <p14:creationId xmlns:p14="http://schemas.microsoft.com/office/powerpoint/2010/main" val="332454374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descr="Une image contenant texte, carte&#10;&#10;Description générée automatiquement">
            <a:extLst>
              <a:ext uri="{FF2B5EF4-FFF2-40B4-BE49-F238E27FC236}">
                <a16:creationId xmlns:a16="http://schemas.microsoft.com/office/drawing/2014/main" id="{CFCCCF80-1765-3743-B3D2-739D590002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3001" y="812336"/>
            <a:ext cx="6997118" cy="3954378"/>
          </a:xfrm>
          <a:prstGeom prst="rect">
            <a:avLst/>
          </a:prstGeom>
        </p:spPr>
      </p:pic>
      <p:sp>
        <p:nvSpPr>
          <p:cNvPr id="2" name="Titre 1"/>
          <p:cNvSpPr>
            <a:spLocks noGrp="1"/>
          </p:cNvSpPr>
          <p:nvPr>
            <p:ph type="title"/>
          </p:nvPr>
        </p:nvSpPr>
        <p:spPr>
          <a:xfrm>
            <a:off x="804937" y="83854"/>
            <a:ext cx="5797648" cy="585329"/>
          </a:xfrm>
        </p:spPr>
        <p:txBody>
          <a:bodyPr>
            <a:normAutofit/>
          </a:bodyPr>
          <a:lstStyle/>
          <a:p>
            <a:r>
              <a:rPr lang="en-US" sz="2100" b="1" noProof="0">
                <a:solidFill>
                  <a:srgbClr val="0062A7"/>
                </a:solidFill>
                <a:latin typeface="Calibri" charset="0"/>
                <a:ea typeface="Calibri" charset="0"/>
                <a:cs typeface="Calibri" charset="0"/>
              </a:rPr>
              <a:t>Maintenance Bortezomib in del(17p)</a:t>
            </a:r>
          </a:p>
        </p:txBody>
      </p:sp>
      <p:sp>
        <p:nvSpPr>
          <p:cNvPr id="12" name="Rectangle 11">
            <a:extLst>
              <a:ext uri="{FF2B5EF4-FFF2-40B4-BE49-F238E27FC236}">
                <a16:creationId xmlns:a16="http://schemas.microsoft.com/office/drawing/2014/main" id="{3B84BEF4-7528-9448-ACCB-A5117F04A253}"/>
              </a:ext>
            </a:extLst>
          </p:cNvPr>
          <p:cNvSpPr/>
          <p:nvPr/>
        </p:nvSpPr>
        <p:spPr>
          <a:xfrm>
            <a:off x="905488" y="1719857"/>
            <a:ext cx="6997118" cy="346249"/>
          </a:xfrm>
          <a:prstGeom prst="rect">
            <a:avLst/>
          </a:prstGeom>
        </p:spPr>
        <p:txBody>
          <a:bodyPr wrap="square">
            <a:spAutoFit/>
          </a:bodyPr>
          <a:lstStyle/>
          <a:p>
            <a:pPr marL="600060" lvl="1" indent="-257168" defTabSz="685800">
              <a:buFont typeface="Arial" charset="0"/>
              <a:buChar char="•"/>
            </a:pPr>
            <a:endParaRPr lang="fr-FR" sz="1650">
              <a:solidFill>
                <a:prstClr val="black"/>
              </a:solidFill>
              <a:latin typeface="Calibri" charset="0"/>
              <a:ea typeface="Calibri" charset="0"/>
              <a:cs typeface="Calibri" charset="0"/>
            </a:endParaRPr>
          </a:p>
        </p:txBody>
      </p:sp>
      <p:sp>
        <p:nvSpPr>
          <p:cNvPr id="16" name="Espace réservé du pied de page 3">
            <a:extLst>
              <a:ext uri="{FF2B5EF4-FFF2-40B4-BE49-F238E27FC236}">
                <a16:creationId xmlns:a16="http://schemas.microsoft.com/office/drawing/2014/main" id="{5A56ED61-836C-BD48-8EBC-C0E066E079E4}"/>
              </a:ext>
            </a:extLst>
          </p:cNvPr>
          <p:cNvSpPr txBox="1">
            <a:spLocks/>
          </p:cNvSpPr>
          <p:nvPr/>
        </p:nvSpPr>
        <p:spPr bwMode="auto">
          <a:xfrm>
            <a:off x="3218280" y="4899383"/>
            <a:ext cx="5925720"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nb-NO" sz="1050"/>
              <a:t>Neben K, et al. </a:t>
            </a:r>
            <a:r>
              <a:rPr lang="nb-NO" sz="1050" i="1"/>
              <a:t>Blood. </a:t>
            </a:r>
            <a:r>
              <a:rPr lang="nb-NO" sz="1050"/>
              <a:t>2012.</a:t>
            </a:r>
          </a:p>
        </p:txBody>
      </p:sp>
      <p:cxnSp>
        <p:nvCxnSpPr>
          <p:cNvPr id="7" name="Connecteur droit 5">
            <a:extLst>
              <a:ext uri="{FF2B5EF4-FFF2-40B4-BE49-F238E27FC236}">
                <a16:creationId xmlns:a16="http://schemas.microsoft.com/office/drawing/2014/main" id="{19DA3D1A-F4E9-4922-AB6A-DDD3356C33B1}"/>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18565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ZoneTexte 12"/>
          <p:cNvSpPr txBox="1">
            <a:spLocks noChangeArrowheads="1"/>
          </p:cNvSpPr>
          <p:nvPr/>
        </p:nvSpPr>
        <p:spPr bwMode="auto">
          <a:xfrm>
            <a:off x="47392" y="4901464"/>
            <a:ext cx="911873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defTabSz="685800" eaLnBrk="1" hangingPunct="1">
              <a:defRPr/>
            </a:pPr>
            <a:r>
              <a:rPr lang="fr-FR" sz="1050">
                <a:solidFill>
                  <a:prstClr val="black"/>
                </a:solidFill>
                <a:latin typeface="Calibri" panose="020F0502020204030204"/>
              </a:rPr>
              <a:t>    Gay F, et al. ASCO 2019.</a:t>
            </a:r>
          </a:p>
        </p:txBody>
      </p:sp>
      <p:pic>
        <p:nvPicPr>
          <p:cNvPr id="307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53049" y="806943"/>
            <a:ext cx="7274417" cy="3855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96506" y="766475"/>
            <a:ext cx="7588626" cy="39357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 Box 2"/>
          <p:cNvSpPr txBox="1">
            <a:spLocks noChangeArrowheads="1"/>
          </p:cNvSpPr>
          <p:nvPr/>
        </p:nvSpPr>
        <p:spPr bwMode="auto">
          <a:xfrm>
            <a:off x="808906" y="162680"/>
            <a:ext cx="8083448"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685800" eaLnBrk="1" hangingPunct="1"/>
            <a:r>
              <a:rPr lang="en-US" sz="2100" b="1">
                <a:solidFill>
                  <a:srgbClr val="0062A7"/>
                </a:solidFill>
              </a:rPr>
              <a:t>Lenalidomide-Based Combinations in Maintenance</a:t>
            </a:r>
          </a:p>
        </p:txBody>
      </p:sp>
      <p:cxnSp>
        <p:nvCxnSpPr>
          <p:cNvPr id="9" name="Connecteur droit 5">
            <a:extLst>
              <a:ext uri="{FF2B5EF4-FFF2-40B4-BE49-F238E27FC236}">
                <a16:creationId xmlns:a16="http://schemas.microsoft.com/office/drawing/2014/main" id="{3CBE9592-3A62-49D4-BEC9-ACB0ACAE1AB7}"/>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336857"/>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807474" y="159561"/>
            <a:ext cx="830840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685800" eaLnBrk="1" hangingPunct="1"/>
            <a:r>
              <a:rPr lang="en-US" sz="2100" b="1">
                <a:solidFill>
                  <a:srgbClr val="0062A7"/>
                </a:solidFill>
              </a:rPr>
              <a:t>Maintenance</a:t>
            </a:r>
          </a:p>
        </p:txBody>
      </p:sp>
      <p:pic>
        <p:nvPicPr>
          <p:cNvPr id="3074"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t="2773"/>
          <a:stretch/>
        </p:blipFill>
        <p:spPr bwMode="auto">
          <a:xfrm>
            <a:off x="337146" y="831638"/>
            <a:ext cx="8204718" cy="3844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ZoneTexte 5"/>
          <p:cNvSpPr txBox="1">
            <a:spLocks noChangeArrowheads="1"/>
          </p:cNvSpPr>
          <p:nvPr/>
        </p:nvSpPr>
        <p:spPr bwMode="auto">
          <a:xfrm>
            <a:off x="76098" y="4900090"/>
            <a:ext cx="9090025"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defTabSz="685800" eaLnBrk="1" hangingPunct="1">
              <a:defRPr/>
            </a:pPr>
            <a:r>
              <a:rPr lang="fr-FR" sz="1050">
                <a:solidFill>
                  <a:prstClr val="black"/>
                </a:solidFill>
                <a:latin typeface="Calibri" panose="020F0502020204030204"/>
              </a:rPr>
              <a:t>Moreau P, et al. </a:t>
            </a:r>
            <a:r>
              <a:rPr lang="fr-FR" sz="1050" i="1">
                <a:solidFill>
                  <a:prstClr val="black"/>
                </a:solidFill>
                <a:latin typeface="Calibri" panose="020F0502020204030204"/>
              </a:rPr>
              <a:t>Lancet Oncol. </a:t>
            </a:r>
            <a:r>
              <a:rPr lang="fr-FR" sz="1050">
                <a:solidFill>
                  <a:prstClr val="black"/>
                </a:solidFill>
                <a:latin typeface="Calibri" panose="020F0502020204030204"/>
              </a:rPr>
              <a:t>2021.</a:t>
            </a:r>
          </a:p>
        </p:txBody>
      </p:sp>
      <p:sp>
        <p:nvSpPr>
          <p:cNvPr id="2" name="TextBox 1">
            <a:extLst>
              <a:ext uri="{FF2B5EF4-FFF2-40B4-BE49-F238E27FC236}">
                <a16:creationId xmlns:a16="http://schemas.microsoft.com/office/drawing/2014/main" id="{FEA24E78-1312-4AD3-B79E-A6D635F96A93}"/>
              </a:ext>
            </a:extLst>
          </p:cNvPr>
          <p:cNvSpPr txBox="1"/>
          <p:nvPr/>
        </p:nvSpPr>
        <p:spPr>
          <a:xfrm>
            <a:off x="602137" y="3664255"/>
            <a:ext cx="3506525" cy="300082"/>
          </a:xfrm>
          <a:prstGeom prst="rect">
            <a:avLst/>
          </a:prstGeom>
          <a:noFill/>
        </p:spPr>
        <p:txBody>
          <a:bodyPr wrap="square" rtlCol="0">
            <a:spAutoFit/>
          </a:bodyPr>
          <a:lstStyle/>
          <a:p>
            <a:pPr defTabSz="685800"/>
            <a:r>
              <a:rPr lang="en-US" sz="1350">
                <a:solidFill>
                  <a:prstClr val="black"/>
                </a:solidFill>
                <a:latin typeface="Calibri" panose="020F0502020204030204"/>
              </a:rPr>
              <a:t>CASSIOPEIA IFM Study</a:t>
            </a:r>
            <a:endParaRPr lang="en-NL" sz="1350">
              <a:solidFill>
                <a:prstClr val="black"/>
              </a:solidFill>
              <a:latin typeface="Calibri" panose="020F0502020204030204"/>
            </a:endParaRPr>
          </a:p>
        </p:txBody>
      </p:sp>
      <p:cxnSp>
        <p:nvCxnSpPr>
          <p:cNvPr id="7" name="Connecteur droit 5">
            <a:extLst>
              <a:ext uri="{FF2B5EF4-FFF2-40B4-BE49-F238E27FC236}">
                <a16:creationId xmlns:a16="http://schemas.microsoft.com/office/drawing/2014/main" id="{FBD578A5-0FC0-4C26-9D85-AB1527962D38}"/>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2122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21867" y="1529923"/>
            <a:ext cx="3413187" cy="30067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ZoneTexte 13"/>
          <p:cNvSpPr txBox="1"/>
          <p:nvPr/>
        </p:nvSpPr>
        <p:spPr>
          <a:xfrm>
            <a:off x="1673444" y="1011891"/>
            <a:ext cx="1205779" cy="646331"/>
          </a:xfrm>
          <a:prstGeom prst="rect">
            <a:avLst/>
          </a:prstGeom>
          <a:noFill/>
        </p:spPr>
        <p:txBody>
          <a:bodyPr wrap="none" rtlCol="0">
            <a:spAutoFit/>
          </a:bodyPr>
          <a:lstStyle/>
          <a:p>
            <a:pPr algn="ctr" defTabSz="685800"/>
            <a:r>
              <a:rPr lang="fr-FR" b="1">
                <a:solidFill>
                  <a:srgbClr val="FF0000"/>
                </a:solidFill>
                <a:latin typeface="Calibri" panose="020F0502020204030204"/>
              </a:rPr>
              <a:t>PERSEUS</a:t>
            </a:r>
            <a:r>
              <a:rPr lang="fr-FR" b="1" baseline="30000">
                <a:solidFill>
                  <a:srgbClr val="FF0000"/>
                </a:solidFill>
                <a:latin typeface="Calibri" panose="020F0502020204030204"/>
              </a:rPr>
              <a:t>1</a:t>
            </a:r>
          </a:p>
          <a:p>
            <a:pPr algn="ctr" defTabSz="685800"/>
            <a:r>
              <a:rPr lang="en-US" b="1">
                <a:solidFill>
                  <a:prstClr val="black"/>
                </a:solidFill>
                <a:latin typeface="Calibri" panose="020F0502020204030204"/>
              </a:rPr>
              <a:t>Rev ± Dara</a:t>
            </a:r>
          </a:p>
        </p:txBody>
      </p:sp>
      <p:sp>
        <p:nvSpPr>
          <p:cNvPr id="9" name="ZoneTexte 8"/>
          <p:cNvSpPr txBox="1"/>
          <p:nvPr/>
        </p:nvSpPr>
        <p:spPr>
          <a:xfrm>
            <a:off x="6259858" y="1011891"/>
            <a:ext cx="1441421" cy="646331"/>
          </a:xfrm>
          <a:prstGeom prst="rect">
            <a:avLst/>
          </a:prstGeom>
          <a:noFill/>
        </p:spPr>
        <p:txBody>
          <a:bodyPr wrap="none" rtlCol="0">
            <a:spAutoFit/>
          </a:bodyPr>
          <a:lstStyle/>
          <a:p>
            <a:pPr algn="ctr" defTabSz="685800"/>
            <a:r>
              <a:rPr lang="fr-FR" b="1">
                <a:solidFill>
                  <a:srgbClr val="FF0000"/>
                </a:solidFill>
                <a:latin typeface="Calibri" panose="020F0502020204030204"/>
              </a:rPr>
              <a:t>GMMG-HD7</a:t>
            </a:r>
            <a:r>
              <a:rPr lang="fr-FR" b="1" baseline="30000">
                <a:solidFill>
                  <a:srgbClr val="FF0000"/>
                </a:solidFill>
                <a:latin typeface="Calibri" panose="020F0502020204030204"/>
              </a:rPr>
              <a:t>2</a:t>
            </a:r>
          </a:p>
          <a:p>
            <a:pPr algn="ctr" defTabSz="685800"/>
            <a:r>
              <a:rPr lang="en-US" b="1">
                <a:solidFill>
                  <a:prstClr val="black"/>
                </a:solidFill>
                <a:latin typeface="Calibri" panose="020F0502020204030204"/>
              </a:rPr>
              <a:t>Rev ± Isa</a:t>
            </a:r>
          </a:p>
        </p:txBody>
      </p:sp>
      <p:pic>
        <p:nvPicPr>
          <p:cNvPr id="10"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590067" y="1635138"/>
            <a:ext cx="2400300" cy="3017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 Box 2"/>
          <p:cNvSpPr txBox="1">
            <a:spLocks noChangeArrowheads="1"/>
          </p:cNvSpPr>
          <p:nvPr/>
        </p:nvSpPr>
        <p:spPr bwMode="auto">
          <a:xfrm>
            <a:off x="807474" y="159561"/>
            <a:ext cx="830840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685800" eaLnBrk="1" hangingPunct="1"/>
            <a:r>
              <a:rPr lang="en-US" sz="2100" b="1">
                <a:solidFill>
                  <a:srgbClr val="0062A7"/>
                </a:solidFill>
              </a:rPr>
              <a:t>Maintenance</a:t>
            </a:r>
          </a:p>
        </p:txBody>
      </p:sp>
      <p:sp>
        <p:nvSpPr>
          <p:cNvPr id="8" name="Espace réservé du pied de page 3">
            <a:extLst>
              <a:ext uri="{FF2B5EF4-FFF2-40B4-BE49-F238E27FC236}">
                <a16:creationId xmlns:a16="http://schemas.microsoft.com/office/drawing/2014/main" id="{48FB4308-26EF-4BCF-B096-661153D0B6ED}"/>
              </a:ext>
            </a:extLst>
          </p:cNvPr>
          <p:cNvSpPr txBox="1">
            <a:spLocks/>
          </p:cNvSpPr>
          <p:nvPr/>
        </p:nvSpPr>
        <p:spPr bwMode="auto">
          <a:xfrm>
            <a:off x="4383303" y="4900879"/>
            <a:ext cx="4760698"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nb-NO" sz="1050"/>
              <a:t>1. ClinicalTrials.gov; NCT03710603; 2. ClinicalTrials.gov; NCT03617731.</a:t>
            </a:r>
          </a:p>
        </p:txBody>
      </p:sp>
      <p:cxnSp>
        <p:nvCxnSpPr>
          <p:cNvPr id="13" name="Connecteur droit 5">
            <a:extLst>
              <a:ext uri="{FF2B5EF4-FFF2-40B4-BE49-F238E27FC236}">
                <a16:creationId xmlns:a16="http://schemas.microsoft.com/office/drawing/2014/main" id="{1F877F64-A5F0-4DA4-91BB-3E1EA452AA78}"/>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712659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7475" y="83852"/>
            <a:ext cx="6273047" cy="585329"/>
          </a:xfrm>
        </p:spPr>
        <p:txBody>
          <a:bodyPr>
            <a:normAutofit/>
          </a:bodyPr>
          <a:lstStyle/>
          <a:p>
            <a:r>
              <a:rPr lang="en-US" sz="2100" b="1" noProof="0">
                <a:solidFill>
                  <a:srgbClr val="0062A7"/>
                </a:solidFill>
                <a:latin typeface="Calibri" charset="0"/>
                <a:ea typeface="Calibri" charset="0"/>
                <a:cs typeface="Calibri" charset="0"/>
              </a:rPr>
              <a:t>Perspectives 2021–2022</a:t>
            </a:r>
          </a:p>
        </p:txBody>
      </p:sp>
      <p:sp>
        <p:nvSpPr>
          <p:cNvPr id="20" name="Rectangle 19"/>
          <p:cNvSpPr/>
          <p:nvPr/>
        </p:nvSpPr>
        <p:spPr>
          <a:xfrm>
            <a:off x="723973" y="798009"/>
            <a:ext cx="6349175" cy="346249"/>
          </a:xfrm>
          <a:prstGeom prst="rect">
            <a:avLst/>
          </a:prstGeom>
        </p:spPr>
        <p:txBody>
          <a:bodyPr wrap="square">
            <a:spAutoFit/>
          </a:bodyPr>
          <a:lstStyle/>
          <a:p>
            <a:pPr defTabSz="685800"/>
            <a:r>
              <a:rPr lang="en-US" sz="1650" b="1">
                <a:solidFill>
                  <a:srgbClr val="C00000"/>
                </a:solidFill>
                <a:latin typeface="Calibri" charset="0"/>
                <a:ea typeface="Calibri" charset="0"/>
                <a:cs typeface="Calibri" charset="0"/>
              </a:rPr>
              <a:t>MRD-driven strategy: protocol IFM 2020-02 MIDAS</a:t>
            </a:r>
          </a:p>
        </p:txBody>
      </p:sp>
      <p:sp>
        <p:nvSpPr>
          <p:cNvPr id="7" name="Espace réservé du pied de page 3">
            <a:extLst>
              <a:ext uri="{FF2B5EF4-FFF2-40B4-BE49-F238E27FC236}">
                <a16:creationId xmlns:a16="http://schemas.microsoft.com/office/drawing/2014/main" id="{DD268448-7C4C-4676-910F-BA142FCAC81A}"/>
              </a:ext>
            </a:extLst>
          </p:cNvPr>
          <p:cNvSpPr txBox="1">
            <a:spLocks/>
          </p:cNvSpPr>
          <p:nvPr/>
        </p:nvSpPr>
        <p:spPr bwMode="auto">
          <a:xfrm>
            <a:off x="4383303" y="4900879"/>
            <a:ext cx="4760698" cy="2434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b" anchorCtr="0" compatLnSpc="1">
            <a:prstTxWarp prst="textNoShape">
              <a:avLst/>
            </a:prstTxWarp>
          </a:bodyPr>
          <a:lstStyle>
            <a:defPPr>
              <a:defRPr lang="fr-FR"/>
            </a:defPPr>
            <a:lvl1pPr algn="ctr" defTabSz="457200" rtl="0" fontAlgn="base">
              <a:spcBef>
                <a:spcPct val="0"/>
              </a:spcBef>
              <a:spcAft>
                <a:spcPct val="0"/>
              </a:spcAft>
              <a:defRPr sz="1400" kern="1200">
                <a:solidFill>
                  <a:srgbClr val="000000"/>
                </a:solidFill>
                <a:latin typeface="Calibri"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2pPr>
            <a:lvl3pPr marL="9144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3pPr>
            <a:lvl4pPr marL="13716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4pPr>
            <a:lvl5pPr marL="1828800" algn="l" defTabSz="457200" rtl="0" fontAlgn="base">
              <a:spcBef>
                <a:spcPct val="0"/>
              </a:spcBef>
              <a:spcAft>
                <a:spcPct val="0"/>
              </a:spcAft>
              <a:defRPr kern="1200">
                <a:solidFill>
                  <a:schemeClr val="tx1"/>
                </a:solidFill>
                <a:latin typeface="Arial" pitchFamily="-84" charset="0"/>
                <a:ea typeface="ＭＳ Ｐゴシック" pitchFamily="-84" charset="-128"/>
                <a:cs typeface="ＭＳ Ｐゴシック" pitchFamily="-84" charset="-128"/>
              </a:defRPr>
            </a:lvl5pPr>
            <a:lvl6pPr marL="22860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6pPr>
            <a:lvl7pPr marL="27432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7pPr>
            <a:lvl8pPr marL="32004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8pPr>
            <a:lvl9pPr marL="3657600" algn="l" defTabSz="457200" rtl="0" eaLnBrk="1" latinLnBrk="0" hangingPunct="1">
              <a:defRPr kern="1200">
                <a:solidFill>
                  <a:schemeClr val="tx1"/>
                </a:solidFill>
                <a:latin typeface="Arial" pitchFamily="-84" charset="0"/>
                <a:ea typeface="ＭＳ Ｐゴシック" pitchFamily="-84" charset="-128"/>
                <a:cs typeface="ＭＳ Ｐゴシック" pitchFamily="-84" charset="-128"/>
              </a:defRPr>
            </a:lvl9pPr>
          </a:lstStyle>
          <a:p>
            <a:pPr algn="r" defTabSz="342900"/>
            <a:r>
              <a:rPr lang="nb-NO" sz="1050"/>
              <a:t>ClinicalTrials.gov; NCT04934475.</a:t>
            </a:r>
          </a:p>
        </p:txBody>
      </p:sp>
      <p:cxnSp>
        <p:nvCxnSpPr>
          <p:cNvPr id="8" name="Connecteur droit 5">
            <a:extLst>
              <a:ext uri="{FF2B5EF4-FFF2-40B4-BE49-F238E27FC236}">
                <a16:creationId xmlns:a16="http://schemas.microsoft.com/office/drawing/2014/main" id="{94361785-E280-42A1-B4B5-93110C25DCDB}"/>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E8A686E5-9123-48D3-AA92-E3AC29BADC04}"/>
              </a:ext>
            </a:extLst>
          </p:cNvPr>
          <p:cNvGrpSpPr/>
          <p:nvPr/>
        </p:nvGrpSpPr>
        <p:grpSpPr>
          <a:xfrm>
            <a:off x="1239715" y="1271730"/>
            <a:ext cx="6548739" cy="3443679"/>
            <a:chOff x="1652952" y="1695640"/>
            <a:chExt cx="8731652" cy="4591572"/>
          </a:xfrm>
        </p:grpSpPr>
        <p:sp>
          <p:nvSpPr>
            <p:cNvPr id="44" name="Rectangle: Rounded Corners 43">
              <a:extLst>
                <a:ext uri="{FF2B5EF4-FFF2-40B4-BE49-F238E27FC236}">
                  <a16:creationId xmlns:a16="http://schemas.microsoft.com/office/drawing/2014/main" id="{FBF4E548-D671-41FA-9052-1A48DA9605F3}"/>
                </a:ext>
              </a:extLst>
            </p:cNvPr>
            <p:cNvSpPr/>
            <p:nvPr/>
          </p:nvSpPr>
          <p:spPr>
            <a:xfrm>
              <a:off x="1652952" y="3827732"/>
              <a:ext cx="1571132" cy="789340"/>
            </a:xfrm>
            <a:prstGeom prst="roundRect">
              <a:avLst/>
            </a:prstGeom>
            <a:solidFill>
              <a:srgbClr val="CCD9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IsaKRD 6 cycles</a:t>
              </a:r>
            </a:p>
            <a:p>
              <a:pPr algn="ctr" defTabSz="685800"/>
              <a:r>
                <a:rPr lang="en-US" sz="1050">
                  <a:solidFill>
                    <a:prstClr val="black"/>
                  </a:solidFill>
                  <a:latin typeface="Arial" panose="020B0604020202020204" pitchFamily="34" charset="0"/>
                  <a:cs typeface="Arial" panose="020B0604020202020204" pitchFamily="34" charset="0"/>
                </a:rPr>
                <a:t>(28-day cycles)</a:t>
              </a:r>
              <a:endParaRPr lang="en-NL" sz="1050">
                <a:solidFill>
                  <a:prstClr val="black"/>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44678AD0-0E99-4D16-B1D5-26F39BD47CA1}"/>
                </a:ext>
              </a:extLst>
            </p:cNvPr>
            <p:cNvSpPr txBox="1"/>
            <p:nvPr/>
          </p:nvSpPr>
          <p:spPr>
            <a:xfrm>
              <a:off x="1884162" y="1695640"/>
              <a:ext cx="2261119" cy="553997"/>
            </a:xfrm>
            <a:prstGeom prst="rect">
              <a:avLst/>
            </a:prstGeom>
            <a:noFill/>
          </p:spPr>
          <p:txBody>
            <a:bodyPr wrap="square" rtlCol="0" anchor="ctr">
              <a:spAutoFit/>
            </a:bodyPr>
            <a:lstStyle/>
            <a:p>
              <a:pPr algn="ctr" defTabSz="685800"/>
              <a:r>
                <a:rPr lang="en-US" sz="1050" b="1">
                  <a:solidFill>
                    <a:prstClr val="black"/>
                  </a:solidFill>
                  <a:latin typeface="Arial" panose="020B0604020202020204" pitchFamily="34" charset="0"/>
                  <a:cs typeface="Arial" panose="020B0604020202020204" pitchFamily="34" charset="0"/>
                </a:rPr>
                <a:t>Induction and cell collection</a:t>
              </a:r>
              <a:endParaRPr lang="en-NL" sz="1050" b="1">
                <a:solidFill>
                  <a:prstClr val="black"/>
                </a:solidFill>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7A2A289F-17AB-4202-9798-D01B916F9F2D}"/>
                </a:ext>
              </a:extLst>
            </p:cNvPr>
            <p:cNvSpPr txBox="1"/>
            <p:nvPr/>
          </p:nvSpPr>
          <p:spPr>
            <a:xfrm>
              <a:off x="3243992" y="4761725"/>
              <a:ext cx="1146048" cy="492443"/>
            </a:xfrm>
            <a:prstGeom prst="rect">
              <a:avLst/>
            </a:prstGeom>
            <a:noFill/>
          </p:spPr>
          <p:txBody>
            <a:bodyPr wrap="square" rtlCol="0">
              <a:spAutoFit/>
            </a:bodyPr>
            <a:lstStyle/>
            <a:p>
              <a:pPr algn="ctr" defTabSz="685800"/>
              <a:r>
                <a:rPr lang="en-US" sz="900">
                  <a:solidFill>
                    <a:srgbClr val="C00000"/>
                  </a:solidFill>
                  <a:latin typeface="Arial" panose="020B0604020202020204" pitchFamily="34" charset="0"/>
                  <a:cs typeface="Arial" panose="020B0604020202020204" pitchFamily="34" charset="0"/>
                </a:rPr>
                <a:t>High risk</a:t>
              </a:r>
            </a:p>
            <a:p>
              <a:pPr algn="ctr" defTabSz="685800"/>
              <a:r>
                <a:rPr lang="en-US" sz="900">
                  <a:solidFill>
                    <a:srgbClr val="C00000"/>
                  </a:solidFill>
                  <a:latin typeface="Arial" panose="020B0604020202020204" pitchFamily="34" charset="0"/>
                  <a:cs typeface="Arial" panose="020B0604020202020204" pitchFamily="34" charset="0"/>
                </a:rPr>
                <a:t>(MRD ≥10</a:t>
              </a:r>
              <a:r>
                <a:rPr lang="en-US" sz="900" baseline="30000">
                  <a:solidFill>
                    <a:srgbClr val="C00000"/>
                  </a:solidFill>
                  <a:latin typeface="Arial" panose="020B0604020202020204" pitchFamily="34" charset="0"/>
                  <a:cs typeface="Arial" panose="020B0604020202020204" pitchFamily="34" charset="0"/>
                </a:rPr>
                <a:t>-5</a:t>
              </a:r>
              <a:r>
                <a:rPr lang="en-US" sz="900">
                  <a:solidFill>
                    <a:srgbClr val="C00000"/>
                  </a:solidFill>
                  <a:latin typeface="Arial" panose="020B0604020202020204" pitchFamily="34" charset="0"/>
                  <a:cs typeface="Arial" panose="020B0604020202020204" pitchFamily="34" charset="0"/>
                </a:rPr>
                <a:t>)</a:t>
              </a:r>
              <a:endParaRPr lang="en-NL" sz="900">
                <a:solidFill>
                  <a:srgbClr val="C00000"/>
                </a:solidFill>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3E5C6583-91CA-43F7-852E-546CB04CE508}"/>
                </a:ext>
              </a:extLst>
            </p:cNvPr>
            <p:cNvSpPr/>
            <p:nvPr/>
          </p:nvSpPr>
          <p:spPr>
            <a:xfrm>
              <a:off x="4696157" y="2989372"/>
              <a:ext cx="451104" cy="4572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R</a:t>
              </a:r>
              <a:endParaRPr lang="en-NL" sz="1050">
                <a:solidFill>
                  <a:prstClr val="black"/>
                </a:solidFill>
                <a:latin typeface="Arial" panose="020B0604020202020204" pitchFamily="34" charset="0"/>
                <a:cs typeface="Arial" panose="020B0604020202020204" pitchFamily="34" charset="0"/>
              </a:endParaRPr>
            </a:p>
          </p:txBody>
        </p:sp>
        <p:cxnSp>
          <p:nvCxnSpPr>
            <p:cNvPr id="55" name="Straight Arrow Connector 54">
              <a:extLst>
                <a:ext uri="{FF2B5EF4-FFF2-40B4-BE49-F238E27FC236}">
                  <a16:creationId xmlns:a16="http://schemas.microsoft.com/office/drawing/2014/main" id="{54908D7C-796C-4E61-88C4-413AACC1235E}"/>
                </a:ext>
              </a:extLst>
            </p:cNvPr>
            <p:cNvCxnSpPr>
              <a:cxnSpLocks/>
              <a:stCxn id="52" idx="7"/>
            </p:cNvCxnSpPr>
            <p:nvPr/>
          </p:nvCxnSpPr>
          <p:spPr>
            <a:xfrm flipV="1">
              <a:off x="5081198" y="2683875"/>
              <a:ext cx="451104" cy="37245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5C9A837F-83BB-421D-B3BC-A4D9F1F6721C}"/>
                </a:ext>
              </a:extLst>
            </p:cNvPr>
            <p:cNvCxnSpPr>
              <a:cxnSpLocks/>
              <a:stCxn id="52" idx="5"/>
            </p:cNvCxnSpPr>
            <p:nvPr/>
          </p:nvCxnSpPr>
          <p:spPr>
            <a:xfrm>
              <a:off x="5081198" y="3379617"/>
              <a:ext cx="451104" cy="2761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7" name="Rectangle: Rounded Corners 56">
              <a:extLst>
                <a:ext uri="{FF2B5EF4-FFF2-40B4-BE49-F238E27FC236}">
                  <a16:creationId xmlns:a16="http://schemas.microsoft.com/office/drawing/2014/main" id="{F96775B1-3372-490F-943A-387F91BF028D}"/>
                </a:ext>
              </a:extLst>
            </p:cNvPr>
            <p:cNvSpPr/>
            <p:nvPr/>
          </p:nvSpPr>
          <p:spPr>
            <a:xfrm>
              <a:off x="5608322" y="2379075"/>
              <a:ext cx="1865374" cy="609600"/>
            </a:xfrm>
            <a:prstGeom prst="roundRect">
              <a:avLst/>
            </a:prstGeom>
            <a:solidFill>
              <a:srgbClr val="BEEAC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IsaKRD 6 cycles</a:t>
              </a:r>
            </a:p>
          </p:txBody>
        </p:sp>
        <p:sp>
          <p:nvSpPr>
            <p:cNvPr id="58" name="Rectangle: Rounded Corners 57">
              <a:extLst>
                <a:ext uri="{FF2B5EF4-FFF2-40B4-BE49-F238E27FC236}">
                  <a16:creationId xmlns:a16="http://schemas.microsoft.com/office/drawing/2014/main" id="{364AE6B6-C2DE-49DD-8CC4-253C75B6140F}"/>
                </a:ext>
              </a:extLst>
            </p:cNvPr>
            <p:cNvSpPr/>
            <p:nvPr/>
          </p:nvSpPr>
          <p:spPr>
            <a:xfrm>
              <a:off x="5608322" y="3350990"/>
              <a:ext cx="1865374" cy="609600"/>
            </a:xfrm>
            <a:prstGeom prst="roundRect">
              <a:avLst/>
            </a:prstGeom>
            <a:solidFill>
              <a:srgbClr val="BEEAC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ASCT + IsaKRD</a:t>
              </a:r>
            </a:p>
            <a:p>
              <a:pPr algn="ctr" defTabSz="685800"/>
              <a:r>
                <a:rPr lang="en-US" sz="1050">
                  <a:solidFill>
                    <a:prstClr val="black"/>
                  </a:solidFill>
                  <a:latin typeface="Arial" panose="020B0604020202020204" pitchFamily="34" charset="0"/>
                  <a:cs typeface="Arial" panose="020B0604020202020204" pitchFamily="34" charset="0"/>
                </a:rPr>
                <a:t>2 cycles</a:t>
              </a:r>
            </a:p>
          </p:txBody>
        </p:sp>
        <p:sp>
          <p:nvSpPr>
            <p:cNvPr id="59" name="TextBox 58">
              <a:extLst>
                <a:ext uri="{FF2B5EF4-FFF2-40B4-BE49-F238E27FC236}">
                  <a16:creationId xmlns:a16="http://schemas.microsoft.com/office/drawing/2014/main" id="{0320E96F-375C-4E2B-9F01-535F33F39002}"/>
                </a:ext>
              </a:extLst>
            </p:cNvPr>
            <p:cNvSpPr txBox="1"/>
            <p:nvPr/>
          </p:nvSpPr>
          <p:spPr>
            <a:xfrm>
              <a:off x="5949510" y="3002540"/>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Arm A</a:t>
              </a:r>
              <a:endParaRPr lang="en-NL" sz="1050">
                <a:solidFill>
                  <a:prstClr val="black"/>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9B278287-90FE-473E-8510-9E6279C3E4A7}"/>
                </a:ext>
              </a:extLst>
            </p:cNvPr>
            <p:cNvSpPr txBox="1"/>
            <p:nvPr/>
          </p:nvSpPr>
          <p:spPr>
            <a:xfrm>
              <a:off x="5967986" y="3961962"/>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Arm B</a:t>
              </a:r>
              <a:endParaRPr lang="en-NL" sz="1050">
                <a:solidFill>
                  <a:prstClr val="black"/>
                </a:solidFill>
                <a:latin typeface="Arial" panose="020B0604020202020204" pitchFamily="34" charset="0"/>
                <a:cs typeface="Arial" panose="020B0604020202020204" pitchFamily="34" charset="0"/>
              </a:endParaRPr>
            </a:p>
          </p:txBody>
        </p:sp>
        <p:sp>
          <p:nvSpPr>
            <p:cNvPr id="61" name="Oval 60">
              <a:extLst>
                <a:ext uri="{FF2B5EF4-FFF2-40B4-BE49-F238E27FC236}">
                  <a16:creationId xmlns:a16="http://schemas.microsoft.com/office/drawing/2014/main" id="{ADA47637-F7DE-40AB-BB97-D45DB34FC8E3}"/>
                </a:ext>
              </a:extLst>
            </p:cNvPr>
            <p:cNvSpPr/>
            <p:nvPr/>
          </p:nvSpPr>
          <p:spPr>
            <a:xfrm>
              <a:off x="4696157" y="4959604"/>
              <a:ext cx="451104" cy="4572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R</a:t>
              </a:r>
              <a:endParaRPr lang="en-NL" sz="1050">
                <a:solidFill>
                  <a:prstClr val="black"/>
                </a:solidFill>
                <a:latin typeface="Arial" panose="020B0604020202020204" pitchFamily="34" charset="0"/>
                <a:cs typeface="Arial" panose="020B0604020202020204" pitchFamily="34" charset="0"/>
              </a:endParaRPr>
            </a:p>
          </p:txBody>
        </p:sp>
        <p:cxnSp>
          <p:nvCxnSpPr>
            <p:cNvPr id="62" name="Straight Arrow Connector 61">
              <a:extLst>
                <a:ext uri="{FF2B5EF4-FFF2-40B4-BE49-F238E27FC236}">
                  <a16:creationId xmlns:a16="http://schemas.microsoft.com/office/drawing/2014/main" id="{9BAEFBED-21C8-474F-A0BB-A6A75F194EAA}"/>
                </a:ext>
              </a:extLst>
            </p:cNvPr>
            <p:cNvCxnSpPr>
              <a:cxnSpLocks/>
              <a:stCxn id="61" idx="7"/>
            </p:cNvCxnSpPr>
            <p:nvPr/>
          </p:nvCxnSpPr>
          <p:spPr>
            <a:xfrm flipV="1">
              <a:off x="5081198" y="4654107"/>
              <a:ext cx="451104" cy="37245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3" name="Straight Arrow Connector 62">
              <a:extLst>
                <a:ext uri="{FF2B5EF4-FFF2-40B4-BE49-F238E27FC236}">
                  <a16:creationId xmlns:a16="http://schemas.microsoft.com/office/drawing/2014/main" id="{5FA0DE10-DA74-40D5-8DDB-583AFBCAEADC}"/>
                </a:ext>
              </a:extLst>
            </p:cNvPr>
            <p:cNvCxnSpPr>
              <a:cxnSpLocks/>
              <a:stCxn id="61" idx="5"/>
            </p:cNvCxnSpPr>
            <p:nvPr/>
          </p:nvCxnSpPr>
          <p:spPr>
            <a:xfrm>
              <a:off x="5081198" y="5349849"/>
              <a:ext cx="451104" cy="27617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4" name="Rectangle: Rounded Corners 63">
              <a:extLst>
                <a:ext uri="{FF2B5EF4-FFF2-40B4-BE49-F238E27FC236}">
                  <a16:creationId xmlns:a16="http://schemas.microsoft.com/office/drawing/2014/main" id="{E11F67BD-8878-460B-9256-AA6F0B1E6E46}"/>
                </a:ext>
              </a:extLst>
            </p:cNvPr>
            <p:cNvSpPr/>
            <p:nvPr/>
          </p:nvSpPr>
          <p:spPr>
            <a:xfrm>
              <a:off x="5608322" y="4349307"/>
              <a:ext cx="1865374" cy="609600"/>
            </a:xfrm>
            <a:prstGeom prst="roundRect">
              <a:avLst/>
            </a:prstGeom>
            <a:solidFill>
              <a:srgbClr val="FDEA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ASCT + IsaKRD</a:t>
              </a:r>
            </a:p>
            <a:p>
              <a:pPr algn="ctr" defTabSz="685800"/>
              <a:r>
                <a:rPr lang="en-US" sz="1050">
                  <a:solidFill>
                    <a:prstClr val="black"/>
                  </a:solidFill>
                  <a:latin typeface="Arial" panose="020B0604020202020204" pitchFamily="34" charset="0"/>
                  <a:cs typeface="Arial" panose="020B0604020202020204" pitchFamily="34" charset="0"/>
                </a:rPr>
                <a:t>2 cycles</a:t>
              </a:r>
            </a:p>
          </p:txBody>
        </p:sp>
        <p:sp>
          <p:nvSpPr>
            <p:cNvPr id="65" name="Rectangle: Rounded Corners 64">
              <a:extLst>
                <a:ext uri="{FF2B5EF4-FFF2-40B4-BE49-F238E27FC236}">
                  <a16:creationId xmlns:a16="http://schemas.microsoft.com/office/drawing/2014/main" id="{838BA8DD-327C-4F96-AF44-351A7EA9D539}"/>
                </a:ext>
              </a:extLst>
            </p:cNvPr>
            <p:cNvSpPr/>
            <p:nvPr/>
          </p:nvSpPr>
          <p:spPr>
            <a:xfrm>
              <a:off x="5608322" y="5321222"/>
              <a:ext cx="1865374" cy="609600"/>
            </a:xfrm>
            <a:prstGeom prst="roundRect">
              <a:avLst/>
            </a:prstGeom>
            <a:solidFill>
              <a:srgbClr val="FDEA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Double ASCT</a:t>
              </a:r>
            </a:p>
          </p:txBody>
        </p:sp>
        <p:sp>
          <p:nvSpPr>
            <p:cNvPr id="66" name="TextBox 65">
              <a:extLst>
                <a:ext uri="{FF2B5EF4-FFF2-40B4-BE49-F238E27FC236}">
                  <a16:creationId xmlns:a16="http://schemas.microsoft.com/office/drawing/2014/main" id="{9DA2F97B-FD6F-48C7-B9E8-5E22B6A336CF}"/>
                </a:ext>
              </a:extLst>
            </p:cNvPr>
            <p:cNvSpPr txBox="1"/>
            <p:nvPr/>
          </p:nvSpPr>
          <p:spPr>
            <a:xfrm>
              <a:off x="5949510" y="4972772"/>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Arm C</a:t>
              </a:r>
              <a:endParaRPr lang="en-NL" sz="1050">
                <a:solidFill>
                  <a:prstClr val="black"/>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66C46A3D-0AE6-4E1D-9461-FC19096DB295}"/>
                </a:ext>
              </a:extLst>
            </p:cNvPr>
            <p:cNvSpPr txBox="1"/>
            <p:nvPr/>
          </p:nvSpPr>
          <p:spPr>
            <a:xfrm>
              <a:off x="5949510" y="5948657"/>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Arm D</a:t>
              </a:r>
            </a:p>
          </p:txBody>
        </p:sp>
        <p:sp>
          <p:nvSpPr>
            <p:cNvPr id="68" name="Rectangle: Rounded Corners 67">
              <a:extLst>
                <a:ext uri="{FF2B5EF4-FFF2-40B4-BE49-F238E27FC236}">
                  <a16:creationId xmlns:a16="http://schemas.microsoft.com/office/drawing/2014/main" id="{BF605B28-EAF7-47EF-98F3-5B0BA62AFF62}"/>
                </a:ext>
              </a:extLst>
            </p:cNvPr>
            <p:cNvSpPr/>
            <p:nvPr/>
          </p:nvSpPr>
          <p:spPr>
            <a:xfrm>
              <a:off x="8004075" y="2826454"/>
              <a:ext cx="2334279" cy="609600"/>
            </a:xfrm>
            <a:prstGeom prst="roundRect">
              <a:avLst/>
            </a:prstGeom>
            <a:solidFill>
              <a:srgbClr val="CCD9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Lenalidomide</a:t>
              </a:r>
            </a:p>
            <a:p>
              <a:pPr algn="ctr" defTabSz="685800"/>
              <a:r>
                <a:rPr lang="en-US" sz="1050">
                  <a:solidFill>
                    <a:prstClr val="black"/>
                  </a:solidFill>
                  <a:latin typeface="Arial" panose="020B0604020202020204" pitchFamily="34" charset="0"/>
                  <a:cs typeface="Arial" panose="020B0604020202020204" pitchFamily="34" charset="0"/>
                </a:rPr>
                <a:t>(3 years)</a:t>
              </a:r>
              <a:endParaRPr lang="en-NL" sz="1050">
                <a:solidFill>
                  <a:prstClr val="black"/>
                </a:solidFill>
                <a:latin typeface="Arial" panose="020B0604020202020204" pitchFamily="34" charset="0"/>
                <a:cs typeface="Arial" panose="020B0604020202020204" pitchFamily="34" charset="0"/>
              </a:endParaRPr>
            </a:p>
          </p:txBody>
        </p:sp>
        <p:sp>
          <p:nvSpPr>
            <p:cNvPr id="69" name="Rectangle: Rounded Corners 68">
              <a:extLst>
                <a:ext uri="{FF2B5EF4-FFF2-40B4-BE49-F238E27FC236}">
                  <a16:creationId xmlns:a16="http://schemas.microsoft.com/office/drawing/2014/main" id="{8D99D863-A9A4-4AD0-AF48-16B6AB5D7351}"/>
                </a:ext>
              </a:extLst>
            </p:cNvPr>
            <p:cNvSpPr/>
            <p:nvPr/>
          </p:nvSpPr>
          <p:spPr>
            <a:xfrm>
              <a:off x="8018371" y="4806575"/>
              <a:ext cx="2334279" cy="609600"/>
            </a:xfrm>
            <a:prstGeom prst="roundRect">
              <a:avLst/>
            </a:prstGeom>
            <a:solidFill>
              <a:srgbClr val="CCD9E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Iberdomide + Isatuximab</a:t>
              </a:r>
            </a:p>
            <a:p>
              <a:pPr algn="ctr" defTabSz="685800"/>
              <a:r>
                <a:rPr lang="en-US" sz="1050">
                  <a:solidFill>
                    <a:prstClr val="black"/>
                  </a:solidFill>
                  <a:latin typeface="Arial" panose="020B0604020202020204" pitchFamily="34" charset="0"/>
                  <a:cs typeface="Arial" panose="020B0604020202020204" pitchFamily="34" charset="0"/>
                </a:rPr>
                <a:t>(3 years)</a:t>
              </a:r>
              <a:endParaRPr lang="en-NL" sz="1050">
                <a:solidFill>
                  <a:prstClr val="black"/>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25F83FAE-DD24-440F-AEA0-3372A70379BF}"/>
                </a:ext>
              </a:extLst>
            </p:cNvPr>
            <p:cNvSpPr txBox="1"/>
            <p:nvPr/>
          </p:nvSpPr>
          <p:spPr>
            <a:xfrm>
              <a:off x="1701588" y="4747292"/>
              <a:ext cx="1516899" cy="630941"/>
            </a:xfrm>
            <a:prstGeom prst="rect">
              <a:avLst/>
            </a:prstGeom>
            <a:noFill/>
          </p:spPr>
          <p:txBody>
            <a:bodyPr wrap="square" rtlCol="0">
              <a:spAutoFit/>
            </a:bodyPr>
            <a:lstStyle/>
            <a:p>
              <a:pPr algn="ctr" defTabSz="685800"/>
              <a:r>
                <a:rPr lang="en-US" sz="825">
                  <a:solidFill>
                    <a:prstClr val="black"/>
                  </a:solidFill>
                  <a:latin typeface="Arial" panose="020B0604020202020204" pitchFamily="34" charset="0"/>
                  <a:cs typeface="Arial" panose="020B0604020202020204" pitchFamily="34" charset="0"/>
                </a:rPr>
                <a:t>Stem cell collection after 3 cycles</a:t>
              </a:r>
            </a:p>
            <a:p>
              <a:pPr algn="ctr" defTabSz="685800"/>
              <a:r>
                <a:rPr lang="en-US" sz="825">
                  <a:solidFill>
                    <a:prstClr val="black"/>
                  </a:solidFill>
                  <a:latin typeface="Arial" panose="020B0604020202020204" pitchFamily="34" charset="0"/>
                  <a:cs typeface="Arial" panose="020B0604020202020204" pitchFamily="34" charset="0"/>
                </a:rPr>
                <a:t>(GCSF + plerixafor)</a:t>
              </a:r>
              <a:endParaRPr lang="en-NL" sz="825">
                <a:solidFill>
                  <a:prstClr val="black"/>
                </a:solidFill>
                <a:latin typeface="Arial" panose="020B0604020202020204" pitchFamily="34" charset="0"/>
                <a:cs typeface="Arial" panose="020B0604020202020204" pitchFamily="34" charset="0"/>
              </a:endParaRPr>
            </a:p>
          </p:txBody>
        </p:sp>
        <p:cxnSp>
          <p:nvCxnSpPr>
            <p:cNvPr id="71" name="Straight Connector 70">
              <a:extLst>
                <a:ext uri="{FF2B5EF4-FFF2-40B4-BE49-F238E27FC236}">
                  <a16:creationId xmlns:a16="http://schemas.microsoft.com/office/drawing/2014/main" id="{573AC8AD-DCA2-4973-8400-8E020A04C418}"/>
                </a:ext>
              </a:extLst>
            </p:cNvPr>
            <p:cNvCxnSpPr>
              <a:cxnSpLocks/>
            </p:cNvCxnSpPr>
            <p:nvPr/>
          </p:nvCxnSpPr>
          <p:spPr>
            <a:xfrm>
              <a:off x="1701588" y="2229660"/>
              <a:ext cx="2443692" cy="0"/>
            </a:xfrm>
            <a:prstGeom prst="line">
              <a:avLst/>
            </a:prstGeom>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786277F6-0C28-4AAC-9A6C-C2C7A358CC49}"/>
                </a:ext>
              </a:extLst>
            </p:cNvPr>
            <p:cNvCxnSpPr>
              <a:cxnSpLocks/>
            </p:cNvCxnSpPr>
            <p:nvPr/>
          </p:nvCxnSpPr>
          <p:spPr>
            <a:xfrm>
              <a:off x="4764207" y="2244444"/>
              <a:ext cx="2977715" cy="0"/>
            </a:xfrm>
            <a:prstGeom prst="line">
              <a:avLst/>
            </a:prstGeom>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234328BC-2F97-4249-92F4-0182981AC5EC}"/>
                </a:ext>
              </a:extLst>
            </p:cNvPr>
            <p:cNvCxnSpPr>
              <a:cxnSpLocks/>
            </p:cNvCxnSpPr>
            <p:nvPr/>
          </p:nvCxnSpPr>
          <p:spPr>
            <a:xfrm flipV="1">
              <a:off x="8190044" y="2244444"/>
              <a:ext cx="2194560" cy="0"/>
            </a:xfrm>
            <a:prstGeom prst="line">
              <a:avLst/>
            </a:prstGeom>
          </p:spPr>
          <p:style>
            <a:lnRef idx="1">
              <a:schemeClr val="dk1"/>
            </a:lnRef>
            <a:fillRef idx="0">
              <a:schemeClr val="dk1"/>
            </a:fillRef>
            <a:effectRef idx="0">
              <a:schemeClr val="dk1"/>
            </a:effectRef>
            <a:fontRef idx="minor">
              <a:schemeClr val="tx1"/>
            </a:fontRef>
          </p:style>
        </p:cxnSp>
        <p:sp>
          <p:nvSpPr>
            <p:cNvPr id="74" name="TextBox 73">
              <a:extLst>
                <a:ext uri="{FF2B5EF4-FFF2-40B4-BE49-F238E27FC236}">
                  <a16:creationId xmlns:a16="http://schemas.microsoft.com/office/drawing/2014/main" id="{C31B697C-49C3-4C66-80C2-7A709FE9472D}"/>
                </a:ext>
              </a:extLst>
            </p:cNvPr>
            <p:cNvSpPr txBox="1"/>
            <p:nvPr/>
          </p:nvSpPr>
          <p:spPr>
            <a:xfrm>
              <a:off x="4800298" y="1828061"/>
              <a:ext cx="2923819" cy="338555"/>
            </a:xfrm>
            <a:prstGeom prst="rect">
              <a:avLst/>
            </a:prstGeom>
            <a:noFill/>
          </p:spPr>
          <p:txBody>
            <a:bodyPr wrap="square" rtlCol="0" anchor="ctr">
              <a:spAutoFit/>
            </a:bodyPr>
            <a:lstStyle/>
            <a:p>
              <a:pPr algn="ctr" defTabSz="685800"/>
              <a:r>
                <a:rPr lang="en-US" sz="1050" b="1">
                  <a:solidFill>
                    <a:prstClr val="black"/>
                  </a:solidFill>
                  <a:latin typeface="Arial" panose="020B0604020202020204" pitchFamily="34" charset="0"/>
                  <a:cs typeface="Arial" panose="020B0604020202020204" pitchFamily="34" charset="0"/>
                </a:rPr>
                <a:t>Risk adapted consolidation</a:t>
              </a:r>
              <a:endParaRPr lang="en-NL" sz="1050" b="1">
                <a:solidFill>
                  <a:prstClr val="black"/>
                </a:solidFill>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0C319DCF-A4A4-4A62-8EBC-1383CE999725}"/>
                </a:ext>
              </a:extLst>
            </p:cNvPr>
            <p:cNvSpPr txBox="1"/>
            <p:nvPr/>
          </p:nvSpPr>
          <p:spPr>
            <a:xfrm>
              <a:off x="8225125" y="1828061"/>
              <a:ext cx="2159479" cy="338555"/>
            </a:xfrm>
            <a:prstGeom prst="rect">
              <a:avLst/>
            </a:prstGeom>
            <a:noFill/>
          </p:spPr>
          <p:txBody>
            <a:bodyPr wrap="square" rtlCol="0" anchor="ctr">
              <a:spAutoFit/>
            </a:bodyPr>
            <a:lstStyle/>
            <a:p>
              <a:pPr algn="ctr" defTabSz="685800"/>
              <a:r>
                <a:rPr lang="en-US" sz="1050" b="1">
                  <a:solidFill>
                    <a:prstClr val="black"/>
                  </a:solidFill>
                  <a:latin typeface="Arial" panose="020B0604020202020204" pitchFamily="34" charset="0"/>
                  <a:cs typeface="Arial" panose="020B0604020202020204" pitchFamily="34" charset="0"/>
                </a:rPr>
                <a:t>Maintenance</a:t>
              </a:r>
              <a:endParaRPr lang="en-NL" sz="1050" b="1">
                <a:solidFill>
                  <a:prstClr val="black"/>
                </a:solidFill>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724F3B95-8CEF-460A-8D0D-58F794DB39D7}"/>
                </a:ext>
              </a:extLst>
            </p:cNvPr>
            <p:cNvSpPr txBox="1"/>
            <p:nvPr/>
          </p:nvSpPr>
          <p:spPr>
            <a:xfrm>
              <a:off x="3317438" y="3281003"/>
              <a:ext cx="1146048" cy="492443"/>
            </a:xfrm>
            <a:prstGeom prst="rect">
              <a:avLst/>
            </a:prstGeom>
            <a:noFill/>
          </p:spPr>
          <p:txBody>
            <a:bodyPr wrap="square" rtlCol="0">
              <a:spAutoFit/>
            </a:bodyPr>
            <a:lstStyle/>
            <a:p>
              <a:pPr algn="ctr" defTabSz="685800"/>
              <a:r>
                <a:rPr lang="en-US" sz="900">
                  <a:solidFill>
                    <a:srgbClr val="00B050"/>
                  </a:solidFill>
                  <a:latin typeface="Arial" panose="020B0604020202020204" pitchFamily="34" charset="0"/>
                  <a:cs typeface="Arial" panose="020B0604020202020204" pitchFamily="34" charset="0"/>
                </a:rPr>
                <a:t>Standard risk</a:t>
              </a:r>
            </a:p>
            <a:p>
              <a:pPr algn="ctr" defTabSz="685800"/>
              <a:r>
                <a:rPr lang="en-US" sz="900">
                  <a:solidFill>
                    <a:srgbClr val="00B050"/>
                  </a:solidFill>
                  <a:latin typeface="Arial" panose="020B0604020202020204" pitchFamily="34" charset="0"/>
                  <a:cs typeface="Arial" panose="020B0604020202020204" pitchFamily="34" charset="0"/>
                </a:rPr>
                <a:t>(MRD &lt;10</a:t>
              </a:r>
              <a:r>
                <a:rPr lang="en-US" sz="900" baseline="30000">
                  <a:solidFill>
                    <a:srgbClr val="00B050"/>
                  </a:solidFill>
                  <a:latin typeface="Arial" panose="020B0604020202020204" pitchFamily="34" charset="0"/>
                  <a:cs typeface="Arial" panose="020B0604020202020204" pitchFamily="34" charset="0"/>
                </a:rPr>
                <a:t>-5</a:t>
              </a:r>
              <a:r>
                <a:rPr lang="en-US" sz="900">
                  <a:solidFill>
                    <a:srgbClr val="00B050"/>
                  </a:solidFill>
                  <a:latin typeface="Arial" panose="020B0604020202020204" pitchFamily="34" charset="0"/>
                  <a:cs typeface="Arial" panose="020B0604020202020204" pitchFamily="34" charset="0"/>
                </a:rPr>
                <a:t>)</a:t>
              </a:r>
              <a:endParaRPr lang="en-NL" sz="900">
                <a:solidFill>
                  <a:srgbClr val="00B050"/>
                </a:solidFill>
                <a:latin typeface="Arial" panose="020B0604020202020204" pitchFamily="34" charset="0"/>
                <a:cs typeface="Arial" panose="020B0604020202020204" pitchFamily="34" charset="0"/>
              </a:endParaRPr>
            </a:p>
          </p:txBody>
        </p:sp>
        <p:cxnSp>
          <p:nvCxnSpPr>
            <p:cNvPr id="77" name="Straight Connector 76">
              <a:extLst>
                <a:ext uri="{FF2B5EF4-FFF2-40B4-BE49-F238E27FC236}">
                  <a16:creationId xmlns:a16="http://schemas.microsoft.com/office/drawing/2014/main" id="{67897DCD-D133-4ED2-9616-69EED75B79B6}"/>
                </a:ext>
              </a:extLst>
            </p:cNvPr>
            <p:cNvCxnSpPr>
              <a:cxnSpLocks/>
            </p:cNvCxnSpPr>
            <p:nvPr/>
          </p:nvCxnSpPr>
          <p:spPr>
            <a:xfrm>
              <a:off x="3224084" y="4216575"/>
              <a:ext cx="1231392" cy="0"/>
            </a:xfrm>
            <a:prstGeom prst="line">
              <a:avLst/>
            </a:prstGeom>
          </p:spPr>
          <p:style>
            <a:lnRef idx="1">
              <a:schemeClr val="dk1"/>
            </a:lnRef>
            <a:fillRef idx="0">
              <a:schemeClr val="dk1"/>
            </a:fillRef>
            <a:effectRef idx="0">
              <a:schemeClr val="dk1"/>
            </a:effectRef>
            <a:fontRef idx="minor">
              <a:schemeClr val="tx1"/>
            </a:fontRef>
          </p:style>
        </p:cxnSp>
        <p:cxnSp>
          <p:nvCxnSpPr>
            <p:cNvPr id="78" name="Connector: Elbow 77">
              <a:extLst>
                <a:ext uri="{FF2B5EF4-FFF2-40B4-BE49-F238E27FC236}">
                  <a16:creationId xmlns:a16="http://schemas.microsoft.com/office/drawing/2014/main" id="{65628DC4-3E81-42C9-95B5-980D6D23DDEE}"/>
                </a:ext>
              </a:extLst>
            </p:cNvPr>
            <p:cNvCxnSpPr>
              <a:cxnSpLocks/>
            </p:cNvCxnSpPr>
            <p:nvPr/>
          </p:nvCxnSpPr>
          <p:spPr>
            <a:xfrm rot="10800000" flipV="1">
              <a:off x="4674891" y="3217972"/>
              <a:ext cx="12700" cy="1970232"/>
            </a:xfrm>
            <a:prstGeom prst="bentConnector3">
              <a:avLst>
                <a:gd name="adj1" fmla="val 1800000"/>
              </a:avLst>
            </a:prstGeom>
            <a:ln>
              <a:headEnd type="arrow" w="med" len="med"/>
              <a:tailEnd type="arrow" w="med" len="med"/>
            </a:ln>
          </p:spPr>
          <p:style>
            <a:lnRef idx="1">
              <a:schemeClr val="dk1"/>
            </a:lnRef>
            <a:fillRef idx="0">
              <a:schemeClr val="dk1"/>
            </a:fillRef>
            <a:effectRef idx="0">
              <a:schemeClr val="dk1"/>
            </a:effectRef>
            <a:fontRef idx="minor">
              <a:schemeClr val="tx1"/>
            </a:fontRef>
          </p:style>
        </p:cxnSp>
        <p:sp>
          <p:nvSpPr>
            <p:cNvPr id="79" name="Rectangle 78">
              <a:extLst>
                <a:ext uri="{FF2B5EF4-FFF2-40B4-BE49-F238E27FC236}">
                  <a16:creationId xmlns:a16="http://schemas.microsoft.com/office/drawing/2014/main" id="{027C96B0-59DB-48B1-BB30-223CEE34F347}"/>
                </a:ext>
              </a:extLst>
            </p:cNvPr>
            <p:cNvSpPr/>
            <p:nvPr/>
          </p:nvSpPr>
          <p:spPr>
            <a:xfrm>
              <a:off x="3534980" y="4036449"/>
              <a:ext cx="694944" cy="362958"/>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685800"/>
              <a:r>
                <a:rPr lang="en-US" sz="1050">
                  <a:solidFill>
                    <a:prstClr val="black"/>
                  </a:solidFill>
                  <a:latin typeface="Arial" panose="020B0604020202020204" pitchFamily="34" charset="0"/>
                  <a:cs typeface="Arial" panose="020B0604020202020204" pitchFamily="34" charset="0"/>
                </a:rPr>
                <a:t>MRD</a:t>
              </a:r>
              <a:endParaRPr lang="en-NL" sz="1050">
                <a:solidFill>
                  <a:prstClr val="black"/>
                </a:solidFill>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F5274677-300C-4EF2-9F25-E0ED0FF0200B}"/>
                </a:ext>
              </a:extLst>
            </p:cNvPr>
            <p:cNvSpPr txBox="1"/>
            <p:nvPr/>
          </p:nvSpPr>
          <p:spPr>
            <a:xfrm>
              <a:off x="4800298" y="3013315"/>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1:1</a:t>
              </a:r>
              <a:endParaRPr lang="en-NL" sz="1050">
                <a:solidFill>
                  <a:prstClr val="black"/>
                </a:solidFill>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F93579EE-2B38-408F-8843-AEC4F134659C}"/>
                </a:ext>
              </a:extLst>
            </p:cNvPr>
            <p:cNvSpPr txBox="1"/>
            <p:nvPr/>
          </p:nvSpPr>
          <p:spPr>
            <a:xfrm>
              <a:off x="4772542" y="4978059"/>
              <a:ext cx="1146048" cy="338555"/>
            </a:xfrm>
            <a:prstGeom prst="rect">
              <a:avLst/>
            </a:prstGeom>
            <a:noFill/>
          </p:spPr>
          <p:txBody>
            <a:bodyPr wrap="square" rtlCol="0">
              <a:spAutoFit/>
            </a:bodyPr>
            <a:lstStyle/>
            <a:p>
              <a:pPr algn="ctr" defTabSz="685800"/>
              <a:r>
                <a:rPr lang="en-US" sz="1050">
                  <a:solidFill>
                    <a:prstClr val="black"/>
                  </a:solidFill>
                  <a:latin typeface="Arial" panose="020B0604020202020204" pitchFamily="34" charset="0"/>
                  <a:cs typeface="Arial" panose="020B0604020202020204" pitchFamily="34" charset="0"/>
                </a:rPr>
                <a:t>1:1</a:t>
              </a:r>
              <a:endParaRPr lang="en-NL" sz="1050">
                <a:solidFill>
                  <a:prstClr val="black"/>
                </a:solidFill>
                <a:latin typeface="Arial" panose="020B0604020202020204" pitchFamily="34" charset="0"/>
                <a:cs typeface="Arial" panose="020B0604020202020204" pitchFamily="34" charset="0"/>
              </a:endParaRPr>
            </a:p>
          </p:txBody>
        </p:sp>
        <p:cxnSp>
          <p:nvCxnSpPr>
            <p:cNvPr id="82" name="Connector: Elbow 81">
              <a:extLst>
                <a:ext uri="{FF2B5EF4-FFF2-40B4-BE49-F238E27FC236}">
                  <a16:creationId xmlns:a16="http://schemas.microsoft.com/office/drawing/2014/main" id="{F96DCE44-8FD8-4F0E-9291-C07E91C6CD82}"/>
                </a:ext>
              </a:extLst>
            </p:cNvPr>
            <p:cNvCxnSpPr>
              <a:stCxn id="57" idx="3"/>
              <a:endCxn id="58" idx="3"/>
            </p:cNvCxnSpPr>
            <p:nvPr/>
          </p:nvCxnSpPr>
          <p:spPr>
            <a:xfrm>
              <a:off x="7473696" y="2683875"/>
              <a:ext cx="12700" cy="971915"/>
            </a:xfrm>
            <a:prstGeom prst="bentConnector3">
              <a:avLst>
                <a:gd name="adj1" fmla="val 1800000"/>
              </a:avLst>
            </a:prstGeom>
          </p:spPr>
          <p:style>
            <a:lnRef idx="1">
              <a:schemeClr val="dk1"/>
            </a:lnRef>
            <a:fillRef idx="0">
              <a:schemeClr val="dk1"/>
            </a:fillRef>
            <a:effectRef idx="0">
              <a:schemeClr val="dk1"/>
            </a:effectRef>
            <a:fontRef idx="minor">
              <a:schemeClr val="tx1"/>
            </a:fontRef>
          </p:style>
        </p:cxnSp>
        <p:cxnSp>
          <p:nvCxnSpPr>
            <p:cNvPr id="83" name="Connector: Elbow 82">
              <a:extLst>
                <a:ext uri="{FF2B5EF4-FFF2-40B4-BE49-F238E27FC236}">
                  <a16:creationId xmlns:a16="http://schemas.microsoft.com/office/drawing/2014/main" id="{689E00F4-46C8-4745-88E7-482C5E15091E}"/>
                </a:ext>
              </a:extLst>
            </p:cNvPr>
            <p:cNvCxnSpPr>
              <a:stCxn id="64" idx="3"/>
              <a:endCxn id="65" idx="3"/>
            </p:cNvCxnSpPr>
            <p:nvPr/>
          </p:nvCxnSpPr>
          <p:spPr>
            <a:xfrm>
              <a:off x="7473696" y="4654107"/>
              <a:ext cx="12700" cy="971915"/>
            </a:xfrm>
            <a:prstGeom prst="bentConnector3">
              <a:avLst>
                <a:gd name="adj1" fmla="val 1800000"/>
              </a:avLst>
            </a:prstGeom>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B4D97FA0-4DD0-4FED-B63B-A37DA8C61899}"/>
                </a:ext>
              </a:extLst>
            </p:cNvPr>
            <p:cNvCxnSpPr/>
            <p:nvPr/>
          </p:nvCxnSpPr>
          <p:spPr>
            <a:xfrm>
              <a:off x="7724117" y="3125700"/>
              <a:ext cx="25065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5" name="Straight Arrow Connector 84">
              <a:extLst>
                <a:ext uri="{FF2B5EF4-FFF2-40B4-BE49-F238E27FC236}">
                  <a16:creationId xmlns:a16="http://schemas.microsoft.com/office/drawing/2014/main" id="{569F64F5-EF06-458C-AB18-A5DC9A516697}"/>
                </a:ext>
              </a:extLst>
            </p:cNvPr>
            <p:cNvCxnSpPr/>
            <p:nvPr/>
          </p:nvCxnSpPr>
          <p:spPr>
            <a:xfrm>
              <a:off x="7724117" y="5112004"/>
              <a:ext cx="25065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91850855"/>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AAD8C8-2955-1E45-86D1-79AF55EB95BC}"/>
              </a:ext>
            </a:extLst>
          </p:cNvPr>
          <p:cNvSpPr>
            <a:spLocks noGrp="1"/>
          </p:cNvSpPr>
          <p:nvPr>
            <p:ph type="title"/>
          </p:nvPr>
        </p:nvSpPr>
        <p:spPr>
          <a:xfrm>
            <a:off x="805187" y="93780"/>
            <a:ext cx="7543801" cy="576548"/>
          </a:xfrm>
        </p:spPr>
        <p:txBody>
          <a:bodyPr>
            <a:normAutofit/>
          </a:bodyPr>
          <a:lstStyle/>
          <a:p>
            <a:r>
              <a:rPr lang="en-US" sz="2100" b="1" noProof="0">
                <a:solidFill>
                  <a:srgbClr val="0062A7"/>
                </a:solidFill>
                <a:latin typeface="+mn-lt"/>
              </a:rPr>
              <a:t>Remaining Questions on Maintenance</a:t>
            </a:r>
          </a:p>
        </p:txBody>
      </p:sp>
      <p:sp>
        <p:nvSpPr>
          <p:cNvPr id="3" name="Content Placeholder 2">
            <a:extLst>
              <a:ext uri="{FF2B5EF4-FFF2-40B4-BE49-F238E27FC236}">
                <a16:creationId xmlns:a16="http://schemas.microsoft.com/office/drawing/2014/main" id="{6B571D4B-B4E2-4F4A-ADDD-CEDF9C753420}"/>
              </a:ext>
            </a:extLst>
          </p:cNvPr>
          <p:cNvSpPr>
            <a:spLocks noGrp="1"/>
          </p:cNvSpPr>
          <p:nvPr>
            <p:ph idx="1"/>
          </p:nvPr>
        </p:nvSpPr>
        <p:spPr>
          <a:xfrm>
            <a:off x="351246" y="928727"/>
            <a:ext cx="8579358" cy="1949506"/>
          </a:xfrm>
        </p:spPr>
        <p:txBody>
          <a:bodyPr>
            <a:noAutofit/>
          </a:bodyPr>
          <a:lstStyle/>
          <a:p>
            <a:pPr marL="0" indent="0">
              <a:spcBef>
                <a:spcPts val="1350"/>
              </a:spcBef>
              <a:buNone/>
            </a:pPr>
            <a:r>
              <a:rPr lang="en-US" noProof="0"/>
              <a:t>Maintenance lenalidomide (exceptionally VR, DR) × 2 yr minimum</a:t>
            </a:r>
          </a:p>
          <a:p>
            <a:pPr>
              <a:spcBef>
                <a:spcPts val="1350"/>
              </a:spcBef>
            </a:pPr>
            <a:r>
              <a:rPr lang="en-US" noProof="0"/>
              <a:t>For everyone?</a:t>
            </a:r>
          </a:p>
          <a:p>
            <a:pPr>
              <a:spcBef>
                <a:spcPts val="1350"/>
              </a:spcBef>
            </a:pPr>
            <a:r>
              <a:rPr lang="en-US" noProof="0"/>
              <a:t>How many cycles? === can we stop?</a:t>
            </a:r>
          </a:p>
          <a:p>
            <a:pPr>
              <a:spcBef>
                <a:spcPts val="1350"/>
              </a:spcBef>
            </a:pPr>
            <a:r>
              <a:rPr lang="en-US" noProof="0"/>
              <a:t>What are the goals and objectives?</a:t>
            </a:r>
          </a:p>
          <a:p>
            <a:pPr>
              <a:spcBef>
                <a:spcPts val="1350"/>
              </a:spcBef>
            </a:pPr>
            <a:r>
              <a:rPr lang="en-US" noProof="0"/>
              <a:t>Should we introduce new drugs?</a:t>
            </a:r>
          </a:p>
          <a:p>
            <a:pPr>
              <a:spcBef>
                <a:spcPts val="1350"/>
              </a:spcBef>
            </a:pPr>
            <a:endParaRPr lang="en-US" noProof="0"/>
          </a:p>
        </p:txBody>
      </p:sp>
      <p:cxnSp>
        <p:nvCxnSpPr>
          <p:cNvPr id="4" name="Connecteur droit 5">
            <a:extLst>
              <a:ext uri="{FF2B5EF4-FFF2-40B4-BE49-F238E27FC236}">
                <a16:creationId xmlns:a16="http://schemas.microsoft.com/office/drawing/2014/main" id="{993F567F-F6E3-4935-8669-CCC9D6D31441}"/>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71232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F0622136-4715-5F46-9487-CEC0F6EF61F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798" y="1546749"/>
            <a:ext cx="4389710" cy="2344693"/>
          </a:xfrm>
          <a:prstGeom prst="rect">
            <a:avLst/>
          </a:prstGeom>
        </p:spPr>
      </p:pic>
      <p:sp>
        <p:nvSpPr>
          <p:cNvPr id="2" name="ZoneTexte 1">
            <a:extLst>
              <a:ext uri="{FF2B5EF4-FFF2-40B4-BE49-F238E27FC236}">
                <a16:creationId xmlns:a16="http://schemas.microsoft.com/office/drawing/2014/main" id="{359E08CF-3650-2347-9FAD-ECAF7D84ABB8}"/>
              </a:ext>
            </a:extLst>
          </p:cNvPr>
          <p:cNvSpPr txBox="1"/>
          <p:nvPr/>
        </p:nvSpPr>
        <p:spPr>
          <a:xfrm>
            <a:off x="1193292" y="1789938"/>
            <a:ext cx="65344" cy="246221"/>
          </a:xfrm>
          <a:prstGeom prst="rect">
            <a:avLst/>
          </a:prstGeom>
          <a:noFill/>
        </p:spPr>
        <p:txBody>
          <a:bodyPr wrap="square" rtlCol="0">
            <a:spAutoFit/>
          </a:bodyPr>
          <a:lstStyle/>
          <a:p>
            <a:pPr defTabSz="685800"/>
            <a:r>
              <a:rPr lang="fr-FR" sz="1500" baseline="30000">
                <a:solidFill>
                  <a:prstClr val="black"/>
                </a:solidFill>
                <a:latin typeface="Calibri" panose="020F0502020204030204"/>
              </a:rPr>
              <a:t>*</a:t>
            </a:r>
          </a:p>
        </p:txBody>
      </p:sp>
      <p:sp>
        <p:nvSpPr>
          <p:cNvPr id="11" name="ZoneTexte 77">
            <a:extLst>
              <a:ext uri="{FF2B5EF4-FFF2-40B4-BE49-F238E27FC236}">
                <a16:creationId xmlns:a16="http://schemas.microsoft.com/office/drawing/2014/main" id="{7BD41882-BA44-4051-95EE-AEB9CA4CB6BB}"/>
              </a:ext>
            </a:extLst>
          </p:cNvPr>
          <p:cNvSpPr txBox="1"/>
          <p:nvPr/>
        </p:nvSpPr>
        <p:spPr>
          <a:xfrm>
            <a:off x="0" y="4954070"/>
            <a:ext cx="4996237" cy="189431"/>
          </a:xfrm>
          <a:prstGeom prst="rect">
            <a:avLst/>
          </a:prstGeom>
          <a:noFill/>
        </p:spPr>
        <p:txBody>
          <a:bodyPr wrap="square">
            <a:noAutofit/>
          </a:bodyPr>
          <a:lstStyle/>
          <a:p>
            <a:pPr defTabSz="685800">
              <a:lnSpc>
                <a:spcPct val="107000"/>
              </a:lnSpc>
              <a:spcAft>
                <a:spcPts val="600"/>
              </a:spcAft>
            </a:pPr>
            <a:r>
              <a:rPr lang="fr-FR" sz="750" i="1">
                <a:solidFill>
                  <a:srgbClr val="800080"/>
                </a:solidFill>
                <a:latin typeface="Calibri" panose="020F0502020204030204" pitchFamily="34" charset="0"/>
                <a:ea typeface="Calibri" panose="020F0502020204030204" pitchFamily="34" charset="0"/>
                <a:cs typeface="Times New Roman" panose="02020603050405020304" pitchFamily="18" charset="0"/>
              </a:rPr>
              <a:t>RS_2021-10_Paris RS2A_ Objectif de traitement adapté à la réponse et MRD_Dr Perrot</a:t>
            </a:r>
            <a:endParaRPr lang="fr-FR" sz="825">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12" name="Content Placeholder 8">
            <a:extLst>
              <a:ext uri="{FF2B5EF4-FFF2-40B4-BE49-F238E27FC236}">
                <a16:creationId xmlns:a16="http://schemas.microsoft.com/office/drawing/2014/main" id="{17C6997C-AB48-614E-92A6-845DC66E95CA}"/>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4500948" y="1104932"/>
            <a:ext cx="4643053" cy="3315698"/>
          </a:xfrm>
        </p:spPr>
      </p:pic>
      <p:sp>
        <p:nvSpPr>
          <p:cNvPr id="3" name="TextBox 2">
            <a:extLst>
              <a:ext uri="{FF2B5EF4-FFF2-40B4-BE49-F238E27FC236}">
                <a16:creationId xmlns:a16="http://schemas.microsoft.com/office/drawing/2014/main" id="{31122923-2A57-4F43-A518-813BD75E4291}"/>
              </a:ext>
            </a:extLst>
          </p:cNvPr>
          <p:cNvSpPr txBox="1"/>
          <p:nvPr/>
        </p:nvSpPr>
        <p:spPr>
          <a:xfrm>
            <a:off x="807474" y="160802"/>
            <a:ext cx="8500875" cy="415498"/>
          </a:xfrm>
          <a:prstGeom prst="rect">
            <a:avLst/>
          </a:prstGeom>
          <a:noFill/>
        </p:spPr>
        <p:txBody>
          <a:bodyPr wrap="square" rtlCol="0">
            <a:spAutoFit/>
          </a:bodyPr>
          <a:lstStyle/>
          <a:p>
            <a:pPr defTabSz="685800"/>
            <a:r>
              <a:rPr lang="en-FR" sz="2100" b="1">
                <a:solidFill>
                  <a:srgbClr val="0062A7"/>
                </a:solidFill>
                <a:latin typeface="Calibri" panose="020F0502020204030204"/>
              </a:rPr>
              <a:t>Perspective</a:t>
            </a:r>
            <a:r>
              <a:rPr lang="en-US" sz="2100" b="1">
                <a:solidFill>
                  <a:srgbClr val="0062A7"/>
                </a:solidFill>
                <a:latin typeface="Calibri" panose="020F0502020204030204"/>
              </a:rPr>
              <a:t>s</a:t>
            </a:r>
            <a:r>
              <a:rPr lang="en-FR" sz="2100" b="1">
                <a:solidFill>
                  <a:srgbClr val="0062A7"/>
                </a:solidFill>
                <a:latin typeface="Calibri" panose="020F0502020204030204"/>
              </a:rPr>
              <a:t> of Maintenance</a:t>
            </a:r>
          </a:p>
        </p:txBody>
      </p:sp>
      <p:cxnSp>
        <p:nvCxnSpPr>
          <p:cNvPr id="9" name="Connecteur droit 5">
            <a:extLst>
              <a:ext uri="{FF2B5EF4-FFF2-40B4-BE49-F238E27FC236}">
                <a16:creationId xmlns:a16="http://schemas.microsoft.com/office/drawing/2014/main" id="{467002F7-D6A5-40EA-B7CC-B53C3CF3F484}"/>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
        <p:nvSpPr>
          <p:cNvPr id="10" name="Espace réservé du pied de page 1">
            <a:extLst>
              <a:ext uri="{FF2B5EF4-FFF2-40B4-BE49-F238E27FC236}">
                <a16:creationId xmlns:a16="http://schemas.microsoft.com/office/drawing/2014/main" id="{6068960C-A12E-49AC-8292-8A639382E61E}"/>
              </a:ext>
            </a:extLst>
          </p:cNvPr>
          <p:cNvSpPr>
            <a:spLocks noGrp="1"/>
          </p:cNvSpPr>
          <p:nvPr>
            <p:ph type="ftr" sz="quarter" idx="11"/>
          </p:nvPr>
        </p:nvSpPr>
        <p:spPr>
          <a:xfrm>
            <a:off x="4162511" y="4788020"/>
            <a:ext cx="4996237" cy="365125"/>
          </a:xfrm>
        </p:spPr>
        <p:txBody>
          <a:bodyPr anchor="b"/>
          <a:lstStyle/>
          <a:p>
            <a:pPr algn="r">
              <a:spcBef>
                <a:spcPts val="0"/>
              </a:spcBef>
            </a:pPr>
            <a:r>
              <a:rPr lang="fr-FR" sz="1050" i="0">
                <a:solidFill>
                  <a:schemeClr val="tx1"/>
                </a:solidFill>
              </a:rPr>
              <a:t>Costa LJ, et al. ASH 2021. Abstract OAB-051.</a:t>
            </a:r>
          </a:p>
        </p:txBody>
      </p:sp>
    </p:spTree>
    <p:extLst>
      <p:ext uri="{BB962C8B-B14F-4D97-AF65-F5344CB8AC3E}">
        <p14:creationId xmlns:p14="http://schemas.microsoft.com/office/powerpoint/2010/main" val="26362751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8FEDD2BF-7D76-A54A-81DD-2AB04A8A29C4}"/>
              </a:ext>
            </a:extLst>
          </p:cNvPr>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a:stretch/>
        </p:blipFill>
        <p:spPr>
          <a:xfrm>
            <a:off x="1270474" y="840618"/>
            <a:ext cx="6862572" cy="3831687"/>
          </a:xfrm>
        </p:spPr>
      </p:pic>
      <p:sp>
        <p:nvSpPr>
          <p:cNvPr id="4" name="TextBox 3">
            <a:extLst>
              <a:ext uri="{FF2B5EF4-FFF2-40B4-BE49-F238E27FC236}">
                <a16:creationId xmlns:a16="http://schemas.microsoft.com/office/drawing/2014/main" id="{0E6B7F6B-7F96-5040-BEFE-AF2477C53A2A}"/>
              </a:ext>
            </a:extLst>
          </p:cNvPr>
          <p:cNvSpPr txBox="1"/>
          <p:nvPr/>
        </p:nvSpPr>
        <p:spPr>
          <a:xfrm>
            <a:off x="807474" y="160802"/>
            <a:ext cx="8421130" cy="415498"/>
          </a:xfrm>
          <a:prstGeom prst="rect">
            <a:avLst/>
          </a:prstGeom>
          <a:noFill/>
        </p:spPr>
        <p:txBody>
          <a:bodyPr wrap="square" rtlCol="0">
            <a:spAutoFit/>
          </a:bodyPr>
          <a:lstStyle/>
          <a:p>
            <a:pPr defTabSz="685800"/>
            <a:r>
              <a:rPr lang="en-FR" sz="2100" b="1">
                <a:solidFill>
                  <a:srgbClr val="0062A7"/>
                </a:solidFill>
                <a:latin typeface="Calibri" panose="020F0502020204030204"/>
              </a:rPr>
              <a:t>Perspective</a:t>
            </a:r>
            <a:r>
              <a:rPr lang="en-US" sz="2100" b="1">
                <a:solidFill>
                  <a:srgbClr val="0062A7"/>
                </a:solidFill>
                <a:latin typeface="Calibri" panose="020F0502020204030204"/>
              </a:rPr>
              <a:t>s</a:t>
            </a:r>
            <a:r>
              <a:rPr lang="en-FR" sz="2100" b="1">
                <a:solidFill>
                  <a:srgbClr val="0062A7"/>
                </a:solidFill>
                <a:latin typeface="Calibri" panose="020F0502020204030204"/>
              </a:rPr>
              <a:t> of </a:t>
            </a:r>
            <a:r>
              <a:rPr lang="en-US" sz="2100" b="1">
                <a:solidFill>
                  <a:srgbClr val="0062A7"/>
                </a:solidFill>
                <a:latin typeface="Calibri" panose="020F0502020204030204"/>
              </a:rPr>
              <a:t>M</a:t>
            </a:r>
            <a:r>
              <a:rPr lang="en-FR" sz="2100" b="1">
                <a:solidFill>
                  <a:srgbClr val="0062A7"/>
                </a:solidFill>
                <a:latin typeface="Calibri" panose="020F0502020204030204"/>
              </a:rPr>
              <a:t>aintenance</a:t>
            </a:r>
          </a:p>
        </p:txBody>
      </p:sp>
      <p:cxnSp>
        <p:nvCxnSpPr>
          <p:cNvPr id="7" name="Connecteur droit 5">
            <a:extLst>
              <a:ext uri="{FF2B5EF4-FFF2-40B4-BE49-F238E27FC236}">
                <a16:creationId xmlns:a16="http://schemas.microsoft.com/office/drawing/2014/main" id="{373F30E0-0D9A-42A8-B189-4383BAC05FBC}"/>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
        <p:nvSpPr>
          <p:cNvPr id="6" name="Espace réservé du pied de page 1">
            <a:extLst>
              <a:ext uri="{FF2B5EF4-FFF2-40B4-BE49-F238E27FC236}">
                <a16:creationId xmlns:a16="http://schemas.microsoft.com/office/drawing/2014/main" id="{F5978044-9B5C-4779-BC40-69117544012A}"/>
              </a:ext>
            </a:extLst>
          </p:cNvPr>
          <p:cNvSpPr>
            <a:spLocks noGrp="1"/>
          </p:cNvSpPr>
          <p:nvPr>
            <p:ph type="ftr" sz="quarter" idx="11"/>
          </p:nvPr>
        </p:nvSpPr>
        <p:spPr>
          <a:xfrm>
            <a:off x="4162511" y="4788020"/>
            <a:ext cx="4996237" cy="365125"/>
          </a:xfrm>
        </p:spPr>
        <p:txBody>
          <a:bodyPr anchor="b"/>
          <a:lstStyle/>
          <a:p>
            <a:pPr algn="r">
              <a:spcBef>
                <a:spcPts val="0"/>
              </a:spcBef>
            </a:pPr>
            <a:r>
              <a:rPr lang="fr-FR" sz="1050" i="0">
                <a:solidFill>
                  <a:schemeClr val="tx1"/>
                </a:solidFill>
              </a:rPr>
              <a:t>Costa LJ, et al. ASH 2021. Abstract OAB-051.</a:t>
            </a:r>
          </a:p>
        </p:txBody>
      </p:sp>
    </p:spTree>
    <p:extLst>
      <p:ext uri="{BB962C8B-B14F-4D97-AF65-F5344CB8AC3E}">
        <p14:creationId xmlns:p14="http://schemas.microsoft.com/office/powerpoint/2010/main" val="321758243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5366282-3780-433E-851C-3FFA79D8FE34}"/>
              </a:ext>
            </a:extLst>
          </p:cNvPr>
          <p:cNvSpPr/>
          <p:nvPr/>
        </p:nvSpPr>
        <p:spPr>
          <a:xfrm>
            <a:off x="1" y="4747678"/>
            <a:ext cx="7325916" cy="396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685800"/>
            <a:r>
              <a:rPr lang="en-GB" sz="1050">
                <a:solidFill>
                  <a:prstClr val="black"/>
                </a:solidFill>
                <a:latin typeface="Calibri" panose="020F0502020204030204"/>
                <a:cs typeface="Arial" panose="020B0604020202020204" pitchFamily="34" charset="0"/>
              </a:rPr>
              <a:t>*Not approved for use in either the USA or Europe as of November 2021. </a:t>
            </a:r>
            <a:br>
              <a:rPr lang="en-GB" sz="1050">
                <a:solidFill>
                  <a:prstClr val="black"/>
                </a:solidFill>
                <a:latin typeface="Calibri" panose="020F0502020204030204"/>
                <a:cs typeface="Arial" panose="020B0604020202020204" pitchFamily="34" charset="0"/>
              </a:rPr>
            </a:br>
            <a:r>
              <a:rPr lang="en-GB" sz="1050">
                <a:solidFill>
                  <a:prstClr val="black"/>
                </a:solidFill>
                <a:latin typeface="Calibri" panose="020F0502020204030204"/>
                <a:cs typeface="Arial" panose="020B0604020202020204" pitchFamily="34" charset="0"/>
              </a:rPr>
              <a:t>ADC, antibody-drug conjugate; BsAb, bispecific antibody; CAR T, chimeric antigen receptor T-cell therapy; NK, natural killer. </a:t>
            </a:r>
            <a:br>
              <a:rPr lang="en-GB" sz="1050">
                <a:solidFill>
                  <a:prstClr val="black"/>
                </a:solidFill>
                <a:latin typeface="Calibri" panose="020F0502020204030204"/>
                <a:cs typeface="Arial" panose="020B0604020202020204" pitchFamily="34" charset="0"/>
              </a:rPr>
            </a:br>
            <a:r>
              <a:rPr lang="en-GB" sz="1050">
                <a:solidFill>
                  <a:prstClr val="black"/>
                </a:solidFill>
                <a:latin typeface="Calibri" panose="020F0502020204030204"/>
                <a:cs typeface="Arial" panose="020B0604020202020204" pitchFamily="34" charset="0"/>
              </a:rPr>
              <a:t>Adapted from personal communication and clinical insight from speaker.</a:t>
            </a:r>
            <a:endParaRPr lang="it-IT" sz="1050">
              <a:solidFill>
                <a:prstClr val="black"/>
              </a:solidFill>
              <a:latin typeface="Calibri" panose="020F0502020204030204"/>
              <a:cs typeface="Arial" panose="020B0604020202020204" pitchFamily="34" charset="0"/>
            </a:endParaRPr>
          </a:p>
        </p:txBody>
      </p:sp>
      <p:sp>
        <p:nvSpPr>
          <p:cNvPr id="19" name="Rectangle 18">
            <a:extLst>
              <a:ext uri="{FF2B5EF4-FFF2-40B4-BE49-F238E27FC236}">
                <a16:creationId xmlns:a16="http://schemas.microsoft.com/office/drawing/2014/main" id="{C3541B37-1AF1-45CC-95C1-47F5CED1A931}"/>
              </a:ext>
            </a:extLst>
          </p:cNvPr>
          <p:cNvSpPr/>
          <p:nvPr/>
        </p:nvSpPr>
        <p:spPr>
          <a:xfrm>
            <a:off x="806822" y="159584"/>
            <a:ext cx="8014280" cy="694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800"/>
            <a:r>
              <a:rPr lang="en-GB" sz="2100" b="1">
                <a:solidFill>
                  <a:srgbClr val="0062A7"/>
                </a:solidFill>
                <a:latin typeface="Calibri" panose="020F0502020204030204"/>
                <a:cs typeface="Arial" panose="020B0604020202020204" pitchFamily="34" charset="0"/>
              </a:rPr>
              <a:t>Multiple Myeloma Treatment Options: Immunotherapy</a:t>
            </a:r>
          </a:p>
        </p:txBody>
      </p:sp>
      <p:sp>
        <p:nvSpPr>
          <p:cNvPr id="4" name="Oval 3">
            <a:extLst>
              <a:ext uri="{FF2B5EF4-FFF2-40B4-BE49-F238E27FC236}">
                <a16:creationId xmlns:a16="http://schemas.microsoft.com/office/drawing/2014/main" id="{D870541C-4AFE-48B0-AA31-75338AE4B045}"/>
              </a:ext>
            </a:extLst>
          </p:cNvPr>
          <p:cNvSpPr/>
          <p:nvPr/>
        </p:nvSpPr>
        <p:spPr>
          <a:xfrm>
            <a:off x="937892" y="1414913"/>
            <a:ext cx="1714500" cy="1714500"/>
          </a:xfrm>
          <a:prstGeom prst="ellipse">
            <a:avLst/>
          </a:prstGeom>
          <a:solidFill>
            <a:srgbClr val="2622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GB" sz="1350">
                <a:solidFill>
                  <a:prstClr val="white"/>
                </a:solidFill>
                <a:latin typeface="Calibri" panose="020F0502020204030204"/>
              </a:rPr>
              <a:t>Cell surface markers</a:t>
            </a:r>
          </a:p>
        </p:txBody>
      </p:sp>
      <p:grpSp>
        <p:nvGrpSpPr>
          <p:cNvPr id="6" name="Group 5">
            <a:extLst>
              <a:ext uri="{FF2B5EF4-FFF2-40B4-BE49-F238E27FC236}">
                <a16:creationId xmlns:a16="http://schemas.microsoft.com/office/drawing/2014/main" id="{2468E720-EBD1-4D11-A4F6-0FAC9D21D93B}"/>
              </a:ext>
            </a:extLst>
          </p:cNvPr>
          <p:cNvGrpSpPr/>
          <p:nvPr/>
        </p:nvGrpSpPr>
        <p:grpSpPr>
          <a:xfrm>
            <a:off x="1697171" y="1275551"/>
            <a:ext cx="195943" cy="2006135"/>
            <a:chOff x="2598575" y="1268170"/>
            <a:chExt cx="261257" cy="2674846"/>
          </a:xfrm>
          <a:solidFill>
            <a:srgbClr val="BE147D"/>
          </a:solidFill>
        </p:grpSpPr>
        <p:sp>
          <p:nvSpPr>
            <p:cNvPr id="5" name="Rectangle: Rounded Corners 4">
              <a:extLst>
                <a:ext uri="{FF2B5EF4-FFF2-40B4-BE49-F238E27FC236}">
                  <a16:creationId xmlns:a16="http://schemas.microsoft.com/office/drawing/2014/main" id="{EE0DE048-94E8-48A1-B66A-5361834A6031}"/>
                </a:ext>
              </a:extLst>
            </p:cNvPr>
            <p:cNvSpPr/>
            <p:nvPr/>
          </p:nvSpPr>
          <p:spPr>
            <a:xfrm>
              <a:off x="2598575" y="1268170"/>
              <a:ext cx="261257" cy="408953"/>
            </a:xfrm>
            <a:prstGeom prst="round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srgbClr val="544F40"/>
                </a:solidFill>
                <a:latin typeface="Calibri" panose="020F0502020204030204"/>
              </a:endParaRPr>
            </a:p>
          </p:txBody>
        </p:sp>
        <p:sp>
          <p:nvSpPr>
            <p:cNvPr id="46" name="Rectangle: Rounded Corners 45">
              <a:extLst>
                <a:ext uri="{FF2B5EF4-FFF2-40B4-BE49-F238E27FC236}">
                  <a16:creationId xmlns:a16="http://schemas.microsoft.com/office/drawing/2014/main" id="{2811507E-5F30-45D4-92B3-16952CE9B0ED}"/>
                </a:ext>
              </a:extLst>
            </p:cNvPr>
            <p:cNvSpPr/>
            <p:nvPr/>
          </p:nvSpPr>
          <p:spPr>
            <a:xfrm>
              <a:off x="2598575" y="3534063"/>
              <a:ext cx="261257" cy="408953"/>
            </a:xfrm>
            <a:prstGeom prst="round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srgbClr val="544F40"/>
                </a:solidFill>
                <a:latin typeface="Calibri" panose="020F0502020204030204"/>
              </a:endParaRPr>
            </a:p>
          </p:txBody>
        </p:sp>
      </p:grpSp>
      <p:grpSp>
        <p:nvGrpSpPr>
          <p:cNvPr id="47" name="Group 46">
            <a:extLst>
              <a:ext uri="{FF2B5EF4-FFF2-40B4-BE49-F238E27FC236}">
                <a16:creationId xmlns:a16="http://schemas.microsoft.com/office/drawing/2014/main" id="{7827B2C6-401D-4070-98E6-EF50B04D83C2}"/>
              </a:ext>
            </a:extLst>
          </p:cNvPr>
          <p:cNvGrpSpPr/>
          <p:nvPr/>
        </p:nvGrpSpPr>
        <p:grpSpPr>
          <a:xfrm rot="5400000">
            <a:off x="1697170" y="1279153"/>
            <a:ext cx="195943" cy="2006135"/>
            <a:chOff x="2598575" y="1268170"/>
            <a:chExt cx="261257" cy="2674846"/>
          </a:xfrm>
          <a:solidFill>
            <a:srgbClr val="BE147D"/>
          </a:solidFill>
        </p:grpSpPr>
        <p:sp>
          <p:nvSpPr>
            <p:cNvPr id="49" name="Rectangle: Rounded Corners 48">
              <a:extLst>
                <a:ext uri="{FF2B5EF4-FFF2-40B4-BE49-F238E27FC236}">
                  <a16:creationId xmlns:a16="http://schemas.microsoft.com/office/drawing/2014/main" id="{59DC4D8F-2879-49E0-B03F-6E5FF76F5DBD}"/>
                </a:ext>
              </a:extLst>
            </p:cNvPr>
            <p:cNvSpPr/>
            <p:nvPr/>
          </p:nvSpPr>
          <p:spPr>
            <a:xfrm>
              <a:off x="2598575" y="1268170"/>
              <a:ext cx="261257" cy="408953"/>
            </a:xfrm>
            <a:prstGeom prst="round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srgbClr val="544F40"/>
                </a:solidFill>
                <a:latin typeface="Calibri" panose="020F0502020204030204"/>
              </a:endParaRPr>
            </a:p>
          </p:txBody>
        </p:sp>
        <p:sp>
          <p:nvSpPr>
            <p:cNvPr id="51" name="Rectangle: Rounded Corners 50">
              <a:extLst>
                <a:ext uri="{FF2B5EF4-FFF2-40B4-BE49-F238E27FC236}">
                  <a16:creationId xmlns:a16="http://schemas.microsoft.com/office/drawing/2014/main" id="{2F01FA1B-BE4C-4C84-B54E-03702F426B25}"/>
                </a:ext>
              </a:extLst>
            </p:cNvPr>
            <p:cNvSpPr/>
            <p:nvPr/>
          </p:nvSpPr>
          <p:spPr>
            <a:xfrm>
              <a:off x="2598575" y="3534063"/>
              <a:ext cx="261257" cy="408953"/>
            </a:xfrm>
            <a:prstGeom prst="round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srgbClr val="544F40"/>
                </a:solidFill>
                <a:latin typeface="Calibri" panose="020F0502020204030204"/>
              </a:endParaRPr>
            </a:p>
          </p:txBody>
        </p:sp>
      </p:grpSp>
      <p:grpSp>
        <p:nvGrpSpPr>
          <p:cNvPr id="53" name="Group 52">
            <a:extLst>
              <a:ext uri="{FF2B5EF4-FFF2-40B4-BE49-F238E27FC236}">
                <a16:creationId xmlns:a16="http://schemas.microsoft.com/office/drawing/2014/main" id="{6928CE15-B770-4306-A12D-6838D8FD8E10}"/>
              </a:ext>
            </a:extLst>
          </p:cNvPr>
          <p:cNvGrpSpPr/>
          <p:nvPr/>
        </p:nvGrpSpPr>
        <p:grpSpPr>
          <a:xfrm rot="8100000">
            <a:off x="1697170" y="1275551"/>
            <a:ext cx="195943" cy="2006135"/>
            <a:chOff x="2598575" y="1268170"/>
            <a:chExt cx="261257" cy="2674846"/>
          </a:xfrm>
          <a:solidFill>
            <a:srgbClr val="BE147D"/>
          </a:solidFill>
        </p:grpSpPr>
        <p:sp>
          <p:nvSpPr>
            <p:cNvPr id="55" name="Rectangle: Rounded Corners 54">
              <a:extLst>
                <a:ext uri="{FF2B5EF4-FFF2-40B4-BE49-F238E27FC236}">
                  <a16:creationId xmlns:a16="http://schemas.microsoft.com/office/drawing/2014/main" id="{CB213506-BD7D-4D7B-8B33-58EC8C3C24A7}"/>
                </a:ext>
              </a:extLst>
            </p:cNvPr>
            <p:cNvSpPr/>
            <p:nvPr/>
          </p:nvSpPr>
          <p:spPr>
            <a:xfrm>
              <a:off x="2598575" y="1268170"/>
              <a:ext cx="261257" cy="408953"/>
            </a:xfrm>
            <a:prstGeom prst="round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srgbClr val="544F40"/>
                </a:solidFill>
                <a:latin typeface="Calibri" panose="020F0502020204030204"/>
              </a:endParaRPr>
            </a:p>
          </p:txBody>
        </p:sp>
        <p:sp>
          <p:nvSpPr>
            <p:cNvPr id="56" name="Rectangle: Rounded Corners 55">
              <a:extLst>
                <a:ext uri="{FF2B5EF4-FFF2-40B4-BE49-F238E27FC236}">
                  <a16:creationId xmlns:a16="http://schemas.microsoft.com/office/drawing/2014/main" id="{4F70DAAF-8DB0-4C0B-B057-2C4706C60E6C}"/>
                </a:ext>
              </a:extLst>
            </p:cNvPr>
            <p:cNvSpPr/>
            <p:nvPr/>
          </p:nvSpPr>
          <p:spPr>
            <a:xfrm>
              <a:off x="2598575" y="3534063"/>
              <a:ext cx="261257" cy="408953"/>
            </a:xfrm>
            <a:prstGeom prst="round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srgbClr val="544F40"/>
                </a:solidFill>
                <a:latin typeface="Calibri" panose="020F0502020204030204"/>
              </a:endParaRPr>
            </a:p>
          </p:txBody>
        </p:sp>
      </p:grpSp>
      <p:grpSp>
        <p:nvGrpSpPr>
          <p:cNvPr id="57" name="Group 56">
            <a:extLst>
              <a:ext uri="{FF2B5EF4-FFF2-40B4-BE49-F238E27FC236}">
                <a16:creationId xmlns:a16="http://schemas.microsoft.com/office/drawing/2014/main" id="{B4A625B8-6423-49E0-B77F-6420A3665DA9}"/>
              </a:ext>
            </a:extLst>
          </p:cNvPr>
          <p:cNvGrpSpPr/>
          <p:nvPr/>
        </p:nvGrpSpPr>
        <p:grpSpPr>
          <a:xfrm rot="13500000">
            <a:off x="1697170" y="1275551"/>
            <a:ext cx="195943" cy="2006135"/>
            <a:chOff x="2598575" y="1268170"/>
            <a:chExt cx="261257" cy="2674846"/>
          </a:xfrm>
          <a:solidFill>
            <a:srgbClr val="BE147D"/>
          </a:solidFill>
        </p:grpSpPr>
        <p:sp>
          <p:nvSpPr>
            <p:cNvPr id="58" name="Rectangle: Rounded Corners 57">
              <a:extLst>
                <a:ext uri="{FF2B5EF4-FFF2-40B4-BE49-F238E27FC236}">
                  <a16:creationId xmlns:a16="http://schemas.microsoft.com/office/drawing/2014/main" id="{D9D145AB-CF0F-4420-ABD4-CC38DCF8EAEF}"/>
                </a:ext>
              </a:extLst>
            </p:cNvPr>
            <p:cNvSpPr/>
            <p:nvPr/>
          </p:nvSpPr>
          <p:spPr>
            <a:xfrm>
              <a:off x="2598575" y="1268170"/>
              <a:ext cx="261257" cy="408953"/>
            </a:xfrm>
            <a:prstGeom prst="round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srgbClr val="544F40"/>
                </a:solidFill>
                <a:latin typeface="Calibri" panose="020F0502020204030204"/>
              </a:endParaRPr>
            </a:p>
          </p:txBody>
        </p:sp>
        <p:sp>
          <p:nvSpPr>
            <p:cNvPr id="59" name="Rectangle: Rounded Corners 58">
              <a:extLst>
                <a:ext uri="{FF2B5EF4-FFF2-40B4-BE49-F238E27FC236}">
                  <a16:creationId xmlns:a16="http://schemas.microsoft.com/office/drawing/2014/main" id="{004045BD-0B67-4C53-8897-0370D337A271}"/>
                </a:ext>
              </a:extLst>
            </p:cNvPr>
            <p:cNvSpPr/>
            <p:nvPr/>
          </p:nvSpPr>
          <p:spPr>
            <a:xfrm>
              <a:off x="2598575" y="3534063"/>
              <a:ext cx="261257" cy="408953"/>
            </a:xfrm>
            <a:prstGeom prst="round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srgbClr val="544F40"/>
                </a:solidFill>
                <a:latin typeface="Calibri" panose="020F0502020204030204"/>
              </a:endParaRPr>
            </a:p>
          </p:txBody>
        </p:sp>
      </p:grpSp>
      <p:sp>
        <p:nvSpPr>
          <p:cNvPr id="8" name="TextBox 7">
            <a:extLst>
              <a:ext uri="{FF2B5EF4-FFF2-40B4-BE49-F238E27FC236}">
                <a16:creationId xmlns:a16="http://schemas.microsoft.com/office/drawing/2014/main" id="{1C62974E-7D1B-4CC3-9FC5-EC8F90BAC109}"/>
              </a:ext>
            </a:extLst>
          </p:cNvPr>
          <p:cNvSpPr txBox="1"/>
          <p:nvPr/>
        </p:nvSpPr>
        <p:spPr>
          <a:xfrm>
            <a:off x="1523914" y="1055074"/>
            <a:ext cx="590226" cy="253916"/>
          </a:xfrm>
          <a:prstGeom prst="rect">
            <a:avLst/>
          </a:prstGeom>
          <a:noFill/>
        </p:spPr>
        <p:txBody>
          <a:bodyPr wrap="none" rtlCol="0">
            <a:spAutoFit/>
          </a:bodyPr>
          <a:lstStyle/>
          <a:p>
            <a:pPr defTabSz="685800"/>
            <a:r>
              <a:rPr lang="en-GB" sz="1050" b="1">
                <a:solidFill>
                  <a:srgbClr val="544F40"/>
                </a:solidFill>
                <a:latin typeface="Arial" panose="020B0604020202020204" pitchFamily="34" charset="0"/>
                <a:cs typeface="Arial" panose="020B0604020202020204" pitchFamily="34" charset="0"/>
              </a:rPr>
              <a:t>BCMA</a:t>
            </a:r>
          </a:p>
        </p:txBody>
      </p:sp>
      <p:sp>
        <p:nvSpPr>
          <p:cNvPr id="60" name="TextBox 59">
            <a:extLst>
              <a:ext uri="{FF2B5EF4-FFF2-40B4-BE49-F238E27FC236}">
                <a16:creationId xmlns:a16="http://schemas.microsoft.com/office/drawing/2014/main" id="{E465991A-73F5-43BB-B9DC-B089179B6566}"/>
              </a:ext>
            </a:extLst>
          </p:cNvPr>
          <p:cNvSpPr txBox="1"/>
          <p:nvPr/>
        </p:nvSpPr>
        <p:spPr>
          <a:xfrm>
            <a:off x="1427133" y="3285743"/>
            <a:ext cx="784189" cy="253916"/>
          </a:xfrm>
          <a:prstGeom prst="rect">
            <a:avLst/>
          </a:prstGeom>
          <a:noFill/>
        </p:spPr>
        <p:txBody>
          <a:bodyPr wrap="none" rtlCol="0">
            <a:spAutoFit/>
          </a:bodyPr>
          <a:lstStyle/>
          <a:p>
            <a:pPr defTabSz="685800"/>
            <a:r>
              <a:rPr lang="en-GB" sz="1050" b="1">
                <a:solidFill>
                  <a:srgbClr val="544F40"/>
                </a:solidFill>
                <a:latin typeface="Arial" panose="020B0604020202020204" pitchFamily="34" charset="0"/>
                <a:cs typeface="Arial" panose="020B0604020202020204" pitchFamily="34" charset="0"/>
              </a:rPr>
              <a:t>NKG2D-L</a:t>
            </a:r>
          </a:p>
        </p:txBody>
      </p:sp>
      <p:sp>
        <p:nvSpPr>
          <p:cNvPr id="61" name="TextBox 60">
            <a:extLst>
              <a:ext uri="{FF2B5EF4-FFF2-40B4-BE49-F238E27FC236}">
                <a16:creationId xmlns:a16="http://schemas.microsoft.com/office/drawing/2014/main" id="{531A365E-5427-441E-A2E0-0DE5EF073270}"/>
              </a:ext>
            </a:extLst>
          </p:cNvPr>
          <p:cNvSpPr txBox="1"/>
          <p:nvPr/>
        </p:nvSpPr>
        <p:spPr>
          <a:xfrm>
            <a:off x="2798209" y="2166805"/>
            <a:ext cx="747320" cy="253916"/>
          </a:xfrm>
          <a:prstGeom prst="rect">
            <a:avLst/>
          </a:prstGeom>
          <a:noFill/>
        </p:spPr>
        <p:txBody>
          <a:bodyPr wrap="none" rtlCol="0">
            <a:spAutoFit/>
          </a:bodyPr>
          <a:lstStyle/>
          <a:p>
            <a:pPr defTabSz="685800"/>
            <a:r>
              <a:rPr lang="en-GB" sz="1050" b="1">
                <a:solidFill>
                  <a:srgbClr val="544F40"/>
                </a:solidFill>
                <a:latin typeface="Arial" panose="020B0604020202020204" pitchFamily="34" charset="0"/>
                <a:cs typeface="Arial" panose="020B0604020202020204" pitchFamily="34" charset="0"/>
              </a:rPr>
              <a:t>GPRC5D</a:t>
            </a:r>
          </a:p>
        </p:txBody>
      </p:sp>
      <p:sp>
        <p:nvSpPr>
          <p:cNvPr id="62" name="TextBox 61">
            <a:extLst>
              <a:ext uri="{FF2B5EF4-FFF2-40B4-BE49-F238E27FC236}">
                <a16:creationId xmlns:a16="http://schemas.microsoft.com/office/drawing/2014/main" id="{846C96C6-ACDC-4F06-85F3-4295FFA4BECD}"/>
              </a:ext>
            </a:extLst>
          </p:cNvPr>
          <p:cNvSpPr txBox="1"/>
          <p:nvPr/>
        </p:nvSpPr>
        <p:spPr>
          <a:xfrm>
            <a:off x="297729" y="2166805"/>
            <a:ext cx="580608" cy="253916"/>
          </a:xfrm>
          <a:prstGeom prst="rect">
            <a:avLst/>
          </a:prstGeom>
          <a:noFill/>
        </p:spPr>
        <p:txBody>
          <a:bodyPr wrap="none" rtlCol="0">
            <a:spAutoFit/>
          </a:bodyPr>
          <a:lstStyle/>
          <a:p>
            <a:pPr defTabSz="685800"/>
            <a:r>
              <a:rPr lang="en-GB" sz="1050" b="1">
                <a:solidFill>
                  <a:srgbClr val="544F40"/>
                </a:solidFill>
                <a:latin typeface="Arial" panose="020B0604020202020204" pitchFamily="34" charset="0"/>
                <a:cs typeface="Arial" panose="020B0604020202020204" pitchFamily="34" charset="0"/>
              </a:rPr>
              <a:t>ITGB7</a:t>
            </a:r>
          </a:p>
        </p:txBody>
      </p:sp>
      <p:sp>
        <p:nvSpPr>
          <p:cNvPr id="63" name="TextBox 62">
            <a:extLst>
              <a:ext uri="{FF2B5EF4-FFF2-40B4-BE49-F238E27FC236}">
                <a16:creationId xmlns:a16="http://schemas.microsoft.com/office/drawing/2014/main" id="{A49437F7-243F-469F-8942-ADDC751F053E}"/>
              </a:ext>
            </a:extLst>
          </p:cNvPr>
          <p:cNvSpPr txBox="1"/>
          <p:nvPr/>
        </p:nvSpPr>
        <p:spPr>
          <a:xfrm>
            <a:off x="548236" y="2728075"/>
            <a:ext cx="606256" cy="253916"/>
          </a:xfrm>
          <a:prstGeom prst="rect">
            <a:avLst/>
          </a:prstGeom>
          <a:noFill/>
        </p:spPr>
        <p:txBody>
          <a:bodyPr wrap="none" rtlCol="0">
            <a:spAutoFit/>
          </a:bodyPr>
          <a:lstStyle/>
          <a:p>
            <a:pPr defTabSz="685800"/>
            <a:r>
              <a:rPr lang="en-GB" sz="1050" b="1">
                <a:solidFill>
                  <a:srgbClr val="544F40"/>
                </a:solidFill>
                <a:latin typeface="Arial" panose="020B0604020202020204" pitchFamily="34" charset="0"/>
                <a:cs typeface="Arial" panose="020B0604020202020204" pitchFamily="34" charset="0"/>
              </a:rPr>
              <a:t>CD138</a:t>
            </a:r>
          </a:p>
        </p:txBody>
      </p:sp>
      <p:sp>
        <p:nvSpPr>
          <p:cNvPr id="64" name="TextBox 63">
            <a:extLst>
              <a:ext uri="{FF2B5EF4-FFF2-40B4-BE49-F238E27FC236}">
                <a16:creationId xmlns:a16="http://schemas.microsoft.com/office/drawing/2014/main" id="{BC31D784-76C1-4D22-BB71-FDCE74162FDF}"/>
              </a:ext>
            </a:extLst>
          </p:cNvPr>
          <p:cNvSpPr txBox="1"/>
          <p:nvPr/>
        </p:nvSpPr>
        <p:spPr>
          <a:xfrm>
            <a:off x="548236" y="1612741"/>
            <a:ext cx="530915" cy="253916"/>
          </a:xfrm>
          <a:prstGeom prst="rect">
            <a:avLst/>
          </a:prstGeom>
          <a:noFill/>
        </p:spPr>
        <p:txBody>
          <a:bodyPr wrap="none" rtlCol="0">
            <a:spAutoFit/>
          </a:bodyPr>
          <a:lstStyle/>
          <a:p>
            <a:pPr defTabSz="685800"/>
            <a:r>
              <a:rPr lang="en-GB" sz="1050" b="1">
                <a:solidFill>
                  <a:srgbClr val="544F40"/>
                </a:solidFill>
                <a:latin typeface="Arial" panose="020B0604020202020204" pitchFamily="34" charset="0"/>
                <a:cs typeface="Arial" panose="020B0604020202020204" pitchFamily="34" charset="0"/>
              </a:rPr>
              <a:t>CD38</a:t>
            </a:r>
          </a:p>
        </p:txBody>
      </p:sp>
      <p:sp>
        <p:nvSpPr>
          <p:cNvPr id="65" name="TextBox 64">
            <a:extLst>
              <a:ext uri="{FF2B5EF4-FFF2-40B4-BE49-F238E27FC236}">
                <a16:creationId xmlns:a16="http://schemas.microsoft.com/office/drawing/2014/main" id="{63172058-FE72-450A-8E37-CF92A5471A2D}"/>
              </a:ext>
            </a:extLst>
          </p:cNvPr>
          <p:cNvSpPr txBox="1"/>
          <p:nvPr/>
        </p:nvSpPr>
        <p:spPr>
          <a:xfrm>
            <a:off x="2538647" y="2728075"/>
            <a:ext cx="635110" cy="253916"/>
          </a:xfrm>
          <a:prstGeom prst="rect">
            <a:avLst/>
          </a:prstGeom>
          <a:noFill/>
        </p:spPr>
        <p:txBody>
          <a:bodyPr wrap="none" rtlCol="0">
            <a:spAutoFit/>
          </a:bodyPr>
          <a:lstStyle/>
          <a:p>
            <a:pPr defTabSz="685800"/>
            <a:r>
              <a:rPr lang="en-GB" sz="1050" b="1">
                <a:solidFill>
                  <a:srgbClr val="544F40"/>
                </a:solidFill>
                <a:latin typeface="Arial" panose="020B0604020202020204" pitchFamily="34" charset="0"/>
                <a:cs typeface="Arial" panose="020B0604020202020204" pitchFamily="34" charset="0"/>
              </a:rPr>
              <a:t>FCRH5</a:t>
            </a:r>
          </a:p>
        </p:txBody>
      </p:sp>
      <p:sp>
        <p:nvSpPr>
          <p:cNvPr id="66" name="TextBox 65">
            <a:extLst>
              <a:ext uri="{FF2B5EF4-FFF2-40B4-BE49-F238E27FC236}">
                <a16:creationId xmlns:a16="http://schemas.microsoft.com/office/drawing/2014/main" id="{79AE41E6-0BB0-40FB-9F54-15628D3375E7}"/>
              </a:ext>
            </a:extLst>
          </p:cNvPr>
          <p:cNvSpPr txBox="1"/>
          <p:nvPr/>
        </p:nvSpPr>
        <p:spPr>
          <a:xfrm>
            <a:off x="2538647" y="1612741"/>
            <a:ext cx="447558" cy="253916"/>
          </a:xfrm>
          <a:prstGeom prst="rect">
            <a:avLst/>
          </a:prstGeom>
          <a:noFill/>
        </p:spPr>
        <p:txBody>
          <a:bodyPr wrap="none" rtlCol="0">
            <a:spAutoFit/>
          </a:bodyPr>
          <a:lstStyle/>
          <a:p>
            <a:pPr defTabSz="685800"/>
            <a:r>
              <a:rPr lang="en-GB" sz="1050" b="1">
                <a:solidFill>
                  <a:srgbClr val="544F40"/>
                </a:solidFill>
                <a:latin typeface="Arial" panose="020B0604020202020204" pitchFamily="34" charset="0"/>
                <a:cs typeface="Arial" panose="020B0604020202020204" pitchFamily="34" charset="0"/>
              </a:rPr>
              <a:t>CS1</a:t>
            </a:r>
          </a:p>
        </p:txBody>
      </p:sp>
      <p:grpSp>
        <p:nvGrpSpPr>
          <p:cNvPr id="21" name="Group 20">
            <a:extLst>
              <a:ext uri="{FF2B5EF4-FFF2-40B4-BE49-F238E27FC236}">
                <a16:creationId xmlns:a16="http://schemas.microsoft.com/office/drawing/2014/main" id="{0E5F2BDE-8009-4015-B549-037083487420}"/>
              </a:ext>
            </a:extLst>
          </p:cNvPr>
          <p:cNvGrpSpPr/>
          <p:nvPr/>
        </p:nvGrpSpPr>
        <p:grpSpPr>
          <a:xfrm>
            <a:off x="3640738" y="1440912"/>
            <a:ext cx="861474" cy="915322"/>
            <a:chOff x="5271109" y="1862938"/>
            <a:chExt cx="1381707" cy="1468073"/>
          </a:xfrm>
        </p:grpSpPr>
        <p:sp>
          <p:nvSpPr>
            <p:cNvPr id="69" name="Freeform: Shape 68">
              <a:extLst>
                <a:ext uri="{FF2B5EF4-FFF2-40B4-BE49-F238E27FC236}">
                  <a16:creationId xmlns:a16="http://schemas.microsoft.com/office/drawing/2014/main" id="{7791F298-F7DA-4B1A-8789-4C79C66AF46C}"/>
                </a:ext>
              </a:extLst>
            </p:cNvPr>
            <p:cNvSpPr/>
            <p:nvPr/>
          </p:nvSpPr>
          <p:spPr>
            <a:xfrm>
              <a:off x="5271109" y="1862938"/>
              <a:ext cx="664693" cy="1468073"/>
            </a:xfrm>
            <a:custGeom>
              <a:avLst/>
              <a:gdLst>
                <a:gd name="connsiteX0" fmla="*/ 137244 w 664693"/>
                <a:gd name="connsiteY0" fmla="*/ 0 h 1468073"/>
                <a:gd name="connsiteX1" fmla="*/ 184528 w 664693"/>
                <a:gd name="connsiteY1" fmla="*/ 19585 h 1468073"/>
                <a:gd name="connsiteX2" fmla="*/ 629850 w 664693"/>
                <a:gd name="connsiteY2" fmla="*/ 464907 h 1468073"/>
                <a:gd name="connsiteX3" fmla="*/ 631897 w 664693"/>
                <a:gd name="connsiteY3" fmla="*/ 467990 h 1468073"/>
                <a:gd name="connsiteX4" fmla="*/ 645107 w 664693"/>
                <a:gd name="connsiteY4" fmla="*/ 473462 h 1468073"/>
                <a:gd name="connsiteX5" fmla="*/ 664693 w 664693"/>
                <a:gd name="connsiteY5" fmla="*/ 520746 h 1468073"/>
                <a:gd name="connsiteX6" fmla="*/ 664693 w 664693"/>
                <a:gd name="connsiteY6" fmla="*/ 1401203 h 1468073"/>
                <a:gd name="connsiteX7" fmla="*/ 597823 w 664693"/>
                <a:gd name="connsiteY7" fmla="*/ 1468073 h 1468073"/>
                <a:gd name="connsiteX8" fmla="*/ 498298 w 664693"/>
                <a:gd name="connsiteY8" fmla="*/ 1468073 h 1468073"/>
                <a:gd name="connsiteX9" fmla="*/ 431428 w 664693"/>
                <a:gd name="connsiteY9" fmla="*/ 1401203 h 1468073"/>
                <a:gd name="connsiteX10" fmla="*/ 431428 w 664693"/>
                <a:gd name="connsiteY10" fmla="*/ 596372 h 1468073"/>
                <a:gd name="connsiteX11" fmla="*/ 19585 w 664693"/>
                <a:gd name="connsiteY11" fmla="*/ 184529 h 1468073"/>
                <a:gd name="connsiteX12" fmla="*/ 19585 w 664693"/>
                <a:gd name="connsiteY12" fmla="*/ 89960 h 1468073"/>
                <a:gd name="connsiteX13" fmla="*/ 89960 w 664693"/>
                <a:gd name="connsiteY13" fmla="*/ 19585 h 1468073"/>
                <a:gd name="connsiteX14" fmla="*/ 137244 w 664693"/>
                <a:gd name="connsiteY14" fmla="*/ 0 h 146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693" h="1468073">
                  <a:moveTo>
                    <a:pt x="137244" y="0"/>
                  </a:moveTo>
                  <a:cubicBezTo>
                    <a:pt x="154357" y="0"/>
                    <a:pt x="171471" y="6528"/>
                    <a:pt x="184528" y="19585"/>
                  </a:cubicBezTo>
                  <a:lnTo>
                    <a:pt x="629850" y="464907"/>
                  </a:lnTo>
                  <a:lnTo>
                    <a:pt x="631897" y="467990"/>
                  </a:lnTo>
                  <a:lnTo>
                    <a:pt x="645107" y="473462"/>
                  </a:lnTo>
                  <a:cubicBezTo>
                    <a:pt x="657209" y="485563"/>
                    <a:pt x="664693" y="502281"/>
                    <a:pt x="664693" y="520746"/>
                  </a:cubicBezTo>
                  <a:lnTo>
                    <a:pt x="664693" y="1401203"/>
                  </a:lnTo>
                  <a:cubicBezTo>
                    <a:pt x="664693" y="1438134"/>
                    <a:pt x="634754" y="1468073"/>
                    <a:pt x="597823" y="1468073"/>
                  </a:cubicBezTo>
                  <a:lnTo>
                    <a:pt x="498298" y="1468073"/>
                  </a:lnTo>
                  <a:cubicBezTo>
                    <a:pt x="461367" y="1468073"/>
                    <a:pt x="431428" y="1438134"/>
                    <a:pt x="431428" y="1401203"/>
                  </a:cubicBezTo>
                  <a:lnTo>
                    <a:pt x="431428" y="596372"/>
                  </a:lnTo>
                  <a:lnTo>
                    <a:pt x="19585" y="184529"/>
                  </a:lnTo>
                  <a:cubicBezTo>
                    <a:pt x="-6529" y="158414"/>
                    <a:pt x="-6529" y="116074"/>
                    <a:pt x="19585" y="89960"/>
                  </a:cubicBezTo>
                  <a:lnTo>
                    <a:pt x="89960" y="19585"/>
                  </a:lnTo>
                  <a:cubicBezTo>
                    <a:pt x="103017" y="6528"/>
                    <a:pt x="120130" y="0"/>
                    <a:pt x="137244" y="0"/>
                  </a:cubicBezTo>
                  <a:close/>
                </a:path>
              </a:pathLst>
            </a:custGeom>
            <a:solidFill>
              <a:srgbClr val="26226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sp>
          <p:nvSpPr>
            <p:cNvPr id="70" name="Freeform: Shape 69">
              <a:extLst>
                <a:ext uri="{FF2B5EF4-FFF2-40B4-BE49-F238E27FC236}">
                  <a16:creationId xmlns:a16="http://schemas.microsoft.com/office/drawing/2014/main" id="{760514F2-834C-4670-AA6B-0B0BAB9D60D3}"/>
                </a:ext>
              </a:extLst>
            </p:cNvPr>
            <p:cNvSpPr/>
            <p:nvPr/>
          </p:nvSpPr>
          <p:spPr>
            <a:xfrm flipH="1">
              <a:off x="5988123" y="1862938"/>
              <a:ext cx="664693" cy="1468073"/>
            </a:xfrm>
            <a:custGeom>
              <a:avLst/>
              <a:gdLst>
                <a:gd name="connsiteX0" fmla="*/ 137244 w 664693"/>
                <a:gd name="connsiteY0" fmla="*/ 0 h 1468073"/>
                <a:gd name="connsiteX1" fmla="*/ 184528 w 664693"/>
                <a:gd name="connsiteY1" fmla="*/ 19585 h 1468073"/>
                <a:gd name="connsiteX2" fmla="*/ 629850 w 664693"/>
                <a:gd name="connsiteY2" fmla="*/ 464907 h 1468073"/>
                <a:gd name="connsiteX3" fmla="*/ 631897 w 664693"/>
                <a:gd name="connsiteY3" fmla="*/ 467990 h 1468073"/>
                <a:gd name="connsiteX4" fmla="*/ 645107 w 664693"/>
                <a:gd name="connsiteY4" fmla="*/ 473462 h 1468073"/>
                <a:gd name="connsiteX5" fmla="*/ 664693 w 664693"/>
                <a:gd name="connsiteY5" fmla="*/ 520746 h 1468073"/>
                <a:gd name="connsiteX6" fmla="*/ 664693 w 664693"/>
                <a:gd name="connsiteY6" fmla="*/ 1401203 h 1468073"/>
                <a:gd name="connsiteX7" fmla="*/ 597823 w 664693"/>
                <a:gd name="connsiteY7" fmla="*/ 1468073 h 1468073"/>
                <a:gd name="connsiteX8" fmla="*/ 498298 w 664693"/>
                <a:gd name="connsiteY8" fmla="*/ 1468073 h 1468073"/>
                <a:gd name="connsiteX9" fmla="*/ 431428 w 664693"/>
                <a:gd name="connsiteY9" fmla="*/ 1401203 h 1468073"/>
                <a:gd name="connsiteX10" fmla="*/ 431428 w 664693"/>
                <a:gd name="connsiteY10" fmla="*/ 596372 h 1468073"/>
                <a:gd name="connsiteX11" fmla="*/ 19585 w 664693"/>
                <a:gd name="connsiteY11" fmla="*/ 184529 h 1468073"/>
                <a:gd name="connsiteX12" fmla="*/ 19585 w 664693"/>
                <a:gd name="connsiteY12" fmla="*/ 89960 h 1468073"/>
                <a:gd name="connsiteX13" fmla="*/ 89960 w 664693"/>
                <a:gd name="connsiteY13" fmla="*/ 19585 h 1468073"/>
                <a:gd name="connsiteX14" fmla="*/ 137244 w 664693"/>
                <a:gd name="connsiteY14" fmla="*/ 0 h 146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693" h="1468073">
                  <a:moveTo>
                    <a:pt x="137244" y="0"/>
                  </a:moveTo>
                  <a:cubicBezTo>
                    <a:pt x="154357" y="0"/>
                    <a:pt x="171471" y="6528"/>
                    <a:pt x="184528" y="19585"/>
                  </a:cubicBezTo>
                  <a:lnTo>
                    <a:pt x="629850" y="464907"/>
                  </a:lnTo>
                  <a:lnTo>
                    <a:pt x="631897" y="467990"/>
                  </a:lnTo>
                  <a:lnTo>
                    <a:pt x="645107" y="473462"/>
                  </a:lnTo>
                  <a:cubicBezTo>
                    <a:pt x="657209" y="485563"/>
                    <a:pt x="664693" y="502281"/>
                    <a:pt x="664693" y="520746"/>
                  </a:cubicBezTo>
                  <a:lnTo>
                    <a:pt x="664693" y="1401203"/>
                  </a:lnTo>
                  <a:cubicBezTo>
                    <a:pt x="664693" y="1438134"/>
                    <a:pt x="634754" y="1468073"/>
                    <a:pt x="597823" y="1468073"/>
                  </a:cubicBezTo>
                  <a:lnTo>
                    <a:pt x="498298" y="1468073"/>
                  </a:lnTo>
                  <a:cubicBezTo>
                    <a:pt x="461367" y="1468073"/>
                    <a:pt x="431428" y="1438134"/>
                    <a:pt x="431428" y="1401203"/>
                  </a:cubicBezTo>
                  <a:lnTo>
                    <a:pt x="431428" y="596372"/>
                  </a:lnTo>
                  <a:lnTo>
                    <a:pt x="19585" y="184529"/>
                  </a:lnTo>
                  <a:cubicBezTo>
                    <a:pt x="-6529" y="158414"/>
                    <a:pt x="-6529" y="116074"/>
                    <a:pt x="19585" y="89960"/>
                  </a:cubicBezTo>
                  <a:lnTo>
                    <a:pt x="89960" y="19585"/>
                  </a:lnTo>
                  <a:cubicBezTo>
                    <a:pt x="103017" y="6528"/>
                    <a:pt x="120130" y="0"/>
                    <a:pt x="137244" y="0"/>
                  </a:cubicBezTo>
                  <a:close/>
                </a:path>
              </a:pathLst>
            </a:custGeom>
            <a:solidFill>
              <a:srgbClr val="26226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grpSp>
      <p:grpSp>
        <p:nvGrpSpPr>
          <p:cNvPr id="102" name="Group 101">
            <a:extLst>
              <a:ext uri="{FF2B5EF4-FFF2-40B4-BE49-F238E27FC236}">
                <a16:creationId xmlns:a16="http://schemas.microsoft.com/office/drawing/2014/main" id="{D0EB078F-AA13-42EF-BE8C-680A50AC8D41}"/>
              </a:ext>
            </a:extLst>
          </p:cNvPr>
          <p:cNvGrpSpPr/>
          <p:nvPr/>
        </p:nvGrpSpPr>
        <p:grpSpPr>
          <a:xfrm>
            <a:off x="6209639" y="1440912"/>
            <a:ext cx="861474" cy="1816321"/>
            <a:chOff x="8473692" y="1862938"/>
            <a:chExt cx="1381707" cy="2913174"/>
          </a:xfrm>
        </p:grpSpPr>
        <p:grpSp>
          <p:nvGrpSpPr>
            <p:cNvPr id="12" name="Group 11">
              <a:extLst>
                <a:ext uri="{FF2B5EF4-FFF2-40B4-BE49-F238E27FC236}">
                  <a16:creationId xmlns:a16="http://schemas.microsoft.com/office/drawing/2014/main" id="{C3EAA13C-8A3A-4B67-A355-F530AAE6922D}"/>
                </a:ext>
              </a:extLst>
            </p:cNvPr>
            <p:cNvGrpSpPr/>
            <p:nvPr/>
          </p:nvGrpSpPr>
          <p:grpSpPr>
            <a:xfrm>
              <a:off x="8473692" y="1862938"/>
              <a:ext cx="1381707" cy="1468073"/>
              <a:chOff x="8473692" y="1862938"/>
              <a:chExt cx="1381707" cy="1468073"/>
            </a:xfrm>
          </p:grpSpPr>
          <p:sp>
            <p:nvSpPr>
              <p:cNvPr id="73" name="Freeform: Shape 72">
                <a:extLst>
                  <a:ext uri="{FF2B5EF4-FFF2-40B4-BE49-F238E27FC236}">
                    <a16:creationId xmlns:a16="http://schemas.microsoft.com/office/drawing/2014/main" id="{6A174B2D-FFC3-4DB8-905B-73F936A136AA}"/>
                  </a:ext>
                </a:extLst>
              </p:cNvPr>
              <p:cNvSpPr/>
              <p:nvPr/>
            </p:nvSpPr>
            <p:spPr>
              <a:xfrm>
                <a:off x="8473692" y="1862938"/>
                <a:ext cx="664693" cy="1468073"/>
              </a:xfrm>
              <a:custGeom>
                <a:avLst/>
                <a:gdLst>
                  <a:gd name="connsiteX0" fmla="*/ 137244 w 664693"/>
                  <a:gd name="connsiteY0" fmla="*/ 0 h 1468073"/>
                  <a:gd name="connsiteX1" fmla="*/ 184528 w 664693"/>
                  <a:gd name="connsiteY1" fmla="*/ 19585 h 1468073"/>
                  <a:gd name="connsiteX2" fmla="*/ 629850 w 664693"/>
                  <a:gd name="connsiteY2" fmla="*/ 464907 h 1468073"/>
                  <a:gd name="connsiteX3" fmla="*/ 631897 w 664693"/>
                  <a:gd name="connsiteY3" fmla="*/ 467990 h 1468073"/>
                  <a:gd name="connsiteX4" fmla="*/ 645107 w 664693"/>
                  <a:gd name="connsiteY4" fmla="*/ 473462 h 1468073"/>
                  <a:gd name="connsiteX5" fmla="*/ 664693 w 664693"/>
                  <a:gd name="connsiteY5" fmla="*/ 520746 h 1468073"/>
                  <a:gd name="connsiteX6" fmla="*/ 664693 w 664693"/>
                  <a:gd name="connsiteY6" fmla="*/ 1401203 h 1468073"/>
                  <a:gd name="connsiteX7" fmla="*/ 597823 w 664693"/>
                  <a:gd name="connsiteY7" fmla="*/ 1468073 h 1468073"/>
                  <a:gd name="connsiteX8" fmla="*/ 498298 w 664693"/>
                  <a:gd name="connsiteY8" fmla="*/ 1468073 h 1468073"/>
                  <a:gd name="connsiteX9" fmla="*/ 431428 w 664693"/>
                  <a:gd name="connsiteY9" fmla="*/ 1401203 h 1468073"/>
                  <a:gd name="connsiteX10" fmla="*/ 431428 w 664693"/>
                  <a:gd name="connsiteY10" fmla="*/ 596372 h 1468073"/>
                  <a:gd name="connsiteX11" fmla="*/ 19585 w 664693"/>
                  <a:gd name="connsiteY11" fmla="*/ 184529 h 1468073"/>
                  <a:gd name="connsiteX12" fmla="*/ 19585 w 664693"/>
                  <a:gd name="connsiteY12" fmla="*/ 89960 h 1468073"/>
                  <a:gd name="connsiteX13" fmla="*/ 89960 w 664693"/>
                  <a:gd name="connsiteY13" fmla="*/ 19585 h 1468073"/>
                  <a:gd name="connsiteX14" fmla="*/ 137244 w 664693"/>
                  <a:gd name="connsiteY14" fmla="*/ 0 h 146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693" h="1468073">
                    <a:moveTo>
                      <a:pt x="137244" y="0"/>
                    </a:moveTo>
                    <a:cubicBezTo>
                      <a:pt x="154357" y="0"/>
                      <a:pt x="171471" y="6528"/>
                      <a:pt x="184528" y="19585"/>
                    </a:cubicBezTo>
                    <a:lnTo>
                      <a:pt x="629850" y="464907"/>
                    </a:lnTo>
                    <a:lnTo>
                      <a:pt x="631897" y="467990"/>
                    </a:lnTo>
                    <a:lnTo>
                      <a:pt x="645107" y="473462"/>
                    </a:lnTo>
                    <a:cubicBezTo>
                      <a:pt x="657209" y="485563"/>
                      <a:pt x="664693" y="502281"/>
                      <a:pt x="664693" y="520746"/>
                    </a:cubicBezTo>
                    <a:lnTo>
                      <a:pt x="664693" y="1401203"/>
                    </a:lnTo>
                    <a:cubicBezTo>
                      <a:pt x="664693" y="1438134"/>
                      <a:pt x="634754" y="1468073"/>
                      <a:pt x="597823" y="1468073"/>
                    </a:cubicBezTo>
                    <a:lnTo>
                      <a:pt x="498298" y="1468073"/>
                    </a:lnTo>
                    <a:cubicBezTo>
                      <a:pt x="461367" y="1468073"/>
                      <a:pt x="431428" y="1438134"/>
                      <a:pt x="431428" y="1401203"/>
                    </a:cubicBezTo>
                    <a:lnTo>
                      <a:pt x="431428" y="596372"/>
                    </a:lnTo>
                    <a:lnTo>
                      <a:pt x="19585" y="184529"/>
                    </a:lnTo>
                    <a:cubicBezTo>
                      <a:pt x="-6529" y="158414"/>
                      <a:pt x="-6529" y="116074"/>
                      <a:pt x="19585" y="89960"/>
                    </a:cubicBezTo>
                    <a:lnTo>
                      <a:pt x="89960" y="19585"/>
                    </a:lnTo>
                    <a:cubicBezTo>
                      <a:pt x="103017" y="6528"/>
                      <a:pt x="120130" y="0"/>
                      <a:pt x="137244" y="0"/>
                    </a:cubicBezTo>
                    <a:close/>
                  </a:path>
                </a:pathLst>
              </a:custGeom>
              <a:solidFill>
                <a:srgbClr val="26226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sp>
            <p:nvSpPr>
              <p:cNvPr id="74" name="Freeform: Shape 73">
                <a:extLst>
                  <a:ext uri="{FF2B5EF4-FFF2-40B4-BE49-F238E27FC236}">
                    <a16:creationId xmlns:a16="http://schemas.microsoft.com/office/drawing/2014/main" id="{08F639DC-2EDA-44BD-B1D7-1099EE2F1B09}"/>
                  </a:ext>
                </a:extLst>
              </p:cNvPr>
              <p:cNvSpPr/>
              <p:nvPr/>
            </p:nvSpPr>
            <p:spPr>
              <a:xfrm flipH="1">
                <a:off x="9190706" y="1862938"/>
                <a:ext cx="664693" cy="1468073"/>
              </a:xfrm>
              <a:custGeom>
                <a:avLst/>
                <a:gdLst>
                  <a:gd name="connsiteX0" fmla="*/ 137244 w 664693"/>
                  <a:gd name="connsiteY0" fmla="*/ 0 h 1468073"/>
                  <a:gd name="connsiteX1" fmla="*/ 184528 w 664693"/>
                  <a:gd name="connsiteY1" fmla="*/ 19585 h 1468073"/>
                  <a:gd name="connsiteX2" fmla="*/ 629850 w 664693"/>
                  <a:gd name="connsiteY2" fmla="*/ 464907 h 1468073"/>
                  <a:gd name="connsiteX3" fmla="*/ 631897 w 664693"/>
                  <a:gd name="connsiteY3" fmla="*/ 467990 h 1468073"/>
                  <a:gd name="connsiteX4" fmla="*/ 645107 w 664693"/>
                  <a:gd name="connsiteY4" fmla="*/ 473462 h 1468073"/>
                  <a:gd name="connsiteX5" fmla="*/ 664693 w 664693"/>
                  <a:gd name="connsiteY5" fmla="*/ 520746 h 1468073"/>
                  <a:gd name="connsiteX6" fmla="*/ 664693 w 664693"/>
                  <a:gd name="connsiteY6" fmla="*/ 1401203 h 1468073"/>
                  <a:gd name="connsiteX7" fmla="*/ 597823 w 664693"/>
                  <a:gd name="connsiteY7" fmla="*/ 1468073 h 1468073"/>
                  <a:gd name="connsiteX8" fmla="*/ 498298 w 664693"/>
                  <a:gd name="connsiteY8" fmla="*/ 1468073 h 1468073"/>
                  <a:gd name="connsiteX9" fmla="*/ 431428 w 664693"/>
                  <a:gd name="connsiteY9" fmla="*/ 1401203 h 1468073"/>
                  <a:gd name="connsiteX10" fmla="*/ 431428 w 664693"/>
                  <a:gd name="connsiteY10" fmla="*/ 596372 h 1468073"/>
                  <a:gd name="connsiteX11" fmla="*/ 19585 w 664693"/>
                  <a:gd name="connsiteY11" fmla="*/ 184529 h 1468073"/>
                  <a:gd name="connsiteX12" fmla="*/ 19585 w 664693"/>
                  <a:gd name="connsiteY12" fmla="*/ 89960 h 1468073"/>
                  <a:gd name="connsiteX13" fmla="*/ 89960 w 664693"/>
                  <a:gd name="connsiteY13" fmla="*/ 19585 h 1468073"/>
                  <a:gd name="connsiteX14" fmla="*/ 137244 w 664693"/>
                  <a:gd name="connsiteY14" fmla="*/ 0 h 146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693" h="1468073">
                    <a:moveTo>
                      <a:pt x="137244" y="0"/>
                    </a:moveTo>
                    <a:cubicBezTo>
                      <a:pt x="154357" y="0"/>
                      <a:pt x="171471" y="6528"/>
                      <a:pt x="184528" y="19585"/>
                    </a:cubicBezTo>
                    <a:lnTo>
                      <a:pt x="629850" y="464907"/>
                    </a:lnTo>
                    <a:lnTo>
                      <a:pt x="631897" y="467990"/>
                    </a:lnTo>
                    <a:lnTo>
                      <a:pt x="645107" y="473462"/>
                    </a:lnTo>
                    <a:cubicBezTo>
                      <a:pt x="657209" y="485563"/>
                      <a:pt x="664693" y="502281"/>
                      <a:pt x="664693" y="520746"/>
                    </a:cubicBezTo>
                    <a:lnTo>
                      <a:pt x="664693" y="1401203"/>
                    </a:lnTo>
                    <a:cubicBezTo>
                      <a:pt x="664693" y="1438134"/>
                      <a:pt x="634754" y="1468073"/>
                      <a:pt x="597823" y="1468073"/>
                    </a:cubicBezTo>
                    <a:lnTo>
                      <a:pt x="498298" y="1468073"/>
                    </a:lnTo>
                    <a:cubicBezTo>
                      <a:pt x="461367" y="1468073"/>
                      <a:pt x="431428" y="1438134"/>
                      <a:pt x="431428" y="1401203"/>
                    </a:cubicBezTo>
                    <a:lnTo>
                      <a:pt x="431428" y="596372"/>
                    </a:lnTo>
                    <a:lnTo>
                      <a:pt x="19585" y="184529"/>
                    </a:lnTo>
                    <a:cubicBezTo>
                      <a:pt x="-6529" y="158414"/>
                      <a:pt x="-6529" y="116074"/>
                      <a:pt x="19585" y="89960"/>
                    </a:cubicBezTo>
                    <a:lnTo>
                      <a:pt x="89960" y="19585"/>
                    </a:lnTo>
                    <a:cubicBezTo>
                      <a:pt x="103017" y="6528"/>
                      <a:pt x="120130" y="0"/>
                      <a:pt x="137244" y="0"/>
                    </a:cubicBezTo>
                    <a:close/>
                  </a:path>
                </a:pathLst>
              </a:custGeom>
              <a:solidFill>
                <a:srgbClr val="26226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grpSp>
        <p:grpSp>
          <p:nvGrpSpPr>
            <p:cNvPr id="10" name="Group 9">
              <a:extLst>
                <a:ext uri="{FF2B5EF4-FFF2-40B4-BE49-F238E27FC236}">
                  <a16:creationId xmlns:a16="http://schemas.microsoft.com/office/drawing/2014/main" id="{99DC1339-312E-499D-9EC9-C06E985A46D6}"/>
                </a:ext>
              </a:extLst>
            </p:cNvPr>
            <p:cNvGrpSpPr/>
            <p:nvPr/>
          </p:nvGrpSpPr>
          <p:grpSpPr>
            <a:xfrm rot="10800000">
              <a:off x="8473692" y="3308039"/>
              <a:ext cx="1381707" cy="1468073"/>
              <a:chOff x="8626092" y="2015338"/>
              <a:chExt cx="1381707" cy="1468073"/>
            </a:xfrm>
            <a:solidFill>
              <a:srgbClr val="BE147D"/>
            </a:solidFill>
          </p:grpSpPr>
          <p:sp>
            <p:nvSpPr>
              <p:cNvPr id="75" name="Freeform: Shape 74">
                <a:extLst>
                  <a:ext uri="{FF2B5EF4-FFF2-40B4-BE49-F238E27FC236}">
                    <a16:creationId xmlns:a16="http://schemas.microsoft.com/office/drawing/2014/main" id="{FEB2ADEB-FEDF-422E-B927-4B26DA8381E9}"/>
                  </a:ext>
                </a:extLst>
              </p:cNvPr>
              <p:cNvSpPr/>
              <p:nvPr/>
            </p:nvSpPr>
            <p:spPr>
              <a:xfrm>
                <a:off x="8626092" y="2015338"/>
                <a:ext cx="664693" cy="1468073"/>
              </a:xfrm>
              <a:custGeom>
                <a:avLst/>
                <a:gdLst>
                  <a:gd name="connsiteX0" fmla="*/ 137244 w 664693"/>
                  <a:gd name="connsiteY0" fmla="*/ 0 h 1468073"/>
                  <a:gd name="connsiteX1" fmla="*/ 184528 w 664693"/>
                  <a:gd name="connsiteY1" fmla="*/ 19585 h 1468073"/>
                  <a:gd name="connsiteX2" fmla="*/ 629850 w 664693"/>
                  <a:gd name="connsiteY2" fmla="*/ 464907 h 1468073"/>
                  <a:gd name="connsiteX3" fmla="*/ 631897 w 664693"/>
                  <a:gd name="connsiteY3" fmla="*/ 467990 h 1468073"/>
                  <a:gd name="connsiteX4" fmla="*/ 645107 w 664693"/>
                  <a:gd name="connsiteY4" fmla="*/ 473462 h 1468073"/>
                  <a:gd name="connsiteX5" fmla="*/ 664693 w 664693"/>
                  <a:gd name="connsiteY5" fmla="*/ 520746 h 1468073"/>
                  <a:gd name="connsiteX6" fmla="*/ 664693 w 664693"/>
                  <a:gd name="connsiteY6" fmla="*/ 1401203 h 1468073"/>
                  <a:gd name="connsiteX7" fmla="*/ 597823 w 664693"/>
                  <a:gd name="connsiteY7" fmla="*/ 1468073 h 1468073"/>
                  <a:gd name="connsiteX8" fmla="*/ 498298 w 664693"/>
                  <a:gd name="connsiteY8" fmla="*/ 1468073 h 1468073"/>
                  <a:gd name="connsiteX9" fmla="*/ 431428 w 664693"/>
                  <a:gd name="connsiteY9" fmla="*/ 1401203 h 1468073"/>
                  <a:gd name="connsiteX10" fmla="*/ 431428 w 664693"/>
                  <a:gd name="connsiteY10" fmla="*/ 596372 h 1468073"/>
                  <a:gd name="connsiteX11" fmla="*/ 19585 w 664693"/>
                  <a:gd name="connsiteY11" fmla="*/ 184529 h 1468073"/>
                  <a:gd name="connsiteX12" fmla="*/ 19585 w 664693"/>
                  <a:gd name="connsiteY12" fmla="*/ 89960 h 1468073"/>
                  <a:gd name="connsiteX13" fmla="*/ 89960 w 664693"/>
                  <a:gd name="connsiteY13" fmla="*/ 19585 h 1468073"/>
                  <a:gd name="connsiteX14" fmla="*/ 137244 w 664693"/>
                  <a:gd name="connsiteY14" fmla="*/ 0 h 146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693" h="1468073">
                    <a:moveTo>
                      <a:pt x="137244" y="0"/>
                    </a:moveTo>
                    <a:cubicBezTo>
                      <a:pt x="154357" y="0"/>
                      <a:pt x="171471" y="6528"/>
                      <a:pt x="184528" y="19585"/>
                    </a:cubicBezTo>
                    <a:lnTo>
                      <a:pt x="629850" y="464907"/>
                    </a:lnTo>
                    <a:lnTo>
                      <a:pt x="631897" y="467990"/>
                    </a:lnTo>
                    <a:lnTo>
                      <a:pt x="645107" y="473462"/>
                    </a:lnTo>
                    <a:cubicBezTo>
                      <a:pt x="657209" y="485563"/>
                      <a:pt x="664693" y="502281"/>
                      <a:pt x="664693" y="520746"/>
                    </a:cubicBezTo>
                    <a:lnTo>
                      <a:pt x="664693" y="1401203"/>
                    </a:lnTo>
                    <a:cubicBezTo>
                      <a:pt x="664693" y="1438134"/>
                      <a:pt x="634754" y="1468073"/>
                      <a:pt x="597823" y="1468073"/>
                    </a:cubicBezTo>
                    <a:lnTo>
                      <a:pt x="498298" y="1468073"/>
                    </a:lnTo>
                    <a:cubicBezTo>
                      <a:pt x="461367" y="1468073"/>
                      <a:pt x="431428" y="1438134"/>
                      <a:pt x="431428" y="1401203"/>
                    </a:cubicBezTo>
                    <a:lnTo>
                      <a:pt x="431428" y="596372"/>
                    </a:lnTo>
                    <a:lnTo>
                      <a:pt x="19585" y="184529"/>
                    </a:lnTo>
                    <a:cubicBezTo>
                      <a:pt x="-6529" y="158414"/>
                      <a:pt x="-6529" y="116074"/>
                      <a:pt x="19585" y="89960"/>
                    </a:cubicBezTo>
                    <a:lnTo>
                      <a:pt x="89960" y="19585"/>
                    </a:lnTo>
                    <a:cubicBezTo>
                      <a:pt x="103017" y="6528"/>
                      <a:pt x="120130" y="0"/>
                      <a:pt x="1372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sp>
            <p:nvSpPr>
              <p:cNvPr id="76" name="Freeform: Shape 75">
                <a:extLst>
                  <a:ext uri="{FF2B5EF4-FFF2-40B4-BE49-F238E27FC236}">
                    <a16:creationId xmlns:a16="http://schemas.microsoft.com/office/drawing/2014/main" id="{3AB728F7-6828-42B2-9BCE-0CC726167506}"/>
                  </a:ext>
                </a:extLst>
              </p:cNvPr>
              <p:cNvSpPr/>
              <p:nvPr/>
            </p:nvSpPr>
            <p:spPr>
              <a:xfrm flipH="1">
                <a:off x="9343106" y="2015338"/>
                <a:ext cx="664693" cy="1468073"/>
              </a:xfrm>
              <a:custGeom>
                <a:avLst/>
                <a:gdLst>
                  <a:gd name="connsiteX0" fmla="*/ 137244 w 664693"/>
                  <a:gd name="connsiteY0" fmla="*/ 0 h 1468073"/>
                  <a:gd name="connsiteX1" fmla="*/ 184528 w 664693"/>
                  <a:gd name="connsiteY1" fmla="*/ 19585 h 1468073"/>
                  <a:gd name="connsiteX2" fmla="*/ 629850 w 664693"/>
                  <a:gd name="connsiteY2" fmla="*/ 464907 h 1468073"/>
                  <a:gd name="connsiteX3" fmla="*/ 631897 w 664693"/>
                  <a:gd name="connsiteY3" fmla="*/ 467990 h 1468073"/>
                  <a:gd name="connsiteX4" fmla="*/ 645107 w 664693"/>
                  <a:gd name="connsiteY4" fmla="*/ 473462 h 1468073"/>
                  <a:gd name="connsiteX5" fmla="*/ 664693 w 664693"/>
                  <a:gd name="connsiteY5" fmla="*/ 520746 h 1468073"/>
                  <a:gd name="connsiteX6" fmla="*/ 664693 w 664693"/>
                  <a:gd name="connsiteY6" fmla="*/ 1401203 h 1468073"/>
                  <a:gd name="connsiteX7" fmla="*/ 597823 w 664693"/>
                  <a:gd name="connsiteY7" fmla="*/ 1468073 h 1468073"/>
                  <a:gd name="connsiteX8" fmla="*/ 498298 w 664693"/>
                  <a:gd name="connsiteY8" fmla="*/ 1468073 h 1468073"/>
                  <a:gd name="connsiteX9" fmla="*/ 431428 w 664693"/>
                  <a:gd name="connsiteY9" fmla="*/ 1401203 h 1468073"/>
                  <a:gd name="connsiteX10" fmla="*/ 431428 w 664693"/>
                  <a:gd name="connsiteY10" fmla="*/ 596372 h 1468073"/>
                  <a:gd name="connsiteX11" fmla="*/ 19585 w 664693"/>
                  <a:gd name="connsiteY11" fmla="*/ 184529 h 1468073"/>
                  <a:gd name="connsiteX12" fmla="*/ 19585 w 664693"/>
                  <a:gd name="connsiteY12" fmla="*/ 89960 h 1468073"/>
                  <a:gd name="connsiteX13" fmla="*/ 89960 w 664693"/>
                  <a:gd name="connsiteY13" fmla="*/ 19585 h 1468073"/>
                  <a:gd name="connsiteX14" fmla="*/ 137244 w 664693"/>
                  <a:gd name="connsiteY14" fmla="*/ 0 h 146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693" h="1468073">
                    <a:moveTo>
                      <a:pt x="137244" y="0"/>
                    </a:moveTo>
                    <a:cubicBezTo>
                      <a:pt x="154357" y="0"/>
                      <a:pt x="171471" y="6528"/>
                      <a:pt x="184528" y="19585"/>
                    </a:cubicBezTo>
                    <a:lnTo>
                      <a:pt x="629850" y="464907"/>
                    </a:lnTo>
                    <a:lnTo>
                      <a:pt x="631897" y="467990"/>
                    </a:lnTo>
                    <a:lnTo>
                      <a:pt x="645107" y="473462"/>
                    </a:lnTo>
                    <a:cubicBezTo>
                      <a:pt x="657209" y="485563"/>
                      <a:pt x="664693" y="502281"/>
                      <a:pt x="664693" y="520746"/>
                    </a:cubicBezTo>
                    <a:lnTo>
                      <a:pt x="664693" y="1401203"/>
                    </a:lnTo>
                    <a:cubicBezTo>
                      <a:pt x="664693" y="1438134"/>
                      <a:pt x="634754" y="1468073"/>
                      <a:pt x="597823" y="1468073"/>
                    </a:cubicBezTo>
                    <a:lnTo>
                      <a:pt x="498298" y="1468073"/>
                    </a:lnTo>
                    <a:cubicBezTo>
                      <a:pt x="461367" y="1468073"/>
                      <a:pt x="431428" y="1438134"/>
                      <a:pt x="431428" y="1401203"/>
                    </a:cubicBezTo>
                    <a:lnTo>
                      <a:pt x="431428" y="596372"/>
                    </a:lnTo>
                    <a:lnTo>
                      <a:pt x="19585" y="184529"/>
                    </a:lnTo>
                    <a:cubicBezTo>
                      <a:pt x="-6529" y="158414"/>
                      <a:pt x="-6529" y="116074"/>
                      <a:pt x="19585" y="89960"/>
                    </a:cubicBezTo>
                    <a:lnTo>
                      <a:pt x="89960" y="19585"/>
                    </a:lnTo>
                    <a:cubicBezTo>
                      <a:pt x="103017" y="6528"/>
                      <a:pt x="120130" y="0"/>
                      <a:pt x="1372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grpSp>
      </p:grpSp>
      <p:grpSp>
        <p:nvGrpSpPr>
          <p:cNvPr id="86" name="Group 85">
            <a:extLst>
              <a:ext uri="{FF2B5EF4-FFF2-40B4-BE49-F238E27FC236}">
                <a16:creationId xmlns:a16="http://schemas.microsoft.com/office/drawing/2014/main" id="{7CBC68EE-35B7-47B3-A77D-716D547A6E8D}"/>
              </a:ext>
            </a:extLst>
          </p:cNvPr>
          <p:cNvGrpSpPr/>
          <p:nvPr/>
        </p:nvGrpSpPr>
        <p:grpSpPr>
          <a:xfrm>
            <a:off x="4925189" y="1440911"/>
            <a:ext cx="861474" cy="926720"/>
            <a:chOff x="6890018" y="1862938"/>
            <a:chExt cx="1381707" cy="1486354"/>
          </a:xfrm>
        </p:grpSpPr>
        <p:sp>
          <p:nvSpPr>
            <p:cNvPr id="71" name="Freeform: Shape 70">
              <a:extLst>
                <a:ext uri="{FF2B5EF4-FFF2-40B4-BE49-F238E27FC236}">
                  <a16:creationId xmlns:a16="http://schemas.microsoft.com/office/drawing/2014/main" id="{61CE2FB0-E161-4C65-800C-BE6D1BC659AE}"/>
                </a:ext>
              </a:extLst>
            </p:cNvPr>
            <p:cNvSpPr/>
            <p:nvPr/>
          </p:nvSpPr>
          <p:spPr>
            <a:xfrm>
              <a:off x="6890018" y="1862938"/>
              <a:ext cx="664693" cy="1468073"/>
            </a:xfrm>
            <a:custGeom>
              <a:avLst/>
              <a:gdLst>
                <a:gd name="connsiteX0" fmla="*/ 137244 w 664693"/>
                <a:gd name="connsiteY0" fmla="*/ 0 h 1468073"/>
                <a:gd name="connsiteX1" fmla="*/ 184528 w 664693"/>
                <a:gd name="connsiteY1" fmla="*/ 19585 h 1468073"/>
                <a:gd name="connsiteX2" fmla="*/ 629850 w 664693"/>
                <a:gd name="connsiteY2" fmla="*/ 464907 h 1468073"/>
                <a:gd name="connsiteX3" fmla="*/ 631897 w 664693"/>
                <a:gd name="connsiteY3" fmla="*/ 467990 h 1468073"/>
                <a:gd name="connsiteX4" fmla="*/ 645107 w 664693"/>
                <a:gd name="connsiteY4" fmla="*/ 473462 h 1468073"/>
                <a:gd name="connsiteX5" fmla="*/ 664693 w 664693"/>
                <a:gd name="connsiteY5" fmla="*/ 520746 h 1468073"/>
                <a:gd name="connsiteX6" fmla="*/ 664693 w 664693"/>
                <a:gd name="connsiteY6" fmla="*/ 1401203 h 1468073"/>
                <a:gd name="connsiteX7" fmla="*/ 597823 w 664693"/>
                <a:gd name="connsiteY7" fmla="*/ 1468073 h 1468073"/>
                <a:gd name="connsiteX8" fmla="*/ 498298 w 664693"/>
                <a:gd name="connsiteY8" fmla="*/ 1468073 h 1468073"/>
                <a:gd name="connsiteX9" fmla="*/ 431428 w 664693"/>
                <a:gd name="connsiteY9" fmla="*/ 1401203 h 1468073"/>
                <a:gd name="connsiteX10" fmla="*/ 431428 w 664693"/>
                <a:gd name="connsiteY10" fmla="*/ 596372 h 1468073"/>
                <a:gd name="connsiteX11" fmla="*/ 19585 w 664693"/>
                <a:gd name="connsiteY11" fmla="*/ 184529 h 1468073"/>
                <a:gd name="connsiteX12" fmla="*/ 19585 w 664693"/>
                <a:gd name="connsiteY12" fmla="*/ 89960 h 1468073"/>
                <a:gd name="connsiteX13" fmla="*/ 89960 w 664693"/>
                <a:gd name="connsiteY13" fmla="*/ 19585 h 1468073"/>
                <a:gd name="connsiteX14" fmla="*/ 137244 w 664693"/>
                <a:gd name="connsiteY14" fmla="*/ 0 h 146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693" h="1468073">
                  <a:moveTo>
                    <a:pt x="137244" y="0"/>
                  </a:moveTo>
                  <a:cubicBezTo>
                    <a:pt x="154357" y="0"/>
                    <a:pt x="171471" y="6528"/>
                    <a:pt x="184528" y="19585"/>
                  </a:cubicBezTo>
                  <a:lnTo>
                    <a:pt x="629850" y="464907"/>
                  </a:lnTo>
                  <a:lnTo>
                    <a:pt x="631897" y="467990"/>
                  </a:lnTo>
                  <a:lnTo>
                    <a:pt x="645107" y="473462"/>
                  </a:lnTo>
                  <a:cubicBezTo>
                    <a:pt x="657209" y="485563"/>
                    <a:pt x="664693" y="502281"/>
                    <a:pt x="664693" y="520746"/>
                  </a:cubicBezTo>
                  <a:lnTo>
                    <a:pt x="664693" y="1401203"/>
                  </a:lnTo>
                  <a:cubicBezTo>
                    <a:pt x="664693" y="1438134"/>
                    <a:pt x="634754" y="1468073"/>
                    <a:pt x="597823" y="1468073"/>
                  </a:cubicBezTo>
                  <a:lnTo>
                    <a:pt x="498298" y="1468073"/>
                  </a:lnTo>
                  <a:cubicBezTo>
                    <a:pt x="461367" y="1468073"/>
                    <a:pt x="431428" y="1438134"/>
                    <a:pt x="431428" y="1401203"/>
                  </a:cubicBezTo>
                  <a:lnTo>
                    <a:pt x="431428" y="596372"/>
                  </a:lnTo>
                  <a:lnTo>
                    <a:pt x="19585" y="184529"/>
                  </a:lnTo>
                  <a:cubicBezTo>
                    <a:pt x="-6529" y="158414"/>
                    <a:pt x="-6529" y="116074"/>
                    <a:pt x="19585" y="89960"/>
                  </a:cubicBezTo>
                  <a:lnTo>
                    <a:pt x="89960" y="19585"/>
                  </a:lnTo>
                  <a:cubicBezTo>
                    <a:pt x="103017" y="6528"/>
                    <a:pt x="120130" y="0"/>
                    <a:pt x="137244" y="0"/>
                  </a:cubicBezTo>
                  <a:close/>
                </a:path>
              </a:pathLst>
            </a:custGeom>
            <a:solidFill>
              <a:srgbClr val="26226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sp>
          <p:nvSpPr>
            <p:cNvPr id="72" name="Freeform: Shape 71">
              <a:extLst>
                <a:ext uri="{FF2B5EF4-FFF2-40B4-BE49-F238E27FC236}">
                  <a16:creationId xmlns:a16="http://schemas.microsoft.com/office/drawing/2014/main" id="{473D255C-2773-47BE-A5C1-78B1944AE592}"/>
                </a:ext>
              </a:extLst>
            </p:cNvPr>
            <p:cNvSpPr/>
            <p:nvPr/>
          </p:nvSpPr>
          <p:spPr>
            <a:xfrm flipH="1">
              <a:off x="7607032" y="1862938"/>
              <a:ext cx="664693" cy="1468073"/>
            </a:xfrm>
            <a:custGeom>
              <a:avLst/>
              <a:gdLst>
                <a:gd name="connsiteX0" fmla="*/ 137244 w 664693"/>
                <a:gd name="connsiteY0" fmla="*/ 0 h 1468073"/>
                <a:gd name="connsiteX1" fmla="*/ 184528 w 664693"/>
                <a:gd name="connsiteY1" fmla="*/ 19585 h 1468073"/>
                <a:gd name="connsiteX2" fmla="*/ 629850 w 664693"/>
                <a:gd name="connsiteY2" fmla="*/ 464907 h 1468073"/>
                <a:gd name="connsiteX3" fmla="*/ 631897 w 664693"/>
                <a:gd name="connsiteY3" fmla="*/ 467990 h 1468073"/>
                <a:gd name="connsiteX4" fmla="*/ 645107 w 664693"/>
                <a:gd name="connsiteY4" fmla="*/ 473462 h 1468073"/>
                <a:gd name="connsiteX5" fmla="*/ 664693 w 664693"/>
                <a:gd name="connsiteY5" fmla="*/ 520746 h 1468073"/>
                <a:gd name="connsiteX6" fmla="*/ 664693 w 664693"/>
                <a:gd name="connsiteY6" fmla="*/ 1401203 h 1468073"/>
                <a:gd name="connsiteX7" fmla="*/ 597823 w 664693"/>
                <a:gd name="connsiteY7" fmla="*/ 1468073 h 1468073"/>
                <a:gd name="connsiteX8" fmla="*/ 498298 w 664693"/>
                <a:gd name="connsiteY8" fmla="*/ 1468073 h 1468073"/>
                <a:gd name="connsiteX9" fmla="*/ 431428 w 664693"/>
                <a:gd name="connsiteY9" fmla="*/ 1401203 h 1468073"/>
                <a:gd name="connsiteX10" fmla="*/ 431428 w 664693"/>
                <a:gd name="connsiteY10" fmla="*/ 596372 h 1468073"/>
                <a:gd name="connsiteX11" fmla="*/ 19585 w 664693"/>
                <a:gd name="connsiteY11" fmla="*/ 184529 h 1468073"/>
                <a:gd name="connsiteX12" fmla="*/ 19585 w 664693"/>
                <a:gd name="connsiteY12" fmla="*/ 89960 h 1468073"/>
                <a:gd name="connsiteX13" fmla="*/ 89960 w 664693"/>
                <a:gd name="connsiteY13" fmla="*/ 19585 h 1468073"/>
                <a:gd name="connsiteX14" fmla="*/ 137244 w 664693"/>
                <a:gd name="connsiteY14" fmla="*/ 0 h 1468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693" h="1468073">
                  <a:moveTo>
                    <a:pt x="137244" y="0"/>
                  </a:moveTo>
                  <a:cubicBezTo>
                    <a:pt x="154357" y="0"/>
                    <a:pt x="171471" y="6528"/>
                    <a:pt x="184528" y="19585"/>
                  </a:cubicBezTo>
                  <a:lnTo>
                    <a:pt x="629850" y="464907"/>
                  </a:lnTo>
                  <a:lnTo>
                    <a:pt x="631897" y="467990"/>
                  </a:lnTo>
                  <a:lnTo>
                    <a:pt x="645107" y="473462"/>
                  </a:lnTo>
                  <a:cubicBezTo>
                    <a:pt x="657209" y="485563"/>
                    <a:pt x="664693" y="502281"/>
                    <a:pt x="664693" y="520746"/>
                  </a:cubicBezTo>
                  <a:lnTo>
                    <a:pt x="664693" y="1401203"/>
                  </a:lnTo>
                  <a:cubicBezTo>
                    <a:pt x="664693" y="1438134"/>
                    <a:pt x="634754" y="1468073"/>
                    <a:pt x="597823" y="1468073"/>
                  </a:cubicBezTo>
                  <a:lnTo>
                    <a:pt x="498298" y="1468073"/>
                  </a:lnTo>
                  <a:cubicBezTo>
                    <a:pt x="461367" y="1468073"/>
                    <a:pt x="431428" y="1438134"/>
                    <a:pt x="431428" y="1401203"/>
                  </a:cubicBezTo>
                  <a:lnTo>
                    <a:pt x="431428" y="596372"/>
                  </a:lnTo>
                  <a:lnTo>
                    <a:pt x="19585" y="184529"/>
                  </a:lnTo>
                  <a:cubicBezTo>
                    <a:pt x="-6529" y="158414"/>
                    <a:pt x="-6529" y="116074"/>
                    <a:pt x="19585" y="89960"/>
                  </a:cubicBezTo>
                  <a:lnTo>
                    <a:pt x="89960" y="19585"/>
                  </a:lnTo>
                  <a:cubicBezTo>
                    <a:pt x="103017" y="6528"/>
                    <a:pt x="120130" y="0"/>
                    <a:pt x="137244" y="0"/>
                  </a:cubicBezTo>
                  <a:close/>
                </a:path>
              </a:pathLst>
            </a:custGeom>
            <a:solidFill>
              <a:srgbClr val="26226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sp>
          <p:nvSpPr>
            <p:cNvPr id="14" name="Oval 13">
              <a:extLst>
                <a:ext uri="{FF2B5EF4-FFF2-40B4-BE49-F238E27FC236}">
                  <a16:creationId xmlns:a16="http://schemas.microsoft.com/office/drawing/2014/main" id="{295D76A4-FA66-4849-AB8D-8D2DF1DC0AA3}"/>
                </a:ext>
              </a:extLst>
            </p:cNvPr>
            <p:cNvSpPr/>
            <p:nvPr/>
          </p:nvSpPr>
          <p:spPr>
            <a:xfrm>
              <a:off x="7698290" y="2820785"/>
              <a:ext cx="528507" cy="528507"/>
            </a:xfrm>
            <a:prstGeom prst="ellipse">
              <a:avLst/>
            </a:prstGeom>
            <a:solidFill>
              <a:srgbClr val="BE147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panose="020F0502020204030204"/>
              </a:endParaRPr>
            </a:p>
          </p:txBody>
        </p:sp>
      </p:grpSp>
      <p:grpSp>
        <p:nvGrpSpPr>
          <p:cNvPr id="103" name="Group 102">
            <a:extLst>
              <a:ext uri="{FF2B5EF4-FFF2-40B4-BE49-F238E27FC236}">
                <a16:creationId xmlns:a16="http://schemas.microsoft.com/office/drawing/2014/main" id="{57DD3482-394C-40FB-819A-B71D0660A518}"/>
              </a:ext>
            </a:extLst>
          </p:cNvPr>
          <p:cNvGrpSpPr/>
          <p:nvPr/>
        </p:nvGrpSpPr>
        <p:grpSpPr>
          <a:xfrm>
            <a:off x="7494089" y="1440912"/>
            <a:ext cx="1073028" cy="1047152"/>
            <a:chOff x="9992119" y="1644771"/>
            <a:chExt cx="1721016" cy="1679514"/>
          </a:xfrm>
        </p:grpSpPr>
        <p:sp>
          <p:nvSpPr>
            <p:cNvPr id="81" name="Freeform: Shape 80">
              <a:extLst>
                <a:ext uri="{FF2B5EF4-FFF2-40B4-BE49-F238E27FC236}">
                  <a16:creationId xmlns:a16="http://schemas.microsoft.com/office/drawing/2014/main" id="{3681FD75-B3A8-4154-A80B-B9B24C0640B1}"/>
                </a:ext>
              </a:extLst>
            </p:cNvPr>
            <p:cNvSpPr/>
            <p:nvPr/>
          </p:nvSpPr>
          <p:spPr>
            <a:xfrm>
              <a:off x="10122637" y="1733787"/>
              <a:ext cx="1590498" cy="1590498"/>
            </a:xfrm>
            <a:custGeom>
              <a:avLst/>
              <a:gdLst>
                <a:gd name="connsiteX0" fmla="*/ 795249 w 1590498"/>
                <a:gd name="connsiteY0" fmla="*/ 0 h 1590498"/>
                <a:gd name="connsiteX1" fmla="*/ 1590498 w 1590498"/>
                <a:gd name="connsiteY1" fmla="*/ 795249 h 1590498"/>
                <a:gd name="connsiteX2" fmla="*/ 795249 w 1590498"/>
                <a:gd name="connsiteY2" fmla="*/ 1590498 h 1590498"/>
                <a:gd name="connsiteX3" fmla="*/ 0 w 1590498"/>
                <a:gd name="connsiteY3" fmla="*/ 795249 h 1590498"/>
                <a:gd name="connsiteX4" fmla="*/ 62495 w 1590498"/>
                <a:gd name="connsiteY4" fmla="*/ 485702 h 1590498"/>
                <a:gd name="connsiteX5" fmla="*/ 96245 w 1590498"/>
                <a:gd name="connsiteY5" fmla="*/ 423522 h 1590498"/>
                <a:gd name="connsiteX6" fmla="*/ 412824 w 1590498"/>
                <a:gd name="connsiteY6" fmla="*/ 707020 h 1590498"/>
                <a:gd name="connsiteX7" fmla="*/ 745230 w 1590498"/>
                <a:gd name="connsiteY7" fmla="*/ 335826 h 1590498"/>
                <a:gd name="connsiteX8" fmla="*/ 457250 w 1590498"/>
                <a:gd name="connsiteY8" fmla="*/ 77938 h 1590498"/>
                <a:gd name="connsiteX9" fmla="*/ 485702 w 1590498"/>
                <a:gd name="connsiteY9" fmla="*/ 62495 h 1590498"/>
                <a:gd name="connsiteX10" fmla="*/ 795249 w 1590498"/>
                <a:gd name="connsiteY10" fmla="*/ 0 h 1590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0498" h="1590498">
                  <a:moveTo>
                    <a:pt x="795249" y="0"/>
                  </a:moveTo>
                  <a:cubicBezTo>
                    <a:pt x="1234453" y="0"/>
                    <a:pt x="1590498" y="356045"/>
                    <a:pt x="1590498" y="795249"/>
                  </a:cubicBezTo>
                  <a:cubicBezTo>
                    <a:pt x="1590498" y="1234453"/>
                    <a:pt x="1234453" y="1590498"/>
                    <a:pt x="795249" y="1590498"/>
                  </a:cubicBezTo>
                  <a:cubicBezTo>
                    <a:pt x="356045" y="1590498"/>
                    <a:pt x="0" y="1234453"/>
                    <a:pt x="0" y="795249"/>
                  </a:cubicBezTo>
                  <a:cubicBezTo>
                    <a:pt x="0" y="685448"/>
                    <a:pt x="22253" y="580845"/>
                    <a:pt x="62495" y="485702"/>
                  </a:cubicBezTo>
                  <a:lnTo>
                    <a:pt x="96245" y="423522"/>
                  </a:lnTo>
                  <a:lnTo>
                    <a:pt x="412824" y="707020"/>
                  </a:lnTo>
                  <a:lnTo>
                    <a:pt x="745230" y="335826"/>
                  </a:lnTo>
                  <a:lnTo>
                    <a:pt x="457250" y="77938"/>
                  </a:lnTo>
                  <a:lnTo>
                    <a:pt x="485702" y="62495"/>
                  </a:lnTo>
                  <a:cubicBezTo>
                    <a:pt x="580844" y="22253"/>
                    <a:pt x="685448" y="0"/>
                    <a:pt x="795249" y="0"/>
                  </a:cubicBezTo>
                  <a:close/>
                </a:path>
              </a:pathLst>
            </a:custGeom>
            <a:solidFill>
              <a:srgbClr val="26226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sp>
          <p:nvSpPr>
            <p:cNvPr id="101" name="Freeform: Shape 100">
              <a:extLst>
                <a:ext uri="{FF2B5EF4-FFF2-40B4-BE49-F238E27FC236}">
                  <a16:creationId xmlns:a16="http://schemas.microsoft.com/office/drawing/2014/main" id="{EF334C88-C98E-40D0-B030-68A7AB8DB312}"/>
                </a:ext>
              </a:extLst>
            </p:cNvPr>
            <p:cNvSpPr/>
            <p:nvPr/>
          </p:nvSpPr>
          <p:spPr>
            <a:xfrm rot="18900000">
              <a:off x="9992119" y="1644771"/>
              <a:ext cx="878556" cy="745667"/>
            </a:xfrm>
            <a:custGeom>
              <a:avLst/>
              <a:gdLst>
                <a:gd name="connsiteX0" fmla="*/ 821355 w 878556"/>
                <a:gd name="connsiteY0" fmla="*/ 12453 h 745667"/>
                <a:gd name="connsiteX1" fmla="*/ 866103 w 878556"/>
                <a:gd name="connsiteY1" fmla="*/ 57201 h 745667"/>
                <a:gd name="connsiteX2" fmla="*/ 866103 w 878556"/>
                <a:gd name="connsiteY2" fmla="*/ 117332 h 745667"/>
                <a:gd name="connsiteX3" fmla="*/ 660024 w 878556"/>
                <a:gd name="connsiteY3" fmla="*/ 323411 h 745667"/>
                <a:gd name="connsiteX4" fmla="*/ 689856 w 878556"/>
                <a:gd name="connsiteY4" fmla="*/ 332252 h 745667"/>
                <a:gd name="connsiteX5" fmla="*/ 711134 w 878556"/>
                <a:gd name="connsiteY5" fmla="*/ 718239 h 745667"/>
                <a:gd name="connsiteX6" fmla="*/ 213614 w 878556"/>
                <a:gd name="connsiteY6" fmla="*/ 745667 h 745667"/>
                <a:gd name="connsiteX7" fmla="*/ 190222 w 878556"/>
                <a:gd name="connsiteY7" fmla="*/ 321348 h 745667"/>
                <a:gd name="connsiteX8" fmla="*/ 210468 w 878556"/>
                <a:gd name="connsiteY8" fmla="*/ 315348 h 745667"/>
                <a:gd name="connsiteX9" fmla="*/ 12453 w 878556"/>
                <a:gd name="connsiteY9" fmla="*/ 117333 h 745667"/>
                <a:gd name="connsiteX10" fmla="*/ 12453 w 878556"/>
                <a:gd name="connsiteY10" fmla="*/ 57202 h 745667"/>
                <a:gd name="connsiteX11" fmla="*/ 57201 w 878556"/>
                <a:gd name="connsiteY11" fmla="*/ 12454 h 745667"/>
                <a:gd name="connsiteX12" fmla="*/ 87266 w 878556"/>
                <a:gd name="connsiteY12" fmla="*/ 1 h 745667"/>
                <a:gd name="connsiteX13" fmla="*/ 117332 w 878556"/>
                <a:gd name="connsiteY13" fmla="*/ 12454 h 745667"/>
                <a:gd name="connsiteX14" fmla="*/ 391032 w 878556"/>
                <a:gd name="connsiteY14" fmla="*/ 286155 h 745667"/>
                <a:gd name="connsiteX15" fmla="*/ 421641 w 878556"/>
                <a:gd name="connsiteY15" fmla="*/ 283220 h 745667"/>
                <a:gd name="connsiteX16" fmla="*/ 484438 w 878556"/>
                <a:gd name="connsiteY16" fmla="*/ 289239 h 745667"/>
                <a:gd name="connsiteX17" fmla="*/ 761224 w 878556"/>
                <a:gd name="connsiteY17" fmla="*/ 12453 h 745667"/>
                <a:gd name="connsiteX18" fmla="*/ 791290 w 878556"/>
                <a:gd name="connsiteY18" fmla="*/ 0 h 745667"/>
                <a:gd name="connsiteX19" fmla="*/ 821355 w 878556"/>
                <a:gd name="connsiteY19" fmla="*/ 12453 h 745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8556" h="745667">
                  <a:moveTo>
                    <a:pt x="821355" y="12453"/>
                  </a:moveTo>
                  <a:lnTo>
                    <a:pt x="866103" y="57201"/>
                  </a:lnTo>
                  <a:cubicBezTo>
                    <a:pt x="882707" y="73805"/>
                    <a:pt x="882708" y="100728"/>
                    <a:pt x="866103" y="117332"/>
                  </a:cubicBezTo>
                  <a:lnTo>
                    <a:pt x="660024" y="323411"/>
                  </a:lnTo>
                  <a:lnTo>
                    <a:pt x="689856" y="332252"/>
                  </a:lnTo>
                  <a:lnTo>
                    <a:pt x="711134" y="718239"/>
                  </a:lnTo>
                  <a:lnTo>
                    <a:pt x="213614" y="745667"/>
                  </a:lnTo>
                  <a:lnTo>
                    <a:pt x="190222" y="321348"/>
                  </a:lnTo>
                  <a:lnTo>
                    <a:pt x="210468" y="315348"/>
                  </a:lnTo>
                  <a:lnTo>
                    <a:pt x="12453" y="117333"/>
                  </a:lnTo>
                  <a:cubicBezTo>
                    <a:pt x="-4151" y="100729"/>
                    <a:pt x="-4151" y="73806"/>
                    <a:pt x="12453" y="57202"/>
                  </a:cubicBezTo>
                  <a:lnTo>
                    <a:pt x="57201" y="12454"/>
                  </a:lnTo>
                  <a:cubicBezTo>
                    <a:pt x="65503" y="4152"/>
                    <a:pt x="76384" y="1"/>
                    <a:pt x="87266" y="1"/>
                  </a:cubicBezTo>
                  <a:cubicBezTo>
                    <a:pt x="98148" y="1"/>
                    <a:pt x="109030" y="4152"/>
                    <a:pt x="117332" y="12454"/>
                  </a:cubicBezTo>
                  <a:lnTo>
                    <a:pt x="391032" y="286155"/>
                  </a:lnTo>
                  <a:lnTo>
                    <a:pt x="421641" y="283220"/>
                  </a:lnTo>
                  <a:lnTo>
                    <a:pt x="484438" y="289239"/>
                  </a:lnTo>
                  <a:lnTo>
                    <a:pt x="761224" y="12453"/>
                  </a:lnTo>
                  <a:cubicBezTo>
                    <a:pt x="769527" y="4151"/>
                    <a:pt x="780408" y="1"/>
                    <a:pt x="791290" y="0"/>
                  </a:cubicBezTo>
                  <a:cubicBezTo>
                    <a:pt x="802171" y="0"/>
                    <a:pt x="813053" y="4151"/>
                    <a:pt x="821355" y="12453"/>
                  </a:cubicBezTo>
                  <a:close/>
                </a:path>
              </a:pathLst>
            </a:custGeom>
            <a:solidFill>
              <a:srgbClr val="BE147D"/>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GB" sz="1350">
                <a:solidFill>
                  <a:prstClr val="white"/>
                </a:solidFill>
                <a:latin typeface="Calibri" panose="020F0502020204030204"/>
              </a:endParaRPr>
            </a:p>
          </p:txBody>
        </p:sp>
      </p:grpSp>
      <p:sp>
        <p:nvSpPr>
          <p:cNvPr id="104" name="TextBox 103">
            <a:extLst>
              <a:ext uri="{FF2B5EF4-FFF2-40B4-BE49-F238E27FC236}">
                <a16:creationId xmlns:a16="http://schemas.microsoft.com/office/drawing/2014/main" id="{F59E6AE2-FF5C-4971-8769-ECAEA7C090D7}"/>
              </a:ext>
            </a:extLst>
          </p:cNvPr>
          <p:cNvSpPr txBox="1"/>
          <p:nvPr/>
        </p:nvSpPr>
        <p:spPr>
          <a:xfrm>
            <a:off x="3476906" y="975326"/>
            <a:ext cx="1170513" cy="415498"/>
          </a:xfrm>
          <a:prstGeom prst="rect">
            <a:avLst/>
          </a:prstGeom>
          <a:noFill/>
        </p:spPr>
        <p:txBody>
          <a:bodyPr wrap="none" rtlCol="0">
            <a:spAutoFit/>
          </a:bodyPr>
          <a:lstStyle/>
          <a:p>
            <a:pPr algn="ctr" defTabSz="685800"/>
            <a:r>
              <a:rPr lang="en-GB" sz="1050" b="1">
                <a:solidFill>
                  <a:srgbClr val="544F40"/>
                </a:solidFill>
                <a:latin typeface="Arial" panose="020B0604020202020204" pitchFamily="34" charset="0"/>
                <a:cs typeface="Arial" panose="020B0604020202020204" pitchFamily="34" charset="0"/>
              </a:rPr>
              <a:t>Monoclonal </a:t>
            </a:r>
            <a:br>
              <a:rPr lang="en-GB" sz="1050" b="1">
                <a:solidFill>
                  <a:srgbClr val="544F40"/>
                </a:solidFill>
                <a:latin typeface="Arial" panose="020B0604020202020204" pitchFamily="34" charset="0"/>
                <a:cs typeface="Arial" panose="020B0604020202020204" pitchFamily="34" charset="0"/>
              </a:rPr>
            </a:br>
            <a:r>
              <a:rPr lang="en-GB" sz="1050" b="1">
                <a:solidFill>
                  <a:srgbClr val="544F40"/>
                </a:solidFill>
                <a:latin typeface="Arial" panose="020B0604020202020204" pitchFamily="34" charset="0"/>
                <a:cs typeface="Arial" panose="020B0604020202020204" pitchFamily="34" charset="0"/>
              </a:rPr>
              <a:t>antibody (mAb)</a:t>
            </a:r>
          </a:p>
        </p:txBody>
      </p:sp>
      <p:sp>
        <p:nvSpPr>
          <p:cNvPr id="105" name="TextBox 104">
            <a:extLst>
              <a:ext uri="{FF2B5EF4-FFF2-40B4-BE49-F238E27FC236}">
                <a16:creationId xmlns:a16="http://schemas.microsoft.com/office/drawing/2014/main" id="{E7F1B9D5-58D5-43BD-B0A3-6237FE71950E}"/>
              </a:ext>
            </a:extLst>
          </p:cNvPr>
          <p:cNvSpPr txBox="1"/>
          <p:nvPr/>
        </p:nvSpPr>
        <p:spPr>
          <a:xfrm>
            <a:off x="4727868" y="975326"/>
            <a:ext cx="1239442" cy="415498"/>
          </a:xfrm>
          <a:prstGeom prst="rect">
            <a:avLst/>
          </a:prstGeom>
          <a:noFill/>
        </p:spPr>
        <p:txBody>
          <a:bodyPr wrap="none" rtlCol="0">
            <a:spAutoFit/>
          </a:bodyPr>
          <a:lstStyle/>
          <a:p>
            <a:pPr algn="ctr" defTabSz="685800"/>
            <a:r>
              <a:rPr lang="en-GB" sz="1050" b="1">
                <a:solidFill>
                  <a:srgbClr val="544F40"/>
                </a:solidFill>
                <a:latin typeface="Arial" panose="020B0604020202020204" pitchFamily="34" charset="0"/>
                <a:cs typeface="Arial" panose="020B0604020202020204" pitchFamily="34" charset="0"/>
              </a:rPr>
              <a:t>Antibody-drug </a:t>
            </a:r>
            <a:br>
              <a:rPr lang="en-GB" sz="1050" b="1">
                <a:solidFill>
                  <a:srgbClr val="544F40"/>
                </a:solidFill>
                <a:latin typeface="Arial" panose="020B0604020202020204" pitchFamily="34" charset="0"/>
                <a:cs typeface="Arial" panose="020B0604020202020204" pitchFamily="34" charset="0"/>
              </a:rPr>
            </a:br>
            <a:r>
              <a:rPr lang="en-GB" sz="1050" b="1">
                <a:solidFill>
                  <a:srgbClr val="544F40"/>
                </a:solidFill>
                <a:latin typeface="Arial" panose="020B0604020202020204" pitchFamily="34" charset="0"/>
                <a:cs typeface="Arial" panose="020B0604020202020204" pitchFamily="34" charset="0"/>
              </a:rPr>
              <a:t>conjugate (ADC)</a:t>
            </a:r>
          </a:p>
        </p:txBody>
      </p:sp>
      <p:sp>
        <p:nvSpPr>
          <p:cNvPr id="106" name="TextBox 105">
            <a:extLst>
              <a:ext uri="{FF2B5EF4-FFF2-40B4-BE49-F238E27FC236}">
                <a16:creationId xmlns:a16="http://schemas.microsoft.com/office/drawing/2014/main" id="{99CD5690-D99B-4569-8C02-623EAAF19ED8}"/>
              </a:ext>
            </a:extLst>
          </p:cNvPr>
          <p:cNvSpPr txBox="1"/>
          <p:nvPr/>
        </p:nvSpPr>
        <p:spPr>
          <a:xfrm>
            <a:off x="6012361" y="975326"/>
            <a:ext cx="1223413" cy="415498"/>
          </a:xfrm>
          <a:prstGeom prst="rect">
            <a:avLst/>
          </a:prstGeom>
          <a:noFill/>
        </p:spPr>
        <p:txBody>
          <a:bodyPr wrap="none" rtlCol="0">
            <a:spAutoFit/>
          </a:bodyPr>
          <a:lstStyle/>
          <a:p>
            <a:pPr algn="ctr" defTabSz="685800"/>
            <a:r>
              <a:rPr lang="en-GB" sz="1050" b="1">
                <a:solidFill>
                  <a:srgbClr val="544F40"/>
                </a:solidFill>
                <a:latin typeface="Arial" panose="020B0604020202020204" pitchFamily="34" charset="0"/>
                <a:cs typeface="Arial" panose="020B0604020202020204" pitchFamily="34" charset="0"/>
              </a:rPr>
              <a:t>Bispecific </a:t>
            </a:r>
            <a:br>
              <a:rPr lang="en-GB" sz="1050" b="1">
                <a:solidFill>
                  <a:srgbClr val="544F40"/>
                </a:solidFill>
                <a:latin typeface="Arial" panose="020B0604020202020204" pitchFamily="34" charset="0"/>
                <a:cs typeface="Arial" panose="020B0604020202020204" pitchFamily="34" charset="0"/>
              </a:rPr>
            </a:br>
            <a:r>
              <a:rPr lang="en-GB" sz="1050" b="1">
                <a:solidFill>
                  <a:srgbClr val="544F40"/>
                </a:solidFill>
                <a:latin typeface="Arial" panose="020B0604020202020204" pitchFamily="34" charset="0"/>
                <a:cs typeface="Arial" panose="020B0604020202020204" pitchFamily="34" charset="0"/>
              </a:rPr>
              <a:t>antibody (BsAb)</a:t>
            </a:r>
          </a:p>
        </p:txBody>
      </p:sp>
      <p:sp>
        <p:nvSpPr>
          <p:cNvPr id="107" name="TextBox 106">
            <a:extLst>
              <a:ext uri="{FF2B5EF4-FFF2-40B4-BE49-F238E27FC236}">
                <a16:creationId xmlns:a16="http://schemas.microsoft.com/office/drawing/2014/main" id="{1599D208-F4BD-4F2E-9A15-AFDBA517F405}"/>
              </a:ext>
            </a:extLst>
          </p:cNvPr>
          <p:cNvSpPr txBox="1"/>
          <p:nvPr/>
        </p:nvSpPr>
        <p:spPr>
          <a:xfrm>
            <a:off x="7612673" y="975326"/>
            <a:ext cx="917239" cy="415498"/>
          </a:xfrm>
          <a:prstGeom prst="rect">
            <a:avLst/>
          </a:prstGeom>
          <a:noFill/>
        </p:spPr>
        <p:txBody>
          <a:bodyPr wrap="none" rtlCol="0">
            <a:spAutoFit/>
          </a:bodyPr>
          <a:lstStyle/>
          <a:p>
            <a:pPr algn="ctr" defTabSz="685800"/>
            <a:r>
              <a:rPr lang="en-GB" sz="1050" b="1">
                <a:solidFill>
                  <a:srgbClr val="544F40"/>
                </a:solidFill>
                <a:latin typeface="Arial" panose="020B0604020202020204" pitchFamily="34" charset="0"/>
                <a:cs typeface="Arial" panose="020B0604020202020204" pitchFamily="34" charset="0"/>
              </a:rPr>
              <a:t>Engineered</a:t>
            </a:r>
            <a:br>
              <a:rPr lang="en-GB" sz="1050" b="1">
                <a:solidFill>
                  <a:srgbClr val="544F40"/>
                </a:solidFill>
                <a:latin typeface="Arial" panose="020B0604020202020204" pitchFamily="34" charset="0"/>
                <a:cs typeface="Arial" panose="020B0604020202020204" pitchFamily="34" charset="0"/>
              </a:rPr>
            </a:br>
            <a:r>
              <a:rPr lang="en-GB" sz="1050" b="1">
                <a:solidFill>
                  <a:srgbClr val="544F40"/>
                </a:solidFill>
                <a:latin typeface="Arial" panose="020B0604020202020204" pitchFamily="34" charset="0"/>
                <a:cs typeface="Arial" panose="020B0604020202020204" pitchFamily="34" charset="0"/>
              </a:rPr>
              <a:t>CAR T/NK</a:t>
            </a:r>
          </a:p>
        </p:txBody>
      </p:sp>
      <p:sp>
        <p:nvSpPr>
          <p:cNvPr id="108" name="Rectangle: Rounded Corners 107">
            <a:extLst>
              <a:ext uri="{FF2B5EF4-FFF2-40B4-BE49-F238E27FC236}">
                <a16:creationId xmlns:a16="http://schemas.microsoft.com/office/drawing/2014/main" id="{C5CA2416-6FD9-4E1C-B3F6-13EB67ECF792}"/>
              </a:ext>
            </a:extLst>
          </p:cNvPr>
          <p:cNvSpPr/>
          <p:nvPr/>
        </p:nvSpPr>
        <p:spPr>
          <a:xfrm>
            <a:off x="3502770" y="3307589"/>
            <a:ext cx="5068957" cy="1401850"/>
          </a:xfrm>
          <a:prstGeom prst="roundRect">
            <a:avLst>
              <a:gd name="adj" fmla="val 814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685800">
              <a:spcBef>
                <a:spcPts val="1050"/>
              </a:spcBef>
            </a:pPr>
            <a:r>
              <a:rPr lang="en-US" sz="1050" b="1">
                <a:solidFill>
                  <a:srgbClr val="262261"/>
                </a:solidFill>
                <a:latin typeface="Arial" panose="020B0604020202020204" pitchFamily="34" charset="0"/>
                <a:cs typeface="Arial" panose="020B0604020202020204" pitchFamily="34" charset="0"/>
              </a:rPr>
              <a:t>CAR T cells: 		</a:t>
            </a:r>
            <a:r>
              <a:rPr lang="en-US" sz="1050" b="1">
                <a:solidFill>
                  <a:srgbClr val="544F40"/>
                </a:solidFill>
                <a:latin typeface="Arial" panose="020B0604020202020204" pitchFamily="34" charset="0"/>
                <a:cs typeface="Arial" panose="020B0604020202020204" pitchFamily="34" charset="0"/>
              </a:rPr>
              <a:t>Ide-cel, Cilta-cel,* Orva-cel,* bb21217*</a:t>
            </a:r>
          </a:p>
          <a:p>
            <a:pPr defTabSz="685800">
              <a:spcBef>
                <a:spcPts val="1050"/>
              </a:spcBef>
            </a:pPr>
            <a:r>
              <a:rPr lang="en-US" sz="1050" b="1">
                <a:solidFill>
                  <a:srgbClr val="262261"/>
                </a:solidFill>
                <a:latin typeface="Arial" panose="020B0604020202020204" pitchFamily="34" charset="0"/>
                <a:cs typeface="Arial" panose="020B0604020202020204" pitchFamily="34" charset="0"/>
              </a:rPr>
              <a:t>Bispecific antibodies:</a:t>
            </a:r>
            <a:r>
              <a:rPr lang="en-US" sz="1050" b="1">
                <a:solidFill>
                  <a:srgbClr val="544F40"/>
                </a:solidFill>
                <a:latin typeface="Arial" panose="020B0604020202020204" pitchFamily="34" charset="0"/>
                <a:cs typeface="Arial" panose="020B0604020202020204" pitchFamily="34" charset="0"/>
              </a:rPr>
              <a:t> 	teclistamab,* CC93269,* AMG701,* 				REGN5428,* PF-3135,* talquetamab,* 				BCRF4350A*</a:t>
            </a:r>
          </a:p>
          <a:p>
            <a:pPr defTabSz="685800">
              <a:spcBef>
                <a:spcPts val="1050"/>
              </a:spcBef>
            </a:pPr>
            <a:r>
              <a:rPr lang="en-US" sz="1050" b="1">
                <a:solidFill>
                  <a:srgbClr val="262261"/>
                </a:solidFill>
                <a:latin typeface="Arial" panose="020B0604020202020204" pitchFamily="34" charset="0"/>
                <a:cs typeface="Arial" panose="020B0604020202020204" pitchFamily="34" charset="0"/>
              </a:rPr>
              <a:t>Antibody-drug conjugate:	</a:t>
            </a:r>
            <a:r>
              <a:rPr lang="en-US" sz="1050" b="1">
                <a:solidFill>
                  <a:srgbClr val="BA0E82"/>
                </a:solidFill>
                <a:latin typeface="Arial" panose="020B0604020202020204" pitchFamily="34" charset="0"/>
                <a:cs typeface="Arial" panose="020B0604020202020204" pitchFamily="34" charset="0"/>
              </a:rPr>
              <a:t>belantamab mafodotin, </a:t>
            </a:r>
            <a:r>
              <a:rPr lang="en-US" sz="1050" b="1">
                <a:solidFill>
                  <a:srgbClr val="544F40"/>
                </a:solidFill>
                <a:latin typeface="Arial" panose="020B0604020202020204" pitchFamily="34" charset="0"/>
                <a:cs typeface="Arial" panose="020B0604020202020204" pitchFamily="34" charset="0"/>
              </a:rPr>
              <a:t>MEDI2228*</a:t>
            </a:r>
            <a:r>
              <a:rPr lang="en-US" sz="1050">
                <a:solidFill>
                  <a:srgbClr val="262261"/>
                </a:solidFill>
                <a:latin typeface="Arial" panose="020B0604020202020204" pitchFamily="34" charset="0"/>
                <a:cs typeface="Arial" panose="020B0604020202020204" pitchFamily="34" charset="0"/>
              </a:rPr>
              <a:t> </a:t>
            </a:r>
          </a:p>
        </p:txBody>
      </p:sp>
      <p:sp>
        <p:nvSpPr>
          <p:cNvPr id="7" name="Oval 6">
            <a:extLst>
              <a:ext uri="{FF2B5EF4-FFF2-40B4-BE49-F238E27FC236}">
                <a16:creationId xmlns:a16="http://schemas.microsoft.com/office/drawing/2014/main" id="{98D5BD18-F2F7-A640-A201-2A60FB5B2ED3}"/>
              </a:ext>
            </a:extLst>
          </p:cNvPr>
          <p:cNvSpPr/>
          <p:nvPr/>
        </p:nvSpPr>
        <p:spPr>
          <a:xfrm>
            <a:off x="1307592" y="890584"/>
            <a:ext cx="910668" cy="691682"/>
          </a:xfrm>
          <a:prstGeom prst="ellipse">
            <a:avLst/>
          </a:prstGeom>
          <a:noFill/>
          <a:ln w="857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FR" sz="1350">
              <a:solidFill>
                <a:prstClr val="white"/>
              </a:solidFill>
              <a:latin typeface="Calibri" panose="020F0502020204030204"/>
            </a:endParaRPr>
          </a:p>
        </p:txBody>
      </p:sp>
      <p:cxnSp>
        <p:nvCxnSpPr>
          <p:cNvPr id="68" name="Connecteur droit 5">
            <a:extLst>
              <a:ext uri="{FF2B5EF4-FFF2-40B4-BE49-F238E27FC236}">
                <a16:creationId xmlns:a16="http://schemas.microsoft.com/office/drawing/2014/main" id="{B5112B53-D884-405B-9C16-F8A718F7C4D3}"/>
              </a:ext>
            </a:extLst>
          </p:cNvPr>
          <p:cNvCxnSpPr>
            <a:cxnSpLocks/>
          </p:cNvCxnSpPr>
          <p:nvPr/>
        </p:nvCxnSpPr>
        <p:spPr>
          <a:xfrm>
            <a:off x="800100" y="669116"/>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115280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6453C-1F2B-FA4C-8421-842C0FE8439E}"/>
              </a:ext>
            </a:extLst>
          </p:cNvPr>
          <p:cNvSpPr>
            <a:spLocks noGrp="1"/>
          </p:cNvSpPr>
          <p:nvPr>
            <p:ph type="title"/>
          </p:nvPr>
        </p:nvSpPr>
        <p:spPr>
          <a:xfrm>
            <a:off x="813383" y="53956"/>
            <a:ext cx="7942520" cy="849762"/>
          </a:xfrm>
        </p:spPr>
        <p:txBody>
          <a:bodyPr>
            <a:normAutofit/>
          </a:bodyPr>
          <a:lstStyle/>
          <a:p>
            <a:r>
              <a:rPr lang="en-US" sz="2100" b="1" noProof="0">
                <a:solidFill>
                  <a:srgbClr val="0062A7"/>
                </a:solidFill>
                <a:latin typeface="+mn-lt"/>
              </a:rPr>
              <a:t>Question. Do you give consolidation or move straight through to maintenance?</a:t>
            </a:r>
          </a:p>
        </p:txBody>
      </p:sp>
      <p:sp>
        <p:nvSpPr>
          <p:cNvPr id="4" name="TextBox 3">
            <a:extLst>
              <a:ext uri="{FF2B5EF4-FFF2-40B4-BE49-F238E27FC236}">
                <a16:creationId xmlns:a16="http://schemas.microsoft.com/office/drawing/2014/main" id="{7FA06324-E978-3842-BBB0-0D590D869CFC}"/>
              </a:ext>
            </a:extLst>
          </p:cNvPr>
          <p:cNvSpPr txBox="1"/>
          <p:nvPr/>
        </p:nvSpPr>
        <p:spPr>
          <a:xfrm>
            <a:off x="805408" y="1161666"/>
            <a:ext cx="7942520" cy="1933863"/>
          </a:xfrm>
          <a:prstGeom prst="rect">
            <a:avLst/>
          </a:prstGeom>
          <a:noFill/>
        </p:spPr>
        <p:txBody>
          <a:bodyPr wrap="square" rtlCol="0">
            <a:spAutoFit/>
          </a:bodyPr>
          <a:lstStyle/>
          <a:p>
            <a:pPr marL="342900" indent="-342900" defTabSz="685800">
              <a:lnSpc>
                <a:spcPct val="150000"/>
              </a:lnSpc>
              <a:spcBef>
                <a:spcPts val="600"/>
              </a:spcBef>
              <a:buClr>
                <a:srgbClr val="4F81BD"/>
              </a:buClr>
              <a:buFont typeface="+mj-lt"/>
              <a:buAutoNum type="arabicPeriod"/>
              <a:defRPr/>
            </a:pPr>
            <a:r>
              <a:rPr lang="en-FR">
                <a:latin typeface="Arial" panose="020B0604020202020204" pitchFamily="34" charset="0"/>
                <a:cs typeface="Arial" panose="020B0604020202020204" pitchFamily="34" charset="0"/>
              </a:rPr>
              <a:t>NO consolidation. Directly to </a:t>
            </a:r>
            <a:r>
              <a:rPr lang="en-US">
                <a:latin typeface="Arial" panose="020B0604020202020204" pitchFamily="34" charset="0"/>
                <a:cs typeface="Arial" panose="020B0604020202020204" pitchFamily="34" charset="0"/>
              </a:rPr>
              <a:t>m</a:t>
            </a:r>
            <a:r>
              <a:rPr lang="en-FR">
                <a:latin typeface="Arial" panose="020B0604020202020204" pitchFamily="34" charset="0"/>
                <a:cs typeface="Arial" panose="020B0604020202020204" pitchFamily="34" charset="0"/>
              </a:rPr>
              <a:t>aintenance </a:t>
            </a:r>
            <a:r>
              <a:rPr lang="en-US">
                <a:latin typeface="Arial" panose="020B0604020202020204" pitchFamily="34" charset="0"/>
                <a:cs typeface="Arial" panose="020B0604020202020204" pitchFamily="34" charset="0"/>
              </a:rPr>
              <a:t>for</a:t>
            </a:r>
            <a:r>
              <a:rPr lang="en-FR">
                <a:latin typeface="Arial" panose="020B0604020202020204" pitchFamily="34" charset="0"/>
                <a:cs typeface="Arial" panose="020B0604020202020204" pitchFamily="34" charset="0"/>
              </a:rPr>
              <a:t> all patients</a:t>
            </a:r>
          </a:p>
          <a:p>
            <a:pPr marL="342900" indent="-342900" defTabSz="685800">
              <a:lnSpc>
                <a:spcPct val="150000"/>
              </a:lnSpc>
              <a:spcBef>
                <a:spcPts val="600"/>
              </a:spcBef>
              <a:buClr>
                <a:srgbClr val="4F81BD"/>
              </a:buClr>
              <a:buFont typeface="+mj-lt"/>
              <a:buAutoNum type="arabicPeriod"/>
              <a:defRPr/>
            </a:pPr>
            <a:r>
              <a:rPr lang="en-FR">
                <a:latin typeface="Arial" panose="020B0604020202020204" pitchFamily="34" charset="0"/>
                <a:cs typeface="Arial" panose="020B0604020202020204" pitchFamily="34" charset="0"/>
              </a:rPr>
              <a:t>NO consolidation. Directly to </a:t>
            </a:r>
            <a:r>
              <a:rPr lang="en-US">
                <a:latin typeface="Arial" panose="020B0604020202020204" pitchFamily="34" charset="0"/>
                <a:cs typeface="Arial" panose="020B0604020202020204" pitchFamily="34" charset="0"/>
              </a:rPr>
              <a:t>m</a:t>
            </a:r>
            <a:r>
              <a:rPr lang="en-FR">
                <a:latin typeface="Arial" panose="020B0604020202020204" pitchFamily="34" charset="0"/>
                <a:cs typeface="Arial" panose="020B0604020202020204" pitchFamily="34" charset="0"/>
              </a:rPr>
              <a:t>aintenance only for HR NDMM</a:t>
            </a:r>
          </a:p>
          <a:p>
            <a:pPr marL="342900" indent="-342900" defTabSz="685800">
              <a:lnSpc>
                <a:spcPct val="150000"/>
              </a:lnSpc>
              <a:spcBef>
                <a:spcPts val="600"/>
              </a:spcBef>
              <a:buClr>
                <a:srgbClr val="4F81BD"/>
              </a:buClr>
              <a:buFont typeface="+mj-lt"/>
              <a:buAutoNum type="arabicPeriod"/>
              <a:defRPr/>
            </a:pPr>
            <a:r>
              <a:rPr lang="en-FR">
                <a:latin typeface="Arial" panose="020B0604020202020204" pitchFamily="34" charset="0"/>
                <a:cs typeface="Arial" panose="020B0604020202020204" pitchFamily="34" charset="0"/>
              </a:rPr>
              <a:t>YES</a:t>
            </a:r>
            <a:r>
              <a:rPr lang="en-US">
                <a:latin typeface="Arial" panose="020B0604020202020204" pitchFamily="34" charset="0"/>
                <a:cs typeface="Arial" panose="020B0604020202020204" pitchFamily="34" charset="0"/>
              </a:rPr>
              <a:t>,</a:t>
            </a:r>
            <a:r>
              <a:rPr lang="en-FR">
                <a:latin typeface="Arial" panose="020B0604020202020204" pitchFamily="34" charset="0"/>
                <a:cs typeface="Arial" panose="020B0604020202020204" pitchFamily="34" charset="0"/>
              </a:rPr>
              <a:t> consolidation before </a:t>
            </a:r>
            <a:r>
              <a:rPr lang="en-US">
                <a:latin typeface="Arial" panose="020B0604020202020204" pitchFamily="34" charset="0"/>
                <a:cs typeface="Arial" panose="020B0604020202020204" pitchFamily="34" charset="0"/>
              </a:rPr>
              <a:t>m</a:t>
            </a:r>
            <a:r>
              <a:rPr lang="en-FR">
                <a:latin typeface="Arial" panose="020B0604020202020204" pitchFamily="34" charset="0"/>
                <a:cs typeface="Arial" panose="020B0604020202020204" pitchFamily="34" charset="0"/>
              </a:rPr>
              <a:t>aintenance, only for HR NDMM</a:t>
            </a:r>
          </a:p>
          <a:p>
            <a:pPr marL="342900" indent="-342900" defTabSz="685800">
              <a:lnSpc>
                <a:spcPct val="150000"/>
              </a:lnSpc>
              <a:spcBef>
                <a:spcPts val="600"/>
              </a:spcBef>
              <a:buClr>
                <a:srgbClr val="4F81BD"/>
              </a:buClr>
              <a:buFont typeface="+mj-lt"/>
              <a:buAutoNum type="arabicPeriod"/>
              <a:defRPr/>
            </a:pPr>
            <a:r>
              <a:rPr lang="en-FR">
                <a:latin typeface="Arial" panose="020B0604020202020204" pitchFamily="34" charset="0"/>
                <a:cs typeface="Arial" panose="020B0604020202020204" pitchFamily="34" charset="0"/>
              </a:rPr>
              <a:t>YES</a:t>
            </a:r>
            <a:r>
              <a:rPr lang="en-US">
                <a:latin typeface="Arial" panose="020B0604020202020204" pitchFamily="34" charset="0"/>
                <a:cs typeface="Arial" panose="020B0604020202020204" pitchFamily="34" charset="0"/>
              </a:rPr>
              <a:t>,</a:t>
            </a:r>
            <a:r>
              <a:rPr lang="en-FR">
                <a:latin typeface="Arial" panose="020B0604020202020204" pitchFamily="34" charset="0"/>
                <a:cs typeface="Arial" panose="020B0604020202020204" pitchFamily="34" charset="0"/>
              </a:rPr>
              <a:t> consolidation before </a:t>
            </a:r>
            <a:r>
              <a:rPr lang="en-US">
                <a:latin typeface="Arial" panose="020B0604020202020204" pitchFamily="34" charset="0"/>
                <a:cs typeface="Arial" panose="020B0604020202020204" pitchFamily="34" charset="0"/>
              </a:rPr>
              <a:t>m</a:t>
            </a:r>
            <a:r>
              <a:rPr lang="en-FR">
                <a:latin typeface="Arial" panose="020B0604020202020204" pitchFamily="34" charset="0"/>
                <a:cs typeface="Arial" panose="020B0604020202020204" pitchFamily="34" charset="0"/>
              </a:rPr>
              <a:t>aintenance </a:t>
            </a:r>
            <a:r>
              <a:rPr lang="en-US">
                <a:latin typeface="Arial" panose="020B0604020202020204" pitchFamily="34" charset="0"/>
                <a:cs typeface="Arial" panose="020B0604020202020204" pitchFamily="34" charset="0"/>
              </a:rPr>
              <a:t>for</a:t>
            </a:r>
            <a:r>
              <a:rPr lang="en-FR">
                <a:latin typeface="Arial" panose="020B0604020202020204" pitchFamily="34" charset="0"/>
                <a:cs typeface="Arial" panose="020B0604020202020204" pitchFamily="34" charset="0"/>
              </a:rPr>
              <a:t> all patients</a:t>
            </a:r>
          </a:p>
        </p:txBody>
      </p:sp>
      <p:cxnSp>
        <p:nvCxnSpPr>
          <p:cNvPr id="8" name="Connecteur droit 5">
            <a:extLst>
              <a:ext uri="{FF2B5EF4-FFF2-40B4-BE49-F238E27FC236}">
                <a16:creationId xmlns:a16="http://schemas.microsoft.com/office/drawing/2014/main" id="{83FA7D70-D2CD-429B-994C-A654FBE08DEB}"/>
              </a:ext>
            </a:extLst>
          </p:cNvPr>
          <p:cNvCxnSpPr>
            <a:cxnSpLocks/>
          </p:cNvCxnSpPr>
          <p:nvPr/>
        </p:nvCxnSpPr>
        <p:spPr>
          <a:xfrm>
            <a:off x="800100" y="932283"/>
            <a:ext cx="7543800" cy="10551"/>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5F451FD6-0A2F-4D2C-8EFA-DA8CC0BAF996}"/>
              </a:ext>
            </a:extLst>
          </p:cNvPr>
          <p:cNvGrpSpPr/>
          <p:nvPr/>
        </p:nvGrpSpPr>
        <p:grpSpPr>
          <a:xfrm>
            <a:off x="52855" y="67643"/>
            <a:ext cx="720000" cy="720000"/>
            <a:chOff x="8151603" y="218984"/>
            <a:chExt cx="720000" cy="720000"/>
          </a:xfrm>
        </p:grpSpPr>
        <p:sp>
          <p:nvSpPr>
            <p:cNvPr id="10" name="Teardrop 9">
              <a:extLst>
                <a:ext uri="{FF2B5EF4-FFF2-40B4-BE49-F238E27FC236}">
                  <a16:creationId xmlns:a16="http://schemas.microsoft.com/office/drawing/2014/main" id="{AB7F0EFD-A8AF-41AB-BDBB-AECA36885AE2}"/>
                </a:ext>
              </a:extLst>
            </p:cNvPr>
            <p:cNvSpPr/>
            <p:nvPr/>
          </p:nvSpPr>
          <p:spPr bwMode="auto">
            <a:xfrm rot="5400000">
              <a:off x="8151603" y="218984"/>
              <a:ext cx="720000" cy="720000"/>
            </a:xfrm>
            <a:prstGeom prst="teardrop">
              <a:avLst/>
            </a:prstGeom>
            <a:solidFill>
              <a:srgbClr val="00AAB8"/>
            </a:solidFill>
            <a:ln w="25400" cap="flat" cmpd="sng" algn="ctr">
              <a:solidFill>
                <a:srgbClr val="00AAB8"/>
              </a:solidFill>
              <a:prstDash val="soli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defRPr/>
              </a:pPr>
              <a:endParaRPr lang="en-NL" sz="2100" b="1" kern="0">
                <a:solidFill>
                  <a:srgbClr val="FFFF00"/>
                </a:solidFill>
                <a:latin typeface="Arial" pitchFamily="34" charset="0"/>
              </a:endParaRPr>
            </a:p>
          </p:txBody>
        </p:sp>
        <p:sp>
          <p:nvSpPr>
            <p:cNvPr id="11" name="TextBox 10">
              <a:extLst>
                <a:ext uri="{FF2B5EF4-FFF2-40B4-BE49-F238E27FC236}">
                  <a16:creationId xmlns:a16="http://schemas.microsoft.com/office/drawing/2014/main" id="{4D5EF4EE-FB87-4783-9412-35BFE86C0D36}"/>
                </a:ext>
              </a:extLst>
            </p:cNvPr>
            <p:cNvSpPr txBox="1"/>
            <p:nvPr/>
          </p:nvSpPr>
          <p:spPr>
            <a:xfrm>
              <a:off x="8278208" y="240432"/>
              <a:ext cx="466795" cy="677108"/>
            </a:xfrm>
            <a:prstGeom prst="rect">
              <a:avLst/>
            </a:prstGeom>
            <a:noFill/>
            <a:ln>
              <a:noFill/>
            </a:ln>
          </p:spPr>
          <p:txBody>
            <a:bodyPr wrap="square" rtlCol="0" anchor="ctr">
              <a:spAutoFit/>
            </a:bodyPr>
            <a:lstStyle/>
            <a:p>
              <a:pPr algn="ctr" defTabSz="342900">
                <a:defRPr/>
              </a:pPr>
              <a:r>
                <a:rPr lang="en-US" sz="2700" b="1" kern="0">
                  <a:solidFill>
                    <a:srgbClr val="FFFFFF"/>
                  </a:solidFill>
                  <a:latin typeface="Arial" panose="020B0604020202020204" pitchFamily="34" charset="0"/>
                  <a:cs typeface="Arial" panose="020B0604020202020204" pitchFamily="34" charset="0"/>
                </a:rPr>
                <a:t>?</a:t>
              </a:r>
              <a:endParaRPr lang="en-NL" sz="2700" b="1" kern="0">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831662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51374E-9266-4393-9AE5-54A498388B4C}"/>
              </a:ext>
            </a:extLst>
          </p:cNvPr>
          <p:cNvSpPr>
            <a:spLocks noGrp="1"/>
          </p:cNvSpPr>
          <p:nvPr/>
        </p:nvSpPr>
        <p:spPr>
          <a:xfrm>
            <a:off x="1" y="102971"/>
            <a:ext cx="9144000" cy="442515"/>
          </a:xfrm>
          <a:prstGeom prst="rect">
            <a:avLst/>
          </a:prstGeom>
        </p:spPr>
        <p:txBody>
          <a:bodyPr lIns="68580" tIns="34290" rIns="68580" bIns="34290" anchor="b">
            <a:normAutofit/>
          </a:bodyPr>
          <a:lstStyle>
            <a:lvl1pPr algn="l" defTabSz="914400" rtl="0" eaLnBrk="1" latinLnBrk="0" hangingPunct="1">
              <a:lnSpc>
                <a:spcPct val="90000"/>
              </a:lnSpc>
              <a:spcBef>
                <a:spcPct val="0"/>
              </a:spcBef>
              <a:buNone/>
              <a:defRPr sz="3200" b="0" kern="1200">
                <a:solidFill>
                  <a:schemeClr val="tx2"/>
                </a:solidFill>
                <a:latin typeface="+mj-lt"/>
                <a:ea typeface="+mj-ea"/>
                <a:cs typeface="+mj-cs"/>
              </a:defRPr>
            </a:lvl1pPr>
          </a:lstStyle>
          <a:p>
            <a:pPr algn="ctr" defTabSz="685800"/>
            <a:r>
              <a:rPr lang="en-US" sz="2400" b="1">
                <a:solidFill>
                  <a:srgbClr val="0070C0"/>
                </a:solidFill>
                <a:latin typeface="Arial" panose="020B0604020202020204" pitchFamily="34" charset="0"/>
                <a:cs typeface="Arial" panose="020B0604020202020204" pitchFamily="34" charset="0"/>
              </a:rPr>
              <a:t>The opportunity</a:t>
            </a:r>
          </a:p>
        </p:txBody>
      </p:sp>
      <p:sp>
        <p:nvSpPr>
          <p:cNvPr id="10" name="TextBox 9">
            <a:extLst>
              <a:ext uri="{FF2B5EF4-FFF2-40B4-BE49-F238E27FC236}">
                <a16:creationId xmlns:a16="http://schemas.microsoft.com/office/drawing/2014/main" id="{A32B05D4-1494-4310-8436-B4D1CF87F373}"/>
              </a:ext>
            </a:extLst>
          </p:cNvPr>
          <p:cNvSpPr txBox="1"/>
          <p:nvPr/>
        </p:nvSpPr>
        <p:spPr>
          <a:xfrm>
            <a:off x="1352838" y="4033772"/>
            <a:ext cx="6334627" cy="323165"/>
          </a:xfrm>
          <a:prstGeom prst="rect">
            <a:avLst/>
          </a:prstGeom>
          <a:noFill/>
        </p:spPr>
        <p:txBody>
          <a:bodyPr wrap="square" rtlCol="0">
            <a:spAutoFit/>
          </a:bodyPr>
          <a:lstStyle/>
          <a:p>
            <a:pPr defTabSz="685800"/>
            <a:r>
              <a:rPr lang="en-US" sz="750" b="1">
                <a:solidFill>
                  <a:prstClr val="black">
                    <a:lumMod val="65000"/>
                    <a:lumOff val="35000"/>
                  </a:prstClr>
                </a:solidFill>
                <a:latin typeface="Calibri"/>
              </a:rPr>
              <a:t>Heme malignancies</a:t>
            </a:r>
          </a:p>
          <a:p>
            <a:pPr defTabSz="685800"/>
            <a:r>
              <a:rPr lang="en-US" sz="750" b="1">
                <a:solidFill>
                  <a:prstClr val="black">
                    <a:lumMod val="65000"/>
                    <a:lumOff val="35000"/>
                  </a:prstClr>
                </a:solidFill>
                <a:latin typeface="Calibri"/>
              </a:rPr>
              <a:t>MGUS/CHIP/MBL </a:t>
            </a:r>
          </a:p>
        </p:txBody>
      </p:sp>
      <p:cxnSp>
        <p:nvCxnSpPr>
          <p:cNvPr id="12" name="Straight Arrow Connector 11">
            <a:extLst>
              <a:ext uri="{FF2B5EF4-FFF2-40B4-BE49-F238E27FC236}">
                <a16:creationId xmlns:a16="http://schemas.microsoft.com/office/drawing/2014/main" id="{28ECB1B2-6166-4D40-A8B2-F760C130AD05}"/>
              </a:ext>
            </a:extLst>
          </p:cNvPr>
          <p:cNvCxnSpPr>
            <a:cxnSpLocks/>
          </p:cNvCxnSpPr>
          <p:nvPr/>
        </p:nvCxnSpPr>
        <p:spPr>
          <a:xfrm>
            <a:off x="2592442" y="4186593"/>
            <a:ext cx="1504012" cy="1"/>
          </a:xfrm>
          <a:prstGeom prst="straightConnector1">
            <a:avLst/>
          </a:prstGeom>
          <a:ln w="2222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E11F252-E7F7-4F34-8350-EAC6BA996D8A}"/>
              </a:ext>
            </a:extLst>
          </p:cNvPr>
          <p:cNvSpPr txBox="1"/>
          <p:nvPr/>
        </p:nvSpPr>
        <p:spPr>
          <a:xfrm>
            <a:off x="3024333" y="4002871"/>
            <a:ext cx="816761" cy="207749"/>
          </a:xfrm>
          <a:prstGeom prst="rect">
            <a:avLst/>
          </a:prstGeom>
          <a:noFill/>
        </p:spPr>
        <p:txBody>
          <a:bodyPr wrap="square" rtlCol="0">
            <a:spAutoFit/>
          </a:bodyPr>
          <a:lstStyle/>
          <a:p>
            <a:pPr defTabSz="685800"/>
            <a:r>
              <a:rPr lang="en-US" sz="750">
                <a:solidFill>
                  <a:prstClr val="black">
                    <a:lumMod val="65000"/>
                    <a:lumOff val="35000"/>
                  </a:prstClr>
                </a:solidFill>
                <a:latin typeface="Calibri"/>
              </a:rPr>
              <a:t>1% per year </a:t>
            </a:r>
          </a:p>
        </p:txBody>
      </p:sp>
      <p:sp>
        <p:nvSpPr>
          <p:cNvPr id="16" name="TextBox 15">
            <a:extLst>
              <a:ext uri="{FF2B5EF4-FFF2-40B4-BE49-F238E27FC236}">
                <a16:creationId xmlns:a16="http://schemas.microsoft.com/office/drawing/2014/main" id="{342B1900-F4E7-4520-BD93-2ACF6B99BDE3}"/>
              </a:ext>
            </a:extLst>
          </p:cNvPr>
          <p:cNvSpPr txBox="1"/>
          <p:nvPr/>
        </p:nvSpPr>
        <p:spPr>
          <a:xfrm>
            <a:off x="4167822" y="4104920"/>
            <a:ext cx="1121480" cy="196208"/>
          </a:xfrm>
          <a:prstGeom prst="rect">
            <a:avLst/>
          </a:prstGeom>
          <a:solidFill>
            <a:srgbClr val="B0DCF1"/>
          </a:solidFill>
        </p:spPr>
        <p:txBody>
          <a:bodyPr wrap="square" lIns="0" rIns="0" rtlCol="0" anchor="ctr">
            <a:spAutoFit/>
          </a:bodyPr>
          <a:lstStyle/>
          <a:p>
            <a:pPr algn="ctr" defTabSz="685800"/>
            <a:r>
              <a:rPr lang="en-US" sz="675" b="1">
                <a:solidFill>
                  <a:prstClr val="black">
                    <a:lumMod val="65000"/>
                    <a:lumOff val="35000"/>
                  </a:prstClr>
                </a:solidFill>
                <a:latin typeface="Calibri"/>
              </a:rPr>
              <a:t>Smoldering myeloma/MDS</a:t>
            </a:r>
          </a:p>
        </p:txBody>
      </p:sp>
      <p:cxnSp>
        <p:nvCxnSpPr>
          <p:cNvPr id="18" name="Straight Arrow Connector 17">
            <a:extLst>
              <a:ext uri="{FF2B5EF4-FFF2-40B4-BE49-F238E27FC236}">
                <a16:creationId xmlns:a16="http://schemas.microsoft.com/office/drawing/2014/main" id="{3F030208-30BE-4078-B827-97E43E0F59F6}"/>
              </a:ext>
            </a:extLst>
          </p:cNvPr>
          <p:cNvCxnSpPr>
            <a:cxnSpLocks/>
          </p:cNvCxnSpPr>
          <p:nvPr/>
        </p:nvCxnSpPr>
        <p:spPr>
          <a:xfrm>
            <a:off x="5308811" y="4187057"/>
            <a:ext cx="1141659" cy="0"/>
          </a:xfrm>
          <a:prstGeom prst="straightConnector1">
            <a:avLst/>
          </a:prstGeom>
          <a:ln w="2222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3766354-E7D0-4385-96B9-4E31EB143AF7}"/>
              </a:ext>
            </a:extLst>
          </p:cNvPr>
          <p:cNvSpPr txBox="1"/>
          <p:nvPr/>
        </p:nvSpPr>
        <p:spPr>
          <a:xfrm>
            <a:off x="6488408" y="4017592"/>
            <a:ext cx="621260" cy="334835"/>
          </a:xfrm>
          <a:prstGeom prst="rect">
            <a:avLst/>
          </a:prstGeom>
          <a:solidFill>
            <a:srgbClr val="B0DCF1"/>
          </a:solidFill>
        </p:spPr>
        <p:txBody>
          <a:bodyPr wrap="square" rtlCol="0" anchor="ctr">
            <a:spAutoFit/>
          </a:bodyPr>
          <a:lstStyle>
            <a:defPPr>
              <a:defRPr lang="en-US"/>
            </a:defPPr>
            <a:lvl1pPr>
              <a:defRPr sz="1050" b="1">
                <a:solidFill>
                  <a:schemeClr val="tx1">
                    <a:lumMod val="75000"/>
                    <a:lumOff val="25000"/>
                  </a:schemeClr>
                </a:solidFill>
              </a:defRPr>
            </a:lvl1pPr>
          </a:lstStyle>
          <a:p>
            <a:pPr algn="ctr" defTabSz="685800"/>
            <a:r>
              <a:rPr lang="en-US" sz="788">
                <a:solidFill>
                  <a:prstClr val="black">
                    <a:lumMod val="65000"/>
                    <a:lumOff val="35000"/>
                  </a:prstClr>
                </a:solidFill>
                <a:latin typeface="Calibri"/>
              </a:rPr>
              <a:t>Myeloma/AML/CLL</a:t>
            </a:r>
          </a:p>
        </p:txBody>
      </p:sp>
      <p:sp>
        <p:nvSpPr>
          <p:cNvPr id="22" name="TextBox 21">
            <a:extLst>
              <a:ext uri="{FF2B5EF4-FFF2-40B4-BE49-F238E27FC236}">
                <a16:creationId xmlns:a16="http://schemas.microsoft.com/office/drawing/2014/main" id="{301239C7-AEB3-4BD1-B150-7103D5D87ACD}"/>
              </a:ext>
            </a:extLst>
          </p:cNvPr>
          <p:cNvSpPr txBox="1"/>
          <p:nvPr/>
        </p:nvSpPr>
        <p:spPr>
          <a:xfrm>
            <a:off x="5588238" y="3999906"/>
            <a:ext cx="816761" cy="207749"/>
          </a:xfrm>
          <a:prstGeom prst="rect">
            <a:avLst/>
          </a:prstGeom>
          <a:noFill/>
        </p:spPr>
        <p:txBody>
          <a:bodyPr wrap="square" rtlCol="0">
            <a:spAutoFit/>
          </a:bodyPr>
          <a:lstStyle/>
          <a:p>
            <a:pPr defTabSz="685800"/>
            <a:r>
              <a:rPr lang="en-US" sz="750">
                <a:solidFill>
                  <a:prstClr val="black">
                    <a:lumMod val="65000"/>
                    <a:lumOff val="35000"/>
                  </a:prstClr>
                </a:solidFill>
                <a:latin typeface="Calibri"/>
              </a:rPr>
              <a:t>10% per year </a:t>
            </a:r>
          </a:p>
        </p:txBody>
      </p:sp>
      <p:pic>
        <p:nvPicPr>
          <p:cNvPr id="6" name="Picture 5">
            <a:extLst>
              <a:ext uri="{FF2B5EF4-FFF2-40B4-BE49-F238E27FC236}">
                <a16:creationId xmlns:a16="http://schemas.microsoft.com/office/drawing/2014/main" id="{2F0AEF52-825F-42F1-8785-B36E2F4EEA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51572" y="661479"/>
            <a:ext cx="5961768" cy="3365480"/>
          </a:xfrm>
          <a:prstGeom prst="rect">
            <a:avLst/>
          </a:prstGeom>
        </p:spPr>
      </p:pic>
      <p:sp>
        <p:nvSpPr>
          <p:cNvPr id="9" name="TextBox 8">
            <a:extLst>
              <a:ext uri="{FF2B5EF4-FFF2-40B4-BE49-F238E27FC236}">
                <a16:creationId xmlns:a16="http://schemas.microsoft.com/office/drawing/2014/main" id="{EA0FEF7E-1427-4296-8402-3230A46CB2FF}"/>
              </a:ext>
            </a:extLst>
          </p:cNvPr>
          <p:cNvSpPr txBox="1"/>
          <p:nvPr/>
        </p:nvSpPr>
        <p:spPr>
          <a:xfrm>
            <a:off x="5368608" y="4920410"/>
            <a:ext cx="3775393" cy="246221"/>
          </a:xfrm>
          <a:prstGeom prst="rect">
            <a:avLst/>
          </a:prstGeom>
          <a:noFill/>
        </p:spPr>
        <p:txBody>
          <a:bodyPr wrap="none" rtlCol="0">
            <a:spAutoFit/>
          </a:bodyPr>
          <a:lstStyle/>
          <a:p>
            <a:pPr algn="r" defTabSz="685800"/>
            <a:r>
              <a:rPr lang="en-US" sz="1000">
                <a:solidFill>
                  <a:prstClr val="black"/>
                </a:solidFill>
                <a:latin typeface="Arial" panose="020B0604020202020204" pitchFamily="34" charset="0"/>
                <a:cs typeface="Arial" panose="020B0604020202020204" pitchFamily="34" charset="0"/>
              </a:rPr>
              <a:t>Adapted from Umar A, et al. </a:t>
            </a:r>
            <a:r>
              <a:rPr lang="en-US" sz="1000" i="1">
                <a:solidFill>
                  <a:prstClr val="black"/>
                </a:solidFill>
                <a:latin typeface="Arial" panose="020B0604020202020204" pitchFamily="34" charset="0"/>
                <a:cs typeface="Arial" panose="020B0604020202020204" pitchFamily="34" charset="0"/>
              </a:rPr>
              <a:t>Nat Rev Cancer</a:t>
            </a:r>
            <a:r>
              <a:rPr lang="en-US" sz="1000">
                <a:solidFill>
                  <a:prstClr val="black"/>
                </a:solidFill>
                <a:latin typeface="Arial" panose="020B0604020202020204" pitchFamily="34" charset="0"/>
                <a:cs typeface="Arial" panose="020B0604020202020204" pitchFamily="34" charset="0"/>
              </a:rPr>
              <a:t>. 2012;12:835-848.</a:t>
            </a:r>
            <a:endParaRPr lang="en-NL" sz="100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771211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41620" y="1111056"/>
            <a:ext cx="2525203" cy="25252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a:extLst>
              <a:ext uri="{FF2B5EF4-FFF2-40B4-BE49-F238E27FC236}">
                <a16:creationId xmlns:a16="http://schemas.microsoft.com/office/drawing/2014/main" id="{E44241F0-78C0-844C-950E-14D6B950B44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346972" y="917083"/>
            <a:ext cx="3095500" cy="3309334"/>
          </a:xfrm>
          <a:prstGeom prst="rect">
            <a:avLst/>
          </a:prstGeom>
        </p:spPr>
      </p:pic>
      <p:sp>
        <p:nvSpPr>
          <p:cNvPr id="8" name="Right Arrow 7">
            <a:extLst>
              <a:ext uri="{FF2B5EF4-FFF2-40B4-BE49-F238E27FC236}">
                <a16:creationId xmlns:a16="http://schemas.microsoft.com/office/drawing/2014/main" id="{D1C7DED5-5718-2F48-8AD0-5B617EB1E135}"/>
              </a:ext>
            </a:extLst>
          </p:cNvPr>
          <p:cNvSpPr/>
          <p:nvPr/>
        </p:nvSpPr>
        <p:spPr bwMode="auto">
          <a:xfrm>
            <a:off x="3757034" y="2292856"/>
            <a:ext cx="877733" cy="161603"/>
          </a:xfrm>
          <a:prstGeom prst="rightArrow">
            <a:avLst/>
          </a:prstGeom>
          <a:noFill/>
          <a:ln w="9525" cap="flat" cmpd="sng" algn="ctr">
            <a:noFill/>
            <a:prstDash val="solid"/>
            <a:round/>
            <a:headEnd type="none" w="med" len="med"/>
            <a:tailEnd type="none" w="med" len="med"/>
          </a:ln>
          <a:effectLst/>
        </p:spPr>
        <p:txBody>
          <a:bodyPr vert="horz" wrap="square" lIns="38576" tIns="19289" rIns="38576" bIns="19289" numCol="1" rtlCol="0" anchor="t" anchorCtr="0" compatLnSpc="1">
            <a:prstTxWarp prst="textNoShape">
              <a:avLst/>
            </a:prstTxWarp>
          </a:bodyPr>
          <a:lstStyle/>
          <a:p>
            <a:pPr algn="ctr" defTabSz="385763">
              <a:spcBef>
                <a:spcPct val="20000"/>
              </a:spcBef>
            </a:pPr>
            <a:endParaRPr lang="en-US" sz="760" b="1">
              <a:solidFill>
                <a:prstClr val="black"/>
              </a:solidFill>
              <a:latin typeface="Times New Roman" pitchFamily="18" charset="0"/>
            </a:endParaRPr>
          </a:p>
        </p:txBody>
      </p:sp>
      <p:sp>
        <p:nvSpPr>
          <p:cNvPr id="9" name="Right Arrow 8">
            <a:extLst>
              <a:ext uri="{FF2B5EF4-FFF2-40B4-BE49-F238E27FC236}">
                <a16:creationId xmlns:a16="http://schemas.microsoft.com/office/drawing/2014/main" id="{AE15D3BE-7EBC-C74F-A025-E3E9E614A1C5}"/>
              </a:ext>
            </a:extLst>
          </p:cNvPr>
          <p:cNvSpPr/>
          <p:nvPr/>
        </p:nvSpPr>
        <p:spPr bwMode="auto">
          <a:xfrm>
            <a:off x="3620171" y="1982732"/>
            <a:ext cx="1726801" cy="795145"/>
          </a:xfrm>
          <a:prstGeom prst="rightArrow">
            <a:avLst/>
          </a:prstGeom>
          <a:solidFill>
            <a:schemeClr val="accent2"/>
          </a:solidFill>
          <a:ln w="9525" cap="flat" cmpd="sng" algn="ctr">
            <a:noFill/>
            <a:prstDash val="solid"/>
            <a:round/>
            <a:headEnd type="none" w="med" len="med"/>
            <a:tailEnd type="none" w="med" len="med"/>
          </a:ln>
          <a:effectLst/>
        </p:spPr>
        <p:txBody>
          <a:bodyPr vert="horz" wrap="square" lIns="38576" tIns="19289" rIns="38576" bIns="19289" numCol="1" rtlCol="0" anchor="t" anchorCtr="0" compatLnSpc="1">
            <a:prstTxWarp prst="textNoShape">
              <a:avLst/>
            </a:prstTxWarp>
          </a:bodyPr>
          <a:lstStyle/>
          <a:p>
            <a:pPr algn="ctr" defTabSz="385763">
              <a:spcBef>
                <a:spcPct val="20000"/>
              </a:spcBef>
            </a:pPr>
            <a:endParaRPr lang="en-US" sz="760" b="1">
              <a:solidFill>
                <a:prstClr val="black"/>
              </a:solidFill>
              <a:latin typeface="Times New Roman" pitchFamily="18" charset="0"/>
            </a:endParaRPr>
          </a:p>
        </p:txBody>
      </p:sp>
      <p:sp>
        <p:nvSpPr>
          <p:cNvPr id="10" name="TextBox 9">
            <a:extLst>
              <a:ext uri="{FF2B5EF4-FFF2-40B4-BE49-F238E27FC236}">
                <a16:creationId xmlns:a16="http://schemas.microsoft.com/office/drawing/2014/main" id="{E6C4E27A-BE5C-954F-8583-DB686D2D7C18}"/>
              </a:ext>
            </a:extLst>
          </p:cNvPr>
          <p:cNvSpPr txBox="1"/>
          <p:nvPr/>
        </p:nvSpPr>
        <p:spPr>
          <a:xfrm>
            <a:off x="3797030" y="2230830"/>
            <a:ext cx="1092847" cy="323165"/>
          </a:xfrm>
          <a:prstGeom prst="rect">
            <a:avLst/>
          </a:prstGeom>
          <a:noFill/>
        </p:spPr>
        <p:txBody>
          <a:bodyPr wrap="square" rtlCol="0">
            <a:spAutoFit/>
          </a:bodyPr>
          <a:lstStyle/>
          <a:p>
            <a:pPr algn="ctr" defTabSz="685800"/>
            <a:r>
              <a:rPr lang="en-US" sz="1500">
                <a:solidFill>
                  <a:prstClr val="white"/>
                </a:solidFill>
                <a:latin typeface="Calibri" panose="020F0502020204030204"/>
              </a:rPr>
              <a:t>2020–2030</a:t>
            </a:r>
          </a:p>
        </p:txBody>
      </p:sp>
      <p:sp>
        <p:nvSpPr>
          <p:cNvPr id="2" name="Title 1"/>
          <p:cNvSpPr>
            <a:spLocks noGrp="1"/>
          </p:cNvSpPr>
          <p:nvPr>
            <p:ph type="title"/>
          </p:nvPr>
        </p:nvSpPr>
        <p:spPr>
          <a:xfrm rot="20851258">
            <a:off x="3849228" y="3008644"/>
            <a:ext cx="1761790" cy="804995"/>
          </a:xfrm>
        </p:spPr>
        <p:txBody>
          <a:bodyPr>
            <a:normAutofit/>
          </a:bodyPr>
          <a:lstStyle/>
          <a:p>
            <a:r>
              <a:rPr lang="en-US" sz="3000" noProof="0"/>
              <a:t>Merci!</a:t>
            </a:r>
          </a:p>
        </p:txBody>
      </p:sp>
    </p:spTree>
    <p:extLst>
      <p:ext uri="{BB962C8B-B14F-4D97-AF65-F5344CB8AC3E}">
        <p14:creationId xmlns:p14="http://schemas.microsoft.com/office/powerpoint/2010/main" val="330753386"/>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871EA-1F01-48C4-B482-CB79F20CA107}"/>
              </a:ext>
            </a:extLst>
          </p:cNvPr>
          <p:cNvSpPr>
            <a:spLocks noGrp="1"/>
          </p:cNvSpPr>
          <p:nvPr>
            <p:ph type="ctrTitle"/>
          </p:nvPr>
        </p:nvSpPr>
        <p:spPr>
          <a:xfrm>
            <a:off x="4271601" y="1282044"/>
            <a:ext cx="4534294" cy="1548390"/>
          </a:xfrm>
        </p:spPr>
        <p:txBody>
          <a:bodyPr>
            <a:normAutofit/>
          </a:bodyPr>
          <a:lstStyle/>
          <a:p>
            <a:r>
              <a:rPr lang="en-US" sz="3200" noProof="0"/>
              <a:t>Discussion</a:t>
            </a:r>
          </a:p>
        </p:txBody>
      </p:sp>
    </p:spTree>
    <p:extLst>
      <p:ext uri="{BB962C8B-B14F-4D97-AF65-F5344CB8AC3E}">
        <p14:creationId xmlns:p14="http://schemas.microsoft.com/office/powerpoint/2010/main" val="3939590631"/>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a:xfrm>
            <a:off x="4285365" y="1267296"/>
            <a:ext cx="4534294" cy="1548390"/>
          </a:xfrm>
        </p:spPr>
        <p:txBody>
          <a:bodyPr>
            <a:normAutofit fontScale="90000"/>
          </a:bodyPr>
          <a:lstStyle/>
          <a:p>
            <a:pPr marL="0" marR="0" algn="l">
              <a:lnSpc>
                <a:spcPct val="100000"/>
              </a:lnSpc>
              <a:spcBef>
                <a:spcPts val="0"/>
              </a:spcBef>
              <a:spcAft>
                <a:spcPts val="0"/>
              </a:spcAft>
            </a:pPr>
            <a:r>
              <a:rPr lang="en-US" sz="2800" b="1" u="none" kern="1200" noProof="0">
                <a:effectLst/>
                <a:latin typeface="Arial" panose="020B0604020202020204" pitchFamily="34" charset="0"/>
                <a:cs typeface="Arial" panose="020B0604020202020204" pitchFamily="34" charset="0"/>
              </a:rPr>
              <a:t>Frontline Therapy for Newly Diagnosed Transplant-Ineligible Patients</a:t>
            </a:r>
            <a:endParaRPr lang="en-US" sz="2800" b="1" u="none" noProof="0">
              <a:effectLst/>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5B1A592A-AF74-0E4A-BEBF-BA3B930B790E}"/>
              </a:ext>
            </a:extLst>
          </p:cNvPr>
          <p:cNvSpPr>
            <a:spLocks noGrp="1"/>
          </p:cNvSpPr>
          <p:nvPr>
            <p:ph type="subTitle" idx="1"/>
          </p:nvPr>
        </p:nvSpPr>
        <p:spPr>
          <a:xfrm>
            <a:off x="4270617" y="2955244"/>
            <a:ext cx="4534294" cy="1073784"/>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strike="noStrike" kern="1200" noProof="0">
                <a:effectLst/>
                <a:cs typeface="Arial" panose="020B0604020202020204" pitchFamily="34" charset="0"/>
              </a:rPr>
              <a:t>Keith Stewart, MBChB, MBA</a:t>
            </a:r>
          </a:p>
        </p:txBody>
      </p:sp>
      <p:pic>
        <p:nvPicPr>
          <p:cNvPr id="5" name="Picture 4">
            <a:extLst>
              <a:ext uri="{FF2B5EF4-FFF2-40B4-BE49-F238E27FC236}">
                <a16:creationId xmlns:a16="http://schemas.microsoft.com/office/drawing/2014/main" id="{7B19C149-CDC3-46A4-A1C4-C943308B53B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0617" y="3411022"/>
            <a:ext cx="1179576" cy="1179576"/>
          </a:xfrm>
          <a:prstGeom prst="teardrop">
            <a:avLst/>
          </a:prstGeom>
        </p:spPr>
      </p:pic>
    </p:spTree>
    <p:extLst>
      <p:ext uri="{BB962C8B-B14F-4D97-AF65-F5344CB8AC3E}">
        <p14:creationId xmlns:p14="http://schemas.microsoft.com/office/powerpoint/2010/main" val="114430054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DDC1F50-9CCC-2A4D-A83A-50E9708A935F}"/>
              </a:ext>
            </a:extLst>
          </p:cNvPr>
          <p:cNvSpPr>
            <a:spLocks noGrp="1"/>
          </p:cNvSpPr>
          <p:nvPr>
            <p:ph type="subTitle" idx="1"/>
          </p:nvPr>
        </p:nvSpPr>
        <p:spPr>
          <a:xfrm>
            <a:off x="1074987" y="1849865"/>
            <a:ext cx="6858000" cy="1241822"/>
          </a:xfrm>
        </p:spPr>
        <p:txBody>
          <a:bodyPr>
            <a:noAutofit/>
          </a:bodyPr>
          <a:lstStyle/>
          <a:p>
            <a:pPr>
              <a:lnSpc>
                <a:spcPct val="100000"/>
              </a:lnSpc>
              <a:spcBef>
                <a:spcPts val="300"/>
              </a:spcBef>
            </a:pPr>
            <a:r>
              <a:rPr lang="en-US" sz="2700" b="1" kern="0" noProof="0">
                <a:cs typeface="Arial" panose="020B0604020202020204" pitchFamily="34" charset="0"/>
              </a:rPr>
              <a:t>Treatment of Newly Diagnosed </a:t>
            </a:r>
          </a:p>
          <a:p>
            <a:pPr>
              <a:lnSpc>
                <a:spcPct val="100000"/>
              </a:lnSpc>
              <a:spcBef>
                <a:spcPts val="300"/>
              </a:spcBef>
            </a:pPr>
            <a:r>
              <a:rPr lang="en-US" sz="2700" b="1" kern="0" noProof="0">
                <a:cs typeface="Arial" panose="020B0604020202020204" pitchFamily="34" charset="0"/>
              </a:rPr>
              <a:t>Transplant-Ineligible Multiple Myeloma</a:t>
            </a:r>
          </a:p>
        </p:txBody>
      </p:sp>
      <p:sp>
        <p:nvSpPr>
          <p:cNvPr id="4" name="Title 3">
            <a:extLst>
              <a:ext uri="{FF2B5EF4-FFF2-40B4-BE49-F238E27FC236}">
                <a16:creationId xmlns:a16="http://schemas.microsoft.com/office/drawing/2014/main" id="{C8190AEC-096E-C445-9979-718DD88431B3}"/>
              </a:ext>
            </a:extLst>
          </p:cNvPr>
          <p:cNvSpPr>
            <a:spLocks noGrp="1"/>
          </p:cNvSpPr>
          <p:nvPr>
            <p:ph type="ctrTitle"/>
          </p:nvPr>
        </p:nvSpPr>
        <p:spPr>
          <a:xfrm>
            <a:off x="1143000" y="2984677"/>
            <a:ext cx="6858000" cy="1255728"/>
          </a:xfrm>
          <a:prstGeom prst="rect">
            <a:avLst/>
          </a:prstGeom>
        </p:spPr>
        <p:txBody>
          <a:bodyPr>
            <a:spAutoFit/>
          </a:bodyPr>
          <a:lstStyle/>
          <a:p>
            <a:pPr algn="ctr"/>
            <a:r>
              <a:rPr lang="en-US" altLang="en-US" sz="2100" b="1" noProof="0">
                <a:latin typeface="+mn-lt"/>
                <a:ea typeface="Arial" charset="0"/>
                <a:cs typeface="Arial" charset="0"/>
              </a:rPr>
              <a:t>Keith Stewart, MBChB, MBA</a:t>
            </a:r>
            <a:r>
              <a:rPr lang="en-US" sz="2100" noProof="0">
                <a:latin typeface="+mn-lt"/>
                <a:ea typeface="Arial" charset="0"/>
                <a:cs typeface="Arial" charset="0"/>
              </a:rPr>
              <a:t> </a:t>
            </a:r>
            <a:br>
              <a:rPr lang="en-US" sz="2100" noProof="0">
                <a:latin typeface="+mn-lt"/>
                <a:ea typeface="Arial" charset="0"/>
                <a:cs typeface="Arial" charset="0"/>
              </a:rPr>
            </a:br>
            <a:r>
              <a:rPr lang="en-US" sz="2100" noProof="0">
                <a:latin typeface="+mn-lt"/>
                <a:ea typeface="Arial" charset="0"/>
                <a:cs typeface="Arial" charset="0"/>
              </a:rPr>
              <a:t>Professor of Medicine </a:t>
            </a:r>
          </a:p>
          <a:p>
            <a:pPr algn="ctr"/>
            <a:r>
              <a:rPr lang="en-US" sz="2100" noProof="0">
                <a:latin typeface="+mn-lt"/>
                <a:ea typeface="Arial" charset="0"/>
                <a:cs typeface="Arial" charset="0"/>
              </a:rPr>
              <a:t>Director, Princess Margaret Cancer Centre</a:t>
            </a:r>
            <a:br>
              <a:rPr lang="en-US" sz="2100" noProof="0">
                <a:latin typeface="+mn-lt"/>
                <a:ea typeface="Arial" charset="0"/>
                <a:cs typeface="Arial" charset="0"/>
              </a:rPr>
            </a:br>
            <a:r>
              <a:rPr lang="en-US" sz="2100" noProof="0">
                <a:latin typeface="+mn-lt"/>
                <a:ea typeface="Arial" charset="0"/>
                <a:cs typeface="Arial" charset="0"/>
              </a:rPr>
              <a:t>Toronto</a:t>
            </a:r>
          </a:p>
        </p:txBody>
      </p:sp>
      <p:pic>
        <p:nvPicPr>
          <p:cNvPr id="5" name="Picture 2"/>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27385"/>
            <a:ext cx="9144000" cy="16707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473842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ADA19-EB80-4EA8-B7EC-A74727A69A40}"/>
              </a:ext>
            </a:extLst>
          </p:cNvPr>
          <p:cNvSpPr>
            <a:spLocks noGrp="1"/>
          </p:cNvSpPr>
          <p:nvPr>
            <p:ph type="title"/>
          </p:nvPr>
        </p:nvSpPr>
        <p:spPr>
          <a:xfrm>
            <a:off x="830447" y="103027"/>
            <a:ext cx="7886700" cy="994172"/>
          </a:xfrm>
        </p:spPr>
        <p:txBody>
          <a:bodyPr anchor="t"/>
          <a:lstStyle/>
          <a:p>
            <a:r>
              <a:rPr lang="en-US" sz="3000" b="1" noProof="0">
                <a:solidFill>
                  <a:srgbClr val="000090"/>
                </a:solidFill>
                <a:ea typeface="Calibri" panose="020F0502020204030204" pitchFamily="34" charset="0"/>
              </a:rPr>
              <a:t>Which of the following has not shown significant improvement in PFS?</a:t>
            </a:r>
            <a:endParaRPr lang="en-US" sz="6000" b="1" noProof="0">
              <a:solidFill>
                <a:srgbClr val="000090"/>
              </a:solidFill>
            </a:endParaRPr>
          </a:p>
        </p:txBody>
      </p:sp>
      <p:sp>
        <p:nvSpPr>
          <p:cNvPr id="3" name="Content Placeholder 2">
            <a:extLst>
              <a:ext uri="{FF2B5EF4-FFF2-40B4-BE49-F238E27FC236}">
                <a16:creationId xmlns:a16="http://schemas.microsoft.com/office/drawing/2014/main" id="{16390E17-2034-4BA2-B51A-23AAD30CBCE6}"/>
              </a:ext>
            </a:extLst>
          </p:cNvPr>
          <p:cNvSpPr>
            <a:spLocks noGrp="1"/>
          </p:cNvSpPr>
          <p:nvPr>
            <p:ph idx="1"/>
          </p:nvPr>
        </p:nvSpPr>
        <p:spPr/>
        <p:txBody>
          <a:bodyPr vert="horz" lIns="91440" tIns="45720" rIns="91440" bIns="45720" rtlCol="0" anchor="t">
            <a:normAutofit/>
          </a:bodyPr>
          <a:lstStyle/>
          <a:p>
            <a:pPr marL="342900" indent="-342900">
              <a:lnSpc>
                <a:spcPct val="150000"/>
              </a:lnSpc>
              <a:spcBef>
                <a:spcPts val="600"/>
              </a:spcBef>
              <a:buClr>
                <a:schemeClr val="accent1"/>
              </a:buClr>
              <a:buFont typeface="+mj-lt"/>
              <a:buAutoNum type="arabicPeriod"/>
            </a:pPr>
            <a:r>
              <a:rPr lang="en-US" sz="2000" noProof="0">
                <a:solidFill>
                  <a:schemeClr val="tx1">
                    <a:lumMod val="85000"/>
                    <a:lumOff val="15000"/>
                  </a:schemeClr>
                </a:solidFill>
                <a:latin typeface="Arial"/>
                <a:cs typeface="Arial"/>
              </a:rPr>
              <a:t>VRd vs Rd</a:t>
            </a:r>
          </a:p>
          <a:p>
            <a:pPr marL="342900" indent="-342900">
              <a:lnSpc>
                <a:spcPct val="150000"/>
              </a:lnSpc>
              <a:spcBef>
                <a:spcPts val="600"/>
              </a:spcBef>
              <a:buClr>
                <a:schemeClr val="accent1"/>
              </a:buClr>
              <a:buFont typeface="+mj-lt"/>
              <a:buAutoNum type="arabicPeriod"/>
            </a:pPr>
            <a:r>
              <a:rPr lang="en-US" sz="2000" noProof="0">
                <a:solidFill>
                  <a:schemeClr val="tx1">
                    <a:lumMod val="85000"/>
                    <a:lumOff val="15000"/>
                  </a:schemeClr>
                </a:solidFill>
                <a:latin typeface="Arial"/>
                <a:cs typeface="Arial"/>
              </a:rPr>
              <a:t>IRd vs Rd</a:t>
            </a:r>
          </a:p>
          <a:p>
            <a:pPr marL="342900" indent="-342900">
              <a:lnSpc>
                <a:spcPct val="150000"/>
              </a:lnSpc>
              <a:spcBef>
                <a:spcPts val="600"/>
              </a:spcBef>
              <a:buClr>
                <a:schemeClr val="accent1"/>
              </a:buClr>
              <a:buFont typeface="+mj-lt"/>
              <a:buAutoNum type="arabicPeriod"/>
            </a:pPr>
            <a:r>
              <a:rPr lang="en-US" sz="2000" noProof="0">
                <a:solidFill>
                  <a:schemeClr val="tx1">
                    <a:lumMod val="85000"/>
                    <a:lumOff val="15000"/>
                  </a:schemeClr>
                </a:solidFill>
                <a:latin typeface="Arial"/>
                <a:cs typeface="Arial"/>
              </a:rPr>
              <a:t>Dara-Rd vs Rd</a:t>
            </a:r>
          </a:p>
          <a:p>
            <a:pPr marL="342900" indent="-342900">
              <a:lnSpc>
                <a:spcPct val="150000"/>
              </a:lnSpc>
              <a:spcBef>
                <a:spcPts val="600"/>
              </a:spcBef>
              <a:buClr>
                <a:schemeClr val="accent1"/>
              </a:buClr>
              <a:buFont typeface="+mj-lt"/>
              <a:buAutoNum type="arabicPeriod"/>
            </a:pPr>
            <a:r>
              <a:rPr lang="en-US" sz="2000" noProof="0">
                <a:solidFill>
                  <a:schemeClr val="tx1">
                    <a:lumMod val="85000"/>
                    <a:lumOff val="15000"/>
                  </a:schemeClr>
                </a:solidFill>
                <a:latin typeface="Arial"/>
                <a:cs typeface="Arial"/>
              </a:rPr>
              <a:t>VMP-Dara vs VMP</a:t>
            </a:r>
          </a:p>
          <a:p>
            <a:pPr marL="342900" indent="-342900">
              <a:lnSpc>
                <a:spcPct val="150000"/>
              </a:lnSpc>
              <a:spcBef>
                <a:spcPts val="600"/>
              </a:spcBef>
              <a:buClr>
                <a:schemeClr val="accent1"/>
              </a:buClr>
              <a:buFont typeface="+mj-lt"/>
              <a:buAutoNum type="arabicPeriod"/>
            </a:pPr>
            <a:r>
              <a:rPr lang="en-US" sz="2000" noProof="0">
                <a:solidFill>
                  <a:schemeClr val="tx1">
                    <a:lumMod val="85000"/>
                    <a:lumOff val="15000"/>
                  </a:schemeClr>
                </a:solidFill>
                <a:latin typeface="Arial"/>
                <a:cs typeface="Arial"/>
              </a:rPr>
              <a:t>Rd vs MPR</a:t>
            </a:r>
          </a:p>
          <a:p>
            <a:pPr marL="0" indent="0">
              <a:lnSpc>
                <a:spcPct val="100000"/>
              </a:lnSpc>
              <a:spcBef>
                <a:spcPts val="1800"/>
              </a:spcBef>
              <a:buNone/>
            </a:pPr>
            <a:endParaRPr lang="en-US" sz="1500" noProof="0"/>
          </a:p>
        </p:txBody>
      </p:sp>
      <p:grpSp>
        <p:nvGrpSpPr>
          <p:cNvPr id="7" name="Group 6">
            <a:extLst>
              <a:ext uri="{FF2B5EF4-FFF2-40B4-BE49-F238E27FC236}">
                <a16:creationId xmlns:a16="http://schemas.microsoft.com/office/drawing/2014/main" id="{7DB33584-2C9E-42E6-A754-820E49DB39A7}"/>
              </a:ext>
            </a:extLst>
          </p:cNvPr>
          <p:cNvGrpSpPr/>
          <p:nvPr/>
        </p:nvGrpSpPr>
        <p:grpSpPr>
          <a:xfrm>
            <a:off x="61472" y="66758"/>
            <a:ext cx="720000" cy="720000"/>
            <a:chOff x="8151603" y="218984"/>
            <a:chExt cx="720000" cy="720000"/>
          </a:xfrm>
        </p:grpSpPr>
        <p:sp>
          <p:nvSpPr>
            <p:cNvPr id="8" name="Teardrop 7">
              <a:extLst>
                <a:ext uri="{FF2B5EF4-FFF2-40B4-BE49-F238E27FC236}">
                  <a16:creationId xmlns:a16="http://schemas.microsoft.com/office/drawing/2014/main" id="{8C12D52F-9F40-463D-802F-C0756B8A0522}"/>
                </a:ext>
              </a:extLst>
            </p:cNvPr>
            <p:cNvSpPr/>
            <p:nvPr/>
          </p:nvSpPr>
          <p:spPr bwMode="auto">
            <a:xfrm rot="5400000">
              <a:off x="8151603" y="218984"/>
              <a:ext cx="720000" cy="720000"/>
            </a:xfrm>
            <a:prstGeom prst="teardrop">
              <a:avLst/>
            </a:prstGeom>
            <a:solidFill>
              <a:srgbClr val="00AAB8"/>
            </a:solidFill>
            <a:ln w="25400" cap="flat" cmpd="sng" algn="ctr">
              <a:solidFill>
                <a:srgbClr val="00AAB8"/>
              </a:solidFill>
              <a:prstDash val="soli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NL" sz="2800" b="1" i="0" u="none" strike="noStrike" kern="0" cap="none" spc="0" normalizeH="0" baseline="0" noProof="0">
                <a:ln>
                  <a:noFill/>
                </a:ln>
                <a:solidFill>
                  <a:srgbClr val="FFFF00"/>
                </a:solidFill>
                <a:effectLst/>
                <a:uLnTx/>
                <a:uFillTx/>
                <a:latin typeface="Arial" pitchFamily="34" charset="0"/>
                <a:ea typeface="+mn-ea"/>
                <a:cs typeface="+mn-cs"/>
              </a:endParaRPr>
            </a:p>
          </p:txBody>
        </p:sp>
        <p:sp>
          <p:nvSpPr>
            <p:cNvPr id="9" name="TextBox 8">
              <a:extLst>
                <a:ext uri="{FF2B5EF4-FFF2-40B4-BE49-F238E27FC236}">
                  <a16:creationId xmlns:a16="http://schemas.microsoft.com/office/drawing/2014/main" id="{00539616-C564-41CD-8180-F496D07AC28C}"/>
                </a:ext>
              </a:extLst>
            </p:cNvPr>
            <p:cNvSpPr txBox="1"/>
            <p:nvPr/>
          </p:nvSpPr>
          <p:spPr>
            <a:xfrm>
              <a:off x="8278208" y="255820"/>
              <a:ext cx="466795" cy="646331"/>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NL" sz="36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83285340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a:extLst>
              <a:ext uri="{FF2B5EF4-FFF2-40B4-BE49-F238E27FC236}">
                <a16:creationId xmlns:a16="http://schemas.microsoft.com/office/drawing/2014/main" id="{A1E7B54E-1F70-42EC-85B9-F5158B1AC561}"/>
              </a:ext>
            </a:extLst>
          </p:cNvPr>
          <p:cNvSpPr>
            <a:spLocks noGrp="1"/>
          </p:cNvSpPr>
          <p:nvPr>
            <p:ph type="title"/>
          </p:nvPr>
        </p:nvSpPr>
        <p:spPr>
          <a:xfrm>
            <a:off x="596504" y="54622"/>
            <a:ext cx="7886700" cy="994172"/>
          </a:xfrm>
        </p:spPr>
        <p:txBody>
          <a:bodyPr/>
          <a:lstStyle/>
          <a:p>
            <a:pPr eaLnBrk="1" hangingPunct="1"/>
            <a:r>
              <a:rPr lang="en-US" altLang="en-US" sz="3000" b="1" noProof="0">
                <a:solidFill>
                  <a:srgbClr val="000090"/>
                </a:solidFill>
                <a:ea typeface="ＭＳ Ｐゴシック" panose="020B0600070205080204" pitchFamily="34" charset="-128"/>
              </a:rPr>
              <a:t>Treatment of Non–Transplant-Eligible Myeloma, Newly Diagnosed</a:t>
            </a:r>
          </a:p>
        </p:txBody>
      </p:sp>
      <p:sp>
        <p:nvSpPr>
          <p:cNvPr id="55299" name="Content Placeholder 2">
            <a:extLst>
              <a:ext uri="{FF2B5EF4-FFF2-40B4-BE49-F238E27FC236}">
                <a16:creationId xmlns:a16="http://schemas.microsoft.com/office/drawing/2014/main" id="{7058E9CA-3FBB-40AB-90C3-CE3BFD51CF70}"/>
              </a:ext>
            </a:extLst>
          </p:cNvPr>
          <p:cNvSpPr>
            <a:spLocks noGrp="1"/>
          </p:cNvSpPr>
          <p:nvPr>
            <p:ph idx="1"/>
          </p:nvPr>
        </p:nvSpPr>
        <p:spPr>
          <a:xfrm>
            <a:off x="604726" y="1114425"/>
            <a:ext cx="7886700" cy="3263504"/>
          </a:xfrm>
        </p:spPr>
        <p:txBody>
          <a:bodyPr/>
          <a:lstStyle/>
          <a:p>
            <a:pPr marL="0" indent="0" eaLnBrk="1" hangingPunct="1">
              <a:buNone/>
            </a:pPr>
            <a:r>
              <a:rPr lang="en-US" altLang="en-US" sz="1950" noProof="0">
                <a:ea typeface="ＭＳ Ｐゴシック" panose="020B0600070205080204" pitchFamily="34" charset="-128"/>
              </a:rPr>
              <a:t>REASONABLE OPTIONS (frailty, comorbidity, availability, geography all considerations)</a:t>
            </a:r>
          </a:p>
          <a:p>
            <a:pPr marL="175022" lvl="1" eaLnBrk="1" hangingPunct="1"/>
            <a:r>
              <a:rPr lang="en-US" altLang="en-US" noProof="0">
                <a:ea typeface="ＭＳ Ｐゴシック" panose="020B0600070205080204" pitchFamily="34" charset="-128"/>
              </a:rPr>
              <a:t>Rd</a:t>
            </a:r>
          </a:p>
          <a:p>
            <a:pPr marL="175022" lvl="1" eaLnBrk="1" hangingPunct="1"/>
            <a:r>
              <a:rPr lang="en-US" altLang="en-US" noProof="0">
                <a:ea typeface="ＭＳ Ｐゴシック" panose="020B0600070205080204" pitchFamily="34" charset="-128"/>
              </a:rPr>
              <a:t>CyBorD</a:t>
            </a:r>
          </a:p>
          <a:p>
            <a:pPr marL="175022" lvl="1" eaLnBrk="1" hangingPunct="1"/>
            <a:r>
              <a:rPr lang="en-US" altLang="en-US" noProof="0">
                <a:ea typeface="ＭＳ Ｐゴシック" panose="020B0600070205080204" pitchFamily="34" charset="-128"/>
              </a:rPr>
              <a:t>RVd</a:t>
            </a:r>
          </a:p>
          <a:p>
            <a:pPr marL="175022" lvl="1" eaLnBrk="1" hangingPunct="1"/>
            <a:r>
              <a:rPr lang="en-US" altLang="en-US" noProof="0">
                <a:ea typeface="ＭＳ Ｐゴシック" panose="020B0600070205080204" pitchFamily="34" charset="-128"/>
              </a:rPr>
              <a:t>RVd-lite</a:t>
            </a:r>
          </a:p>
          <a:p>
            <a:pPr marL="175022" lvl="1" eaLnBrk="1" hangingPunct="1"/>
            <a:r>
              <a:rPr lang="en-US" altLang="en-US" noProof="0">
                <a:ea typeface="ＭＳ Ｐゴシック" panose="020B0600070205080204" pitchFamily="34" charset="-128"/>
              </a:rPr>
              <a:t>Daratumumab, lenalidomide, dexamethasone </a:t>
            </a:r>
          </a:p>
          <a:p>
            <a:pPr marL="175022" lvl="1" eaLnBrk="1" hangingPunct="1"/>
            <a:r>
              <a:rPr lang="en-US" altLang="en-US" noProof="0">
                <a:ea typeface="ＭＳ Ｐゴシック" panose="020B0600070205080204" pitchFamily="34" charset="-128"/>
              </a:rPr>
              <a:t>Daratumumab + VMP </a:t>
            </a:r>
          </a:p>
          <a:p>
            <a:pPr marL="342900" lvl="1" indent="0" eaLnBrk="1" hangingPunct="1">
              <a:buNone/>
            </a:pPr>
            <a:endParaRPr lang="en-US" altLang="en-US" noProof="0">
              <a:ea typeface="ＭＳ Ｐゴシック" panose="020B0600070205080204" pitchFamily="34" charset="-128"/>
            </a:endParaRPr>
          </a:p>
        </p:txBody>
      </p:sp>
    </p:spTree>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l="2200" t="-40458" b="-40458"/>
          <a:stretch/>
        </p:blipFill>
        <p:spPr>
          <a:xfrm>
            <a:off x="384139" y="10920"/>
            <a:ext cx="8375723" cy="4408384"/>
          </a:xfrm>
          <a:prstGeom prst="rect">
            <a:avLst/>
          </a:prstGeom>
        </p:spPr>
      </p:pic>
    </p:spTree>
    <p:extLst>
      <p:ext uri="{BB962C8B-B14F-4D97-AF65-F5344CB8AC3E}">
        <p14:creationId xmlns:p14="http://schemas.microsoft.com/office/powerpoint/2010/main" val="121763013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F923A-BC57-42B0-A492-BD18A2C1C182}"/>
              </a:ext>
            </a:extLst>
          </p:cNvPr>
          <p:cNvSpPr>
            <a:spLocks noGrp="1"/>
          </p:cNvSpPr>
          <p:nvPr>
            <p:ph type="title"/>
          </p:nvPr>
        </p:nvSpPr>
        <p:spPr>
          <a:xfrm>
            <a:off x="612701" y="-15949"/>
            <a:ext cx="7886700" cy="994172"/>
          </a:xfrm>
        </p:spPr>
        <p:txBody>
          <a:bodyPr/>
          <a:lstStyle/>
          <a:p>
            <a:r>
              <a:rPr lang="en-US" sz="3000" b="1" noProof="0">
                <a:solidFill>
                  <a:srgbClr val="000090"/>
                </a:solidFill>
              </a:rPr>
              <a:t>Study Design</a:t>
            </a:r>
            <a:br>
              <a:rPr lang="en-US" b="1" noProof="0">
                <a:solidFill>
                  <a:srgbClr val="000090"/>
                </a:solidFill>
              </a:rPr>
            </a:br>
            <a:r>
              <a:rPr lang="en-US" sz="2100" b="1" noProof="0">
                <a:solidFill>
                  <a:srgbClr val="000090"/>
                </a:solidFill>
              </a:rPr>
              <a:t>Rd vs Rd-R</a:t>
            </a:r>
            <a:endParaRPr lang="en-US" b="1" noProof="0">
              <a:solidFill>
                <a:srgbClr val="000090"/>
              </a:solidFill>
            </a:endParaRPr>
          </a:p>
        </p:txBody>
      </p:sp>
      <p:sp>
        <p:nvSpPr>
          <p:cNvPr id="3" name="TextBox 2">
            <a:extLst>
              <a:ext uri="{FF2B5EF4-FFF2-40B4-BE49-F238E27FC236}">
                <a16:creationId xmlns:a16="http://schemas.microsoft.com/office/drawing/2014/main" id="{D7B7909A-9E1D-47A9-8312-B19199DF97E0}"/>
              </a:ext>
            </a:extLst>
          </p:cNvPr>
          <p:cNvSpPr txBox="1"/>
          <p:nvPr/>
        </p:nvSpPr>
        <p:spPr>
          <a:xfrm rot="16200000">
            <a:off x="321487" y="2554704"/>
            <a:ext cx="2032310" cy="300082"/>
          </a:xfrm>
          <a:prstGeom prst="rect">
            <a:avLst/>
          </a:prstGeom>
          <a:noFill/>
          <a:ln w="28575">
            <a:solidFill>
              <a:schemeClr val="accent1">
                <a:lumMod val="50000"/>
              </a:schemeClr>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a:ea typeface="+mn-ea"/>
                <a:cs typeface="+mn-cs"/>
              </a:rPr>
              <a:t>Randomization</a:t>
            </a:r>
          </a:p>
        </p:txBody>
      </p:sp>
      <p:grpSp>
        <p:nvGrpSpPr>
          <p:cNvPr id="15" name="Group 14">
            <a:extLst>
              <a:ext uri="{FF2B5EF4-FFF2-40B4-BE49-F238E27FC236}">
                <a16:creationId xmlns:a16="http://schemas.microsoft.com/office/drawing/2014/main" id="{E8B86F16-5F60-4484-A8A4-3F0DE4601E09}"/>
              </a:ext>
            </a:extLst>
          </p:cNvPr>
          <p:cNvGrpSpPr/>
          <p:nvPr/>
        </p:nvGrpSpPr>
        <p:grpSpPr>
          <a:xfrm>
            <a:off x="2214209" y="1228600"/>
            <a:ext cx="4836843" cy="1408078"/>
            <a:chOff x="3152076" y="2242063"/>
            <a:chExt cx="6449124" cy="1877437"/>
          </a:xfrm>
        </p:grpSpPr>
        <p:sp>
          <p:nvSpPr>
            <p:cNvPr id="4" name="TextBox 3">
              <a:extLst>
                <a:ext uri="{FF2B5EF4-FFF2-40B4-BE49-F238E27FC236}">
                  <a16:creationId xmlns:a16="http://schemas.microsoft.com/office/drawing/2014/main" id="{9C792DB7-CAD8-43C8-95DA-C70A14C65352}"/>
                </a:ext>
              </a:extLst>
            </p:cNvPr>
            <p:cNvSpPr txBox="1"/>
            <p:nvPr/>
          </p:nvSpPr>
          <p:spPr>
            <a:xfrm>
              <a:off x="3152076" y="2242063"/>
              <a:ext cx="6449124" cy="1877437"/>
            </a:xfrm>
            <a:prstGeom prst="rect">
              <a:avLst/>
            </a:prstGeom>
            <a:noFill/>
            <a:ln w="28575">
              <a:solidFill>
                <a:schemeClr val="accent4"/>
              </a:solidFill>
            </a:ln>
          </p:spPr>
          <p:txBody>
            <a:bodyPr wrap="square" numCol="1"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FFC000"/>
                  </a:solidFill>
                  <a:effectLst/>
                  <a:uLnTx/>
                  <a:uFillTx/>
                  <a:latin typeface="Calibri"/>
                  <a:ea typeface="+mn-ea"/>
                  <a:cs typeface="+mn-cs"/>
                </a:rPr>
                <a:t>Rd-R</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1" u="none" strike="noStrike" kern="1200" cap="none" spc="0" normalizeH="0" baseline="0" noProof="0">
                <a:ln>
                  <a:noFill/>
                </a:ln>
                <a:solidFill>
                  <a:srgbClr val="ED7D31"/>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1" u="none" strike="noStrike" kern="1200" cap="none" spc="0" normalizeH="0" baseline="0" noProof="0">
                <a:ln>
                  <a:noFill/>
                </a:ln>
                <a:solidFill>
                  <a:srgbClr val="ED7D31"/>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1" u="none" strike="noStrike" kern="1200" cap="none" spc="0" normalizeH="0" baseline="0" noProof="0">
                <a:ln>
                  <a:noFill/>
                </a:ln>
                <a:solidFill>
                  <a:srgbClr val="ED7D31"/>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1" u="none" strike="noStrike" kern="1200" cap="none" spc="0" normalizeH="0" baseline="0" noProof="0">
                <a:ln>
                  <a:noFill/>
                </a:ln>
                <a:solidFill>
                  <a:srgbClr val="ED7D31"/>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1" u="none" strike="noStrike" kern="1200" cap="none" spc="0" normalizeH="0" baseline="0" noProof="0">
                <a:ln>
                  <a:noFill/>
                </a:ln>
                <a:solidFill>
                  <a:srgbClr val="ED7D31"/>
                </a:solidFill>
                <a:effectLst/>
                <a:uLnTx/>
                <a:uFillTx/>
                <a:latin typeface="Calibri"/>
                <a:ea typeface="+mn-ea"/>
                <a:cs typeface="+mn-cs"/>
              </a:endParaRPr>
            </a:p>
          </p:txBody>
        </p:sp>
        <p:cxnSp>
          <p:nvCxnSpPr>
            <p:cNvPr id="7" name="Straight Connector 6">
              <a:extLst>
                <a:ext uri="{FF2B5EF4-FFF2-40B4-BE49-F238E27FC236}">
                  <a16:creationId xmlns:a16="http://schemas.microsoft.com/office/drawing/2014/main" id="{6D928BAE-A65A-460E-85C6-ABCA3FE22E4C}"/>
                </a:ext>
              </a:extLst>
            </p:cNvPr>
            <p:cNvCxnSpPr>
              <a:cxnSpLocks/>
            </p:cNvCxnSpPr>
            <p:nvPr/>
          </p:nvCxnSpPr>
          <p:spPr>
            <a:xfrm>
              <a:off x="6389649" y="2695804"/>
              <a:ext cx="0" cy="1218273"/>
            </a:xfrm>
            <a:prstGeom prst="line">
              <a:avLst/>
            </a:prstGeom>
            <a:ln w="28575">
              <a:solidFill>
                <a:schemeClr val="accent4"/>
              </a:solidFill>
            </a:ln>
          </p:spPr>
          <p:style>
            <a:lnRef idx="1">
              <a:schemeClr val="accent2"/>
            </a:lnRef>
            <a:fillRef idx="0">
              <a:schemeClr val="accent2"/>
            </a:fillRef>
            <a:effectRef idx="0">
              <a:schemeClr val="accent2"/>
            </a:effectRef>
            <a:fontRef idx="minor">
              <a:schemeClr val="tx1"/>
            </a:fontRef>
          </p:style>
        </p:cxnSp>
        <p:sp>
          <p:nvSpPr>
            <p:cNvPr id="9" name="TextBox 8">
              <a:extLst>
                <a:ext uri="{FF2B5EF4-FFF2-40B4-BE49-F238E27FC236}">
                  <a16:creationId xmlns:a16="http://schemas.microsoft.com/office/drawing/2014/main" id="{97ABD7DB-6568-4994-8CA2-953631ED0699}"/>
                </a:ext>
              </a:extLst>
            </p:cNvPr>
            <p:cNvSpPr txBox="1"/>
            <p:nvPr/>
          </p:nvSpPr>
          <p:spPr>
            <a:xfrm>
              <a:off x="3381611" y="2686875"/>
              <a:ext cx="2943919" cy="1323438"/>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Calibri"/>
                  <a:ea typeface="+mn-ea"/>
                  <a:cs typeface="+mn-cs"/>
                </a:rPr>
                <a:t>Rd INDUC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1" u="none" strike="noStrike" kern="1200" cap="none" spc="0" normalizeH="0" baseline="0" noProof="0">
                  <a:ln>
                    <a:noFill/>
                  </a:ln>
                  <a:solidFill>
                    <a:prstClr val="black"/>
                  </a:solidFill>
                  <a:effectLst/>
                  <a:uLnTx/>
                  <a:uFillTx/>
                  <a:latin typeface="Calibri"/>
                  <a:ea typeface="+mn-ea"/>
                  <a:cs typeface="+mn-cs"/>
                </a:rPr>
                <a:t>9 cycle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450" b="0" i="1" u="none" strike="noStrike" kern="1200" cap="none" spc="0" normalizeH="0" baseline="0" noProof="0">
                <a:ln>
                  <a:noFill/>
                </a:ln>
                <a:solidFill>
                  <a:prstClr val="black"/>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Calibri"/>
                  <a:ea typeface="+mn-ea"/>
                  <a:cs typeface="+mn-cs"/>
                </a:rPr>
                <a:t>R: 25 mg/day PO days 1-21</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Calibri"/>
                  <a:ea typeface="+mn-ea"/>
                  <a:cs typeface="+mn-cs"/>
                </a:rPr>
                <a:t>d: 20 mg PO once weekly</a:t>
              </a:r>
              <a:endParaRPr kumimoji="0" lang="en-US" sz="1800" b="1" i="0" u="none" strike="noStrike" kern="1200" cap="none" spc="0" normalizeH="0" baseline="0" noProof="0">
                <a:ln>
                  <a:noFill/>
                </a:ln>
                <a:solidFill>
                  <a:prstClr val="black"/>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D9E78838-EBF4-4D8E-974D-73424FAF71A9}"/>
                </a:ext>
              </a:extLst>
            </p:cNvPr>
            <p:cNvSpPr txBox="1"/>
            <p:nvPr/>
          </p:nvSpPr>
          <p:spPr>
            <a:xfrm>
              <a:off x="6534617" y="2681300"/>
              <a:ext cx="2943917" cy="1138773"/>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Calibri"/>
                  <a:ea typeface="+mn-ea"/>
                  <a:cs typeface="+mn-cs"/>
                </a:rPr>
                <a:t>R MAINTENANC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1" u="none" strike="noStrike" kern="1200" cap="none" spc="0" normalizeH="0" baseline="0" noProof="0">
                  <a:ln>
                    <a:noFill/>
                  </a:ln>
                  <a:solidFill>
                    <a:prstClr val="black"/>
                  </a:solidFill>
                  <a:effectLst/>
                  <a:uLnTx/>
                  <a:uFillTx/>
                  <a:latin typeface="Calibri"/>
                  <a:ea typeface="+mn-ea"/>
                  <a:cs typeface="+mn-cs"/>
                </a:rPr>
                <a:t>until PD/intolerance</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a:ln>
                  <a:noFill/>
                </a:ln>
                <a:solidFill>
                  <a:prstClr val="black"/>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Calibri"/>
                  <a:ea typeface="+mn-ea"/>
                  <a:cs typeface="+mn-cs"/>
                </a:rPr>
                <a:t>R: 10 mg/day PO days 1-21</a:t>
              </a:r>
            </a:p>
          </p:txBody>
        </p:sp>
      </p:grpSp>
      <p:sp>
        <p:nvSpPr>
          <p:cNvPr id="13" name="TextBox 12">
            <a:extLst>
              <a:ext uri="{FF2B5EF4-FFF2-40B4-BE49-F238E27FC236}">
                <a16:creationId xmlns:a16="http://schemas.microsoft.com/office/drawing/2014/main" id="{EB5135AD-002F-43AA-BDAA-7B5BCFCDC0E0}"/>
              </a:ext>
            </a:extLst>
          </p:cNvPr>
          <p:cNvSpPr txBox="1"/>
          <p:nvPr/>
        </p:nvSpPr>
        <p:spPr>
          <a:xfrm>
            <a:off x="2223967" y="2792206"/>
            <a:ext cx="4836843" cy="1408078"/>
          </a:xfrm>
          <a:prstGeom prst="rect">
            <a:avLst/>
          </a:prstGeom>
          <a:noFill/>
          <a:ln w="28575">
            <a:solidFill>
              <a:schemeClr val="accent5"/>
            </a:solidFill>
          </a:ln>
        </p:spPr>
        <p:txBody>
          <a:bodyPr wrap="square" numCol="1"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5B9BD5"/>
                </a:solidFill>
                <a:effectLst/>
                <a:uLnTx/>
                <a:uFillTx/>
                <a:latin typeface="Calibri"/>
                <a:ea typeface="+mn-ea"/>
                <a:cs typeface="+mn-cs"/>
              </a:rPr>
              <a:t>Rd</a:t>
            </a:r>
            <a:r>
              <a:rPr kumimoji="0" lang="en-US" sz="1800" b="1" i="1" u="none" strike="noStrike" kern="1200" cap="none" spc="0" normalizeH="0" baseline="30000" noProof="0">
                <a:ln>
                  <a:noFill/>
                </a:ln>
                <a:solidFill>
                  <a:srgbClr val="5B9BD5"/>
                </a:solidFill>
                <a:effectLst/>
                <a:uLnTx/>
                <a:uFillTx/>
                <a:latin typeface="Calibri"/>
                <a:ea typeface="+mn-ea"/>
                <a:cs typeface="+mn-cs"/>
              </a:rPr>
              <a:t>a</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1" i="1" u="none" strike="noStrike" kern="1200" cap="none" spc="0" normalizeH="0" baseline="0" noProof="0">
              <a:ln>
                <a:noFill/>
              </a:ln>
              <a:solidFill>
                <a:srgbClr val="ED7D31"/>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Calibri"/>
                <a:ea typeface="+mn-ea"/>
                <a:cs typeface="+mn-cs"/>
              </a:rPr>
              <a:t>CONTINUOUS R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1" u="none" strike="noStrike" kern="1200" cap="none" spc="0" normalizeH="0" baseline="0" noProof="0">
                <a:ln>
                  <a:noFill/>
                </a:ln>
                <a:solidFill>
                  <a:prstClr val="black"/>
                </a:solidFill>
                <a:effectLst/>
                <a:uLnTx/>
                <a:uFillTx/>
                <a:latin typeface="Calibri"/>
                <a:ea typeface="+mn-ea"/>
                <a:cs typeface="+mn-cs"/>
              </a:rPr>
              <a:t>Until PD/intolerance</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450" b="1" i="1" u="none" strike="noStrike" kern="1200" cap="none" spc="0" normalizeH="0" baseline="0" noProof="0">
              <a:ln>
                <a:noFill/>
              </a:ln>
              <a:solidFill>
                <a:srgbClr val="ED7D31"/>
              </a:solidFill>
              <a:effectLst/>
              <a:uLnTx/>
              <a:uFillTx/>
              <a:latin typeface="Calibri"/>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Calibri"/>
                <a:ea typeface="+mn-ea"/>
                <a:cs typeface="+mn-cs"/>
              </a:rPr>
              <a:t>R: 25 mg/day PO days 1-21</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Calibri"/>
                <a:ea typeface="+mn-ea"/>
                <a:cs typeface="+mn-cs"/>
              </a:rPr>
              <a:t>d: 20 mg PO once weekly</a:t>
            </a:r>
            <a:endParaRPr kumimoji="0" lang="en-US" sz="1800" b="1" i="0" u="none" strike="noStrike" kern="1200" cap="none" spc="0" normalizeH="0" baseline="0" noProof="0">
              <a:ln>
                <a:noFill/>
              </a:ln>
              <a:solidFill>
                <a:prstClr val="black"/>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90593500-5B72-4CED-8FBF-2945ACB23754}"/>
              </a:ext>
            </a:extLst>
          </p:cNvPr>
          <p:cNvSpPr txBox="1"/>
          <p:nvPr/>
        </p:nvSpPr>
        <p:spPr>
          <a:xfrm>
            <a:off x="1476141" y="853989"/>
            <a:ext cx="6498374" cy="3231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black"/>
                </a:solidFill>
                <a:effectLst/>
                <a:uLnTx/>
                <a:uFillTx/>
                <a:latin typeface="Calibri"/>
                <a:ea typeface="+mn-ea"/>
                <a:cs typeface="+mn-cs"/>
              </a:rPr>
              <a:t>199 intermediate-fit </a:t>
            </a:r>
            <a:r>
              <a:rPr kumimoji="0" lang="en-US" sz="1500" b="0" i="0" u="none" strike="noStrike" kern="1200" cap="none" spc="0" normalizeH="0" baseline="0" noProof="0">
                <a:ln>
                  <a:noFill/>
                </a:ln>
                <a:solidFill>
                  <a:prstClr val="black"/>
                </a:solidFill>
                <a:effectLst/>
                <a:uLnTx/>
                <a:uFillTx/>
                <a:latin typeface="Calibri"/>
                <a:ea typeface="+mn-ea"/>
                <a:cs typeface="+mn-cs"/>
              </a:rPr>
              <a:t>patients have been enrolled and could be evaluated</a:t>
            </a:r>
            <a:r>
              <a:rPr kumimoji="0" lang="en-US" sz="1500" b="0" i="0" u="none" strike="noStrike" kern="1200" cap="none" spc="0" normalizeH="0" baseline="30000" noProof="0">
                <a:ln>
                  <a:noFill/>
                </a:ln>
                <a:solidFill>
                  <a:prstClr val="black"/>
                </a:solidFill>
                <a:effectLst/>
                <a:uLnTx/>
                <a:uFillTx/>
                <a:latin typeface="Calibri"/>
                <a:ea typeface="+mn-ea"/>
                <a:cs typeface="+mn-cs"/>
              </a:rPr>
              <a:t>1</a:t>
            </a:r>
          </a:p>
        </p:txBody>
      </p:sp>
      <p:sp>
        <p:nvSpPr>
          <p:cNvPr id="16" name="TextBox 15">
            <a:extLst>
              <a:ext uri="{FF2B5EF4-FFF2-40B4-BE49-F238E27FC236}">
                <a16:creationId xmlns:a16="http://schemas.microsoft.com/office/drawing/2014/main" id="{1A98694F-0260-4491-B5D3-89F4F4CE44C3}"/>
              </a:ext>
            </a:extLst>
          </p:cNvPr>
          <p:cNvSpPr txBox="1"/>
          <p:nvPr/>
        </p:nvSpPr>
        <p:spPr>
          <a:xfrm>
            <a:off x="420957" y="4344796"/>
            <a:ext cx="8608742" cy="27699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solidFill>
                  <a:prstClr val="black"/>
                </a:solidFill>
                <a:effectLst/>
                <a:uLnTx/>
                <a:uFillTx/>
                <a:latin typeface="Calibri"/>
                <a:ea typeface="+mn-ea"/>
                <a:cs typeface="+mn-cs"/>
              </a:rPr>
              <a:t>a</a:t>
            </a:r>
            <a:r>
              <a:rPr kumimoji="0" lang="en-US" sz="1200" b="0" i="0" u="none" strike="noStrike" kern="1200" cap="none" spc="0" normalizeH="0" baseline="0" noProof="0">
                <a:ln>
                  <a:noFill/>
                </a:ln>
                <a:solidFill>
                  <a:prstClr val="black"/>
                </a:solidFill>
                <a:effectLst/>
                <a:uLnTx/>
                <a:uFillTx/>
                <a:latin typeface="Calibri"/>
                <a:ea typeface="+mn-ea"/>
                <a:cs typeface="+mn-cs"/>
              </a:rPr>
              <a:t>The dose and schedule of continuous Rd was the one adopted in patients &gt;75 years in the FIRST trial.</a:t>
            </a:r>
            <a:r>
              <a:rPr kumimoji="0" lang="en-US" sz="1200" b="0" i="0" u="none" strike="noStrike" kern="1200" cap="none" spc="0" normalizeH="0" baseline="30000" noProof="0">
                <a:ln>
                  <a:noFill/>
                </a:ln>
                <a:solidFill>
                  <a:prstClr val="black"/>
                </a:solidFill>
                <a:effectLst/>
                <a:uLnTx/>
                <a:uFillTx/>
                <a:latin typeface="Calibri"/>
                <a:ea typeface="+mn-ea"/>
                <a:cs typeface="+mn-cs"/>
              </a:rPr>
              <a:t>2</a:t>
            </a:r>
            <a:endParaRPr kumimoji="0" lang="en-US" sz="1500" b="0" i="0" u="none" strike="noStrike" kern="1200" cap="none" spc="0" normalizeH="0" baseline="30000" noProof="0">
              <a:ln>
                <a:noFill/>
              </a:ln>
              <a:solidFill>
                <a:prstClr val="black"/>
              </a:solidFill>
              <a:effectLst/>
              <a:uLnTx/>
              <a:uFillTx/>
              <a:latin typeface="Calibri"/>
              <a:ea typeface="+mn-ea"/>
              <a:cs typeface="+mn-cs"/>
            </a:endParaRPr>
          </a:p>
        </p:txBody>
      </p:sp>
      <p:cxnSp>
        <p:nvCxnSpPr>
          <p:cNvPr id="18" name="Straight Arrow Connector 17">
            <a:extLst>
              <a:ext uri="{FF2B5EF4-FFF2-40B4-BE49-F238E27FC236}">
                <a16:creationId xmlns:a16="http://schemas.microsoft.com/office/drawing/2014/main" id="{7E64A50C-488E-439C-A51B-D501433808DE}"/>
              </a:ext>
            </a:extLst>
          </p:cNvPr>
          <p:cNvCxnSpPr>
            <a:stCxn id="3" idx="2"/>
            <a:endCxn id="4" idx="1"/>
          </p:cNvCxnSpPr>
          <p:nvPr/>
        </p:nvCxnSpPr>
        <p:spPr>
          <a:xfrm flipV="1">
            <a:off x="1487683" y="1932639"/>
            <a:ext cx="726526" cy="772106"/>
          </a:xfrm>
          <a:prstGeom prst="straightConnector1">
            <a:avLst/>
          </a:prstGeom>
          <a:ln w="19050">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75714F0D-D441-436D-A729-A5DFE609A316}"/>
              </a:ext>
            </a:extLst>
          </p:cNvPr>
          <p:cNvCxnSpPr>
            <a:stCxn id="3" idx="2"/>
            <a:endCxn id="13" idx="1"/>
          </p:cNvCxnSpPr>
          <p:nvPr/>
        </p:nvCxnSpPr>
        <p:spPr>
          <a:xfrm>
            <a:off x="1487683" y="2704745"/>
            <a:ext cx="736284" cy="791500"/>
          </a:xfrm>
          <a:prstGeom prst="straightConnector1">
            <a:avLst/>
          </a:prstGeom>
          <a:ln w="19050">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2D6AAC5D-D34C-4C74-A435-1FF0E789461D}"/>
              </a:ext>
            </a:extLst>
          </p:cNvPr>
          <p:cNvSpPr txBox="1"/>
          <p:nvPr/>
        </p:nvSpPr>
        <p:spPr>
          <a:xfrm>
            <a:off x="0" y="4773438"/>
            <a:ext cx="9144000" cy="369332"/>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R, lenalidomide; d, dexamethasone; PO, orally; PD, progressive diseas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1. Larocca A, et al. </a:t>
            </a:r>
            <a:r>
              <a:rPr kumimoji="0" lang="en-US" sz="900" b="0" i="1" u="none" strike="noStrike" kern="1200" cap="none" spc="0" normalizeH="0" baseline="0" noProof="0">
                <a:ln>
                  <a:noFill/>
                </a:ln>
                <a:solidFill>
                  <a:prstClr val="black"/>
                </a:solidFill>
                <a:effectLst/>
                <a:uLnTx/>
                <a:uFillTx/>
                <a:latin typeface="Calibri"/>
                <a:ea typeface="+mn-ea"/>
                <a:cs typeface="+mn-cs"/>
              </a:rPr>
              <a:t>Blood. </a:t>
            </a:r>
            <a:r>
              <a:rPr kumimoji="0" lang="en-US" sz="900" b="0" i="0" u="none" strike="noStrike" kern="1200" cap="none" spc="0" normalizeH="0" baseline="0" noProof="0">
                <a:ln>
                  <a:noFill/>
                </a:ln>
                <a:solidFill>
                  <a:prstClr val="black"/>
                </a:solidFill>
                <a:effectLst/>
                <a:uLnTx/>
                <a:uFillTx/>
                <a:latin typeface="Calibri"/>
                <a:ea typeface="+mn-ea"/>
                <a:cs typeface="+mn-cs"/>
              </a:rPr>
              <a:t>2021; 137(22):3027-3036; 2. Hulin C, et al. </a:t>
            </a:r>
            <a:r>
              <a:rPr kumimoji="0" lang="en-US" sz="900" b="0" i="1" u="none" strike="noStrike" kern="1200" cap="none" spc="0" normalizeH="0" baseline="0" noProof="0">
                <a:ln>
                  <a:noFill/>
                </a:ln>
                <a:solidFill>
                  <a:prstClr val="black"/>
                </a:solidFill>
                <a:effectLst/>
                <a:uLnTx/>
                <a:uFillTx/>
                <a:latin typeface="Calibri"/>
                <a:ea typeface="+mn-ea"/>
                <a:cs typeface="+mn-cs"/>
              </a:rPr>
              <a:t>J Clin Oncol. </a:t>
            </a:r>
            <a:r>
              <a:rPr kumimoji="0" lang="en-US" sz="900" b="0" i="0" u="none" strike="noStrike" kern="1200" cap="none" spc="0" normalizeH="0" baseline="0" noProof="0">
                <a:ln>
                  <a:noFill/>
                </a:ln>
                <a:solidFill>
                  <a:prstClr val="black"/>
                </a:solidFill>
                <a:effectLst/>
                <a:uLnTx/>
                <a:uFillTx/>
                <a:latin typeface="Calibri"/>
                <a:ea typeface="+mn-ea"/>
                <a:cs typeface="+mn-cs"/>
              </a:rPr>
              <a:t>2016;34(30):3609-3617.</a:t>
            </a:r>
          </a:p>
        </p:txBody>
      </p:sp>
    </p:spTree>
    <p:extLst>
      <p:ext uri="{BB962C8B-B14F-4D97-AF65-F5344CB8AC3E}">
        <p14:creationId xmlns:p14="http://schemas.microsoft.com/office/powerpoint/2010/main" val="359293335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356A5CC-6DBE-4936-8A25-609C197C9FA5}"/>
              </a:ext>
            </a:extLst>
          </p:cNvPr>
          <p:cNvSpPr/>
          <p:nvPr/>
        </p:nvSpPr>
        <p:spPr>
          <a:xfrm>
            <a:off x="4806176" y="1195464"/>
            <a:ext cx="4080418" cy="345963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C8C2198E-65FC-490C-9BFF-B0211B81C4CC}"/>
              </a:ext>
            </a:extLst>
          </p:cNvPr>
          <p:cNvSpPr/>
          <p:nvPr/>
        </p:nvSpPr>
        <p:spPr>
          <a:xfrm>
            <a:off x="259266" y="1181475"/>
            <a:ext cx="4080418" cy="345963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AF8F160B-29A7-436A-81E7-2AC6A35F1F12}"/>
              </a:ext>
            </a:extLst>
          </p:cNvPr>
          <p:cNvSpPr>
            <a:spLocks noGrp="1"/>
          </p:cNvSpPr>
          <p:nvPr>
            <p:ph type="title"/>
          </p:nvPr>
        </p:nvSpPr>
        <p:spPr>
          <a:xfrm>
            <a:off x="604726" y="96941"/>
            <a:ext cx="7886700" cy="917648"/>
          </a:xfrm>
        </p:spPr>
        <p:txBody>
          <a:bodyPr anchor="t"/>
          <a:lstStyle/>
          <a:p>
            <a:r>
              <a:rPr lang="en-US" sz="3000" b="1" noProof="0">
                <a:solidFill>
                  <a:srgbClr val="000090"/>
                </a:solidFill>
              </a:rPr>
              <a:t>Rd vs Rd-R: PFS and OS</a:t>
            </a:r>
          </a:p>
        </p:txBody>
      </p:sp>
      <p:sp>
        <p:nvSpPr>
          <p:cNvPr id="3" name="TextBox 2">
            <a:extLst>
              <a:ext uri="{FF2B5EF4-FFF2-40B4-BE49-F238E27FC236}">
                <a16:creationId xmlns:a16="http://schemas.microsoft.com/office/drawing/2014/main" id="{0F842D08-AEFB-4DBB-8FFA-ED380047004A}"/>
              </a:ext>
            </a:extLst>
          </p:cNvPr>
          <p:cNvSpPr txBox="1"/>
          <p:nvPr/>
        </p:nvSpPr>
        <p:spPr>
          <a:xfrm>
            <a:off x="685336" y="730660"/>
            <a:ext cx="3228278" cy="415498"/>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prstClr val="black"/>
                </a:solidFill>
                <a:effectLst/>
                <a:uLnTx/>
                <a:uFillTx/>
                <a:latin typeface="Calibri"/>
                <a:ea typeface="+mn-ea"/>
                <a:cs typeface="+mn-cs"/>
              </a:rPr>
              <a:t>Progression-Free Survival</a:t>
            </a:r>
          </a:p>
        </p:txBody>
      </p:sp>
      <p:sp>
        <p:nvSpPr>
          <p:cNvPr id="5" name="TextBox 4">
            <a:extLst>
              <a:ext uri="{FF2B5EF4-FFF2-40B4-BE49-F238E27FC236}">
                <a16:creationId xmlns:a16="http://schemas.microsoft.com/office/drawing/2014/main" id="{5793689B-74BC-4DCF-B29A-F65952C2CDF0}"/>
              </a:ext>
            </a:extLst>
          </p:cNvPr>
          <p:cNvSpPr txBox="1"/>
          <p:nvPr/>
        </p:nvSpPr>
        <p:spPr>
          <a:xfrm>
            <a:off x="5350836" y="730660"/>
            <a:ext cx="2990044" cy="415498"/>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prstClr val="black"/>
                </a:solidFill>
                <a:effectLst/>
                <a:uLnTx/>
                <a:uFillTx/>
                <a:latin typeface="Calibri"/>
                <a:ea typeface="+mn-ea"/>
                <a:cs typeface="+mn-cs"/>
              </a:rPr>
              <a:t>Overall Survival</a:t>
            </a:r>
          </a:p>
        </p:txBody>
      </p:sp>
      <p:sp>
        <p:nvSpPr>
          <p:cNvPr id="7" name="TextBox 6">
            <a:extLst>
              <a:ext uri="{FF2B5EF4-FFF2-40B4-BE49-F238E27FC236}">
                <a16:creationId xmlns:a16="http://schemas.microsoft.com/office/drawing/2014/main" id="{486F96E1-DC98-4FCB-80FB-4AA5A337A822}"/>
              </a:ext>
            </a:extLst>
          </p:cNvPr>
          <p:cNvSpPr txBox="1"/>
          <p:nvPr/>
        </p:nvSpPr>
        <p:spPr>
          <a:xfrm>
            <a:off x="0" y="4776011"/>
            <a:ext cx="9142605" cy="369332"/>
          </a:xfrm>
          <a:prstGeom prst="rect">
            <a:avLst/>
          </a:prstGeom>
          <a:noFill/>
        </p:spPr>
        <p:txBody>
          <a:bodyPr wrap="square"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R, lenalidomide; d, dexamethasone; PFS, progression-free survival; OS, overall survival.</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Larocca A, et al. </a:t>
            </a:r>
            <a:r>
              <a:rPr kumimoji="0" lang="en-US" sz="900" b="0" i="1" u="none" strike="noStrike" kern="1200" cap="none" spc="0" normalizeH="0" baseline="0" noProof="0">
                <a:ln>
                  <a:noFill/>
                </a:ln>
                <a:solidFill>
                  <a:prstClr val="black"/>
                </a:solidFill>
                <a:effectLst/>
                <a:uLnTx/>
                <a:uFillTx/>
                <a:latin typeface="Calibri"/>
                <a:ea typeface="+mn-ea"/>
                <a:cs typeface="+mn-cs"/>
              </a:rPr>
              <a:t>Blood. </a:t>
            </a:r>
            <a:r>
              <a:rPr kumimoji="0" lang="en-US" sz="900" b="0" i="0" u="none" strike="noStrike" kern="1200" cap="none" spc="0" normalizeH="0" baseline="0" noProof="0">
                <a:ln>
                  <a:noFill/>
                </a:ln>
                <a:solidFill>
                  <a:prstClr val="black"/>
                </a:solidFill>
                <a:effectLst/>
                <a:uLnTx/>
                <a:uFillTx/>
                <a:latin typeface="Calibri"/>
                <a:ea typeface="+mn-ea"/>
                <a:cs typeface="+mn-cs"/>
              </a:rPr>
              <a:t>2021; 137(22):3027-3036</a:t>
            </a:r>
          </a:p>
        </p:txBody>
      </p:sp>
      <p:pic>
        <p:nvPicPr>
          <p:cNvPr id="10" name="Picture 30">
            <a:extLst>
              <a:ext uri="{FF2B5EF4-FFF2-40B4-BE49-F238E27FC236}">
                <a16:creationId xmlns:a16="http://schemas.microsoft.com/office/drawing/2014/main" id="{4DBFD4BB-3B58-4246-B266-7CD4EA5DBAA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59266" y="1617050"/>
            <a:ext cx="3955895" cy="29857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17961" dir="2700000" algn="ctr" rotWithShape="0">
                    <a:srgbClr val="006E99">
                      <a:alpha val="74998"/>
                    </a:srgbClr>
                  </a:outerShdw>
                </a:effectLst>
              </a14:hiddenEffects>
            </a:ext>
          </a:extLst>
        </p:spPr>
      </p:pic>
      <p:sp>
        <p:nvSpPr>
          <p:cNvPr id="12" name="Rectangle 11">
            <a:extLst>
              <a:ext uri="{FF2B5EF4-FFF2-40B4-BE49-F238E27FC236}">
                <a16:creationId xmlns:a16="http://schemas.microsoft.com/office/drawing/2014/main" id="{6C8D9439-B2B7-4BAD-A52F-669FFC075FA4}"/>
              </a:ext>
            </a:extLst>
          </p:cNvPr>
          <p:cNvSpPr/>
          <p:nvPr/>
        </p:nvSpPr>
        <p:spPr>
          <a:xfrm>
            <a:off x="1846457" y="1429561"/>
            <a:ext cx="1784195" cy="75549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6" name="Table 7">
            <a:extLst>
              <a:ext uri="{FF2B5EF4-FFF2-40B4-BE49-F238E27FC236}">
                <a16:creationId xmlns:a16="http://schemas.microsoft.com/office/drawing/2014/main" id="{CA5F808F-4241-4DF8-A7E0-DF1D5A5B4331}"/>
              </a:ext>
            </a:extLst>
          </p:cNvPr>
          <p:cNvGraphicFramePr>
            <a:graphicFrameLocks noGrp="1"/>
          </p:cNvGraphicFramePr>
          <p:nvPr/>
        </p:nvGraphicFramePr>
        <p:xfrm>
          <a:off x="2588012" y="1219529"/>
          <a:ext cx="1689412" cy="838200"/>
        </p:xfrm>
        <a:graphic>
          <a:graphicData uri="http://schemas.openxmlformats.org/drawingml/2006/table">
            <a:tbl>
              <a:tblPr firstRow="1">
                <a:tableStyleId>{9D7B26C5-4107-4FEC-AEDC-1716B250A1EF}</a:tableStyleId>
              </a:tblPr>
              <a:tblGrid>
                <a:gridCol w="844706">
                  <a:extLst>
                    <a:ext uri="{9D8B030D-6E8A-4147-A177-3AD203B41FA5}">
                      <a16:colId xmlns:a16="http://schemas.microsoft.com/office/drawing/2014/main" val="2498359877"/>
                    </a:ext>
                  </a:extLst>
                </a:gridCol>
                <a:gridCol w="844706">
                  <a:extLst>
                    <a:ext uri="{9D8B030D-6E8A-4147-A177-3AD203B41FA5}">
                      <a16:colId xmlns:a16="http://schemas.microsoft.com/office/drawing/2014/main" val="1944198876"/>
                    </a:ext>
                  </a:extLst>
                </a:gridCol>
              </a:tblGrid>
              <a:tr h="278130">
                <a:tc gridSpan="2">
                  <a:txBody>
                    <a:bodyPr/>
                    <a:lstStyle/>
                    <a:p>
                      <a:pPr algn="ctr"/>
                      <a:r>
                        <a:rPr lang="en-US" sz="1400">
                          <a:solidFill>
                            <a:schemeClr val="bg1"/>
                          </a:solidFill>
                        </a:rPr>
                        <a:t>20-month PFS</a:t>
                      </a:r>
                    </a:p>
                  </a:txBody>
                  <a:tcPr marL="68580" marR="68580" marT="34290" marB="34290">
                    <a:lnT w="12700" cmpd="sng">
                      <a:noFill/>
                    </a:lnT>
                    <a:lnB w="12700" cap="flat" cmpd="sng" algn="ctr">
                      <a:solidFill>
                        <a:schemeClr val="bg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207881200"/>
                  </a:ext>
                </a:extLst>
              </a:tr>
              <a:tr h="278130">
                <a:tc>
                  <a:txBody>
                    <a:bodyPr/>
                    <a:lstStyle/>
                    <a:p>
                      <a:r>
                        <a:rPr lang="en-US" sz="1200" b="0">
                          <a:solidFill>
                            <a:srgbClr val="FFFF00"/>
                          </a:solidFill>
                        </a:rPr>
                        <a:t>Rd-R</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0">
                          <a:solidFill>
                            <a:srgbClr val="FFFF00"/>
                          </a:solidFill>
                        </a:rPr>
                        <a:t>43%</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26255454"/>
                  </a:ext>
                </a:extLst>
              </a:tr>
              <a:tr h="278130">
                <a:tc>
                  <a:txBody>
                    <a:bodyPr/>
                    <a:lstStyle/>
                    <a:p>
                      <a:r>
                        <a:rPr lang="en-US" sz="1200" b="0">
                          <a:solidFill>
                            <a:srgbClr val="00B0F0"/>
                          </a:solidFill>
                        </a:rPr>
                        <a:t>Rd</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0">
                          <a:solidFill>
                            <a:srgbClr val="00B0F0"/>
                          </a:solidFill>
                        </a:rPr>
                        <a:t>42%</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20794875"/>
                  </a:ext>
                </a:extLst>
              </a:tr>
            </a:tbl>
          </a:graphicData>
        </a:graphic>
      </p:graphicFrame>
      <p:grpSp>
        <p:nvGrpSpPr>
          <p:cNvPr id="11" name="Group 10">
            <a:extLst>
              <a:ext uri="{FF2B5EF4-FFF2-40B4-BE49-F238E27FC236}">
                <a16:creationId xmlns:a16="http://schemas.microsoft.com/office/drawing/2014/main" id="{DEC9608E-B17F-48FC-BC4C-F4B189695BC8}"/>
              </a:ext>
            </a:extLst>
          </p:cNvPr>
          <p:cNvGrpSpPr/>
          <p:nvPr/>
        </p:nvGrpSpPr>
        <p:grpSpPr>
          <a:xfrm>
            <a:off x="4696522" y="1550727"/>
            <a:ext cx="4570606" cy="3146363"/>
            <a:chOff x="6608027" y="1992998"/>
            <a:chExt cx="6094141" cy="4195150"/>
          </a:xfrm>
        </p:grpSpPr>
        <p:pic>
          <p:nvPicPr>
            <p:cNvPr id="13" name="Picture 30">
              <a:extLst>
                <a:ext uri="{FF2B5EF4-FFF2-40B4-BE49-F238E27FC236}">
                  <a16:creationId xmlns:a16="http://schemas.microsoft.com/office/drawing/2014/main" id="{3EA4DFEE-979B-4321-952E-88B23B27F737}"/>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608027" y="2332474"/>
              <a:ext cx="6094141" cy="38556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17961" dir="2700000" algn="ctr" rotWithShape="0">
                      <a:srgbClr val="006E99">
                        <a:alpha val="74998"/>
                      </a:srgbClr>
                    </a:outerShdw>
                  </a:effectLst>
                </a14:hiddenEffects>
              </a:ext>
            </a:extLst>
          </p:spPr>
        </p:pic>
        <p:sp>
          <p:nvSpPr>
            <p:cNvPr id="15" name="Rectangle 14">
              <a:extLst>
                <a:ext uri="{FF2B5EF4-FFF2-40B4-BE49-F238E27FC236}">
                  <a16:creationId xmlns:a16="http://schemas.microsoft.com/office/drawing/2014/main" id="{43BDB96C-73BE-48CF-91CE-3540608698D3}"/>
                </a:ext>
              </a:extLst>
            </p:cNvPr>
            <p:cNvSpPr/>
            <p:nvPr/>
          </p:nvSpPr>
          <p:spPr>
            <a:xfrm>
              <a:off x="9390875" y="1992998"/>
              <a:ext cx="2378927" cy="55940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9" name="Table 7">
            <a:extLst>
              <a:ext uri="{FF2B5EF4-FFF2-40B4-BE49-F238E27FC236}">
                <a16:creationId xmlns:a16="http://schemas.microsoft.com/office/drawing/2014/main" id="{9F7C7787-9673-4A76-B220-F9D1795E2103}"/>
              </a:ext>
            </a:extLst>
          </p:cNvPr>
          <p:cNvGraphicFramePr>
            <a:graphicFrameLocks noGrp="1"/>
          </p:cNvGraphicFramePr>
          <p:nvPr/>
        </p:nvGraphicFramePr>
        <p:xfrm>
          <a:off x="7235282" y="1233518"/>
          <a:ext cx="1553736" cy="838200"/>
        </p:xfrm>
        <a:graphic>
          <a:graphicData uri="http://schemas.openxmlformats.org/drawingml/2006/table">
            <a:tbl>
              <a:tblPr firstRow="1">
                <a:tableStyleId>{9D7B26C5-4107-4FEC-AEDC-1716B250A1EF}</a:tableStyleId>
              </a:tblPr>
              <a:tblGrid>
                <a:gridCol w="776868">
                  <a:extLst>
                    <a:ext uri="{9D8B030D-6E8A-4147-A177-3AD203B41FA5}">
                      <a16:colId xmlns:a16="http://schemas.microsoft.com/office/drawing/2014/main" val="2498359877"/>
                    </a:ext>
                  </a:extLst>
                </a:gridCol>
                <a:gridCol w="776868">
                  <a:extLst>
                    <a:ext uri="{9D8B030D-6E8A-4147-A177-3AD203B41FA5}">
                      <a16:colId xmlns:a16="http://schemas.microsoft.com/office/drawing/2014/main" val="1944198876"/>
                    </a:ext>
                  </a:extLst>
                </a:gridCol>
              </a:tblGrid>
              <a:tr h="278130">
                <a:tc gridSpan="2">
                  <a:txBody>
                    <a:bodyPr/>
                    <a:lstStyle/>
                    <a:p>
                      <a:pPr algn="ctr"/>
                      <a:r>
                        <a:rPr lang="en-US" sz="1400">
                          <a:solidFill>
                            <a:schemeClr val="bg1"/>
                          </a:solidFill>
                        </a:rPr>
                        <a:t>20-month OS</a:t>
                      </a:r>
                    </a:p>
                  </a:txBody>
                  <a:tcPr marL="68580" marR="68580" marT="34290" marB="34290">
                    <a:lnT w="12700" cmpd="sng">
                      <a:noFill/>
                    </a:lnT>
                    <a:lnB w="12700" cap="flat" cmpd="sng" algn="ctr">
                      <a:solidFill>
                        <a:schemeClr val="bg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207881200"/>
                  </a:ext>
                </a:extLst>
              </a:tr>
              <a:tr h="278130">
                <a:tc>
                  <a:txBody>
                    <a:bodyPr/>
                    <a:lstStyle/>
                    <a:p>
                      <a:r>
                        <a:rPr lang="en-US" sz="1200">
                          <a:solidFill>
                            <a:srgbClr val="FFFF00"/>
                          </a:solidFill>
                        </a:rPr>
                        <a:t>Rd-R</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solidFill>
                            <a:srgbClr val="FFFF00"/>
                          </a:solidFill>
                        </a:rPr>
                        <a:t>84%</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26255454"/>
                  </a:ext>
                </a:extLst>
              </a:tr>
              <a:tr h="278130">
                <a:tc>
                  <a:txBody>
                    <a:bodyPr/>
                    <a:lstStyle/>
                    <a:p>
                      <a:r>
                        <a:rPr lang="en-US" sz="1200">
                          <a:solidFill>
                            <a:srgbClr val="00B0F0"/>
                          </a:solidFill>
                        </a:rPr>
                        <a:t>Rd</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a:solidFill>
                            <a:srgbClr val="00B0F0"/>
                          </a:solidFill>
                        </a:rPr>
                        <a:t>79%</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20794875"/>
                  </a:ext>
                </a:extLst>
              </a:tr>
            </a:tbl>
          </a:graphicData>
        </a:graphic>
      </p:graphicFrame>
    </p:spTree>
    <p:extLst>
      <p:ext uri="{BB962C8B-B14F-4D97-AF65-F5344CB8AC3E}">
        <p14:creationId xmlns:p14="http://schemas.microsoft.com/office/powerpoint/2010/main" val="134282977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03E28-6D93-45B9-8AC8-1D60EFFC56BC}"/>
              </a:ext>
            </a:extLst>
          </p:cNvPr>
          <p:cNvSpPr>
            <a:spLocks noGrp="1"/>
          </p:cNvSpPr>
          <p:nvPr>
            <p:ph type="title"/>
          </p:nvPr>
        </p:nvSpPr>
        <p:spPr>
          <a:xfrm>
            <a:off x="604726" y="95696"/>
            <a:ext cx="7886700" cy="994172"/>
          </a:xfrm>
        </p:spPr>
        <p:txBody>
          <a:bodyPr anchor="t"/>
          <a:lstStyle/>
          <a:p>
            <a:r>
              <a:rPr lang="en-US" sz="3000" b="1" noProof="0">
                <a:solidFill>
                  <a:srgbClr val="000090"/>
                </a:solidFill>
              </a:rPr>
              <a:t>Rd vs Rd-R: Event-Free Survival</a:t>
            </a:r>
            <a:br>
              <a:rPr lang="en-US" noProof="0">
                <a:solidFill>
                  <a:srgbClr val="000090"/>
                </a:solidFill>
              </a:rPr>
            </a:br>
            <a:r>
              <a:rPr lang="en-US" sz="2100" b="1" noProof="0">
                <a:solidFill>
                  <a:srgbClr val="000090"/>
                </a:solidFill>
              </a:rPr>
              <a:t>Median follow-up 25 months</a:t>
            </a:r>
            <a:endParaRPr lang="en-US" b="1" noProof="0"/>
          </a:p>
        </p:txBody>
      </p:sp>
      <p:sp>
        <p:nvSpPr>
          <p:cNvPr id="3" name="TextBox 2">
            <a:extLst>
              <a:ext uri="{FF2B5EF4-FFF2-40B4-BE49-F238E27FC236}">
                <a16:creationId xmlns:a16="http://schemas.microsoft.com/office/drawing/2014/main" id="{A031E679-FE0B-4940-82BA-4F3FC77BBD88}"/>
              </a:ext>
            </a:extLst>
          </p:cNvPr>
          <p:cNvSpPr txBox="1"/>
          <p:nvPr/>
        </p:nvSpPr>
        <p:spPr>
          <a:xfrm>
            <a:off x="1" y="4631209"/>
            <a:ext cx="9142605" cy="507831"/>
          </a:xfrm>
          <a:prstGeom prst="rect">
            <a:avLst/>
          </a:prstGeom>
          <a:noFill/>
        </p:spPr>
        <p:txBody>
          <a:bodyPr wrap="square"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prstClr val="black"/>
                </a:solidFill>
                <a:effectLst/>
                <a:uLnTx/>
                <a:uFillTx/>
                <a:latin typeface="Calibri"/>
                <a:ea typeface="+mn-ea"/>
                <a:cs typeface="+mn-cs"/>
              </a:rPr>
              <a:t>a</a:t>
            </a:r>
            <a:r>
              <a:rPr kumimoji="0" lang="en-US" sz="900" b="0" i="0" u="none" strike="noStrike" kern="1200" cap="none" spc="0" normalizeH="0" baseline="0" noProof="0">
                <a:ln>
                  <a:noFill/>
                </a:ln>
                <a:solidFill>
                  <a:prstClr val="black"/>
                </a:solidFill>
                <a:effectLst/>
                <a:uLnTx/>
                <a:uFillTx/>
                <a:latin typeface="Calibri"/>
                <a:ea typeface="+mn-ea"/>
                <a:cs typeface="+mn-cs"/>
              </a:rPr>
              <a:t>Related to study drug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R, lenalidomide; d, dexamethasone; EFS, event-free survival; AEs, adverse events; SPM, second primary malignancy.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Larocca A, et al. </a:t>
            </a:r>
            <a:r>
              <a:rPr kumimoji="0" lang="en-US" sz="900" b="0" i="1" u="none" strike="noStrike" kern="1200" cap="none" spc="0" normalizeH="0" baseline="0" noProof="0">
                <a:ln>
                  <a:noFill/>
                </a:ln>
                <a:solidFill>
                  <a:prstClr val="black"/>
                </a:solidFill>
                <a:effectLst/>
                <a:uLnTx/>
                <a:uFillTx/>
                <a:latin typeface="Calibri"/>
                <a:ea typeface="+mn-ea"/>
                <a:cs typeface="+mn-cs"/>
              </a:rPr>
              <a:t>Blood. </a:t>
            </a:r>
            <a:r>
              <a:rPr kumimoji="0" lang="en-US" sz="900" b="0" i="0" u="none" strike="noStrike" kern="1200" cap="none" spc="0" normalizeH="0" baseline="0" noProof="0">
                <a:ln>
                  <a:noFill/>
                </a:ln>
                <a:solidFill>
                  <a:prstClr val="black"/>
                </a:solidFill>
                <a:effectLst/>
                <a:uLnTx/>
                <a:uFillTx/>
                <a:latin typeface="Calibri"/>
                <a:ea typeface="+mn-ea"/>
                <a:cs typeface="+mn-cs"/>
              </a:rPr>
              <a:t>2021; 137(22):3027-3036.</a:t>
            </a:r>
          </a:p>
        </p:txBody>
      </p:sp>
      <p:sp>
        <p:nvSpPr>
          <p:cNvPr id="6" name="TextBox 5">
            <a:extLst>
              <a:ext uri="{FF2B5EF4-FFF2-40B4-BE49-F238E27FC236}">
                <a16:creationId xmlns:a16="http://schemas.microsoft.com/office/drawing/2014/main" id="{00ED87EE-C0A5-4909-9D6D-983842C3AE44}"/>
              </a:ext>
            </a:extLst>
          </p:cNvPr>
          <p:cNvSpPr txBox="1"/>
          <p:nvPr/>
        </p:nvSpPr>
        <p:spPr>
          <a:xfrm>
            <a:off x="5381935" y="1280022"/>
            <a:ext cx="3604286" cy="255454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prstClr val="black"/>
                </a:solidFill>
                <a:effectLst/>
                <a:uLnTx/>
                <a:uFillTx/>
                <a:latin typeface="Calibri"/>
                <a:ea typeface="+mn-ea"/>
                <a:cs typeface="+mn-cs"/>
              </a:rPr>
              <a:t>Primary endpoint: event-free survival (EFS)</a:t>
            </a:r>
          </a:p>
          <a:p>
            <a:pPr marL="0" marR="0" lvl="0" indent="0" algn="l" defTabSz="685800" rtl="0" eaLnBrk="1" fontAlgn="auto" latinLnBrk="0" hangingPunct="1">
              <a:lnSpc>
                <a:spcPct val="100000"/>
              </a:lnSpc>
              <a:spcBef>
                <a:spcPts val="0"/>
              </a:spcBef>
              <a:spcAft>
                <a:spcPts val="450"/>
              </a:spcAft>
              <a:buClrTx/>
              <a:buSzTx/>
              <a:buFontTx/>
              <a:buNone/>
              <a:tabLst/>
              <a:defRPr/>
            </a:pPr>
            <a:r>
              <a:rPr kumimoji="0" lang="en-US" sz="1500" b="0" i="0" u="none" strike="noStrike" kern="1200" cap="none" spc="0" normalizeH="0" baseline="0" noProof="0">
                <a:ln>
                  <a:noFill/>
                </a:ln>
                <a:solidFill>
                  <a:prstClr val="black"/>
                </a:solidFill>
                <a:effectLst/>
                <a:uLnTx/>
                <a:uFillTx/>
                <a:latin typeface="Calibri"/>
                <a:ea typeface="+mn-ea"/>
                <a:cs typeface="+mn-cs"/>
              </a:rPr>
              <a:t>Definition of the event</a:t>
            </a:r>
            <a:r>
              <a:rPr kumimoji="0" lang="en-US" sz="1500" b="0" i="0" u="none" strike="noStrike" kern="1200" cap="none" spc="0" normalizeH="0" baseline="30000" noProof="0">
                <a:ln>
                  <a:noFill/>
                </a:ln>
                <a:solidFill>
                  <a:prstClr val="black"/>
                </a:solidFill>
                <a:effectLst/>
                <a:uLnTx/>
                <a:uFillTx/>
                <a:latin typeface="Calibri"/>
                <a:ea typeface="+mn-ea"/>
                <a:cs typeface="+mn-cs"/>
              </a:rPr>
              <a:t>a</a:t>
            </a:r>
          </a:p>
          <a:p>
            <a:pPr marL="214313" marR="0" lvl="0" indent="-214313"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Calibri"/>
                <a:ea typeface="+mn-ea"/>
                <a:cs typeface="+mn-cs"/>
              </a:rPr>
              <a:t>Hematologic grade 4 AEs</a:t>
            </a:r>
          </a:p>
          <a:p>
            <a:pPr marL="214313" marR="0" lvl="0" indent="-214313"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Calibri"/>
                <a:ea typeface="+mn-ea"/>
                <a:cs typeface="+mn-cs"/>
              </a:rPr>
              <a:t>Non-hematologic grade 3-4 AEs, including SPM</a:t>
            </a:r>
          </a:p>
          <a:p>
            <a:pPr marL="214313" marR="0" lvl="0" indent="-214313"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Calibri"/>
                <a:ea typeface="+mn-ea"/>
                <a:cs typeface="+mn-cs"/>
              </a:rPr>
              <a:t>Discontinuation of lenalidomide therapy</a:t>
            </a:r>
          </a:p>
          <a:p>
            <a:pPr marL="214313" marR="0" lvl="0" indent="-214313"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Calibri"/>
                <a:ea typeface="+mn-ea"/>
                <a:cs typeface="+mn-cs"/>
              </a:rPr>
              <a:t>Disease progression</a:t>
            </a:r>
          </a:p>
          <a:p>
            <a:pPr marL="214313" marR="0" lvl="0" indent="-214313"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500" b="0" i="0" u="none" strike="noStrike" kern="1200" cap="none" spc="0" normalizeH="0" baseline="0" noProof="0">
                <a:ln>
                  <a:noFill/>
                </a:ln>
                <a:solidFill>
                  <a:prstClr val="black"/>
                </a:solidFill>
                <a:effectLst/>
                <a:uLnTx/>
                <a:uFillTx/>
                <a:latin typeface="Calibri"/>
                <a:ea typeface="+mn-ea"/>
                <a:cs typeface="+mn-cs"/>
              </a:rPr>
              <a:t>Death from any cause</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2FD01170-E2D1-4EEF-9FE0-BC62A09EFC73}"/>
              </a:ext>
            </a:extLst>
          </p:cNvPr>
          <p:cNvGrpSpPr/>
          <p:nvPr/>
        </p:nvGrpSpPr>
        <p:grpSpPr>
          <a:xfrm>
            <a:off x="222286" y="1217127"/>
            <a:ext cx="5075399" cy="3414167"/>
            <a:chOff x="4770408" y="2452332"/>
            <a:chExt cx="5582488" cy="3371458"/>
          </a:xfrm>
          <a:solidFill>
            <a:schemeClr val="accent1">
              <a:lumMod val="50000"/>
            </a:schemeClr>
          </a:solidFill>
        </p:grpSpPr>
        <p:sp>
          <p:nvSpPr>
            <p:cNvPr id="8" name="Rectangle 7">
              <a:extLst>
                <a:ext uri="{FF2B5EF4-FFF2-40B4-BE49-F238E27FC236}">
                  <a16:creationId xmlns:a16="http://schemas.microsoft.com/office/drawing/2014/main" id="{81DD4982-952C-48F8-88EB-EB4B5FF45EB0}"/>
                </a:ext>
              </a:extLst>
            </p:cNvPr>
            <p:cNvSpPr/>
            <p:nvPr/>
          </p:nvSpPr>
          <p:spPr>
            <a:xfrm>
              <a:off x="4770408" y="2452332"/>
              <a:ext cx="5582488" cy="337145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pic>
          <p:nvPicPr>
            <p:cNvPr id="7" name="Picture 34">
              <a:extLst>
                <a:ext uri="{FF2B5EF4-FFF2-40B4-BE49-F238E27FC236}">
                  <a16:creationId xmlns:a16="http://schemas.microsoft.com/office/drawing/2014/main" id="{330391FC-8C6C-4F90-A685-B35806785187}"/>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770408" y="2452332"/>
              <a:ext cx="5464725" cy="3371457"/>
            </a:xfrm>
            <a:prstGeom prst="rect">
              <a:avLst/>
            </a:prstGeom>
            <a:grp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17961" dir="2700000" algn="ctr" rotWithShape="0">
                      <a:srgbClr val="006E99">
                        <a:alpha val="74998"/>
                      </a:srgbClr>
                    </a:outerShdw>
                  </a:effectLst>
                </a14:hiddenEffects>
              </a:ext>
            </a:extLst>
          </p:spPr>
        </p:pic>
        <p:sp>
          <p:nvSpPr>
            <p:cNvPr id="9" name="Rectangle 8">
              <a:extLst>
                <a:ext uri="{FF2B5EF4-FFF2-40B4-BE49-F238E27FC236}">
                  <a16:creationId xmlns:a16="http://schemas.microsoft.com/office/drawing/2014/main" id="{001A60B5-1A7C-49F1-B492-1B060436FABA}"/>
                </a:ext>
              </a:extLst>
            </p:cNvPr>
            <p:cNvSpPr/>
            <p:nvPr/>
          </p:nvSpPr>
          <p:spPr>
            <a:xfrm>
              <a:off x="6248851" y="2452332"/>
              <a:ext cx="3606349" cy="7619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6B08E1F6-5931-4251-9742-CDB198F362B5}"/>
                </a:ext>
              </a:extLst>
            </p:cNvPr>
            <p:cNvSpPr/>
            <p:nvPr/>
          </p:nvSpPr>
          <p:spPr>
            <a:xfrm>
              <a:off x="9149861" y="3214256"/>
              <a:ext cx="1085272" cy="9143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graphicFrame>
        <p:nvGraphicFramePr>
          <p:cNvPr id="4" name="Table 7">
            <a:extLst>
              <a:ext uri="{FF2B5EF4-FFF2-40B4-BE49-F238E27FC236}">
                <a16:creationId xmlns:a16="http://schemas.microsoft.com/office/drawing/2014/main" id="{29DFDAB8-0D1F-426B-B39E-71FF922EB565}"/>
              </a:ext>
            </a:extLst>
          </p:cNvPr>
          <p:cNvGraphicFramePr>
            <a:graphicFrameLocks noGrp="1"/>
          </p:cNvGraphicFramePr>
          <p:nvPr/>
        </p:nvGraphicFramePr>
        <p:xfrm>
          <a:off x="2869163" y="1342559"/>
          <a:ext cx="2321455" cy="1112520"/>
        </p:xfrm>
        <a:graphic>
          <a:graphicData uri="http://schemas.openxmlformats.org/drawingml/2006/table">
            <a:tbl>
              <a:tblPr firstRow="1">
                <a:tableStyleId>{9D7B26C5-4107-4FEC-AEDC-1716B250A1EF}</a:tableStyleId>
              </a:tblPr>
              <a:tblGrid>
                <a:gridCol w="517737">
                  <a:extLst>
                    <a:ext uri="{9D8B030D-6E8A-4147-A177-3AD203B41FA5}">
                      <a16:colId xmlns:a16="http://schemas.microsoft.com/office/drawing/2014/main" val="3495485810"/>
                    </a:ext>
                  </a:extLst>
                </a:gridCol>
                <a:gridCol w="739643">
                  <a:extLst>
                    <a:ext uri="{9D8B030D-6E8A-4147-A177-3AD203B41FA5}">
                      <a16:colId xmlns:a16="http://schemas.microsoft.com/office/drawing/2014/main" val="2498359877"/>
                    </a:ext>
                  </a:extLst>
                </a:gridCol>
                <a:gridCol w="1064075">
                  <a:extLst>
                    <a:ext uri="{9D8B030D-6E8A-4147-A177-3AD203B41FA5}">
                      <a16:colId xmlns:a16="http://schemas.microsoft.com/office/drawing/2014/main" val="1944198876"/>
                    </a:ext>
                  </a:extLst>
                </a:gridCol>
              </a:tblGrid>
              <a:tr h="278130">
                <a:tc>
                  <a:txBody>
                    <a:bodyPr/>
                    <a:lstStyle/>
                    <a:p>
                      <a:pPr algn="ctr"/>
                      <a:endParaRPr lang="en-US" sz="1200">
                        <a:solidFill>
                          <a:schemeClr val="tx1"/>
                        </a:solidFill>
                      </a:endParaRPr>
                    </a:p>
                  </a:txBody>
                  <a:tcPr marL="68580" marR="68580" marT="34290" marB="34290">
                    <a:lnT w="12700" cmpd="sng">
                      <a:noFill/>
                    </a:lnT>
                    <a:lnB w="12700" cap="flat" cmpd="sng" algn="ctr">
                      <a:solidFill>
                        <a:schemeClr val="bg1"/>
                      </a:solidFill>
                      <a:prstDash val="solid"/>
                      <a:round/>
                      <a:headEnd type="none" w="med" len="med"/>
                      <a:tailEnd type="none" w="med" len="med"/>
                    </a:lnB>
                  </a:tcPr>
                </a:tc>
                <a:tc>
                  <a:txBody>
                    <a:bodyPr/>
                    <a:lstStyle/>
                    <a:p>
                      <a:pPr algn="ctr"/>
                      <a:r>
                        <a:rPr lang="en-US" sz="1200">
                          <a:solidFill>
                            <a:schemeClr val="bg1"/>
                          </a:solidFill>
                        </a:rPr>
                        <a:t>N</a:t>
                      </a:r>
                    </a:p>
                  </a:txBody>
                  <a:tcPr marL="68580" marR="68580" marT="34290" marB="34290" anchor="ctr">
                    <a:lnT w="12700" cmpd="sng">
                      <a:noFill/>
                    </a:lnT>
                    <a:lnB w="12700" cap="flat" cmpd="sng" algn="ctr">
                      <a:solidFill>
                        <a:schemeClr val="bg1"/>
                      </a:solidFill>
                      <a:prstDash val="solid"/>
                      <a:round/>
                      <a:headEnd type="none" w="med" len="med"/>
                      <a:tailEnd type="none" w="med" len="med"/>
                    </a:lnB>
                  </a:tcPr>
                </a:tc>
                <a:tc>
                  <a:txBody>
                    <a:bodyPr/>
                    <a:lstStyle/>
                    <a:p>
                      <a:pPr algn="ctr"/>
                      <a:r>
                        <a:rPr lang="en-US" sz="1200">
                          <a:solidFill>
                            <a:schemeClr val="bg1"/>
                          </a:solidFill>
                        </a:rPr>
                        <a:t>Median EFS</a:t>
                      </a:r>
                    </a:p>
                  </a:txBody>
                  <a:tcPr marL="68580" marR="68580" marT="34290" marB="34290">
                    <a:lnT w="12700" cmpd="sng">
                      <a:noFill/>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07881200"/>
                  </a:ext>
                </a:extLst>
              </a:tr>
              <a:tr h="278130">
                <a:tc>
                  <a:txBody>
                    <a:bodyPr/>
                    <a:lstStyle/>
                    <a:p>
                      <a:r>
                        <a:rPr lang="en-US" sz="1200" b="0">
                          <a:solidFill>
                            <a:srgbClr val="FFFF00"/>
                          </a:solidFill>
                        </a:rPr>
                        <a:t>Rd-R</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0">
                          <a:solidFill>
                            <a:srgbClr val="FFFF00"/>
                          </a:solidFill>
                        </a:rPr>
                        <a:t>101</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0">
                          <a:solidFill>
                            <a:srgbClr val="FFFF00"/>
                          </a:solidFill>
                        </a:rPr>
                        <a:t>9.3 months</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26255454"/>
                  </a:ext>
                </a:extLst>
              </a:tr>
              <a:tr h="278130">
                <a:tc>
                  <a:txBody>
                    <a:bodyPr/>
                    <a:lstStyle/>
                    <a:p>
                      <a:r>
                        <a:rPr lang="en-US" sz="1200" b="0">
                          <a:solidFill>
                            <a:srgbClr val="00B0F0"/>
                          </a:solidFill>
                        </a:rPr>
                        <a:t>Rd</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0">
                          <a:solidFill>
                            <a:srgbClr val="00B0F0"/>
                          </a:solidFill>
                        </a:rPr>
                        <a:t>98</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b="0">
                          <a:solidFill>
                            <a:srgbClr val="00B0F0"/>
                          </a:solidFill>
                        </a:rPr>
                        <a:t>6.6 months</a:t>
                      </a:r>
                    </a:p>
                  </a:txBody>
                  <a:tcPr marL="68580" marR="68580" marT="34290" marB="3429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20794875"/>
                  </a:ext>
                </a:extLst>
              </a:tr>
              <a:tr h="278130">
                <a:tc gridSpan="3">
                  <a:txBody>
                    <a:bodyPr/>
                    <a:lstStyle/>
                    <a:p>
                      <a:pPr algn="ctr"/>
                      <a:r>
                        <a:rPr lang="en-US" sz="900">
                          <a:solidFill>
                            <a:schemeClr val="bg1"/>
                          </a:solidFill>
                        </a:rPr>
                        <a:t>Rd-R vs RD; HR = 0.72; CI: 0.52-0.99; </a:t>
                      </a:r>
                      <a:r>
                        <a:rPr lang="en-US" sz="900" i="1">
                          <a:solidFill>
                            <a:schemeClr val="bg1"/>
                          </a:solidFill>
                        </a:rPr>
                        <a:t>P</a:t>
                      </a:r>
                      <a:r>
                        <a:rPr lang="en-US" sz="900">
                          <a:solidFill>
                            <a:schemeClr val="bg1"/>
                          </a:solidFill>
                        </a:rPr>
                        <a:t> = .044</a:t>
                      </a:r>
                    </a:p>
                  </a:txBody>
                  <a:tcPr marL="68580" marR="68580" marT="34290" marB="34290">
                    <a:lnT w="12700" cap="flat" cmpd="sng" algn="ctr">
                      <a:solidFill>
                        <a:schemeClr val="bg1"/>
                      </a:solidFill>
                      <a:prstDash val="solid"/>
                      <a:round/>
                      <a:headEnd type="none" w="med" len="med"/>
                      <a:tailEnd type="none" w="med" len="med"/>
                    </a:lnT>
                    <a:lnB w="12700" cmpd="sng">
                      <a:noFill/>
                    </a:lnB>
                  </a:tcPr>
                </a:tc>
                <a:tc hMerge="1">
                  <a:txBody>
                    <a:bodyPr/>
                    <a:lstStyle/>
                    <a:p>
                      <a:pPr algn="ctr"/>
                      <a:endParaRPr lang="en-US" sz="1600">
                        <a:solidFill>
                          <a:schemeClr val="tx1"/>
                        </a:solidFill>
                      </a:endParaRPr>
                    </a:p>
                  </a:txBody>
                  <a:tcPr/>
                </a:tc>
                <a:tc hMerge="1">
                  <a:txBody>
                    <a:bodyPr/>
                    <a:lstStyle/>
                    <a:p>
                      <a:pPr algn="ctr"/>
                      <a:endParaRPr lang="en-US" sz="1600">
                        <a:solidFill>
                          <a:schemeClr val="tx1"/>
                        </a:solidFill>
                      </a:endParaRPr>
                    </a:p>
                  </a:txBody>
                  <a:tcPr/>
                </a:tc>
                <a:extLst>
                  <a:ext uri="{0D108BD9-81ED-4DB2-BD59-A6C34878D82A}">
                    <a16:rowId xmlns:a16="http://schemas.microsoft.com/office/drawing/2014/main" val="3878645690"/>
                  </a:ext>
                </a:extLst>
              </a:tr>
            </a:tbl>
          </a:graphicData>
        </a:graphic>
      </p:graphicFrame>
      <p:sp>
        <p:nvSpPr>
          <p:cNvPr id="15" name="TextBox 14">
            <a:extLst>
              <a:ext uri="{FF2B5EF4-FFF2-40B4-BE49-F238E27FC236}">
                <a16:creationId xmlns:a16="http://schemas.microsoft.com/office/drawing/2014/main" id="{ED9878F1-7EE0-4ABA-830F-053E20FEE1D8}"/>
              </a:ext>
            </a:extLst>
          </p:cNvPr>
          <p:cNvSpPr txBox="1"/>
          <p:nvPr/>
        </p:nvSpPr>
        <p:spPr>
          <a:xfrm>
            <a:off x="1108279" y="840511"/>
            <a:ext cx="3228278" cy="415498"/>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prstClr val="black"/>
                </a:solidFill>
                <a:effectLst/>
                <a:uLnTx/>
                <a:uFillTx/>
                <a:latin typeface="Calibri"/>
                <a:ea typeface="+mn-ea"/>
                <a:cs typeface="+mn-cs"/>
              </a:rPr>
              <a:t>Event-Free Survival</a:t>
            </a:r>
          </a:p>
        </p:txBody>
      </p:sp>
    </p:spTree>
    <p:extLst>
      <p:ext uri="{BB962C8B-B14F-4D97-AF65-F5344CB8AC3E}">
        <p14:creationId xmlns:p14="http://schemas.microsoft.com/office/powerpoint/2010/main" val="1998742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C0851-1421-D248-A232-85D261C8DC02}"/>
              </a:ext>
            </a:extLst>
          </p:cNvPr>
          <p:cNvSpPr>
            <a:spLocks noGrp="1"/>
          </p:cNvSpPr>
          <p:nvPr>
            <p:ph type="title"/>
          </p:nvPr>
        </p:nvSpPr>
        <p:spPr>
          <a:xfrm>
            <a:off x="457200" y="78986"/>
            <a:ext cx="8229600" cy="503745"/>
          </a:xfrm>
        </p:spPr>
        <p:txBody>
          <a:bodyPr>
            <a:normAutofit/>
          </a:bodyPr>
          <a:lstStyle/>
          <a:p>
            <a:r>
              <a:rPr lang="en-US" sz="2400" b="1" noProof="0">
                <a:solidFill>
                  <a:schemeClr val="accent1"/>
                </a:solidFill>
                <a:latin typeface="Arial" panose="020B0604020202020204" pitchFamily="34" charset="0"/>
                <a:cs typeface="Arial" panose="020B0604020202020204" pitchFamily="34" charset="0"/>
              </a:rPr>
              <a:t>MGUS and SMM lead to MM </a:t>
            </a:r>
          </a:p>
        </p:txBody>
      </p:sp>
      <p:pic>
        <p:nvPicPr>
          <p:cNvPr id="5" name="Picture 4">
            <a:extLst>
              <a:ext uri="{FF2B5EF4-FFF2-40B4-BE49-F238E27FC236}">
                <a16:creationId xmlns:a16="http://schemas.microsoft.com/office/drawing/2014/main" id="{A8DD6D57-B8AC-494C-B573-89F7B56E7E95}"/>
              </a:ext>
            </a:extLst>
          </p:cNvPr>
          <p:cNvPicPr>
            <a:picLocks noChangeAspect="1"/>
          </p:cNvPicPr>
          <p:nvPr/>
        </p:nvPicPr>
        <p:blipFill>
          <a:blip r:embed="rId3"/>
          <a:stretch>
            <a:fillRect/>
          </a:stretch>
        </p:blipFill>
        <p:spPr>
          <a:xfrm>
            <a:off x="1745517" y="645320"/>
            <a:ext cx="5405091" cy="3213750"/>
          </a:xfrm>
          <a:prstGeom prst="rect">
            <a:avLst/>
          </a:prstGeom>
        </p:spPr>
      </p:pic>
      <p:pic>
        <p:nvPicPr>
          <p:cNvPr id="7" name="Picture 6" descr="Text&#10;&#10;Description automatically generated with low confidence">
            <a:extLst>
              <a:ext uri="{FF2B5EF4-FFF2-40B4-BE49-F238E27FC236}">
                <a16:creationId xmlns:a16="http://schemas.microsoft.com/office/drawing/2014/main" id="{C7D9B43F-0FCE-2A4B-AD52-6AE4656A118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13144" y="3978688"/>
            <a:ext cx="6590123" cy="887297"/>
          </a:xfrm>
          <a:prstGeom prst="rect">
            <a:avLst/>
          </a:prstGeom>
        </p:spPr>
      </p:pic>
    </p:spTree>
    <p:extLst>
      <p:ext uri="{BB962C8B-B14F-4D97-AF65-F5344CB8AC3E}">
        <p14:creationId xmlns:p14="http://schemas.microsoft.com/office/powerpoint/2010/main" val="316699483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BEC292-5DF2-4F84-A04B-3449B65FB2E9}"/>
              </a:ext>
            </a:extLst>
          </p:cNvPr>
          <p:cNvSpPr>
            <a:spLocks noGrp="1"/>
          </p:cNvSpPr>
          <p:nvPr>
            <p:ph type="title"/>
          </p:nvPr>
        </p:nvSpPr>
        <p:spPr>
          <a:xfrm>
            <a:off x="618074" y="94689"/>
            <a:ext cx="7886700" cy="994172"/>
          </a:xfrm>
          <a:noFill/>
        </p:spPr>
        <p:txBody>
          <a:bodyPr anchor="t">
            <a:normAutofit/>
          </a:bodyPr>
          <a:lstStyle/>
          <a:p>
            <a:r>
              <a:rPr lang="en-US" sz="3000" b="1" noProof="0">
                <a:solidFill>
                  <a:srgbClr val="000090"/>
                </a:solidFill>
              </a:rPr>
              <a:t>SWOG S0777: Study Design</a:t>
            </a:r>
            <a:br>
              <a:rPr lang="en-US" b="1" noProof="0">
                <a:solidFill>
                  <a:srgbClr val="000090"/>
                </a:solidFill>
              </a:rPr>
            </a:br>
            <a:r>
              <a:rPr lang="en-US" sz="2100" b="1" noProof="0">
                <a:solidFill>
                  <a:srgbClr val="000090"/>
                </a:solidFill>
              </a:rPr>
              <a:t>VRd vs Rd</a:t>
            </a:r>
            <a:endParaRPr lang="en-US" b="1" cap="none" baseline="30000" noProof="0">
              <a:solidFill>
                <a:srgbClr val="000090"/>
              </a:solidFill>
            </a:endParaRPr>
          </a:p>
        </p:txBody>
      </p:sp>
      <p:sp>
        <p:nvSpPr>
          <p:cNvPr id="9" name="Rectangle 8">
            <a:extLst>
              <a:ext uri="{FF2B5EF4-FFF2-40B4-BE49-F238E27FC236}">
                <a16:creationId xmlns:a16="http://schemas.microsoft.com/office/drawing/2014/main" id="{5D50F0D5-13F2-4FA2-AE0F-98E4FD07356B}"/>
              </a:ext>
            </a:extLst>
          </p:cNvPr>
          <p:cNvSpPr/>
          <p:nvPr/>
        </p:nvSpPr>
        <p:spPr>
          <a:xfrm>
            <a:off x="0" y="4631973"/>
            <a:ext cx="9144000" cy="507831"/>
          </a:xfrm>
          <a:prstGeom prst="rect">
            <a:avLst/>
          </a:prstGeom>
        </p:spPr>
        <p:txBody>
          <a:bodyPr wrap="square" anchor="b" anchorCtr="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30000" noProof="0">
                <a:ln>
                  <a:noFill/>
                </a:ln>
                <a:solidFill>
                  <a:prstClr val="black"/>
                </a:solidFill>
                <a:effectLst/>
                <a:uLnTx/>
                <a:uFillTx/>
                <a:latin typeface="Calibri"/>
                <a:ea typeface="+mn-ea"/>
                <a:cs typeface="+mn-cs"/>
              </a:rPr>
              <a:t>a</a:t>
            </a:r>
            <a:r>
              <a:rPr kumimoji="0" lang="da-DK" sz="900" b="0" i="0" u="none" strike="noStrike" kern="1200" cap="none" spc="0" normalizeH="0" baseline="0" noProof="0">
                <a:ln>
                  <a:noFill/>
                </a:ln>
                <a:solidFill>
                  <a:prstClr val="black"/>
                </a:solidFill>
                <a:effectLst/>
                <a:uLnTx/>
                <a:uFillTx/>
                <a:latin typeface="Calibri"/>
                <a:ea typeface="+mn-ea"/>
                <a:cs typeface="+mn-cs"/>
              </a:rPr>
              <a:t>All patients received aspirin (325 mg/d). </a:t>
            </a:r>
            <a:r>
              <a:rPr kumimoji="0" lang="da-DK" sz="900" b="0" i="0" u="none" strike="noStrike" kern="1200" cap="none" spc="0" normalizeH="0" baseline="30000" noProof="0">
                <a:ln>
                  <a:noFill/>
                </a:ln>
                <a:solidFill>
                  <a:prstClr val="black"/>
                </a:solidFill>
                <a:effectLst/>
                <a:uLnTx/>
                <a:uFillTx/>
                <a:latin typeface="Calibri"/>
                <a:ea typeface="+mn-ea"/>
                <a:cs typeface="+mn-cs"/>
              </a:rPr>
              <a:t>b</a:t>
            </a:r>
            <a:r>
              <a:rPr kumimoji="0" lang="da-DK" sz="900" b="0" i="0" u="none" strike="noStrike" kern="1200" cap="none" spc="0" normalizeH="0" baseline="0" noProof="0">
                <a:ln>
                  <a:noFill/>
                </a:ln>
                <a:solidFill>
                  <a:prstClr val="black"/>
                </a:solidFill>
                <a:effectLst/>
                <a:uLnTx/>
                <a:uFillTx/>
                <a:latin typeface="Calibri"/>
                <a:ea typeface="+mn-ea"/>
                <a:cs typeface="+mn-cs"/>
              </a:rPr>
              <a:t>Patients received HSV prophylaxi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prstClr val="black"/>
                </a:solidFill>
                <a:effectLst/>
                <a:uLnTx/>
                <a:uFillTx/>
                <a:latin typeface="Calibri"/>
                <a:ea typeface="+mn-ea"/>
                <a:cs typeface="+mn-cs"/>
              </a:rPr>
              <a:t>High-risk cytogenetics included: t(4;14), t(14;16), or del(17p); preliminary data from 316 patients.  </a:t>
            </a:r>
            <a:endParaRPr kumimoji="0" lang="da-DK" sz="900" b="0" i="0" u="none" strike="noStrike" kern="1200" cap="none" spc="0" normalizeH="0" baseline="30000" noProof="0">
              <a:ln>
                <a:noFill/>
              </a:ln>
              <a:solidFill>
                <a:prstClr val="black"/>
              </a:solidFill>
              <a:effectLst/>
              <a:uLnTx/>
              <a:uFillTx/>
              <a:latin typeface="Calibri"/>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prstClr val="black"/>
                </a:solidFill>
                <a:effectLst/>
                <a:uLnTx/>
                <a:uFillTx/>
                <a:latin typeface="Calibri"/>
                <a:ea typeface="+mn-ea"/>
                <a:cs typeface="+mn-cs"/>
              </a:rPr>
              <a:t>Durie BGM</a:t>
            </a:r>
            <a:r>
              <a:rPr kumimoji="0" lang="en-GB" sz="900" b="0" i="0" u="none" strike="noStrike" kern="1200" cap="none" spc="0" normalizeH="0" baseline="0" noProof="0">
                <a:ln>
                  <a:noFill/>
                </a:ln>
                <a:solidFill>
                  <a:prstClr val="black"/>
                </a:solidFill>
                <a:effectLst/>
                <a:uLnTx/>
                <a:uFillTx/>
                <a:latin typeface="Calibri"/>
                <a:ea typeface="+mn-ea"/>
                <a:cs typeface="+mn-cs"/>
              </a:rPr>
              <a:t>, et al. ASH 2018. Abstract 1992; Durie BGM</a:t>
            </a:r>
            <a:r>
              <a:rPr kumimoji="0" lang="en-US" sz="900" b="0" i="0" u="none" strike="noStrike" kern="1200" cap="none" spc="0" normalizeH="0" baseline="0" noProof="0">
                <a:ln>
                  <a:noFill/>
                </a:ln>
                <a:solidFill>
                  <a:prstClr val="black"/>
                </a:solidFill>
                <a:effectLst/>
                <a:uLnTx/>
                <a:uFillTx/>
                <a:latin typeface="Calibri"/>
                <a:ea typeface="+mn-ea"/>
                <a:cs typeface="+mn-cs"/>
              </a:rPr>
              <a:t>, et al. </a:t>
            </a:r>
            <a:r>
              <a:rPr kumimoji="0" lang="en-US" sz="900" b="0" i="1" u="none" strike="noStrike" kern="1200" cap="none" spc="0" normalizeH="0" baseline="0" noProof="0">
                <a:ln>
                  <a:noFill/>
                </a:ln>
                <a:solidFill>
                  <a:prstClr val="black"/>
                </a:solidFill>
                <a:effectLst/>
                <a:uLnTx/>
                <a:uFillTx/>
                <a:latin typeface="Calibri"/>
                <a:ea typeface="+mn-ea"/>
                <a:cs typeface="+mn-cs"/>
              </a:rPr>
              <a:t>Lancet</a:t>
            </a:r>
            <a:r>
              <a:rPr kumimoji="0" lang="en-US" sz="900" b="0" i="0" u="none" strike="noStrike" kern="1200" cap="none" spc="0" normalizeH="0" baseline="0" noProof="0">
                <a:ln>
                  <a:noFill/>
                </a:ln>
                <a:solidFill>
                  <a:prstClr val="black"/>
                </a:solidFill>
                <a:effectLst/>
                <a:uLnTx/>
                <a:uFillTx/>
                <a:latin typeface="Calibri"/>
                <a:ea typeface="+mn-ea"/>
                <a:cs typeface="+mn-cs"/>
              </a:rPr>
              <a:t>. 2017;389:519-527. </a:t>
            </a:r>
            <a:endParaRPr kumimoji="0" lang="en-GB" sz="900" b="0" i="0" u="none" strike="noStrike" kern="1200" cap="none" spc="0" normalizeH="0" baseline="0" noProof="0">
              <a:ln>
                <a:noFill/>
              </a:ln>
              <a:solidFill>
                <a:prstClr val="black"/>
              </a:solidFill>
              <a:effectLst/>
              <a:uLnTx/>
              <a:uFillTx/>
              <a:latin typeface="Calibri"/>
              <a:ea typeface="+mn-ea"/>
              <a:cs typeface="+mn-cs"/>
            </a:endParaRPr>
          </a:p>
        </p:txBody>
      </p:sp>
      <p:grpSp>
        <p:nvGrpSpPr>
          <p:cNvPr id="5" name="Group 4">
            <a:extLst>
              <a:ext uri="{FF2B5EF4-FFF2-40B4-BE49-F238E27FC236}">
                <a16:creationId xmlns:a16="http://schemas.microsoft.com/office/drawing/2014/main" id="{83CB2E9D-3169-4592-BF6C-709EAF736509}"/>
              </a:ext>
            </a:extLst>
          </p:cNvPr>
          <p:cNvGrpSpPr/>
          <p:nvPr/>
        </p:nvGrpSpPr>
        <p:grpSpPr>
          <a:xfrm>
            <a:off x="137160" y="1381707"/>
            <a:ext cx="8740953" cy="2703438"/>
            <a:chOff x="327912" y="1847275"/>
            <a:chExt cx="8740953" cy="3604584"/>
          </a:xfrm>
        </p:grpSpPr>
        <p:sp>
          <p:nvSpPr>
            <p:cNvPr id="4" name="TextBox 3">
              <a:extLst>
                <a:ext uri="{FF2B5EF4-FFF2-40B4-BE49-F238E27FC236}">
                  <a16:creationId xmlns:a16="http://schemas.microsoft.com/office/drawing/2014/main" id="{EEC282F8-DAAB-4189-9224-A139E5657BC9}"/>
                </a:ext>
              </a:extLst>
            </p:cNvPr>
            <p:cNvSpPr txBox="1"/>
            <p:nvPr/>
          </p:nvSpPr>
          <p:spPr>
            <a:xfrm>
              <a:off x="465073" y="3930639"/>
              <a:ext cx="2002793" cy="61555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tratifications: ISS; intent to transplant at progression</a:t>
              </a:r>
            </a:p>
          </p:txBody>
        </p:sp>
        <p:sp>
          <p:nvSpPr>
            <p:cNvPr id="15" name="Rectangle: Rounded Corners 14">
              <a:extLst>
                <a:ext uri="{FF2B5EF4-FFF2-40B4-BE49-F238E27FC236}">
                  <a16:creationId xmlns:a16="http://schemas.microsoft.com/office/drawing/2014/main" id="{AFFC2E9A-AB7A-42B8-AD71-7882984299C9}"/>
                </a:ext>
              </a:extLst>
            </p:cNvPr>
            <p:cNvSpPr/>
            <p:nvPr/>
          </p:nvSpPr>
          <p:spPr>
            <a:xfrm>
              <a:off x="6022541" y="3767690"/>
              <a:ext cx="1479664" cy="1020779"/>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Calibri"/>
                  <a:ea typeface="+mn-ea"/>
                  <a:cs typeface="+mn-cs"/>
                </a:rPr>
                <a:t>Rd</a:t>
              </a:r>
            </a:p>
          </p:txBody>
        </p:sp>
        <p:sp>
          <p:nvSpPr>
            <p:cNvPr id="16" name="Rectangle: Rounded Corners 15">
              <a:extLst>
                <a:ext uri="{FF2B5EF4-FFF2-40B4-BE49-F238E27FC236}">
                  <a16:creationId xmlns:a16="http://schemas.microsoft.com/office/drawing/2014/main" id="{5DE9E996-BAE9-42C9-BA05-930637ABA486}"/>
                </a:ext>
              </a:extLst>
            </p:cNvPr>
            <p:cNvSpPr/>
            <p:nvPr/>
          </p:nvSpPr>
          <p:spPr>
            <a:xfrm>
              <a:off x="6022541" y="1923002"/>
              <a:ext cx="1469606" cy="1020779"/>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Calibri"/>
                  <a:ea typeface="+mn-ea"/>
                  <a:cs typeface="+mn-cs"/>
                </a:rPr>
                <a:t>Rd</a:t>
              </a:r>
            </a:p>
          </p:txBody>
        </p:sp>
        <p:sp>
          <p:nvSpPr>
            <p:cNvPr id="17" name="TextBox 16">
              <a:extLst>
                <a:ext uri="{FF2B5EF4-FFF2-40B4-BE49-F238E27FC236}">
                  <a16:creationId xmlns:a16="http://schemas.microsoft.com/office/drawing/2014/main" id="{688658CF-7C90-461C-99AF-5F6CC818FFF7}"/>
                </a:ext>
              </a:extLst>
            </p:cNvPr>
            <p:cNvSpPr txBox="1"/>
            <p:nvPr/>
          </p:nvSpPr>
          <p:spPr>
            <a:xfrm>
              <a:off x="7617593" y="3029327"/>
              <a:ext cx="1451272" cy="738664"/>
            </a:xfrm>
            <a:prstGeom prst="rect">
              <a:avLst/>
            </a:prstGeom>
            <a:noFill/>
            <a:ln w="28575">
              <a:solidFill>
                <a:srgbClr val="AF0330"/>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Calibri"/>
                  <a:ea typeface="+mn-ea"/>
                  <a:cs typeface="+mn-cs"/>
                </a:rPr>
                <a:t>Primary endpoint: </a:t>
              </a:r>
              <a:r>
                <a:rPr kumimoji="0" lang="en-US" sz="1500" b="1" i="0" u="none" strike="noStrike" kern="1200" cap="none" spc="0" normalizeH="0" baseline="0" noProof="0">
                  <a:ln>
                    <a:noFill/>
                  </a:ln>
                  <a:solidFill>
                    <a:prstClr val="black"/>
                  </a:solidFill>
                  <a:effectLst/>
                  <a:uLnTx/>
                  <a:uFillTx/>
                  <a:latin typeface="Calibri"/>
                  <a:ea typeface="+mn-ea"/>
                  <a:cs typeface="+mn-cs"/>
                </a:rPr>
                <a:t>PFS</a:t>
              </a:r>
            </a:p>
          </p:txBody>
        </p:sp>
        <p:sp>
          <p:nvSpPr>
            <p:cNvPr id="18" name="TextBox 17">
              <a:extLst>
                <a:ext uri="{FF2B5EF4-FFF2-40B4-BE49-F238E27FC236}">
                  <a16:creationId xmlns:a16="http://schemas.microsoft.com/office/drawing/2014/main" id="{52C4F23A-E9F1-4014-8834-AD42A618FDC0}"/>
                </a:ext>
              </a:extLst>
            </p:cNvPr>
            <p:cNvSpPr txBox="1"/>
            <p:nvPr/>
          </p:nvSpPr>
          <p:spPr>
            <a:xfrm>
              <a:off x="3695699" y="3006615"/>
              <a:ext cx="1764145" cy="40010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a:ea typeface="+mn-ea"/>
                  <a:cs typeface="+mn-cs"/>
                </a:rPr>
                <a:t>Eight 21-day cycles</a:t>
              </a:r>
            </a:p>
          </p:txBody>
        </p:sp>
        <p:sp>
          <p:nvSpPr>
            <p:cNvPr id="19" name="TextBox 18">
              <a:extLst>
                <a:ext uri="{FF2B5EF4-FFF2-40B4-BE49-F238E27FC236}">
                  <a16:creationId xmlns:a16="http://schemas.microsoft.com/office/drawing/2014/main" id="{FA4E5CF0-392E-493D-AC86-44718CB38D7E}"/>
                </a:ext>
              </a:extLst>
            </p:cNvPr>
            <p:cNvSpPr txBox="1"/>
            <p:nvPr/>
          </p:nvSpPr>
          <p:spPr>
            <a:xfrm>
              <a:off x="3695699" y="4836306"/>
              <a:ext cx="1764145" cy="40010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a:ea typeface="+mn-ea"/>
                  <a:cs typeface="+mn-cs"/>
                </a:rPr>
                <a:t>Six 28-day cycles</a:t>
              </a:r>
            </a:p>
          </p:txBody>
        </p:sp>
        <p:sp>
          <p:nvSpPr>
            <p:cNvPr id="20" name="TextBox 19">
              <a:extLst>
                <a:ext uri="{FF2B5EF4-FFF2-40B4-BE49-F238E27FC236}">
                  <a16:creationId xmlns:a16="http://schemas.microsoft.com/office/drawing/2014/main" id="{67B3C258-B0E1-4F88-A11F-FCFE03F42B8B}"/>
                </a:ext>
              </a:extLst>
            </p:cNvPr>
            <p:cNvSpPr txBox="1"/>
            <p:nvPr/>
          </p:nvSpPr>
          <p:spPr>
            <a:xfrm>
              <a:off x="6034781" y="4836306"/>
              <a:ext cx="1764145" cy="61555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Len: 25 mg PO</a:t>
              </a:r>
              <a:br>
                <a:rPr kumimoji="0" lang="en-US" sz="1200" b="0" i="0" u="none" strike="noStrike" kern="1200" cap="none" spc="0" normalizeH="0" baseline="0" noProof="0">
                  <a:ln>
                    <a:noFill/>
                  </a:ln>
                  <a:solidFill>
                    <a:prstClr val="black"/>
                  </a:solidFill>
                  <a:effectLst/>
                  <a:uLnTx/>
                  <a:uFillTx/>
                  <a:latin typeface="Calibri"/>
                  <a:ea typeface="+mn-ea"/>
                  <a:cs typeface="+mn-cs"/>
                </a:rPr>
              </a:br>
              <a:r>
                <a:rPr kumimoji="0" lang="en-US" sz="1200" b="0" i="0" u="none" strike="noStrike" kern="1200" cap="none" spc="0" normalizeH="0" baseline="0" noProof="0">
                  <a:ln>
                    <a:noFill/>
                  </a:ln>
                  <a:solidFill>
                    <a:prstClr val="black"/>
                  </a:solidFill>
                  <a:effectLst/>
                  <a:uLnTx/>
                  <a:uFillTx/>
                  <a:latin typeface="Calibri"/>
                  <a:ea typeface="+mn-ea"/>
                  <a:cs typeface="+mn-cs"/>
                </a:rPr>
                <a:t>Until progression</a:t>
              </a:r>
            </a:p>
          </p:txBody>
        </p:sp>
        <p:sp>
          <p:nvSpPr>
            <p:cNvPr id="23" name="Freeform: Shape 22">
              <a:extLst>
                <a:ext uri="{FF2B5EF4-FFF2-40B4-BE49-F238E27FC236}">
                  <a16:creationId xmlns:a16="http://schemas.microsoft.com/office/drawing/2014/main" id="{286ED6FC-A1A4-45E5-8157-B1707F7C190E}"/>
                </a:ext>
              </a:extLst>
            </p:cNvPr>
            <p:cNvSpPr/>
            <p:nvPr/>
          </p:nvSpPr>
          <p:spPr>
            <a:xfrm>
              <a:off x="3324720" y="2406065"/>
              <a:ext cx="182639" cy="1872012"/>
            </a:xfrm>
            <a:custGeom>
              <a:avLst/>
              <a:gdLst>
                <a:gd name="connsiteX0" fmla="*/ 206734 w 214686"/>
                <a:gd name="connsiteY0" fmla="*/ 0 h 1836751"/>
                <a:gd name="connsiteX1" fmla="*/ 0 w 214686"/>
                <a:gd name="connsiteY1" fmla="*/ 0 h 1836751"/>
                <a:gd name="connsiteX2" fmla="*/ 0 w 214686"/>
                <a:gd name="connsiteY2" fmla="*/ 1836751 h 1836751"/>
                <a:gd name="connsiteX3" fmla="*/ 214686 w 214686"/>
                <a:gd name="connsiteY3" fmla="*/ 1836751 h 1836751"/>
              </a:gdLst>
              <a:ahLst/>
              <a:cxnLst>
                <a:cxn ang="0">
                  <a:pos x="connsiteX0" y="connsiteY0"/>
                </a:cxn>
                <a:cxn ang="0">
                  <a:pos x="connsiteX1" y="connsiteY1"/>
                </a:cxn>
                <a:cxn ang="0">
                  <a:pos x="connsiteX2" y="connsiteY2"/>
                </a:cxn>
                <a:cxn ang="0">
                  <a:pos x="connsiteX3" y="connsiteY3"/>
                </a:cxn>
              </a:cxnLst>
              <a:rect l="l" t="t" r="r" b="b"/>
              <a:pathLst>
                <a:path w="214686" h="1836751">
                  <a:moveTo>
                    <a:pt x="206734" y="0"/>
                  </a:moveTo>
                  <a:lnTo>
                    <a:pt x="0" y="0"/>
                  </a:lnTo>
                  <a:lnTo>
                    <a:pt x="0" y="1836751"/>
                  </a:lnTo>
                  <a:lnTo>
                    <a:pt x="214686" y="1836751"/>
                  </a:lnTo>
                </a:path>
              </a:pathLst>
            </a:custGeom>
            <a:noFill/>
            <a:ln>
              <a:solidFill>
                <a:srgbClr val="000000"/>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cxnSp>
          <p:nvCxnSpPr>
            <p:cNvPr id="25" name="Straight Connector 24">
              <a:extLst>
                <a:ext uri="{FF2B5EF4-FFF2-40B4-BE49-F238E27FC236}">
                  <a16:creationId xmlns:a16="http://schemas.microsoft.com/office/drawing/2014/main" id="{6E1B6B7A-9345-4F91-B067-DF15FBCEC917}"/>
                </a:ext>
              </a:extLst>
            </p:cNvPr>
            <p:cNvCxnSpPr>
              <a:cxnSpLocks/>
            </p:cNvCxnSpPr>
            <p:nvPr/>
          </p:nvCxnSpPr>
          <p:spPr>
            <a:xfrm>
              <a:off x="2647974" y="3352493"/>
              <a:ext cx="6447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13CE2254-0820-49FA-9F7A-DD6302C146B6}"/>
                </a:ext>
              </a:extLst>
            </p:cNvPr>
            <p:cNvSpPr/>
            <p:nvPr/>
          </p:nvSpPr>
          <p:spPr>
            <a:xfrm>
              <a:off x="327912" y="2748197"/>
              <a:ext cx="2320062" cy="1180311"/>
            </a:xfrm>
            <a:prstGeom prst="roundRect">
              <a:avLst/>
            </a:prstGeom>
            <a:solidFill>
              <a:srgbClr val="444E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Calibri"/>
                  <a:ea typeface="+mn-ea"/>
                  <a:cs typeface="+mn-cs"/>
                </a:rPr>
                <a:t>Treatment-naive MM without intent for immediate ASCT</a:t>
              </a:r>
              <a:r>
                <a:rPr kumimoji="0" lang="en-US" sz="1350" b="0" i="0" u="none" strike="noStrike" kern="1200" cap="none" spc="0" normalizeH="0" baseline="30000" noProof="0">
                  <a:ln>
                    <a:noFill/>
                  </a:ln>
                  <a:solidFill>
                    <a:prstClr val="white"/>
                  </a:solidFill>
                  <a:effectLst/>
                  <a:uLnTx/>
                  <a:uFillTx/>
                  <a:latin typeface="Calibri"/>
                  <a:ea typeface="+mn-ea"/>
                  <a:cs typeface="+mn-cs"/>
                </a:rPr>
                <a:t>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Calibri"/>
                  <a:ea typeface="+mn-ea"/>
                  <a:cs typeface="+mn-cs"/>
                </a:rPr>
                <a:t>(N = 525)</a:t>
              </a:r>
            </a:p>
          </p:txBody>
        </p:sp>
        <p:sp>
          <p:nvSpPr>
            <p:cNvPr id="21" name="Oval 20">
              <a:extLst>
                <a:ext uri="{FF2B5EF4-FFF2-40B4-BE49-F238E27FC236}">
                  <a16:creationId xmlns:a16="http://schemas.microsoft.com/office/drawing/2014/main" id="{3AC2AD98-C0C3-46EB-83E6-132C346C9ADC}"/>
                </a:ext>
              </a:extLst>
            </p:cNvPr>
            <p:cNvSpPr/>
            <p:nvPr/>
          </p:nvSpPr>
          <p:spPr>
            <a:xfrm>
              <a:off x="3040102" y="3111213"/>
              <a:ext cx="457200" cy="457200"/>
            </a:xfrm>
            <a:prstGeom prst="ellipse">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white"/>
                  </a:solidFill>
                  <a:effectLst/>
                  <a:uLnTx/>
                  <a:uFillTx/>
                  <a:latin typeface="Calibri"/>
                  <a:ea typeface="+mn-ea"/>
                  <a:cs typeface="+mn-cs"/>
                </a:rPr>
                <a:t>R</a:t>
              </a:r>
            </a:p>
          </p:txBody>
        </p:sp>
        <p:cxnSp>
          <p:nvCxnSpPr>
            <p:cNvPr id="28" name="Straight Connector 27">
              <a:extLst>
                <a:ext uri="{FF2B5EF4-FFF2-40B4-BE49-F238E27FC236}">
                  <a16:creationId xmlns:a16="http://schemas.microsoft.com/office/drawing/2014/main" id="{7EE5962B-46C0-4A4C-9082-C6FC5009FC6F}"/>
                </a:ext>
              </a:extLst>
            </p:cNvPr>
            <p:cNvCxnSpPr>
              <a:cxnSpLocks/>
            </p:cNvCxnSpPr>
            <p:nvPr/>
          </p:nvCxnSpPr>
          <p:spPr>
            <a:xfrm>
              <a:off x="5377841" y="2405333"/>
              <a:ext cx="644700" cy="0"/>
            </a:xfrm>
            <a:prstGeom prst="line">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C4924A5D-6C6E-4019-912E-9B48C61331F5}"/>
                </a:ext>
              </a:extLst>
            </p:cNvPr>
            <p:cNvSpPr/>
            <p:nvPr/>
          </p:nvSpPr>
          <p:spPr>
            <a:xfrm>
              <a:off x="3497302" y="1847275"/>
              <a:ext cx="2124364" cy="1126001"/>
            </a:xfrm>
            <a:prstGeom prst="roundRect">
              <a:avLst/>
            </a:prstGeom>
            <a:solidFill>
              <a:srgbClr val="3433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RVd</a:t>
              </a:r>
              <a:r>
                <a:rPr kumimoji="0" lang="en-US" sz="1200" b="0" i="0" u="none" strike="noStrike" kern="1200" cap="none" spc="0" normalizeH="0" baseline="30000" noProof="0">
                  <a:ln>
                    <a:noFill/>
                  </a:ln>
                  <a:solidFill>
                    <a:prstClr val="white"/>
                  </a:solidFill>
                  <a:effectLst/>
                  <a:uLnTx/>
                  <a:uFillTx/>
                  <a:latin typeface="Calibri"/>
                  <a:ea typeface="+mn-ea"/>
                  <a:cs typeface="+mn-cs"/>
                </a:rPr>
                <a:t>b</a:t>
              </a:r>
              <a:r>
                <a:rPr kumimoji="0" lang="en-US" sz="1200" b="0" i="0" u="none" strike="noStrike" kern="1200" cap="none" spc="0" normalizeH="0" baseline="0" noProof="0">
                  <a:ln>
                    <a:noFill/>
                  </a:ln>
                  <a:solidFill>
                    <a:prstClr val="white"/>
                  </a:solidFill>
                  <a:effectLst/>
                  <a:uLnTx/>
                  <a:uFillTx/>
                  <a:latin typeface="Calibri"/>
                  <a:ea typeface="+mn-ea"/>
                  <a:cs typeface="+mn-cs"/>
                </a:rPr>
                <a:t>: Bortezomib</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Lenalidomid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Dexamethason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n = 264)</a:t>
              </a:r>
            </a:p>
          </p:txBody>
        </p:sp>
        <p:cxnSp>
          <p:nvCxnSpPr>
            <p:cNvPr id="29" name="Straight Connector 28">
              <a:extLst>
                <a:ext uri="{FF2B5EF4-FFF2-40B4-BE49-F238E27FC236}">
                  <a16:creationId xmlns:a16="http://schemas.microsoft.com/office/drawing/2014/main" id="{E3366542-4110-4E88-877A-D95C61397225}"/>
                </a:ext>
              </a:extLst>
            </p:cNvPr>
            <p:cNvCxnSpPr>
              <a:cxnSpLocks/>
            </p:cNvCxnSpPr>
            <p:nvPr/>
          </p:nvCxnSpPr>
          <p:spPr>
            <a:xfrm>
              <a:off x="5377841" y="4278079"/>
              <a:ext cx="644700" cy="0"/>
            </a:xfrm>
            <a:prstGeom prst="line">
              <a:avLst/>
            </a:prstGeom>
            <a:ln w="127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269ECB88-FBC9-482C-9A8F-3BA5343D5E15}"/>
                </a:ext>
              </a:extLst>
            </p:cNvPr>
            <p:cNvSpPr/>
            <p:nvPr/>
          </p:nvSpPr>
          <p:spPr>
            <a:xfrm>
              <a:off x="3497302" y="3767690"/>
              <a:ext cx="2124364" cy="1020779"/>
            </a:xfrm>
            <a:prstGeom prst="round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Rd: Lenalidomide</a:t>
              </a:r>
              <a:br>
                <a:rPr kumimoji="0" lang="en-US" sz="1200" b="0" i="0" u="none" strike="noStrike" kern="1200" cap="none" spc="0" normalizeH="0" baseline="0" noProof="0">
                  <a:ln>
                    <a:noFill/>
                  </a:ln>
                  <a:solidFill>
                    <a:prstClr val="white"/>
                  </a:solidFill>
                  <a:effectLst/>
                  <a:uLnTx/>
                  <a:uFillTx/>
                  <a:latin typeface="Calibri"/>
                  <a:ea typeface="+mn-ea"/>
                  <a:cs typeface="+mn-cs"/>
                </a:rPr>
              </a:br>
              <a:r>
                <a:rPr kumimoji="0" lang="en-US" sz="1200" b="0" i="0" u="none" strike="noStrike" kern="1200" cap="none" spc="0" normalizeH="0" baseline="0" noProof="0">
                  <a:ln>
                    <a:noFill/>
                  </a:ln>
                  <a:solidFill>
                    <a:prstClr val="white"/>
                  </a:solidFill>
                  <a:effectLst/>
                  <a:uLnTx/>
                  <a:uFillTx/>
                  <a:latin typeface="Calibri"/>
                  <a:ea typeface="+mn-ea"/>
                  <a:cs typeface="+mn-cs"/>
                </a:rPr>
                <a:t>Dexamethasone</a:t>
              </a:r>
              <a:br>
                <a:rPr kumimoji="0" lang="en-US" sz="1200" b="0" i="0" u="none" strike="noStrike" kern="1200" cap="none" spc="0" normalizeH="0" baseline="0" noProof="0">
                  <a:ln>
                    <a:noFill/>
                  </a:ln>
                  <a:solidFill>
                    <a:prstClr val="white"/>
                  </a:solidFill>
                  <a:effectLst/>
                  <a:uLnTx/>
                  <a:uFillTx/>
                  <a:latin typeface="Calibri"/>
                  <a:ea typeface="+mn-ea"/>
                  <a:cs typeface="+mn-cs"/>
                </a:rPr>
              </a:br>
              <a:r>
                <a:rPr kumimoji="0" lang="en-US" sz="1200" b="0" i="0" u="none" strike="noStrike" kern="1200" cap="none" spc="0" normalizeH="0" baseline="0" noProof="0">
                  <a:ln>
                    <a:noFill/>
                  </a:ln>
                  <a:solidFill>
                    <a:prstClr val="white"/>
                  </a:solidFill>
                  <a:effectLst/>
                  <a:uLnTx/>
                  <a:uFillTx/>
                  <a:latin typeface="Calibri"/>
                  <a:ea typeface="+mn-ea"/>
                  <a:cs typeface="+mn-cs"/>
                </a:rPr>
                <a:t>(n = 261)</a:t>
              </a:r>
            </a:p>
          </p:txBody>
        </p:sp>
      </p:grpSp>
    </p:spTree>
    <p:extLst>
      <p:ext uri="{BB962C8B-B14F-4D97-AF65-F5344CB8AC3E}">
        <p14:creationId xmlns:p14="http://schemas.microsoft.com/office/powerpoint/2010/main" val="423620098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01" y="95220"/>
            <a:ext cx="7886700" cy="994172"/>
          </a:xfrm>
        </p:spPr>
        <p:txBody>
          <a:bodyPr anchor="t">
            <a:normAutofit/>
          </a:bodyPr>
          <a:lstStyle/>
          <a:p>
            <a:r>
              <a:rPr lang="en-US" sz="3000" b="1" noProof="0">
                <a:solidFill>
                  <a:srgbClr val="000090"/>
                </a:solidFill>
              </a:rPr>
              <a:t>SWOG S0777: PFS and OS</a:t>
            </a:r>
          </a:p>
        </p:txBody>
      </p:sp>
      <p:sp>
        <p:nvSpPr>
          <p:cNvPr id="2366" name="TextBox 2365"/>
          <p:cNvSpPr txBox="1"/>
          <p:nvPr/>
        </p:nvSpPr>
        <p:spPr>
          <a:xfrm>
            <a:off x="325236" y="4452017"/>
            <a:ext cx="3094042" cy="3693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Myriad Pro" panose="020B0503030403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2364" name="Rectangle 2363"/>
          <p:cNvSpPr/>
          <p:nvPr/>
        </p:nvSpPr>
        <p:spPr>
          <a:xfrm>
            <a:off x="3151531" y="4368807"/>
            <a:ext cx="2587730" cy="30008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0" fontAlgn="auto" latinLnBrk="0" hangingPunct="0">
              <a:lnSpc>
                <a:spcPct val="90000"/>
              </a:lnSpc>
              <a:spcBef>
                <a:spcPts val="0"/>
              </a:spcBef>
              <a:spcAft>
                <a:spcPts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Triplet is better than a doublet</a:t>
            </a:r>
          </a:p>
        </p:txBody>
      </p:sp>
      <p:sp>
        <p:nvSpPr>
          <p:cNvPr id="2367" name="Oval 2366"/>
          <p:cNvSpPr/>
          <p:nvPr/>
        </p:nvSpPr>
        <p:spPr>
          <a:xfrm>
            <a:off x="2816827" y="4348756"/>
            <a:ext cx="394888" cy="317102"/>
          </a:xfrm>
          <a:prstGeom prst="ellipse">
            <a:avLst/>
          </a:prstGeom>
          <a:solidFill>
            <a:srgbClr val="AF0330"/>
          </a:solidFill>
          <a:ln>
            <a:noFill/>
          </a:ln>
          <a:effectLst>
            <a:outerShdw blurRad="63500" dist="889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00"/>
              </a:solidFill>
              <a:effectLst/>
              <a:uLnTx/>
              <a:uFillTx/>
              <a:latin typeface="Arial" panose="020B0604020202020204" pitchFamily="34" charset="0"/>
              <a:ea typeface="+mn-ea"/>
              <a:cs typeface="Arial" panose="020B0604020202020204" pitchFamily="34" charset="0"/>
            </a:endParaRPr>
          </a:p>
        </p:txBody>
      </p:sp>
      <p:sp>
        <p:nvSpPr>
          <p:cNvPr id="2371" name="TextBox 2370">
            <a:extLst>
              <a:ext uri="{FF2B5EF4-FFF2-40B4-BE49-F238E27FC236}">
                <a16:creationId xmlns:a16="http://schemas.microsoft.com/office/drawing/2014/main" id="{B4AE4373-2DC0-4622-8FC6-9CC1BFAF8335}"/>
              </a:ext>
            </a:extLst>
          </p:cNvPr>
          <p:cNvSpPr txBox="1"/>
          <p:nvPr/>
        </p:nvSpPr>
        <p:spPr>
          <a:xfrm>
            <a:off x="0" y="4905292"/>
            <a:ext cx="2374647" cy="230832"/>
          </a:xfrm>
          <a:prstGeom prst="rect">
            <a:avLst/>
          </a:prstGeom>
          <a:noFill/>
        </p:spPr>
        <p:txBody>
          <a:bodyPr wrap="square"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Calibri"/>
                <a:ea typeface="+mn-ea"/>
                <a:cs typeface="+mn-cs"/>
              </a:rPr>
              <a:t>Durie BGM</a:t>
            </a:r>
            <a:r>
              <a:rPr kumimoji="0" lang="en-US" sz="900" b="0" i="0" u="none" strike="noStrike" kern="1200" cap="none" spc="0" normalizeH="0" baseline="0" noProof="0">
                <a:ln>
                  <a:noFill/>
                </a:ln>
                <a:solidFill>
                  <a:prstClr val="black"/>
                </a:solidFill>
                <a:effectLst/>
                <a:uLnTx/>
                <a:uFillTx/>
                <a:latin typeface="Calibri"/>
                <a:ea typeface="+mn-ea"/>
                <a:cs typeface="+mn-cs"/>
              </a:rPr>
              <a:t>, et al. </a:t>
            </a:r>
            <a:r>
              <a:rPr kumimoji="0" lang="en-US" sz="900" b="0" i="1" u="none" strike="noStrike" kern="1200" cap="none" spc="0" normalizeH="0" baseline="0" noProof="0">
                <a:ln>
                  <a:noFill/>
                </a:ln>
                <a:solidFill>
                  <a:prstClr val="black"/>
                </a:solidFill>
                <a:effectLst/>
                <a:uLnTx/>
                <a:uFillTx/>
                <a:latin typeface="Calibri"/>
                <a:ea typeface="+mn-ea"/>
                <a:cs typeface="+mn-cs"/>
              </a:rPr>
              <a:t>Lancet</a:t>
            </a:r>
            <a:r>
              <a:rPr kumimoji="0" lang="en-US" sz="900" b="0" i="0" u="none" strike="noStrike" kern="1200" cap="none" spc="0" normalizeH="0" baseline="0" noProof="0">
                <a:ln>
                  <a:noFill/>
                </a:ln>
                <a:solidFill>
                  <a:prstClr val="black"/>
                </a:solidFill>
                <a:effectLst/>
                <a:uLnTx/>
                <a:uFillTx/>
                <a:latin typeface="Calibri"/>
                <a:ea typeface="+mn-ea"/>
                <a:cs typeface="+mn-cs"/>
              </a:rPr>
              <a:t>. 2017;389:519-527.</a:t>
            </a:r>
          </a:p>
        </p:txBody>
      </p:sp>
      <p:sp>
        <p:nvSpPr>
          <p:cNvPr id="6" name="TextBox 5">
            <a:extLst>
              <a:ext uri="{FF2B5EF4-FFF2-40B4-BE49-F238E27FC236}">
                <a16:creationId xmlns:a16="http://schemas.microsoft.com/office/drawing/2014/main" id="{CF03B973-100C-4252-B31B-975993C052AB}"/>
              </a:ext>
            </a:extLst>
          </p:cNvPr>
          <p:cNvSpPr txBox="1"/>
          <p:nvPr/>
        </p:nvSpPr>
        <p:spPr>
          <a:xfrm>
            <a:off x="1280443" y="1065679"/>
            <a:ext cx="2081774"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a:ea typeface="+mn-ea"/>
                <a:cs typeface="+mn-cs"/>
              </a:rPr>
              <a:t>Progression-Free Surviv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By assigned treatment arm</a:t>
            </a:r>
          </a:p>
        </p:txBody>
      </p:sp>
      <p:sp>
        <p:nvSpPr>
          <p:cNvPr id="2373" name="TextBox 2372">
            <a:extLst>
              <a:ext uri="{FF2B5EF4-FFF2-40B4-BE49-F238E27FC236}">
                <a16:creationId xmlns:a16="http://schemas.microsoft.com/office/drawing/2014/main" id="{87123A53-D412-41D8-B842-84FF9D071EAE}"/>
              </a:ext>
            </a:extLst>
          </p:cNvPr>
          <p:cNvSpPr txBox="1"/>
          <p:nvPr/>
        </p:nvSpPr>
        <p:spPr>
          <a:xfrm>
            <a:off x="5781783" y="1062032"/>
            <a:ext cx="2081774"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a:ea typeface="+mn-ea"/>
                <a:cs typeface="+mn-cs"/>
              </a:rPr>
              <a:t>Overall Surviv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By assigned treatment arm</a:t>
            </a:r>
          </a:p>
        </p:txBody>
      </p:sp>
      <p:grpSp>
        <p:nvGrpSpPr>
          <p:cNvPr id="13" name="Group 12">
            <a:extLst>
              <a:ext uri="{FF2B5EF4-FFF2-40B4-BE49-F238E27FC236}">
                <a16:creationId xmlns:a16="http://schemas.microsoft.com/office/drawing/2014/main" id="{C285CFEE-8935-47BD-B486-C710D0BFE7B6}"/>
              </a:ext>
            </a:extLst>
          </p:cNvPr>
          <p:cNvGrpSpPr/>
          <p:nvPr/>
        </p:nvGrpSpPr>
        <p:grpSpPr>
          <a:xfrm>
            <a:off x="313694" y="1654134"/>
            <a:ext cx="3728127" cy="2408986"/>
            <a:chOff x="787407" y="1483000"/>
            <a:chExt cx="4970836" cy="3211982"/>
          </a:xfrm>
        </p:grpSpPr>
        <p:sp>
          <p:nvSpPr>
            <p:cNvPr id="2372" name="TextBox 2371">
              <a:extLst>
                <a:ext uri="{FF2B5EF4-FFF2-40B4-BE49-F238E27FC236}">
                  <a16:creationId xmlns:a16="http://schemas.microsoft.com/office/drawing/2014/main" id="{E28784B4-B723-4EC8-81FD-0AAA3D0D2012}"/>
                </a:ext>
              </a:extLst>
            </p:cNvPr>
            <p:cNvSpPr txBox="1"/>
            <p:nvPr/>
          </p:nvSpPr>
          <p:spPr>
            <a:xfrm rot="16200000">
              <a:off x="-431164" y="2762324"/>
              <a:ext cx="2775698" cy="338555"/>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44E54"/>
                  </a:solidFill>
                  <a:effectLst/>
                  <a:uLnTx/>
                  <a:uFillTx/>
                  <a:latin typeface="Calibri"/>
                  <a:ea typeface="+mn-ea"/>
                  <a:cs typeface="+mn-cs"/>
                </a:rPr>
                <a:t>Progression-free survival (%)</a:t>
              </a:r>
            </a:p>
          </p:txBody>
        </p:sp>
        <p:sp>
          <p:nvSpPr>
            <p:cNvPr id="2376" name="TextBox 2375">
              <a:extLst>
                <a:ext uri="{FF2B5EF4-FFF2-40B4-BE49-F238E27FC236}">
                  <a16:creationId xmlns:a16="http://schemas.microsoft.com/office/drawing/2014/main" id="{522D2F72-345B-4EB8-8DF4-69F69ED7A4E0}"/>
                </a:ext>
              </a:extLst>
            </p:cNvPr>
            <p:cNvSpPr txBox="1"/>
            <p:nvPr/>
          </p:nvSpPr>
          <p:spPr>
            <a:xfrm>
              <a:off x="1875736" y="4356427"/>
              <a:ext cx="2775699" cy="338555"/>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44E54"/>
                  </a:solidFill>
                  <a:effectLst/>
                  <a:uLnTx/>
                  <a:uFillTx/>
                  <a:latin typeface="Calibri"/>
                  <a:ea typeface="+mn-ea"/>
                  <a:cs typeface="+mn-cs"/>
                </a:rPr>
                <a:t>Months from registration</a:t>
              </a:r>
            </a:p>
          </p:txBody>
        </p:sp>
        <p:grpSp>
          <p:nvGrpSpPr>
            <p:cNvPr id="12" name="Group 11">
              <a:extLst>
                <a:ext uri="{FF2B5EF4-FFF2-40B4-BE49-F238E27FC236}">
                  <a16:creationId xmlns:a16="http://schemas.microsoft.com/office/drawing/2014/main" id="{019ED03A-7E5D-4319-A3AE-416B34223726}"/>
                </a:ext>
              </a:extLst>
            </p:cNvPr>
            <p:cNvGrpSpPr/>
            <p:nvPr/>
          </p:nvGrpSpPr>
          <p:grpSpPr>
            <a:xfrm>
              <a:off x="1119246" y="1483000"/>
              <a:ext cx="4638997" cy="2874308"/>
              <a:chOff x="1119246" y="1483000"/>
              <a:chExt cx="4638997" cy="2874308"/>
            </a:xfrm>
          </p:grpSpPr>
          <p:grpSp>
            <p:nvGrpSpPr>
              <p:cNvPr id="11" name="Group 10">
                <a:extLst>
                  <a:ext uri="{FF2B5EF4-FFF2-40B4-BE49-F238E27FC236}">
                    <a16:creationId xmlns:a16="http://schemas.microsoft.com/office/drawing/2014/main" id="{452E2E2F-DDD2-4A63-96A3-650C231BA9BE}"/>
                  </a:ext>
                </a:extLst>
              </p:cNvPr>
              <p:cNvGrpSpPr/>
              <p:nvPr/>
            </p:nvGrpSpPr>
            <p:grpSpPr>
              <a:xfrm>
                <a:off x="1119246" y="1483000"/>
                <a:ext cx="4638997" cy="2874308"/>
                <a:chOff x="838200" y="1052092"/>
                <a:chExt cx="4638997" cy="2874308"/>
              </a:xfrm>
            </p:grpSpPr>
            <p:pic>
              <p:nvPicPr>
                <p:cNvPr id="5" name="Picture 4" descr="Chart&#10;&#10;Description automatically generated">
                  <a:extLst>
                    <a:ext uri="{FF2B5EF4-FFF2-40B4-BE49-F238E27FC236}">
                      <a16:creationId xmlns:a16="http://schemas.microsoft.com/office/drawing/2014/main" id="{FA3D2D4C-8A33-4ABB-9D21-E7A61F70C19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38200" y="1052092"/>
                  <a:ext cx="4638997" cy="2874308"/>
                </a:xfrm>
                <a:prstGeom prst="rect">
                  <a:avLst/>
                </a:prstGeom>
              </p:spPr>
            </p:pic>
            <p:sp>
              <p:nvSpPr>
                <p:cNvPr id="10" name="Rectangle 9">
                  <a:extLst>
                    <a:ext uri="{FF2B5EF4-FFF2-40B4-BE49-F238E27FC236}">
                      <a16:creationId xmlns:a16="http://schemas.microsoft.com/office/drawing/2014/main" id="{1C85589F-13D4-4406-B9AE-5A26D8E67BEE}"/>
                    </a:ext>
                  </a:extLst>
                </p:cNvPr>
                <p:cNvSpPr/>
                <p:nvPr/>
              </p:nvSpPr>
              <p:spPr>
                <a:xfrm>
                  <a:off x="1181568" y="2707561"/>
                  <a:ext cx="1923173" cy="971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sp>
            <p:nvSpPr>
              <p:cNvPr id="2365" name="TextBox 2364"/>
              <p:cNvSpPr txBox="1"/>
              <p:nvPr/>
            </p:nvSpPr>
            <p:spPr>
              <a:xfrm>
                <a:off x="1425669" y="3649215"/>
                <a:ext cx="3090408" cy="492443"/>
              </a:xfrm>
              <a:prstGeom prst="rect">
                <a:avLst/>
              </a:prstGeom>
              <a:solidFill>
                <a:schemeClr val="bg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44E54"/>
                    </a:solidFill>
                    <a:effectLst/>
                    <a:uLnTx/>
                    <a:uFillTx/>
                    <a:latin typeface="Calibri"/>
                    <a:ea typeface="+mn-ea"/>
                    <a:cs typeface="+mn-cs"/>
                  </a:rPr>
                  <a:t>HR = 0.712 (0.560–0.906)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44E54"/>
                    </a:solidFill>
                    <a:effectLst/>
                    <a:uLnTx/>
                    <a:uFillTx/>
                    <a:latin typeface="Calibri"/>
                    <a:ea typeface="+mn-ea"/>
                    <a:cs typeface="+mn-cs"/>
                  </a:rPr>
                  <a:t>Log-rank </a:t>
                </a:r>
                <a:r>
                  <a:rPr kumimoji="0" lang="en-US" sz="900" b="1" i="1" u="none" strike="noStrike" kern="1200" cap="none" spc="0" normalizeH="0" baseline="0" noProof="0">
                    <a:ln>
                      <a:noFill/>
                    </a:ln>
                    <a:solidFill>
                      <a:srgbClr val="444E54"/>
                    </a:solidFill>
                    <a:effectLst/>
                    <a:uLnTx/>
                    <a:uFillTx/>
                    <a:latin typeface="Calibri"/>
                    <a:ea typeface="+mn-ea"/>
                    <a:cs typeface="+mn-cs"/>
                  </a:rPr>
                  <a:t>P</a:t>
                </a:r>
                <a:r>
                  <a:rPr kumimoji="0" lang="en-US" sz="900" b="1" i="0" u="none" strike="noStrike" kern="1200" cap="none" spc="0" normalizeH="0" baseline="0" noProof="0">
                    <a:ln>
                      <a:noFill/>
                    </a:ln>
                    <a:solidFill>
                      <a:srgbClr val="444E54"/>
                    </a:solidFill>
                    <a:effectLst/>
                    <a:uLnTx/>
                    <a:uFillTx/>
                    <a:latin typeface="Calibri"/>
                    <a:ea typeface="+mn-ea"/>
                    <a:cs typeface="+mn-cs"/>
                  </a:rPr>
                  <a:t> value = .0018 (one sided)</a:t>
                </a:r>
              </a:p>
            </p:txBody>
          </p:sp>
        </p:grpSp>
      </p:grpSp>
      <p:graphicFrame>
        <p:nvGraphicFramePr>
          <p:cNvPr id="2377" name="Table 2376">
            <a:extLst>
              <a:ext uri="{FF2B5EF4-FFF2-40B4-BE49-F238E27FC236}">
                <a16:creationId xmlns:a16="http://schemas.microsoft.com/office/drawing/2014/main" id="{0A108ED0-51E4-48D0-8521-6CC2F0BBCD72}"/>
              </a:ext>
            </a:extLst>
          </p:cNvPr>
          <p:cNvGraphicFramePr>
            <a:graphicFrameLocks noGrp="1"/>
          </p:cNvGraphicFramePr>
          <p:nvPr>
            <p:extLst>
              <p:ext uri="{D42A27DB-BD31-4B8C-83A1-F6EECF244321}">
                <p14:modId xmlns:p14="http://schemas.microsoft.com/office/powerpoint/2010/main" val="3735399530"/>
              </p:ext>
            </p:extLst>
          </p:nvPr>
        </p:nvGraphicFramePr>
        <p:xfrm>
          <a:off x="2087453" y="1727056"/>
          <a:ext cx="1898124" cy="508636"/>
        </p:xfrm>
        <a:graphic>
          <a:graphicData uri="http://schemas.openxmlformats.org/drawingml/2006/table">
            <a:tbl>
              <a:tblPr firstRow="1" bandRow="1">
                <a:tableStyleId>{3B4B98B0-60AC-42C2-AFA5-B58CD77FA1E5}</a:tableStyleId>
              </a:tblPr>
              <a:tblGrid>
                <a:gridCol w="481029">
                  <a:extLst>
                    <a:ext uri="{9D8B030D-6E8A-4147-A177-3AD203B41FA5}">
                      <a16:colId xmlns:a16="http://schemas.microsoft.com/office/drawing/2014/main" val="3925278290"/>
                    </a:ext>
                  </a:extLst>
                </a:gridCol>
                <a:gridCol w="595714">
                  <a:extLst>
                    <a:ext uri="{9D8B030D-6E8A-4147-A177-3AD203B41FA5}">
                      <a16:colId xmlns:a16="http://schemas.microsoft.com/office/drawing/2014/main" val="1169567585"/>
                    </a:ext>
                  </a:extLst>
                </a:gridCol>
                <a:gridCol w="821381">
                  <a:extLst>
                    <a:ext uri="{9D8B030D-6E8A-4147-A177-3AD203B41FA5}">
                      <a16:colId xmlns:a16="http://schemas.microsoft.com/office/drawing/2014/main" val="2282116442"/>
                    </a:ext>
                  </a:extLst>
                </a:gridCol>
              </a:tblGrid>
              <a:tr h="25146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en-US" sz="800">
                        <a:solidFill>
                          <a:schemeClr val="accent1">
                            <a:lumMod val="50000"/>
                          </a:schemeClr>
                        </a:solidFill>
                        <a:latin typeface="+mn-lt"/>
                      </a:endParaRPr>
                    </a:p>
                  </a:txBody>
                  <a:tcPr marR="0" marT="0" marB="0" anchor="ctr">
                    <a:lnL>
                      <a:noFill/>
                    </a:lnL>
                    <a:lnR>
                      <a:noFill/>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r>
                        <a:rPr lang="en-GB" sz="800" b="1">
                          <a:solidFill>
                            <a:schemeClr val="accent1">
                              <a:lumMod val="50000"/>
                            </a:schemeClr>
                          </a:solidFill>
                          <a:latin typeface="+mn-lt"/>
                          <a:cs typeface="Arial" panose="020B0604020202020204" pitchFamily="34" charset="0"/>
                        </a:rPr>
                        <a:t>Events</a:t>
                      </a:r>
                    </a:p>
                    <a:p>
                      <a:pPr marL="0" indent="0" algn="ctr"/>
                      <a:r>
                        <a:rPr lang="en-GB" sz="800" b="1">
                          <a:solidFill>
                            <a:schemeClr val="accent1">
                              <a:lumMod val="50000"/>
                            </a:schemeClr>
                          </a:solidFill>
                          <a:latin typeface="+mn-lt"/>
                          <a:cs typeface="Arial" panose="020B0604020202020204" pitchFamily="34" charset="0"/>
                        </a:rPr>
                        <a:t>(n/N)</a:t>
                      </a:r>
                      <a:endParaRPr lang="en-US" sz="800">
                        <a:solidFill>
                          <a:schemeClr val="accent1">
                            <a:lumMod val="50000"/>
                          </a:schemeClr>
                        </a:solidFill>
                        <a:latin typeface="+mn-lt"/>
                      </a:endParaRPr>
                    </a:p>
                  </a:txBody>
                  <a:tcPr marR="0" marT="0" marB="0" anchor="ctr">
                    <a:lnL>
                      <a:noFill/>
                    </a:lnL>
                    <a:lnR>
                      <a:noFill/>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a:solidFill>
                            <a:schemeClr val="accent1">
                              <a:lumMod val="50000"/>
                            </a:schemeClr>
                          </a:solidFill>
                          <a:latin typeface="+mn-lt"/>
                        </a:rPr>
                        <a:t>Median, months</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a:solidFill>
                            <a:schemeClr val="accent1">
                              <a:lumMod val="50000"/>
                            </a:schemeClr>
                          </a:solidFill>
                          <a:latin typeface="+mn-lt"/>
                        </a:rPr>
                        <a:t>(95% CI)</a:t>
                      </a:r>
                    </a:p>
                  </a:txBody>
                  <a:tcPr marR="0" marT="0" marB="0" anchor="ctr">
                    <a:lnL>
                      <a:noFill/>
                    </a:lnL>
                    <a:lnR>
                      <a:noFill/>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1644963"/>
                  </a:ext>
                </a:extLst>
              </a:tr>
              <a:tr h="128588">
                <a:tc>
                  <a:txBody>
                    <a:bodyPr/>
                    <a:lstStyle/>
                    <a:p>
                      <a:pPr marL="0" marR="0" algn="r">
                        <a:lnSpc>
                          <a:spcPct val="107000"/>
                        </a:lnSpc>
                        <a:spcBef>
                          <a:spcPts val="300"/>
                        </a:spcBef>
                        <a:spcAft>
                          <a:spcPts val="0"/>
                        </a:spcAft>
                      </a:pPr>
                      <a:r>
                        <a:rPr lang="en-US" sz="800" b="1">
                          <a:solidFill>
                            <a:schemeClr val="tx1"/>
                          </a:solidFill>
                          <a:effectLst/>
                          <a:latin typeface="+mn-lt"/>
                        </a:rPr>
                        <a:t>VRd</a:t>
                      </a:r>
                    </a:p>
                  </a:txBody>
                  <a:tcPr marL="66576" marR="66576" marT="0" marB="0" anchor="ct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algn="ctr">
                        <a:lnSpc>
                          <a:spcPct val="107000"/>
                        </a:lnSpc>
                        <a:spcBef>
                          <a:spcPts val="300"/>
                        </a:spcBef>
                        <a:spcAft>
                          <a:spcPts val="0"/>
                        </a:spcAft>
                      </a:pPr>
                      <a:r>
                        <a:rPr lang="en-US" sz="800" b="0">
                          <a:solidFill>
                            <a:schemeClr val="tx1"/>
                          </a:solidFill>
                          <a:effectLst/>
                          <a:latin typeface="+mn-lt"/>
                          <a:ea typeface="Calibri" panose="020F0502020204030204" pitchFamily="34" charset="0"/>
                          <a:cs typeface="Times New Roman" panose="02020603050405020304" pitchFamily="18" charset="0"/>
                        </a:rPr>
                        <a:t>137/242</a:t>
                      </a:r>
                    </a:p>
                  </a:txBody>
                  <a:tcPr marL="68580" marR="68580" marT="0" marB="0" anchor="ct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algn="ctr">
                        <a:lnSpc>
                          <a:spcPct val="107000"/>
                        </a:lnSpc>
                        <a:spcBef>
                          <a:spcPts val="300"/>
                        </a:spcBef>
                        <a:spcAft>
                          <a:spcPts val="0"/>
                        </a:spcAft>
                      </a:pPr>
                      <a:r>
                        <a:rPr lang="en-US" sz="800" b="0">
                          <a:solidFill>
                            <a:schemeClr val="tx1"/>
                          </a:solidFill>
                          <a:effectLst/>
                          <a:latin typeface="+mn-lt"/>
                          <a:ea typeface="Calibri" panose="020F0502020204030204" pitchFamily="34" charset="0"/>
                          <a:cs typeface="Times New Roman" panose="02020603050405020304" pitchFamily="18" charset="0"/>
                        </a:rPr>
                        <a:t>43 (39-52)</a:t>
                      </a:r>
                    </a:p>
                  </a:txBody>
                  <a:tcPr marL="68580" marR="68580" marT="0" marB="0" anchor="ct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293416840"/>
                  </a:ext>
                </a:extLst>
              </a:tr>
              <a:tr h="128588">
                <a:tc>
                  <a:txBody>
                    <a:bodyPr/>
                    <a:lstStyle/>
                    <a:p>
                      <a:pPr marL="0" marR="0" algn="r">
                        <a:lnSpc>
                          <a:spcPct val="107000"/>
                        </a:lnSpc>
                        <a:spcBef>
                          <a:spcPts val="300"/>
                        </a:spcBef>
                        <a:spcAft>
                          <a:spcPts val="0"/>
                        </a:spcAft>
                      </a:pPr>
                      <a:r>
                        <a:rPr lang="en-US" sz="800" b="1">
                          <a:solidFill>
                            <a:schemeClr val="tx1"/>
                          </a:solidFill>
                          <a:effectLst/>
                          <a:latin typeface="+mn-lt"/>
                        </a:rPr>
                        <a:t>Rd</a:t>
                      </a:r>
                    </a:p>
                  </a:txBody>
                  <a:tcPr marL="66576" marR="6657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300"/>
                        </a:spcBef>
                        <a:spcAft>
                          <a:spcPts val="0"/>
                        </a:spcAft>
                      </a:pPr>
                      <a:r>
                        <a:rPr lang="en-US" sz="800" b="0">
                          <a:solidFill>
                            <a:schemeClr val="tx1"/>
                          </a:solidFill>
                          <a:effectLst/>
                          <a:latin typeface="+mn-lt"/>
                          <a:ea typeface="Calibri" panose="020F0502020204030204" pitchFamily="34" charset="0"/>
                          <a:cs typeface="Times New Roman" panose="02020603050405020304" pitchFamily="18" charset="0"/>
                        </a:rPr>
                        <a:t>166/22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300"/>
                        </a:spcBef>
                        <a:spcAft>
                          <a:spcPts val="0"/>
                        </a:spcAft>
                      </a:pPr>
                      <a:r>
                        <a:rPr lang="en-US" sz="800" b="0">
                          <a:solidFill>
                            <a:schemeClr val="tx1"/>
                          </a:solidFill>
                          <a:effectLst/>
                          <a:latin typeface="+mn-lt"/>
                          <a:ea typeface="Calibri" panose="020F0502020204030204" pitchFamily="34" charset="0"/>
                          <a:cs typeface="Times New Roman" panose="02020603050405020304" pitchFamily="18" charset="0"/>
                        </a:rPr>
                        <a:t>30 (25-3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155315"/>
                  </a:ext>
                </a:extLst>
              </a:tr>
            </a:tbl>
          </a:graphicData>
        </a:graphic>
      </p:graphicFrame>
      <p:cxnSp>
        <p:nvCxnSpPr>
          <p:cNvPr id="15" name="Straight Connector 14">
            <a:extLst>
              <a:ext uri="{FF2B5EF4-FFF2-40B4-BE49-F238E27FC236}">
                <a16:creationId xmlns:a16="http://schemas.microsoft.com/office/drawing/2014/main" id="{A1E4A465-1F34-4EAA-98D7-A58DCB2E506F}"/>
              </a:ext>
            </a:extLst>
          </p:cNvPr>
          <p:cNvCxnSpPr/>
          <p:nvPr/>
        </p:nvCxnSpPr>
        <p:spPr>
          <a:xfrm>
            <a:off x="2087453" y="2047557"/>
            <a:ext cx="178265" cy="0"/>
          </a:xfrm>
          <a:prstGeom prst="line">
            <a:avLst/>
          </a:prstGeom>
          <a:ln w="19050">
            <a:solidFill>
              <a:srgbClr val="AF0330"/>
            </a:solidFill>
          </a:ln>
        </p:spPr>
        <p:style>
          <a:lnRef idx="1">
            <a:schemeClr val="accent1"/>
          </a:lnRef>
          <a:fillRef idx="0">
            <a:schemeClr val="accent1"/>
          </a:fillRef>
          <a:effectRef idx="0">
            <a:schemeClr val="accent1"/>
          </a:effectRef>
          <a:fontRef idx="minor">
            <a:schemeClr val="tx1"/>
          </a:fontRef>
        </p:style>
      </p:cxnSp>
      <p:cxnSp>
        <p:nvCxnSpPr>
          <p:cNvPr id="2378" name="Straight Connector 2377">
            <a:extLst>
              <a:ext uri="{FF2B5EF4-FFF2-40B4-BE49-F238E27FC236}">
                <a16:creationId xmlns:a16="http://schemas.microsoft.com/office/drawing/2014/main" id="{1A0AFE33-4B4D-4CD5-AFD6-49DF6E869E87}"/>
              </a:ext>
            </a:extLst>
          </p:cNvPr>
          <p:cNvCxnSpPr/>
          <p:nvPr/>
        </p:nvCxnSpPr>
        <p:spPr>
          <a:xfrm>
            <a:off x="2087453" y="2176817"/>
            <a:ext cx="178265" cy="0"/>
          </a:xfrm>
          <a:prstGeom prst="line">
            <a:avLst/>
          </a:prstGeom>
          <a:ln w="19050">
            <a:solidFill>
              <a:srgbClr val="23A7CF"/>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5484C9E0-EFE7-4F80-BDA7-1AF5433A3A58}"/>
              </a:ext>
            </a:extLst>
          </p:cNvPr>
          <p:cNvGrpSpPr/>
          <p:nvPr/>
        </p:nvGrpSpPr>
        <p:grpSpPr>
          <a:xfrm>
            <a:off x="4621771" y="1636141"/>
            <a:ext cx="3727628" cy="2421545"/>
            <a:chOff x="6304936" y="1868648"/>
            <a:chExt cx="4970171" cy="3228727"/>
          </a:xfrm>
        </p:grpSpPr>
        <p:sp>
          <p:nvSpPr>
            <p:cNvPr id="2374" name="TextBox 2373">
              <a:extLst>
                <a:ext uri="{FF2B5EF4-FFF2-40B4-BE49-F238E27FC236}">
                  <a16:creationId xmlns:a16="http://schemas.microsoft.com/office/drawing/2014/main" id="{092E2774-EC53-48D0-B5F4-163D357D03D8}"/>
                </a:ext>
              </a:extLst>
            </p:cNvPr>
            <p:cNvSpPr txBox="1"/>
            <p:nvPr/>
          </p:nvSpPr>
          <p:spPr>
            <a:xfrm rot="16200000">
              <a:off x="5086364" y="3136524"/>
              <a:ext cx="2775699" cy="338555"/>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44E54"/>
                  </a:solidFill>
                  <a:effectLst/>
                  <a:uLnTx/>
                  <a:uFillTx/>
                  <a:latin typeface="Calibri"/>
                  <a:ea typeface="+mn-ea"/>
                  <a:cs typeface="+mn-cs"/>
                </a:rPr>
                <a:t>Overall survival (%)</a:t>
              </a:r>
            </a:p>
          </p:txBody>
        </p:sp>
        <p:sp>
          <p:nvSpPr>
            <p:cNvPr id="2375" name="TextBox 2374">
              <a:extLst>
                <a:ext uri="{FF2B5EF4-FFF2-40B4-BE49-F238E27FC236}">
                  <a16:creationId xmlns:a16="http://schemas.microsoft.com/office/drawing/2014/main" id="{8095F5C1-9245-47BE-ACCE-EB43793BEE89}"/>
                </a:ext>
              </a:extLst>
            </p:cNvPr>
            <p:cNvSpPr txBox="1"/>
            <p:nvPr/>
          </p:nvSpPr>
          <p:spPr>
            <a:xfrm>
              <a:off x="7384392" y="4758820"/>
              <a:ext cx="2775698" cy="338555"/>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44E54"/>
                  </a:solidFill>
                  <a:effectLst/>
                  <a:uLnTx/>
                  <a:uFillTx/>
                  <a:latin typeface="Calibri"/>
                  <a:ea typeface="+mn-ea"/>
                  <a:cs typeface="+mn-cs"/>
                </a:rPr>
                <a:t>Months from registration</a:t>
              </a:r>
            </a:p>
          </p:txBody>
        </p:sp>
        <p:grpSp>
          <p:nvGrpSpPr>
            <p:cNvPr id="17" name="Group 16">
              <a:extLst>
                <a:ext uri="{FF2B5EF4-FFF2-40B4-BE49-F238E27FC236}">
                  <a16:creationId xmlns:a16="http://schemas.microsoft.com/office/drawing/2014/main" id="{AF85F59D-F62D-416B-9F86-6DA1F7EE292E}"/>
                </a:ext>
              </a:extLst>
            </p:cNvPr>
            <p:cNvGrpSpPr/>
            <p:nvPr/>
          </p:nvGrpSpPr>
          <p:grpSpPr>
            <a:xfrm>
              <a:off x="6608756" y="1868648"/>
              <a:ext cx="4666351" cy="2874308"/>
              <a:chOff x="6608756" y="1868648"/>
              <a:chExt cx="4666351" cy="2874308"/>
            </a:xfrm>
          </p:grpSpPr>
          <p:grpSp>
            <p:nvGrpSpPr>
              <p:cNvPr id="16" name="Group 15">
                <a:extLst>
                  <a:ext uri="{FF2B5EF4-FFF2-40B4-BE49-F238E27FC236}">
                    <a16:creationId xmlns:a16="http://schemas.microsoft.com/office/drawing/2014/main" id="{137E417C-73D9-453A-85E9-41C0103777EF}"/>
                  </a:ext>
                </a:extLst>
              </p:cNvPr>
              <p:cNvGrpSpPr/>
              <p:nvPr/>
            </p:nvGrpSpPr>
            <p:grpSpPr>
              <a:xfrm>
                <a:off x="6608756" y="1868648"/>
                <a:ext cx="4666351" cy="2874308"/>
                <a:chOff x="6586848" y="1868648"/>
                <a:chExt cx="4666351" cy="2874308"/>
              </a:xfrm>
            </p:grpSpPr>
            <p:pic>
              <p:nvPicPr>
                <p:cNvPr id="9" name="Picture 8" descr="Chart, line chart&#10;&#10;Description automatically generated">
                  <a:extLst>
                    <a:ext uri="{FF2B5EF4-FFF2-40B4-BE49-F238E27FC236}">
                      <a16:creationId xmlns:a16="http://schemas.microsoft.com/office/drawing/2014/main" id="{C99D84B4-45C2-48AF-ACA4-CC8ED92F5BA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586848" y="1868648"/>
                  <a:ext cx="4666351" cy="2874308"/>
                </a:xfrm>
                <a:prstGeom prst="rect">
                  <a:avLst/>
                </a:prstGeom>
              </p:spPr>
            </p:pic>
            <p:sp>
              <p:nvSpPr>
                <p:cNvPr id="2380" name="Rectangle 2379">
                  <a:extLst>
                    <a:ext uri="{FF2B5EF4-FFF2-40B4-BE49-F238E27FC236}">
                      <a16:creationId xmlns:a16="http://schemas.microsoft.com/office/drawing/2014/main" id="{A54BB311-6E7D-4038-884A-0893B3361551}"/>
                    </a:ext>
                  </a:extLst>
                </p:cNvPr>
                <p:cNvSpPr/>
                <p:nvPr/>
              </p:nvSpPr>
              <p:spPr>
                <a:xfrm>
                  <a:off x="6959904" y="3539964"/>
                  <a:ext cx="1923173" cy="971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sp>
            <p:nvSpPr>
              <p:cNvPr id="2368" name="TextBox 2367"/>
              <p:cNvSpPr txBox="1"/>
              <p:nvPr/>
            </p:nvSpPr>
            <p:spPr>
              <a:xfrm>
                <a:off x="6966912" y="4036689"/>
                <a:ext cx="3080859" cy="492443"/>
              </a:xfrm>
              <a:prstGeom prst="rect">
                <a:avLst/>
              </a:prstGeom>
              <a:solidFill>
                <a:schemeClr val="bg1"/>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44E54"/>
                    </a:solidFill>
                    <a:effectLst/>
                    <a:uLnTx/>
                    <a:uFillTx/>
                    <a:latin typeface="Calibri"/>
                    <a:ea typeface="+mn-ea"/>
                    <a:cs typeface="+mn-cs"/>
                  </a:rPr>
                  <a:t>HR = 0.709 (0.516–0.973)</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44E54"/>
                    </a:solidFill>
                    <a:effectLst/>
                    <a:uLnTx/>
                    <a:uFillTx/>
                    <a:latin typeface="Calibri"/>
                    <a:ea typeface="+mn-ea"/>
                    <a:cs typeface="+mn-cs"/>
                  </a:rPr>
                  <a:t>Log-rank </a:t>
                </a:r>
                <a:r>
                  <a:rPr kumimoji="0" lang="en-US" sz="900" b="1" i="1" u="none" strike="noStrike" kern="1200" cap="none" spc="0" normalizeH="0" baseline="0" noProof="0">
                    <a:ln>
                      <a:noFill/>
                    </a:ln>
                    <a:solidFill>
                      <a:srgbClr val="444E54"/>
                    </a:solidFill>
                    <a:effectLst/>
                    <a:uLnTx/>
                    <a:uFillTx/>
                    <a:latin typeface="Calibri"/>
                    <a:ea typeface="+mn-ea"/>
                    <a:cs typeface="+mn-cs"/>
                  </a:rPr>
                  <a:t>P</a:t>
                </a:r>
                <a:r>
                  <a:rPr kumimoji="0" lang="en-US" sz="900" b="1" i="0" u="none" strike="noStrike" kern="1200" cap="none" spc="0" normalizeH="0" baseline="0" noProof="0">
                    <a:ln>
                      <a:noFill/>
                    </a:ln>
                    <a:solidFill>
                      <a:srgbClr val="444E54"/>
                    </a:solidFill>
                    <a:effectLst/>
                    <a:uLnTx/>
                    <a:uFillTx/>
                    <a:latin typeface="Calibri"/>
                    <a:ea typeface="+mn-ea"/>
                    <a:cs typeface="+mn-cs"/>
                  </a:rPr>
                  <a:t> value = .0250 (two sided)</a:t>
                </a:r>
              </a:p>
            </p:txBody>
          </p:sp>
        </p:grpSp>
      </p:grpSp>
      <p:graphicFrame>
        <p:nvGraphicFramePr>
          <p:cNvPr id="2379" name="Table 2378">
            <a:extLst>
              <a:ext uri="{FF2B5EF4-FFF2-40B4-BE49-F238E27FC236}">
                <a16:creationId xmlns:a16="http://schemas.microsoft.com/office/drawing/2014/main" id="{BE57CEBB-5FC6-4A8F-9491-37C5A0CCB656}"/>
              </a:ext>
            </a:extLst>
          </p:cNvPr>
          <p:cNvGraphicFramePr>
            <a:graphicFrameLocks noGrp="1"/>
          </p:cNvGraphicFramePr>
          <p:nvPr/>
        </p:nvGraphicFramePr>
        <p:xfrm>
          <a:off x="6835324" y="1565405"/>
          <a:ext cx="2124134" cy="535725"/>
        </p:xfrm>
        <a:graphic>
          <a:graphicData uri="http://schemas.openxmlformats.org/drawingml/2006/table">
            <a:tbl>
              <a:tblPr firstRow="1" bandRow="1">
                <a:tableStyleId>{3B4B98B0-60AC-42C2-AFA5-B58CD77FA1E5}</a:tableStyleId>
              </a:tblPr>
              <a:tblGrid>
                <a:gridCol w="537788">
                  <a:extLst>
                    <a:ext uri="{9D8B030D-6E8A-4147-A177-3AD203B41FA5}">
                      <a16:colId xmlns:a16="http://schemas.microsoft.com/office/drawing/2014/main" val="3925278290"/>
                    </a:ext>
                  </a:extLst>
                </a:gridCol>
                <a:gridCol w="666863">
                  <a:extLst>
                    <a:ext uri="{9D8B030D-6E8A-4147-A177-3AD203B41FA5}">
                      <a16:colId xmlns:a16="http://schemas.microsoft.com/office/drawing/2014/main" val="1169567585"/>
                    </a:ext>
                  </a:extLst>
                </a:gridCol>
                <a:gridCol w="919483">
                  <a:extLst>
                    <a:ext uri="{9D8B030D-6E8A-4147-A177-3AD203B41FA5}">
                      <a16:colId xmlns:a16="http://schemas.microsoft.com/office/drawing/2014/main" val="2282116442"/>
                    </a:ext>
                  </a:extLst>
                </a:gridCol>
              </a:tblGrid>
              <a:tr h="25146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en-US" sz="800">
                        <a:solidFill>
                          <a:schemeClr val="accent1">
                            <a:lumMod val="50000"/>
                          </a:schemeClr>
                        </a:solidFill>
                        <a:latin typeface="+mn-lt"/>
                      </a:endParaRPr>
                    </a:p>
                  </a:txBody>
                  <a:tcPr marR="0" marT="0" marB="0" anchor="ctr">
                    <a:lnL>
                      <a:noFill/>
                    </a:lnL>
                    <a:lnR>
                      <a:noFill/>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r>
                        <a:rPr lang="en-GB" sz="800" b="1">
                          <a:solidFill>
                            <a:schemeClr val="accent1">
                              <a:lumMod val="50000"/>
                            </a:schemeClr>
                          </a:solidFill>
                          <a:latin typeface="+mn-lt"/>
                          <a:cs typeface="Arial" panose="020B0604020202020204" pitchFamily="34" charset="0"/>
                        </a:rPr>
                        <a:t>Deaths</a:t>
                      </a:r>
                    </a:p>
                    <a:p>
                      <a:pPr marL="0" indent="0" algn="ctr"/>
                      <a:r>
                        <a:rPr lang="en-GB" sz="800" b="1">
                          <a:solidFill>
                            <a:schemeClr val="accent1">
                              <a:lumMod val="50000"/>
                            </a:schemeClr>
                          </a:solidFill>
                          <a:latin typeface="+mn-lt"/>
                          <a:cs typeface="Arial" panose="020B0604020202020204" pitchFamily="34" charset="0"/>
                        </a:rPr>
                        <a:t>(n/N)</a:t>
                      </a:r>
                      <a:endParaRPr lang="en-US" sz="800">
                        <a:solidFill>
                          <a:schemeClr val="accent1">
                            <a:lumMod val="50000"/>
                          </a:schemeClr>
                        </a:solidFill>
                        <a:latin typeface="+mn-lt"/>
                      </a:endParaRPr>
                    </a:p>
                  </a:txBody>
                  <a:tcPr marR="0" marT="0" marB="0" anchor="ctr">
                    <a:lnL>
                      <a:noFill/>
                    </a:lnL>
                    <a:lnR>
                      <a:noFill/>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a:solidFill>
                            <a:schemeClr val="accent1">
                              <a:lumMod val="50000"/>
                            </a:schemeClr>
                          </a:solidFill>
                          <a:latin typeface="+mn-lt"/>
                        </a:rPr>
                        <a:t>Median, months</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800" b="1">
                          <a:solidFill>
                            <a:schemeClr val="accent1">
                              <a:lumMod val="50000"/>
                            </a:schemeClr>
                          </a:solidFill>
                          <a:latin typeface="+mn-lt"/>
                        </a:rPr>
                        <a:t>(95% CI)</a:t>
                      </a:r>
                    </a:p>
                  </a:txBody>
                  <a:tcPr marR="0" marT="0" marB="0" anchor="ctr">
                    <a:lnL>
                      <a:noFill/>
                    </a:lnL>
                    <a:lnR>
                      <a:noFill/>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1644963"/>
                  </a:ext>
                </a:extLst>
              </a:tr>
              <a:tr h="137353">
                <a:tc>
                  <a:txBody>
                    <a:bodyPr/>
                    <a:lstStyle/>
                    <a:p>
                      <a:pPr marL="0" marR="0" algn="r">
                        <a:lnSpc>
                          <a:spcPct val="107000"/>
                        </a:lnSpc>
                        <a:spcBef>
                          <a:spcPts val="300"/>
                        </a:spcBef>
                        <a:spcAft>
                          <a:spcPts val="0"/>
                        </a:spcAft>
                      </a:pPr>
                      <a:r>
                        <a:rPr lang="en-US" sz="800" b="1">
                          <a:solidFill>
                            <a:schemeClr val="tx1"/>
                          </a:solidFill>
                          <a:effectLst/>
                          <a:latin typeface="+mn-lt"/>
                        </a:rPr>
                        <a:t>VRd</a:t>
                      </a:r>
                    </a:p>
                  </a:txBody>
                  <a:tcPr marL="66576" marR="66576" marT="0" marB="0" anchor="ct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algn="ctr">
                        <a:lnSpc>
                          <a:spcPct val="107000"/>
                        </a:lnSpc>
                        <a:spcBef>
                          <a:spcPts val="300"/>
                        </a:spcBef>
                        <a:spcAft>
                          <a:spcPts val="0"/>
                        </a:spcAft>
                      </a:pPr>
                      <a:r>
                        <a:rPr lang="en-US" sz="800" b="0">
                          <a:solidFill>
                            <a:schemeClr val="tx1"/>
                          </a:solidFill>
                          <a:effectLst/>
                          <a:latin typeface="+mn-lt"/>
                          <a:ea typeface="Calibri" panose="020F0502020204030204" pitchFamily="34" charset="0"/>
                          <a:cs typeface="Times New Roman" panose="02020603050405020304" pitchFamily="18" charset="0"/>
                        </a:rPr>
                        <a:t>76/242</a:t>
                      </a:r>
                    </a:p>
                  </a:txBody>
                  <a:tcPr marL="68580" marR="68580" marT="0" marB="0" anchor="ct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algn="ctr">
                        <a:lnSpc>
                          <a:spcPct val="107000"/>
                        </a:lnSpc>
                        <a:spcBef>
                          <a:spcPts val="300"/>
                        </a:spcBef>
                        <a:spcAft>
                          <a:spcPts val="0"/>
                        </a:spcAft>
                      </a:pPr>
                      <a:r>
                        <a:rPr lang="en-US" sz="800" b="0">
                          <a:solidFill>
                            <a:schemeClr val="tx1"/>
                          </a:solidFill>
                          <a:effectLst/>
                          <a:latin typeface="+mn-lt"/>
                          <a:ea typeface="Calibri" panose="020F0502020204030204" pitchFamily="34" charset="0"/>
                          <a:cs typeface="Times New Roman" panose="02020603050405020304" pitchFamily="18" charset="0"/>
                        </a:rPr>
                        <a:t>75 (65-NR)</a:t>
                      </a:r>
                    </a:p>
                  </a:txBody>
                  <a:tcPr marL="68580" marR="68580" marT="0" marB="0" anchor="ct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293416840"/>
                  </a:ext>
                </a:extLst>
              </a:tr>
              <a:tr h="146912">
                <a:tc>
                  <a:txBody>
                    <a:bodyPr/>
                    <a:lstStyle/>
                    <a:p>
                      <a:pPr marL="0" marR="0" algn="r">
                        <a:lnSpc>
                          <a:spcPct val="107000"/>
                        </a:lnSpc>
                        <a:spcBef>
                          <a:spcPts val="300"/>
                        </a:spcBef>
                        <a:spcAft>
                          <a:spcPts val="0"/>
                        </a:spcAft>
                      </a:pPr>
                      <a:r>
                        <a:rPr lang="en-US" sz="800" b="1">
                          <a:solidFill>
                            <a:schemeClr val="tx1"/>
                          </a:solidFill>
                          <a:effectLst/>
                          <a:latin typeface="+mn-lt"/>
                        </a:rPr>
                        <a:t>Rd</a:t>
                      </a:r>
                    </a:p>
                  </a:txBody>
                  <a:tcPr marL="66576" marR="6657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300"/>
                        </a:spcBef>
                        <a:spcAft>
                          <a:spcPts val="0"/>
                        </a:spcAft>
                      </a:pPr>
                      <a:r>
                        <a:rPr lang="en-US" sz="800" b="0">
                          <a:solidFill>
                            <a:schemeClr val="tx1"/>
                          </a:solidFill>
                          <a:effectLst/>
                          <a:latin typeface="+mn-lt"/>
                          <a:ea typeface="Calibri" panose="020F0502020204030204" pitchFamily="34" charset="0"/>
                          <a:cs typeface="Times New Roman" panose="02020603050405020304" pitchFamily="18" charset="0"/>
                        </a:rPr>
                        <a:t>100/22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300"/>
                        </a:spcBef>
                        <a:spcAft>
                          <a:spcPts val="0"/>
                        </a:spcAft>
                      </a:pPr>
                      <a:r>
                        <a:rPr lang="en-US" sz="800" b="0">
                          <a:solidFill>
                            <a:schemeClr val="tx1"/>
                          </a:solidFill>
                          <a:effectLst/>
                          <a:latin typeface="+mn-lt"/>
                          <a:ea typeface="Calibri" panose="020F0502020204030204" pitchFamily="34" charset="0"/>
                          <a:cs typeface="Times New Roman" panose="02020603050405020304" pitchFamily="18" charset="0"/>
                        </a:rPr>
                        <a:t>64 (56-NR)</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155315"/>
                  </a:ext>
                </a:extLst>
              </a:tr>
            </a:tbl>
          </a:graphicData>
        </a:graphic>
      </p:graphicFrame>
      <p:cxnSp>
        <p:nvCxnSpPr>
          <p:cNvPr id="2381" name="Straight Connector 2380">
            <a:extLst>
              <a:ext uri="{FF2B5EF4-FFF2-40B4-BE49-F238E27FC236}">
                <a16:creationId xmlns:a16="http://schemas.microsoft.com/office/drawing/2014/main" id="{BCF30869-B5EF-45C8-9D19-178AC1CCAC0C}"/>
              </a:ext>
            </a:extLst>
          </p:cNvPr>
          <p:cNvCxnSpPr/>
          <p:nvPr/>
        </p:nvCxnSpPr>
        <p:spPr>
          <a:xfrm>
            <a:off x="6835324" y="1894977"/>
            <a:ext cx="178265" cy="0"/>
          </a:xfrm>
          <a:prstGeom prst="line">
            <a:avLst/>
          </a:prstGeom>
          <a:ln w="19050">
            <a:solidFill>
              <a:srgbClr val="AF0330"/>
            </a:solidFill>
          </a:ln>
        </p:spPr>
        <p:style>
          <a:lnRef idx="1">
            <a:schemeClr val="accent1"/>
          </a:lnRef>
          <a:fillRef idx="0">
            <a:schemeClr val="accent1"/>
          </a:fillRef>
          <a:effectRef idx="0">
            <a:schemeClr val="accent1"/>
          </a:effectRef>
          <a:fontRef idx="minor">
            <a:schemeClr val="tx1"/>
          </a:fontRef>
        </p:style>
      </p:cxnSp>
      <p:cxnSp>
        <p:nvCxnSpPr>
          <p:cNvPr id="2382" name="Straight Connector 2381">
            <a:extLst>
              <a:ext uri="{FF2B5EF4-FFF2-40B4-BE49-F238E27FC236}">
                <a16:creationId xmlns:a16="http://schemas.microsoft.com/office/drawing/2014/main" id="{DEEF294B-3205-4E9A-9393-5CBC02571C11}"/>
              </a:ext>
            </a:extLst>
          </p:cNvPr>
          <p:cNvCxnSpPr/>
          <p:nvPr/>
        </p:nvCxnSpPr>
        <p:spPr>
          <a:xfrm>
            <a:off x="6835324" y="2024237"/>
            <a:ext cx="178265" cy="0"/>
          </a:xfrm>
          <a:prstGeom prst="line">
            <a:avLst/>
          </a:prstGeom>
          <a:ln w="19050">
            <a:solidFill>
              <a:srgbClr val="23A7C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259505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a:extLst>
              <a:ext uri="{FF2B5EF4-FFF2-40B4-BE49-F238E27FC236}">
                <a16:creationId xmlns:a16="http://schemas.microsoft.com/office/drawing/2014/main" id="{6AA78AB8-CDD5-4EB9-BA11-29F597E5BDF2}"/>
              </a:ext>
            </a:extLst>
          </p:cNvPr>
          <p:cNvSpPr>
            <a:spLocks noGrp="1"/>
          </p:cNvSpPr>
          <p:nvPr>
            <p:ph type="title"/>
          </p:nvPr>
        </p:nvSpPr>
        <p:spPr>
          <a:xfrm>
            <a:off x="596504" y="95695"/>
            <a:ext cx="7886700" cy="994172"/>
          </a:xfrm>
        </p:spPr>
        <p:txBody>
          <a:bodyPr anchor="t"/>
          <a:lstStyle/>
          <a:p>
            <a:pPr eaLnBrk="1" hangingPunct="1"/>
            <a:r>
              <a:rPr lang="en-US" altLang="en-US" sz="3000" b="1" noProof="0">
                <a:solidFill>
                  <a:srgbClr val="000090"/>
                </a:solidFill>
                <a:ea typeface="ＭＳ Ｐゴシック" panose="020B0600070205080204" pitchFamily="34" charset="-128"/>
              </a:rPr>
              <a:t>Modified RVD (“RVD-lite”) for Elderly/Frail</a:t>
            </a:r>
          </a:p>
        </p:txBody>
      </p:sp>
      <p:sp>
        <p:nvSpPr>
          <p:cNvPr id="56323" name="Content Placeholder 2">
            <a:extLst>
              <a:ext uri="{FF2B5EF4-FFF2-40B4-BE49-F238E27FC236}">
                <a16:creationId xmlns:a16="http://schemas.microsoft.com/office/drawing/2014/main" id="{6E28EAE4-AAFC-4214-BA83-61ADA14E7780}"/>
              </a:ext>
            </a:extLst>
          </p:cNvPr>
          <p:cNvSpPr>
            <a:spLocks noGrp="1"/>
          </p:cNvSpPr>
          <p:nvPr>
            <p:ph idx="1"/>
          </p:nvPr>
        </p:nvSpPr>
        <p:spPr>
          <a:xfrm>
            <a:off x="590578" y="991615"/>
            <a:ext cx="8140304" cy="3830240"/>
          </a:xfrm>
        </p:spPr>
        <p:txBody>
          <a:bodyPr/>
          <a:lstStyle/>
          <a:p>
            <a:pPr eaLnBrk="1" hangingPunct="1">
              <a:lnSpc>
                <a:spcPct val="70000"/>
              </a:lnSpc>
            </a:pPr>
            <a:r>
              <a:rPr lang="en-US" altLang="en-US" sz="1800" noProof="0">
                <a:ea typeface="ＭＳ Ｐゴシック" panose="020B0600070205080204" pitchFamily="34" charset="-128"/>
              </a:rPr>
              <a:t>Dosing</a:t>
            </a:r>
          </a:p>
          <a:p>
            <a:pPr lvl="1" eaLnBrk="1" hangingPunct="1">
              <a:lnSpc>
                <a:spcPct val="70000"/>
              </a:lnSpc>
              <a:buFont typeface="Calibri" panose="020F0502020204030204" pitchFamily="34" charset="0"/>
              <a:buChar char="–"/>
            </a:pPr>
            <a:r>
              <a:rPr lang="en-US" altLang="en-US" sz="1600" noProof="0">
                <a:ea typeface="ＭＳ Ｐゴシック" panose="020B0600070205080204" pitchFamily="34" charset="-128"/>
              </a:rPr>
              <a:t>Lenalidomide 15 mg days 1–21 of a 35-day cycle</a:t>
            </a:r>
          </a:p>
          <a:p>
            <a:pPr lvl="1" eaLnBrk="1" hangingPunct="1">
              <a:lnSpc>
                <a:spcPct val="70000"/>
              </a:lnSpc>
              <a:buFont typeface="Calibri" panose="020F0502020204030204" pitchFamily="34" charset="0"/>
              <a:buChar char="–"/>
            </a:pPr>
            <a:r>
              <a:rPr lang="en-US" altLang="en-US" sz="1600" noProof="0">
                <a:ea typeface="ＭＳ Ｐゴシック" panose="020B0600070205080204" pitchFamily="34" charset="-128"/>
              </a:rPr>
              <a:t>Bortezomib 1.3 mg/m</a:t>
            </a:r>
            <a:r>
              <a:rPr lang="en-US" altLang="en-US" sz="1600" baseline="30000" noProof="0">
                <a:ea typeface="ＭＳ Ｐゴシック" panose="020B0600070205080204" pitchFamily="34" charset="-128"/>
              </a:rPr>
              <a:t>2</a:t>
            </a:r>
            <a:r>
              <a:rPr lang="en-US" altLang="en-US" sz="1600" noProof="0">
                <a:ea typeface="ＭＳ Ｐゴシック" panose="020B0600070205080204" pitchFamily="34" charset="-128"/>
              </a:rPr>
              <a:t> weekly days 1, 8, 15, 22</a:t>
            </a:r>
          </a:p>
          <a:p>
            <a:pPr lvl="1" eaLnBrk="1" hangingPunct="1">
              <a:lnSpc>
                <a:spcPct val="70000"/>
              </a:lnSpc>
              <a:buFont typeface="Calibri" panose="020F0502020204030204" pitchFamily="34" charset="0"/>
              <a:buChar char="–"/>
            </a:pPr>
            <a:r>
              <a:rPr lang="en-US" altLang="en-US" sz="1600" noProof="0">
                <a:ea typeface="ＭＳ Ｐゴシック" panose="020B0600070205080204" pitchFamily="34" charset="-128"/>
              </a:rPr>
              <a:t>Dexamethasone 20 mg twice weekly for pts ≤75 yr and days 1, 8, 15, 22 for pts &gt;75 yr </a:t>
            </a:r>
          </a:p>
          <a:p>
            <a:pPr lvl="1" eaLnBrk="1" hangingPunct="1">
              <a:lnSpc>
                <a:spcPct val="70000"/>
              </a:lnSpc>
            </a:pPr>
            <a:endParaRPr lang="en-US" altLang="en-US" sz="1600" noProof="0">
              <a:ea typeface="ＭＳ Ｐゴシック" panose="020B0600070205080204" pitchFamily="34" charset="-128"/>
            </a:endParaRPr>
          </a:p>
          <a:p>
            <a:pPr eaLnBrk="1" hangingPunct="1">
              <a:spcBef>
                <a:spcPct val="0"/>
              </a:spcBef>
            </a:pPr>
            <a:r>
              <a:rPr lang="en-US" altLang="en-US" sz="1800" noProof="0">
                <a:ea typeface="ＭＳ Ｐゴシック" panose="020B0600070205080204" pitchFamily="34" charset="-128"/>
              </a:rPr>
              <a:t>53 patients treated</a:t>
            </a:r>
          </a:p>
          <a:p>
            <a:pPr eaLnBrk="1" hangingPunct="1">
              <a:spcBef>
                <a:spcPct val="0"/>
              </a:spcBef>
            </a:pPr>
            <a:endParaRPr lang="en-US" altLang="en-US" sz="1800" noProof="0">
              <a:ea typeface="ＭＳ Ｐゴシック" panose="020B0600070205080204" pitchFamily="34" charset="-128"/>
            </a:endParaRPr>
          </a:p>
          <a:p>
            <a:pPr eaLnBrk="1" hangingPunct="1">
              <a:spcBef>
                <a:spcPct val="0"/>
              </a:spcBef>
            </a:pPr>
            <a:r>
              <a:rPr lang="en-US" altLang="en-US" sz="1800" noProof="0">
                <a:ea typeface="ＭＳ Ｐゴシック" panose="020B0600070205080204" pitchFamily="34" charset="-128"/>
              </a:rPr>
              <a:t>Median age of patients: 72 years</a:t>
            </a:r>
          </a:p>
          <a:p>
            <a:pPr eaLnBrk="1" hangingPunct="1">
              <a:spcBef>
                <a:spcPct val="0"/>
              </a:spcBef>
            </a:pPr>
            <a:endParaRPr lang="en-US" altLang="en-US" sz="1800" noProof="0">
              <a:ea typeface="ＭＳ Ｐゴシック" panose="020B0600070205080204" pitchFamily="34" charset="-128"/>
            </a:endParaRPr>
          </a:p>
          <a:p>
            <a:pPr eaLnBrk="1" hangingPunct="1">
              <a:spcBef>
                <a:spcPct val="0"/>
              </a:spcBef>
            </a:pPr>
            <a:r>
              <a:rPr lang="en-US" altLang="en-US" sz="1800" noProof="0">
                <a:ea typeface="ＭＳ Ｐゴシック" panose="020B0600070205080204" pitchFamily="34" charset="-128"/>
              </a:rPr>
              <a:t>iORR: 90% (10 CR, 14 VGPR, 12 PR, 4 SD)</a:t>
            </a:r>
          </a:p>
          <a:p>
            <a:pPr eaLnBrk="1" hangingPunct="1">
              <a:spcBef>
                <a:spcPct val="0"/>
              </a:spcBef>
            </a:pPr>
            <a:endParaRPr lang="en-US" altLang="en-US" sz="1800" noProof="0">
              <a:ea typeface="ＭＳ Ｐゴシック" panose="020B0600070205080204" pitchFamily="34" charset="-128"/>
            </a:endParaRPr>
          </a:p>
          <a:p>
            <a:pPr eaLnBrk="1" hangingPunct="1">
              <a:spcBef>
                <a:spcPct val="0"/>
              </a:spcBef>
            </a:pPr>
            <a:r>
              <a:rPr lang="en-US" altLang="en-US" sz="1800" noProof="0">
                <a:ea typeface="ＭＳ Ｐゴシック" panose="020B0600070205080204" pitchFamily="34" charset="-128"/>
              </a:rPr>
              <a:t>PFS 35 months</a:t>
            </a:r>
          </a:p>
          <a:p>
            <a:pPr eaLnBrk="1" hangingPunct="1">
              <a:spcBef>
                <a:spcPct val="0"/>
              </a:spcBef>
            </a:pPr>
            <a:endParaRPr lang="en-US" altLang="en-US" sz="1800" noProof="0">
              <a:ea typeface="ＭＳ Ｐゴシック" panose="020B0600070205080204" pitchFamily="34" charset="-128"/>
            </a:endParaRPr>
          </a:p>
          <a:p>
            <a:pPr eaLnBrk="1" hangingPunct="1">
              <a:spcBef>
                <a:spcPct val="0"/>
              </a:spcBef>
            </a:pPr>
            <a:r>
              <a:rPr lang="en-US" altLang="en-US" sz="1800" noProof="0">
                <a:ea typeface="ＭＳ Ｐゴシック" panose="020B0600070205080204" pitchFamily="34" charset="-128"/>
              </a:rPr>
              <a:t>Toxicities manageable </a:t>
            </a:r>
          </a:p>
          <a:p>
            <a:pPr lvl="1" eaLnBrk="1" hangingPunct="1">
              <a:lnSpc>
                <a:spcPct val="70000"/>
              </a:lnSpc>
              <a:buFont typeface="Calibri" panose="020F0502020204030204" pitchFamily="34" charset="0"/>
              <a:buChar char="–"/>
            </a:pPr>
            <a:r>
              <a:rPr lang="en-US" altLang="en-US" sz="1600" noProof="0">
                <a:ea typeface="ＭＳ Ｐゴシック" panose="020B0600070205080204" pitchFamily="34" charset="-128"/>
              </a:rPr>
              <a:t>Peripheral neuropathy of any grade was reported in 61%</a:t>
            </a:r>
          </a:p>
        </p:txBody>
      </p:sp>
      <p:sp>
        <p:nvSpPr>
          <p:cNvPr id="56324" name="TextBox 3">
            <a:extLst>
              <a:ext uri="{FF2B5EF4-FFF2-40B4-BE49-F238E27FC236}">
                <a16:creationId xmlns:a16="http://schemas.microsoft.com/office/drawing/2014/main" id="{03E5E21A-56AA-4D26-AC85-F80270BB5F9E}"/>
              </a:ext>
            </a:extLst>
          </p:cNvPr>
          <p:cNvSpPr txBox="1">
            <a:spLocks noChangeArrowheads="1"/>
          </p:cNvSpPr>
          <p:nvPr/>
        </p:nvSpPr>
        <p:spPr bwMode="auto">
          <a:xfrm>
            <a:off x="1" y="4905294"/>
            <a:ext cx="676230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b">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l" defTabSz="6858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mn-cs"/>
              </a:rPr>
              <a:t>O’Donnell EK, et al. ASH 2015. Abstract 4217.</a:t>
            </a:r>
          </a:p>
        </p:txBody>
      </p:sp>
    </p:spTree>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445163D5-19A9-4A23-A789-D900A6F669F6}"/>
              </a:ext>
            </a:extLst>
          </p:cNvPr>
          <p:cNvSpPr txBox="1">
            <a:spLocks/>
          </p:cNvSpPr>
          <p:nvPr/>
        </p:nvSpPr>
        <p:spPr bwMode="gray">
          <a:xfrm>
            <a:off x="592523" y="87129"/>
            <a:ext cx="8116887" cy="832247"/>
          </a:xfrm>
          <a:prstGeom prst="rect">
            <a:avLst/>
          </a:prstGeom>
          <a:noFill/>
          <a:ln w="9525" algn="ctr">
            <a:noFill/>
            <a:miter lim="800000"/>
            <a:headEnd/>
            <a:tailEnd/>
          </a:ln>
          <a:effectLst/>
        </p:spPr>
        <p:txBody>
          <a:bodyPr vert="horz" wrap="square" lIns="91438" tIns="45719" rIns="91438" bIns="45719" numCol="1" anchor="t" anchorCtr="0" compatLnSpc="1">
            <a:prstTxWarp prst="textNoShape">
              <a:avLst/>
            </a:prstTxWarp>
          </a:bodyPr>
          <a:lstStyle>
            <a:lvl1pPr algn="l" rtl="0" fontAlgn="base">
              <a:lnSpc>
                <a:spcPct val="90000"/>
              </a:lnSpc>
              <a:spcBef>
                <a:spcPct val="0"/>
              </a:spcBef>
              <a:spcAft>
                <a:spcPct val="0"/>
              </a:spcAft>
              <a:defRPr sz="3700" b="1">
                <a:solidFill>
                  <a:schemeClr val="tx1"/>
                </a:solidFill>
                <a:latin typeface="+mj-lt"/>
                <a:ea typeface="+mj-ea"/>
                <a:cs typeface="+mj-cs"/>
              </a:defRPr>
            </a:lvl1pPr>
            <a:lvl2pPr algn="l" rtl="0" fontAlgn="base">
              <a:lnSpc>
                <a:spcPct val="90000"/>
              </a:lnSpc>
              <a:spcBef>
                <a:spcPct val="0"/>
              </a:spcBef>
              <a:spcAft>
                <a:spcPct val="0"/>
              </a:spcAft>
              <a:defRPr sz="4300" b="1">
                <a:solidFill>
                  <a:schemeClr val="tx1"/>
                </a:solidFill>
                <a:latin typeface="Arial" charset="0"/>
              </a:defRPr>
            </a:lvl2pPr>
            <a:lvl3pPr algn="l" rtl="0" fontAlgn="base">
              <a:lnSpc>
                <a:spcPct val="90000"/>
              </a:lnSpc>
              <a:spcBef>
                <a:spcPct val="0"/>
              </a:spcBef>
              <a:spcAft>
                <a:spcPct val="0"/>
              </a:spcAft>
              <a:defRPr sz="4300" b="1">
                <a:solidFill>
                  <a:schemeClr val="tx1"/>
                </a:solidFill>
                <a:latin typeface="Arial" charset="0"/>
              </a:defRPr>
            </a:lvl3pPr>
            <a:lvl4pPr algn="l" rtl="0" fontAlgn="base">
              <a:lnSpc>
                <a:spcPct val="90000"/>
              </a:lnSpc>
              <a:spcBef>
                <a:spcPct val="0"/>
              </a:spcBef>
              <a:spcAft>
                <a:spcPct val="0"/>
              </a:spcAft>
              <a:defRPr sz="4300" b="1">
                <a:solidFill>
                  <a:schemeClr val="tx1"/>
                </a:solidFill>
                <a:latin typeface="Arial" charset="0"/>
              </a:defRPr>
            </a:lvl4pPr>
            <a:lvl5pPr algn="l" rtl="0" fontAlgn="base">
              <a:lnSpc>
                <a:spcPct val="90000"/>
              </a:lnSpc>
              <a:spcBef>
                <a:spcPct val="0"/>
              </a:spcBef>
              <a:spcAft>
                <a:spcPct val="0"/>
              </a:spcAft>
              <a:defRPr sz="4300" b="1">
                <a:solidFill>
                  <a:schemeClr val="tx1"/>
                </a:solidFill>
                <a:latin typeface="Arial" charset="0"/>
              </a:defRPr>
            </a:lvl5pPr>
            <a:lvl6pPr marL="609585" algn="l" rtl="0" fontAlgn="base">
              <a:lnSpc>
                <a:spcPct val="90000"/>
              </a:lnSpc>
              <a:spcBef>
                <a:spcPct val="0"/>
              </a:spcBef>
              <a:spcAft>
                <a:spcPct val="0"/>
              </a:spcAft>
              <a:defRPr sz="4300" b="1">
                <a:solidFill>
                  <a:schemeClr val="tx1"/>
                </a:solidFill>
                <a:latin typeface="Arial" charset="0"/>
              </a:defRPr>
            </a:lvl6pPr>
            <a:lvl7pPr marL="1219170" algn="l" rtl="0" fontAlgn="base">
              <a:lnSpc>
                <a:spcPct val="90000"/>
              </a:lnSpc>
              <a:spcBef>
                <a:spcPct val="0"/>
              </a:spcBef>
              <a:spcAft>
                <a:spcPct val="0"/>
              </a:spcAft>
              <a:defRPr sz="4300" b="1">
                <a:solidFill>
                  <a:schemeClr val="tx1"/>
                </a:solidFill>
                <a:latin typeface="Arial" charset="0"/>
              </a:defRPr>
            </a:lvl7pPr>
            <a:lvl8pPr marL="1828754" algn="l" rtl="0" fontAlgn="base">
              <a:lnSpc>
                <a:spcPct val="90000"/>
              </a:lnSpc>
              <a:spcBef>
                <a:spcPct val="0"/>
              </a:spcBef>
              <a:spcAft>
                <a:spcPct val="0"/>
              </a:spcAft>
              <a:defRPr sz="4300" b="1">
                <a:solidFill>
                  <a:schemeClr val="tx1"/>
                </a:solidFill>
                <a:latin typeface="Arial" charset="0"/>
              </a:defRPr>
            </a:lvl8pPr>
            <a:lvl9pPr marL="2438339" algn="l" rtl="0" fontAlgn="base">
              <a:lnSpc>
                <a:spcPct val="90000"/>
              </a:lnSpc>
              <a:spcBef>
                <a:spcPct val="0"/>
              </a:spcBef>
              <a:spcAft>
                <a:spcPct val="0"/>
              </a:spcAft>
              <a:defRPr sz="4300" b="1">
                <a:solidFill>
                  <a:schemeClr val="tx1"/>
                </a:solidFill>
                <a:latin typeface="Arial"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r>
              <a:rPr kumimoji="0" lang="en-US" sz="30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CLARION: Study Design</a:t>
            </a:r>
            <a:r>
              <a:rPr kumimoji="0" lang="en-US" sz="3000" b="1" i="0" u="none" strike="noStrike" kern="0" cap="none" spc="0" normalizeH="0" baseline="30000" noProof="0">
                <a:ln>
                  <a:noFill/>
                </a:ln>
                <a:solidFill>
                  <a:srgbClr val="000090"/>
                </a:solidFill>
                <a:effectLst/>
                <a:uLnTx/>
                <a:uFillTx/>
                <a:latin typeface="Calibri Light" panose="020F0302020204030204" pitchFamily="34" charset="0"/>
                <a:ea typeface="+mj-ea"/>
                <a:cs typeface="Calibri Light" panose="020F0302020204030204" pitchFamily="34" charset="0"/>
              </a:rPr>
              <a:t>1</a:t>
            </a:r>
          </a:p>
        </p:txBody>
      </p:sp>
      <p:sp>
        <p:nvSpPr>
          <p:cNvPr id="14" name="Rounded Rectangle 12">
            <a:extLst>
              <a:ext uri="{FF2B5EF4-FFF2-40B4-BE49-F238E27FC236}">
                <a16:creationId xmlns:a16="http://schemas.microsoft.com/office/drawing/2014/main" id="{6637B04C-699D-4A7A-B82C-7A9C94BCEDC9}"/>
              </a:ext>
            </a:extLst>
          </p:cNvPr>
          <p:cNvSpPr/>
          <p:nvPr/>
        </p:nvSpPr>
        <p:spPr bwMode="auto">
          <a:xfrm>
            <a:off x="2545273" y="2616710"/>
            <a:ext cx="3799244" cy="1371600"/>
          </a:xfrm>
          <a:prstGeom prst="roundRect">
            <a:avLst/>
          </a:prstGeom>
          <a:solidFill>
            <a:srgbClr val="FFFFFF">
              <a:lumMod val="65000"/>
            </a:srgbClr>
          </a:solidFill>
          <a:ln w="19050" cap="flat" cmpd="sng" algn="ctr">
            <a:noFill/>
            <a:prstDash val="solid"/>
            <a:round/>
            <a:headEnd type="none" w="med" len="med"/>
            <a:tailEnd type="none" w="med" len="med"/>
          </a:ln>
          <a:effectLst/>
          <a:scene3d>
            <a:camera prst="orthographicFront"/>
            <a:lightRig rig="threePt" dir="t"/>
          </a:scene3d>
          <a:sp3d>
            <a:bevelT/>
            <a:bevelB/>
          </a:sp3d>
        </p:spPr>
        <p:txBody>
          <a:bodyPr lIns="91436" tIns="45718" rIns="91436" bIns="45718" anchor="ctr" anchorCtr="0"/>
          <a:lstStyle/>
          <a:p>
            <a:pPr marL="0" marR="0" lvl="0" indent="0" algn="ctr" defTabSz="685800" rtl="0" eaLnBrk="0" fontAlgn="base" latinLnBrk="0" hangingPunct="0">
              <a:lnSpc>
                <a:spcPct val="100000"/>
              </a:lnSpc>
              <a:spcBef>
                <a:spcPts val="600"/>
              </a:spcBef>
              <a:spcAft>
                <a:spcPts val="0"/>
              </a:spcAft>
              <a:buClrTx/>
              <a:buSzTx/>
              <a:buFontTx/>
              <a:buNone/>
              <a:tabLst/>
              <a:defRPr/>
            </a:pPr>
            <a:r>
              <a:rPr kumimoji="0" lang="en-US" sz="1050" b="1" i="0" u="sng" strike="noStrike" kern="0" cap="none" spc="0" normalizeH="0" baseline="0" noProof="0">
                <a:ln>
                  <a:noFill/>
                </a:ln>
                <a:solidFill>
                  <a:srgbClr val="000000"/>
                </a:solidFill>
                <a:effectLst/>
                <a:uLnTx/>
                <a:uFillTx/>
                <a:latin typeface="Calibri"/>
                <a:ea typeface="+mn-ea"/>
                <a:cs typeface="Arial" panose="020B0604020202020204" pitchFamily="34" charset="0"/>
              </a:rPr>
              <a:t>Maximum 9 cycles VMP</a:t>
            </a:r>
          </a:p>
          <a:p>
            <a:pPr marL="0" marR="0" lvl="0" indent="0" algn="ctr" defTabSz="685800" rtl="0" eaLnBrk="0" fontAlgn="base" latinLnBrk="0" hangingPunct="0">
              <a:lnSpc>
                <a:spcPct val="100000"/>
              </a:lnSpc>
              <a:spcBef>
                <a:spcPts val="600"/>
              </a:spcBef>
              <a:spcAft>
                <a:spcPts val="0"/>
              </a:spcAft>
              <a:buClrTx/>
              <a:buSzTx/>
              <a:buFontTx/>
              <a:buNone/>
              <a:tabLst>
                <a:tab pos="171442" algn="l"/>
              </a:tabLst>
              <a:defRPr/>
            </a:pPr>
            <a:r>
              <a:rPr kumimoji="0" lang="en-US" sz="1050" b="1" i="0" u="none" strike="noStrike" kern="0" cap="none" spc="0" normalizeH="0" baseline="0" noProof="0">
                <a:ln>
                  <a:noFill/>
                </a:ln>
                <a:solidFill>
                  <a:srgbClr val="000000"/>
                </a:solidFill>
                <a:effectLst/>
                <a:uLnTx/>
                <a:uFillTx/>
                <a:latin typeface="Calibri"/>
                <a:ea typeface="+mn-ea"/>
                <a:cs typeface="Arial" panose="020B0604020202020204" pitchFamily="34" charset="0"/>
              </a:rPr>
              <a:t>Bortezomib</a:t>
            </a:r>
            <a:r>
              <a:rPr kumimoji="0" lang="en-US" sz="1050" b="0" i="0" u="none" strike="noStrike" kern="0" cap="none" spc="0" normalizeH="0" baseline="0" noProof="0">
                <a:ln>
                  <a:noFill/>
                </a:ln>
                <a:solidFill>
                  <a:srgbClr val="000000"/>
                </a:solidFill>
                <a:effectLst/>
                <a:uLnTx/>
                <a:uFillTx/>
                <a:latin typeface="Calibri"/>
                <a:ea typeface="+mn-ea"/>
                <a:cs typeface="Arial" panose="020B0604020202020204" pitchFamily="34" charset="0"/>
              </a:rPr>
              <a:t> 1.3 mg/m</a:t>
            </a:r>
            <a:r>
              <a:rPr kumimoji="0" lang="en-US" sz="1050" b="0" i="0" u="none" strike="noStrike" kern="0" cap="none" spc="0" normalizeH="0" baseline="30000" noProof="0">
                <a:ln>
                  <a:noFill/>
                </a:ln>
                <a:solidFill>
                  <a:srgbClr val="000000"/>
                </a:solidFill>
                <a:effectLst/>
                <a:uLnTx/>
                <a:uFillTx/>
                <a:latin typeface="Calibri"/>
                <a:ea typeface="+mn-ea"/>
                <a:cs typeface="Arial" panose="020B0604020202020204" pitchFamily="34" charset="0"/>
              </a:rPr>
              <a:t>2</a:t>
            </a:r>
            <a:r>
              <a:rPr kumimoji="0" lang="en-US" sz="1050" b="0" i="0" u="none" strike="noStrike" kern="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1050" b="0" i="1" u="none" strike="noStrike" kern="0" cap="none" spc="0" normalizeH="0" baseline="0" noProof="0">
                <a:ln>
                  <a:noFill/>
                </a:ln>
                <a:solidFill>
                  <a:srgbClr val="000000"/>
                </a:solidFill>
                <a:effectLst/>
                <a:uLnTx/>
                <a:uFillTx/>
                <a:latin typeface="Calibri"/>
                <a:ea typeface="+mn-ea"/>
                <a:cs typeface="Arial" panose="020B0604020202020204" pitchFamily="34" charset="0"/>
              </a:rPr>
              <a:t>days 1, 4, 8, 11, 22, 25, 29, 32 (days 4, 11, 25, 32 omitted for cycles 5+) </a:t>
            </a:r>
            <a:r>
              <a:rPr kumimoji="0" lang="en-US" sz="1050" b="0" i="0" u="none" strike="noStrike" kern="0" cap="none" spc="0" normalizeH="0" baseline="0" noProof="0">
                <a:ln>
                  <a:noFill/>
                </a:ln>
                <a:solidFill>
                  <a:srgbClr val="000000"/>
                </a:solidFill>
                <a:effectLst/>
                <a:uLnTx/>
                <a:uFillTx/>
                <a:latin typeface="Calibri"/>
                <a:ea typeface="+mn-ea"/>
                <a:cs typeface="Arial" panose="020B0604020202020204" pitchFamily="34" charset="0"/>
              </a:rPr>
              <a:t>IV or SC</a:t>
            </a:r>
            <a:endParaRPr kumimoji="0" lang="en-US" sz="1050" b="0" i="1" u="none" strike="noStrike" kern="0" cap="none" spc="0" normalizeH="0" baseline="0" noProof="0">
              <a:ln>
                <a:noFill/>
              </a:ln>
              <a:solidFill>
                <a:srgbClr val="000000"/>
              </a:solidFill>
              <a:effectLst/>
              <a:uLnTx/>
              <a:uFillTx/>
              <a:latin typeface="Calibri"/>
              <a:ea typeface="+mn-ea"/>
              <a:cs typeface="Arial" panose="020B0604020202020204" pitchFamily="34" charset="0"/>
            </a:endParaRPr>
          </a:p>
          <a:p>
            <a:pPr marL="0" marR="0" lvl="0" indent="0" algn="ctr" defTabSz="685800" rtl="0" eaLnBrk="0" fontAlgn="base" latinLnBrk="0" hangingPunct="0">
              <a:lnSpc>
                <a:spcPct val="100000"/>
              </a:lnSpc>
              <a:spcBef>
                <a:spcPts val="600"/>
              </a:spcBef>
              <a:spcAft>
                <a:spcPts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Calibri"/>
                <a:ea typeface="+mn-ea"/>
                <a:cs typeface="Arial" panose="020B0604020202020204" pitchFamily="34" charset="0"/>
              </a:rPr>
              <a:t>Melphalan</a:t>
            </a:r>
            <a:r>
              <a:rPr kumimoji="0" lang="en-US" sz="1050" b="1" i="0" u="none" strike="noStrike" kern="0" cap="none" spc="0" normalizeH="0" baseline="30000" noProof="0">
                <a:ln>
                  <a:noFill/>
                </a:ln>
                <a:solidFill>
                  <a:srgbClr val="000000"/>
                </a:solidFill>
                <a:effectLst/>
                <a:uLnTx/>
                <a:uFillTx/>
                <a:latin typeface="Calibri"/>
                <a:ea typeface="+mn-ea"/>
                <a:cs typeface="Arial" panose="020B0604020202020204" pitchFamily="34" charset="0"/>
              </a:rPr>
              <a:t>b</a:t>
            </a:r>
            <a:r>
              <a:rPr kumimoji="0" lang="en-US" sz="1050" b="0" i="0" u="none" strike="noStrike" kern="0" cap="none" spc="0" normalizeH="0" baseline="0" noProof="0">
                <a:ln>
                  <a:noFill/>
                </a:ln>
                <a:solidFill>
                  <a:srgbClr val="000000"/>
                </a:solidFill>
                <a:effectLst/>
                <a:uLnTx/>
                <a:uFillTx/>
                <a:latin typeface="Calibri"/>
                <a:ea typeface="+mn-ea"/>
                <a:cs typeface="Arial" panose="020B0604020202020204" pitchFamily="34" charset="0"/>
              </a:rPr>
              <a:t> 9 mg/m</a:t>
            </a:r>
            <a:r>
              <a:rPr kumimoji="0" lang="en-US" sz="1050" b="0" i="0" u="none" strike="noStrike" kern="0" cap="none" spc="0" normalizeH="0" baseline="30000" noProof="0">
                <a:ln>
                  <a:noFill/>
                </a:ln>
                <a:solidFill>
                  <a:srgbClr val="000000"/>
                </a:solidFill>
                <a:effectLst/>
                <a:uLnTx/>
                <a:uFillTx/>
                <a:latin typeface="Calibri"/>
                <a:ea typeface="+mn-ea"/>
                <a:cs typeface="Arial" panose="020B0604020202020204" pitchFamily="34" charset="0"/>
              </a:rPr>
              <a:t>2 </a:t>
            </a:r>
            <a:r>
              <a:rPr kumimoji="0" lang="en-US" sz="1050" b="0" i="0" u="none" strike="noStrike" kern="0" cap="none" spc="0" normalizeH="0" baseline="0" noProof="0">
                <a:ln>
                  <a:noFill/>
                </a:ln>
                <a:solidFill>
                  <a:srgbClr val="000000"/>
                </a:solidFill>
                <a:effectLst/>
                <a:uLnTx/>
                <a:uFillTx/>
                <a:latin typeface="Calibri"/>
                <a:ea typeface="+mn-ea"/>
                <a:cs typeface="Arial" panose="020B0604020202020204" pitchFamily="34" charset="0"/>
              </a:rPr>
              <a:t>and </a:t>
            </a:r>
            <a:r>
              <a:rPr kumimoji="0" lang="en-US" sz="1050" b="1" i="0" u="none" strike="noStrike" kern="0" cap="none" spc="0" normalizeH="0" baseline="0" noProof="0">
                <a:ln>
                  <a:noFill/>
                </a:ln>
                <a:solidFill>
                  <a:srgbClr val="000000"/>
                </a:solidFill>
                <a:effectLst/>
                <a:uLnTx/>
                <a:uFillTx/>
                <a:latin typeface="Calibri"/>
                <a:ea typeface="+mn-ea"/>
                <a:cs typeface="Arial" panose="020B0604020202020204" pitchFamily="34" charset="0"/>
              </a:rPr>
              <a:t>Prednisone</a:t>
            </a:r>
            <a:r>
              <a:rPr kumimoji="0" lang="en-US" sz="1050" b="0" i="0" u="none" strike="noStrike" kern="0" cap="none" spc="0" normalizeH="0" baseline="0" noProof="0">
                <a:ln>
                  <a:noFill/>
                </a:ln>
                <a:solidFill>
                  <a:srgbClr val="000000"/>
                </a:solidFill>
                <a:effectLst/>
                <a:uLnTx/>
                <a:uFillTx/>
                <a:latin typeface="Calibri"/>
                <a:ea typeface="+mn-ea"/>
                <a:cs typeface="Arial" panose="020B0604020202020204" pitchFamily="34" charset="0"/>
              </a:rPr>
              <a:t> 60 mg/m</a:t>
            </a:r>
            <a:r>
              <a:rPr kumimoji="0" lang="en-US" sz="1050" b="0" i="0" u="none" strike="noStrike" kern="0" cap="none" spc="0" normalizeH="0" baseline="30000" noProof="0">
                <a:ln>
                  <a:noFill/>
                </a:ln>
                <a:solidFill>
                  <a:srgbClr val="000000"/>
                </a:solidFill>
                <a:effectLst/>
                <a:uLnTx/>
                <a:uFillTx/>
                <a:latin typeface="Calibri"/>
                <a:ea typeface="+mn-ea"/>
                <a:cs typeface="Arial" panose="020B0604020202020204" pitchFamily="34" charset="0"/>
              </a:rPr>
              <a:t>2</a:t>
            </a:r>
            <a:r>
              <a:rPr kumimoji="0" lang="en-US" sz="1050" b="0" i="0" u="none" strike="noStrike" kern="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1050" b="0" i="1" u="none" strike="noStrike" kern="0" cap="none" spc="0" normalizeH="0" baseline="0" noProof="0">
                <a:ln>
                  <a:noFill/>
                </a:ln>
                <a:solidFill>
                  <a:srgbClr val="000000"/>
                </a:solidFill>
                <a:effectLst/>
                <a:uLnTx/>
                <a:uFillTx/>
                <a:latin typeface="Calibri"/>
                <a:ea typeface="+mn-ea"/>
                <a:cs typeface="Arial" panose="020B0604020202020204" pitchFamily="34" charset="0"/>
              </a:rPr>
              <a:t>days 1–4</a:t>
            </a:r>
          </a:p>
        </p:txBody>
      </p:sp>
      <p:sp>
        <p:nvSpPr>
          <p:cNvPr id="15" name="Rounded Rectangle 32">
            <a:extLst>
              <a:ext uri="{FF2B5EF4-FFF2-40B4-BE49-F238E27FC236}">
                <a16:creationId xmlns:a16="http://schemas.microsoft.com/office/drawing/2014/main" id="{F09CC858-7342-463C-9407-5485EB34BD09}"/>
              </a:ext>
            </a:extLst>
          </p:cNvPr>
          <p:cNvSpPr>
            <a:spLocks noChangeArrowheads="1"/>
          </p:cNvSpPr>
          <p:nvPr/>
        </p:nvSpPr>
        <p:spPr bwMode="auto">
          <a:xfrm>
            <a:off x="2545273" y="1025398"/>
            <a:ext cx="3799244" cy="1371600"/>
          </a:xfrm>
          <a:prstGeom prst="roundRect">
            <a:avLst>
              <a:gd name="adj" fmla="val 16667"/>
            </a:avLst>
          </a:prstGeom>
          <a:solidFill>
            <a:srgbClr val="81B5E2">
              <a:lumMod val="50000"/>
            </a:srgbClr>
          </a:solidFill>
          <a:ln w="19050" algn="ctr">
            <a:noFill/>
            <a:round/>
            <a:headEnd/>
            <a:tailEnd/>
          </a:ln>
          <a:scene3d>
            <a:camera prst="orthographicFront"/>
            <a:lightRig rig="threePt" dir="t"/>
          </a:scene3d>
          <a:sp3d>
            <a:bevelT/>
            <a:bevelB/>
          </a:sp3d>
        </p:spPr>
        <p:txBody>
          <a:bodyPr lIns="91436" tIns="45718" rIns="91436" bIns="45718" anchor="ctr"/>
          <a:lstStyle/>
          <a:p>
            <a:pPr marL="0" marR="0" lvl="0" indent="0" algn="ctr" defTabSz="685800" rtl="0" eaLnBrk="0" fontAlgn="base" latinLnBrk="0" hangingPunct="0">
              <a:lnSpc>
                <a:spcPct val="100000"/>
              </a:lnSpc>
              <a:spcBef>
                <a:spcPts val="600"/>
              </a:spcBef>
              <a:spcAft>
                <a:spcPts val="0"/>
              </a:spcAft>
              <a:buClrTx/>
              <a:buSzTx/>
              <a:buFontTx/>
              <a:buNone/>
              <a:tabLst/>
              <a:defRPr/>
            </a:pPr>
            <a:r>
              <a:rPr kumimoji="0" lang="en-US" sz="1050" b="1" i="0" u="sng" strike="noStrike" kern="0" cap="none" spc="0" normalizeH="0" baseline="0" noProof="0">
                <a:ln>
                  <a:noFill/>
                </a:ln>
                <a:solidFill>
                  <a:srgbClr val="FFFFFF"/>
                </a:solidFill>
                <a:effectLst/>
                <a:uLnTx/>
                <a:uFillTx/>
                <a:latin typeface="Calibri"/>
                <a:ea typeface="+mn-ea"/>
                <a:cs typeface="Arial" panose="020B0604020202020204" pitchFamily="34" charset="0"/>
              </a:rPr>
              <a:t>Maximum 9 cycles KMP</a:t>
            </a:r>
          </a:p>
          <a:p>
            <a:pPr marL="0" marR="0" lvl="0" indent="0" algn="ctr" defTabSz="685800" rtl="0" eaLnBrk="0" fontAlgn="base" latinLnBrk="0" hangingPunct="0">
              <a:lnSpc>
                <a:spcPct val="100000"/>
              </a:lnSpc>
              <a:spcBef>
                <a:spcPts val="600"/>
              </a:spcBef>
              <a:spcAft>
                <a:spcPts val="0"/>
              </a:spcAft>
              <a:buClrTx/>
              <a:buSzTx/>
              <a:buFontTx/>
              <a:buNone/>
              <a:tabLst>
                <a:tab pos="171442" algn="l"/>
              </a:tabLst>
              <a:defRPr/>
            </a:pPr>
            <a:r>
              <a:rPr kumimoji="0" lang="en-US" sz="1050" b="1" i="0" u="none" strike="noStrike" kern="0" cap="none" spc="0" normalizeH="0" baseline="0" noProof="0">
                <a:ln>
                  <a:noFill/>
                </a:ln>
                <a:solidFill>
                  <a:srgbClr val="FFFFFF"/>
                </a:solidFill>
                <a:effectLst/>
                <a:uLnTx/>
                <a:uFillTx/>
                <a:latin typeface="Calibri"/>
                <a:ea typeface="+mn-ea"/>
                <a:cs typeface="Arial" panose="020B0604020202020204" pitchFamily="34" charset="0"/>
              </a:rPr>
              <a:t>Carfilzomib</a:t>
            </a:r>
            <a:r>
              <a:rPr kumimoji="0" lang="en-US" sz="1050" b="0" i="0" u="none" strike="noStrike" kern="0" cap="none" spc="0" normalizeH="0" baseline="30000" noProof="0">
                <a:ln>
                  <a:noFill/>
                </a:ln>
                <a:solidFill>
                  <a:srgbClr val="FFFFFF"/>
                </a:solidFill>
                <a:effectLst/>
                <a:uLnTx/>
                <a:uFillTx/>
                <a:latin typeface="Calibri"/>
                <a:ea typeface="+mn-ea"/>
                <a:cs typeface="Arial" panose="020B0604020202020204" pitchFamily="34" charset="0"/>
              </a:rPr>
              <a:t>a </a:t>
            </a:r>
            <a:r>
              <a:rPr kumimoji="0" lang="en-US" sz="1050" b="0" i="0" u="none" strike="noStrike" kern="0" cap="none" spc="0" normalizeH="0" baseline="0" noProof="0">
                <a:ln>
                  <a:noFill/>
                </a:ln>
                <a:solidFill>
                  <a:srgbClr val="FFFFFF"/>
                </a:solidFill>
                <a:effectLst/>
                <a:uLnTx/>
                <a:uFillTx/>
                <a:latin typeface="Calibri"/>
                <a:ea typeface="+mn-ea"/>
                <a:cs typeface="Arial" panose="020B0604020202020204" pitchFamily="34" charset="0"/>
              </a:rPr>
              <a:t>36 mg/m</a:t>
            </a:r>
            <a:r>
              <a:rPr kumimoji="0" lang="en-US" sz="1050" b="0" i="0" u="none" strike="noStrike" kern="0" cap="none" spc="0" normalizeH="0" baseline="30000" noProof="0">
                <a:ln>
                  <a:noFill/>
                </a:ln>
                <a:solidFill>
                  <a:srgbClr val="FFFFFF"/>
                </a:solidFill>
                <a:effectLst/>
                <a:uLnTx/>
                <a:uFillTx/>
                <a:latin typeface="Calibri"/>
                <a:ea typeface="+mn-ea"/>
                <a:cs typeface="Arial" panose="020B0604020202020204" pitchFamily="34" charset="0"/>
              </a:rPr>
              <a:t>2</a:t>
            </a:r>
            <a:r>
              <a:rPr kumimoji="0" lang="en-US" sz="1050" b="0" i="0" u="none" strike="noStrike" kern="0" cap="none" spc="0" normalizeH="0" baseline="0" noProof="0">
                <a:ln>
                  <a:noFill/>
                </a:ln>
                <a:solidFill>
                  <a:srgbClr val="FFFFFF"/>
                </a:solidFill>
                <a:effectLst/>
                <a:uLnTx/>
                <a:uFillTx/>
                <a:latin typeface="Calibri"/>
                <a:ea typeface="+mn-ea"/>
                <a:cs typeface="Arial" panose="020B0604020202020204" pitchFamily="34" charset="0"/>
              </a:rPr>
              <a:t> IV </a:t>
            </a:r>
            <a:r>
              <a:rPr kumimoji="0" lang="en-US" sz="1050" b="0" i="1" u="none" strike="noStrike" kern="0" cap="none" spc="0" normalizeH="0" baseline="0" noProof="0">
                <a:ln>
                  <a:noFill/>
                </a:ln>
                <a:solidFill>
                  <a:srgbClr val="FFFFFF"/>
                </a:solidFill>
                <a:effectLst/>
                <a:uLnTx/>
                <a:uFillTx/>
                <a:latin typeface="Calibri"/>
                <a:ea typeface="+mn-ea"/>
                <a:cs typeface="Arial" panose="020B0604020202020204" pitchFamily="34" charset="0"/>
              </a:rPr>
              <a:t>days 1, 2, 8, 9, 22, 23, 29, 30 (20 mg/m</a:t>
            </a:r>
            <a:r>
              <a:rPr kumimoji="0" lang="en-US" sz="1050" b="0" i="1" u="none" strike="noStrike" kern="0" cap="none" spc="0" normalizeH="0" baseline="30000" noProof="0">
                <a:ln>
                  <a:noFill/>
                </a:ln>
                <a:solidFill>
                  <a:srgbClr val="FFFFFF"/>
                </a:solidFill>
                <a:effectLst/>
                <a:uLnTx/>
                <a:uFillTx/>
                <a:latin typeface="Calibri"/>
                <a:ea typeface="+mn-ea"/>
                <a:cs typeface="Arial" panose="020B0604020202020204" pitchFamily="34" charset="0"/>
              </a:rPr>
              <a:t>2</a:t>
            </a:r>
            <a:r>
              <a:rPr kumimoji="0" lang="en-US" sz="1050" b="0" i="1" u="none" strike="noStrike" kern="0" cap="none" spc="0" normalizeH="0" baseline="0" noProof="0">
                <a:ln>
                  <a:noFill/>
                </a:ln>
                <a:solidFill>
                  <a:srgbClr val="FFFFFF"/>
                </a:solidFill>
                <a:effectLst/>
                <a:uLnTx/>
                <a:uFillTx/>
                <a:latin typeface="Calibri"/>
                <a:ea typeface="+mn-ea"/>
                <a:cs typeface="Arial" panose="020B0604020202020204" pitchFamily="34" charset="0"/>
              </a:rPr>
              <a:t> days 1, 2, cycle 1 only) IV over 30 minutes</a:t>
            </a:r>
          </a:p>
          <a:p>
            <a:pPr marL="0" marR="0" lvl="0" indent="0" algn="ctr" defTabSz="685800" rtl="0" eaLnBrk="0" fontAlgn="base" latinLnBrk="0" hangingPunct="0">
              <a:lnSpc>
                <a:spcPct val="100000"/>
              </a:lnSpc>
              <a:spcBef>
                <a:spcPts val="60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Calibri"/>
                <a:ea typeface="+mn-ea"/>
                <a:cs typeface="Arial" panose="020B0604020202020204" pitchFamily="34" charset="0"/>
              </a:rPr>
              <a:t>Melphalan</a:t>
            </a:r>
            <a:r>
              <a:rPr kumimoji="0" lang="en-US" sz="1050" b="0" i="0" u="none" strike="noStrike" kern="0" cap="none" spc="0" normalizeH="0" baseline="30000" noProof="0">
                <a:ln>
                  <a:noFill/>
                </a:ln>
                <a:solidFill>
                  <a:srgbClr val="FFFFFF"/>
                </a:solidFill>
                <a:effectLst/>
                <a:uLnTx/>
                <a:uFillTx/>
                <a:latin typeface="Calibri"/>
                <a:ea typeface="+mn-ea"/>
                <a:cs typeface="Arial" panose="020B0604020202020204" pitchFamily="34" charset="0"/>
              </a:rPr>
              <a:t>b</a:t>
            </a:r>
            <a:r>
              <a:rPr kumimoji="0" lang="en-US" sz="1050" b="0" i="0" u="none" strike="noStrike" kern="0" cap="none" spc="0" normalizeH="0" baseline="0" noProof="0">
                <a:ln>
                  <a:noFill/>
                </a:ln>
                <a:solidFill>
                  <a:srgbClr val="FFFFFF"/>
                </a:solidFill>
                <a:effectLst/>
                <a:uLnTx/>
                <a:uFillTx/>
                <a:latin typeface="Calibri"/>
                <a:ea typeface="+mn-ea"/>
                <a:cs typeface="Arial" panose="020B0604020202020204" pitchFamily="34" charset="0"/>
              </a:rPr>
              <a:t> 9 mg/m</a:t>
            </a:r>
            <a:r>
              <a:rPr kumimoji="0" lang="en-US" sz="1050" b="0" i="0" u="none" strike="noStrike" kern="0" cap="none" spc="0" normalizeH="0" baseline="30000" noProof="0">
                <a:ln>
                  <a:noFill/>
                </a:ln>
                <a:solidFill>
                  <a:srgbClr val="FFFFFF"/>
                </a:solidFill>
                <a:effectLst/>
                <a:uLnTx/>
                <a:uFillTx/>
                <a:latin typeface="Calibri"/>
                <a:ea typeface="+mn-ea"/>
                <a:cs typeface="Arial" panose="020B0604020202020204" pitchFamily="34" charset="0"/>
              </a:rPr>
              <a:t>2 </a:t>
            </a:r>
            <a:r>
              <a:rPr kumimoji="0" lang="en-US" sz="1050" b="0" i="0" u="none" strike="noStrike" kern="0" cap="none" spc="0" normalizeH="0" baseline="0" noProof="0">
                <a:ln>
                  <a:noFill/>
                </a:ln>
                <a:solidFill>
                  <a:srgbClr val="FFFFFF"/>
                </a:solidFill>
                <a:effectLst/>
                <a:uLnTx/>
                <a:uFillTx/>
                <a:latin typeface="Calibri"/>
                <a:ea typeface="+mn-ea"/>
                <a:cs typeface="Arial" panose="020B0604020202020204" pitchFamily="34" charset="0"/>
              </a:rPr>
              <a:t>and </a:t>
            </a:r>
            <a:r>
              <a:rPr kumimoji="0" lang="en-US" sz="1050" b="1" i="0" u="none" strike="noStrike" kern="0" cap="none" spc="0" normalizeH="0" baseline="0" noProof="0">
                <a:ln>
                  <a:noFill/>
                </a:ln>
                <a:solidFill>
                  <a:srgbClr val="FFFFFF"/>
                </a:solidFill>
                <a:effectLst/>
                <a:uLnTx/>
                <a:uFillTx/>
                <a:latin typeface="Calibri"/>
                <a:ea typeface="+mn-ea"/>
                <a:cs typeface="Arial" panose="020B0604020202020204" pitchFamily="34" charset="0"/>
              </a:rPr>
              <a:t>Prednisone</a:t>
            </a:r>
            <a:r>
              <a:rPr kumimoji="0" lang="en-US" sz="1050" b="0" i="0" u="none" strike="noStrike" kern="0" cap="none" spc="0" normalizeH="0" baseline="0" noProof="0">
                <a:ln>
                  <a:noFill/>
                </a:ln>
                <a:solidFill>
                  <a:srgbClr val="FFFFFF"/>
                </a:solidFill>
                <a:effectLst/>
                <a:uLnTx/>
                <a:uFillTx/>
                <a:latin typeface="Calibri"/>
                <a:ea typeface="+mn-ea"/>
                <a:cs typeface="Arial" panose="020B0604020202020204" pitchFamily="34" charset="0"/>
              </a:rPr>
              <a:t> 60 mg/m</a:t>
            </a:r>
            <a:r>
              <a:rPr kumimoji="0" lang="en-US" sz="1050" b="0" i="0" u="none" strike="noStrike" kern="0" cap="none" spc="0" normalizeH="0" baseline="30000" noProof="0">
                <a:ln>
                  <a:noFill/>
                </a:ln>
                <a:solidFill>
                  <a:srgbClr val="FFFFFF"/>
                </a:solidFill>
                <a:effectLst/>
                <a:uLnTx/>
                <a:uFillTx/>
                <a:latin typeface="Calibri"/>
                <a:ea typeface="+mn-ea"/>
                <a:cs typeface="Arial" panose="020B0604020202020204" pitchFamily="34" charset="0"/>
              </a:rPr>
              <a:t>2</a:t>
            </a:r>
            <a:r>
              <a:rPr kumimoji="0" lang="en-US" sz="1050" b="0" i="0" u="none" strike="noStrike" kern="0" cap="none" spc="0" normalizeH="0" baseline="0" noProof="0">
                <a:ln>
                  <a:noFill/>
                </a:ln>
                <a:solidFill>
                  <a:srgbClr val="FFFFFF"/>
                </a:solidFill>
                <a:effectLst/>
                <a:uLnTx/>
                <a:uFillTx/>
                <a:latin typeface="Calibri"/>
                <a:ea typeface="+mn-ea"/>
                <a:cs typeface="Arial" panose="020B0604020202020204" pitchFamily="34" charset="0"/>
              </a:rPr>
              <a:t> </a:t>
            </a:r>
            <a:r>
              <a:rPr kumimoji="0" lang="en-US" sz="1050" b="0" i="1" u="none" strike="noStrike" kern="0" cap="none" spc="0" normalizeH="0" baseline="0" noProof="0">
                <a:ln>
                  <a:noFill/>
                </a:ln>
                <a:solidFill>
                  <a:srgbClr val="FFFFFF"/>
                </a:solidFill>
                <a:effectLst/>
                <a:uLnTx/>
                <a:uFillTx/>
                <a:latin typeface="Calibri"/>
                <a:ea typeface="+mn-ea"/>
                <a:cs typeface="Arial" panose="020B0604020202020204" pitchFamily="34" charset="0"/>
              </a:rPr>
              <a:t>days 1–4</a:t>
            </a:r>
          </a:p>
        </p:txBody>
      </p:sp>
      <p:sp>
        <p:nvSpPr>
          <p:cNvPr id="16" name="Rounded Rectangle 5">
            <a:extLst>
              <a:ext uri="{FF2B5EF4-FFF2-40B4-BE49-F238E27FC236}">
                <a16:creationId xmlns:a16="http://schemas.microsoft.com/office/drawing/2014/main" id="{4C856909-5C7E-4F1B-B076-1C7BBE5F848F}"/>
              </a:ext>
            </a:extLst>
          </p:cNvPr>
          <p:cNvSpPr>
            <a:spLocks noChangeArrowheads="1"/>
          </p:cNvSpPr>
          <p:nvPr/>
        </p:nvSpPr>
        <p:spPr bwMode="auto">
          <a:xfrm>
            <a:off x="592524" y="1025398"/>
            <a:ext cx="1515465" cy="2962913"/>
          </a:xfrm>
          <a:prstGeom prst="roundRect">
            <a:avLst>
              <a:gd name="adj" fmla="val 11075"/>
            </a:avLst>
          </a:prstGeom>
          <a:solidFill>
            <a:srgbClr val="007CC2">
              <a:lumMod val="50000"/>
            </a:srgbClr>
          </a:solidFill>
          <a:ln w="19050" algn="ctr">
            <a:noFill/>
            <a:round/>
            <a:headEnd/>
            <a:tailEnd/>
          </a:ln>
          <a:scene3d>
            <a:camera prst="orthographicFront"/>
            <a:lightRig rig="threePt" dir="t"/>
          </a:scene3d>
          <a:sp3d>
            <a:bevelT/>
            <a:bevelB/>
          </a:sp3d>
        </p:spPr>
        <p:txBody>
          <a:bodyPr lIns="45718" tIns="45718" rIns="45718" bIns="45718" anchor="ctr"/>
          <a:lstStyle/>
          <a:p>
            <a:pPr marL="0" marR="0" lvl="0" indent="0" algn="ctr" defTabSz="685800" rtl="0" eaLnBrk="0" fontAlgn="base" latinLnBrk="0" hangingPunct="0">
              <a:lnSpc>
                <a:spcPct val="100000"/>
              </a:lnSpc>
              <a:spcBef>
                <a:spcPts val="60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Arial" panose="020B0604020202020204" pitchFamily="34" charset="0"/>
              </a:rPr>
              <a:t>Randomization 1:1 </a:t>
            </a:r>
          </a:p>
          <a:p>
            <a:pPr marL="0" marR="0" lvl="0" indent="0" algn="ctr" defTabSz="685800" rtl="0" eaLnBrk="0" fontAlgn="base" latinLnBrk="0" hangingPunct="0">
              <a:lnSpc>
                <a:spcPct val="100000"/>
              </a:lnSpc>
              <a:spcBef>
                <a:spcPts val="60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Arial" panose="020B0604020202020204" pitchFamily="34" charset="0"/>
              </a:rPr>
              <a:t>N = 955</a:t>
            </a:r>
          </a:p>
          <a:p>
            <a:pPr marL="0" marR="0" lvl="0" indent="0" algn="ctr" defTabSz="685800" rtl="0" eaLnBrk="0" fontAlgn="base" latinLnBrk="0" hangingPunct="0">
              <a:lnSpc>
                <a:spcPct val="100000"/>
              </a:lnSpc>
              <a:spcBef>
                <a:spcPts val="60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Calibri"/>
                <a:ea typeface="+mn-ea"/>
                <a:cs typeface="Arial" panose="020B0604020202020204" pitchFamily="34" charset="0"/>
              </a:rPr>
              <a:t>Stratification</a:t>
            </a:r>
          </a:p>
          <a:p>
            <a:pPr marL="119057" marR="0" lvl="0" indent="-119057" algn="l" defTabSz="685800"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Calibri"/>
                <a:ea typeface="+mn-ea"/>
                <a:cs typeface="+mn-cs"/>
              </a:rPr>
              <a:t>ISS stage</a:t>
            </a:r>
          </a:p>
          <a:p>
            <a:pPr marL="119057" marR="0" lvl="0" indent="-119057" algn="l" defTabSz="685800"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Calibri"/>
                <a:ea typeface="+mn-ea"/>
                <a:cs typeface="+mn-cs"/>
              </a:rPr>
              <a:t>Route of bortezomib administration </a:t>
            </a:r>
            <a:br>
              <a:rPr kumimoji="0" lang="en-US" sz="1200" b="0" i="0" u="none" strike="noStrike" kern="0" cap="none" spc="0" normalizeH="0" baseline="0" noProof="0">
                <a:ln>
                  <a:noFill/>
                </a:ln>
                <a:solidFill>
                  <a:srgbClr val="FFFFFF"/>
                </a:solidFill>
                <a:effectLst/>
                <a:uLnTx/>
                <a:uFillTx/>
                <a:latin typeface="Calibri"/>
                <a:ea typeface="+mn-ea"/>
                <a:cs typeface="+mn-cs"/>
              </a:rPr>
            </a:br>
            <a:r>
              <a:rPr kumimoji="0" lang="en-US" sz="1200" b="0" i="0" u="none" strike="noStrike" kern="0" cap="none" spc="0" normalizeH="0" baseline="0" noProof="0">
                <a:ln>
                  <a:noFill/>
                </a:ln>
                <a:solidFill>
                  <a:srgbClr val="FFFFFF"/>
                </a:solidFill>
                <a:effectLst/>
                <a:uLnTx/>
                <a:uFillTx/>
                <a:latin typeface="Calibri"/>
                <a:ea typeface="+mn-ea"/>
                <a:cs typeface="+mn-cs"/>
              </a:rPr>
              <a:t>(if randomized </a:t>
            </a:r>
            <a:br>
              <a:rPr kumimoji="0" lang="en-US" sz="1200" b="0" i="0" u="none" strike="noStrike" kern="0" cap="none" spc="0" normalizeH="0" baseline="0" noProof="0">
                <a:ln>
                  <a:noFill/>
                </a:ln>
                <a:solidFill>
                  <a:srgbClr val="FFFFFF"/>
                </a:solidFill>
                <a:effectLst/>
                <a:uLnTx/>
                <a:uFillTx/>
                <a:latin typeface="Calibri"/>
                <a:ea typeface="+mn-ea"/>
                <a:cs typeface="+mn-cs"/>
              </a:rPr>
            </a:br>
            <a:r>
              <a:rPr kumimoji="0" lang="en-US" sz="1200" b="0" i="0" u="none" strike="noStrike" kern="0" cap="none" spc="0" normalizeH="0" baseline="0" noProof="0">
                <a:ln>
                  <a:noFill/>
                </a:ln>
                <a:solidFill>
                  <a:srgbClr val="FFFFFF"/>
                </a:solidFill>
                <a:effectLst/>
                <a:uLnTx/>
                <a:uFillTx/>
                <a:latin typeface="Calibri"/>
                <a:ea typeface="+mn-ea"/>
                <a:cs typeface="+mn-cs"/>
              </a:rPr>
              <a:t>to VMP)</a:t>
            </a:r>
          </a:p>
          <a:p>
            <a:pPr marL="119057" marR="0" lvl="0" indent="-119057" algn="l" defTabSz="685800"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Calibri"/>
                <a:ea typeface="+mn-ea"/>
                <a:cs typeface="+mn-cs"/>
              </a:rPr>
              <a:t>Region</a:t>
            </a:r>
          </a:p>
          <a:p>
            <a:pPr marL="119057" marR="0" lvl="0" indent="-119057" algn="l" defTabSz="685800" rtl="0" eaLnBrk="0" fontAlgn="base" latinLnBrk="0" hangingPunct="0">
              <a:lnSpc>
                <a:spcPct val="100000"/>
              </a:lnSpc>
              <a:spcBef>
                <a:spcPts val="600"/>
              </a:spcBef>
              <a:spcAft>
                <a:spcPct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Calibri"/>
                <a:ea typeface="+mn-ea"/>
                <a:cs typeface="+mn-cs"/>
              </a:rPr>
              <a:t>Age</a:t>
            </a:r>
          </a:p>
        </p:txBody>
      </p:sp>
      <p:sp>
        <p:nvSpPr>
          <p:cNvPr id="17" name="Rectangle 16">
            <a:extLst>
              <a:ext uri="{FF2B5EF4-FFF2-40B4-BE49-F238E27FC236}">
                <a16:creationId xmlns:a16="http://schemas.microsoft.com/office/drawing/2014/main" id="{401C877A-E7D0-410C-AF7A-F46A5A158A5C}"/>
              </a:ext>
            </a:extLst>
          </p:cNvPr>
          <p:cNvSpPr/>
          <p:nvPr/>
        </p:nvSpPr>
        <p:spPr>
          <a:xfrm>
            <a:off x="0" y="4218468"/>
            <a:ext cx="8851605" cy="923328"/>
          </a:xfrm>
          <a:prstGeom prst="rect">
            <a:avLst/>
          </a:prstGeom>
        </p:spPr>
        <p:txBody>
          <a:bodyPr wrap="square" lIns="91440" tIns="45718" rIns="91436" bIns="45720" anchor="b" anchorCtr="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a</a:t>
            </a:r>
            <a:r>
              <a:rPr kumimoji="0" lang="en-US" sz="9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arfilzomib was administered for 2 weeks out of 3 twice per cycle.</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b</a:t>
            </a:r>
            <a:r>
              <a:rPr kumimoji="0" lang="en-US" sz="9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lphalan dose was 7 mg/m</a:t>
            </a:r>
            <a:r>
              <a:rPr kumimoji="0" lang="en-US" sz="9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2</a:t>
            </a:r>
            <a:r>
              <a:rPr kumimoji="0" lang="en-US" sz="9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if age was &gt;75 years or CrCl was 30 to &lt;50 mL/min; 5 mg/m</a:t>
            </a:r>
            <a:r>
              <a:rPr kumimoji="0" lang="en-US" sz="900" b="0"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2</a:t>
            </a:r>
            <a:r>
              <a:rPr kumimoji="0" lang="en-US" sz="9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if CrCl was 15 to &lt;30 mL/min.</a:t>
            </a:r>
            <a:r>
              <a:rPr kumimoji="0" lang="en-US" sz="900" b="1" i="0" u="none" strike="noStrike" kern="1200" cap="none" spc="0" normalizeH="0" baseline="30000" noProof="0">
                <a:ln>
                  <a:noFill/>
                </a:ln>
                <a:solidFill>
                  <a:srgbClr val="000000"/>
                </a:solidFill>
                <a:effectLst/>
                <a:uLnTx/>
                <a:uFillTx/>
                <a:latin typeface="Calibri"/>
                <a:ea typeface="+mn-ea"/>
                <a:cs typeface="Arial" panose="020B0604020202020204" pitchFamily="34" charset="0"/>
              </a:rPr>
              <a:t>1</a:t>
            </a:r>
            <a:endParaRPr kumimoji="0" lang="en-US" sz="9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CRR, complete response rate; CrCl, creatinine clearance; HRQOL, health-related quality of life; ISS, International Staging System; IV, intravenous; KMP, carfilzomib, melphalan, prednisone; MRD, minimal residual disease; ORR, overall response rate; OS, overall survival; PD, progressive disease</a:t>
            </a:r>
            <a:r>
              <a:rPr kumimoji="0" lang="en-IN" sz="900" b="0" i="0" u="none" strike="noStrike" kern="1200" cap="none" spc="0" normalizeH="0" baseline="0" noProof="0">
                <a:ln>
                  <a:noFill/>
                </a:ln>
                <a:solidFill>
                  <a:srgbClr val="000000"/>
                </a:solidFill>
                <a:effectLst/>
                <a:uLnTx/>
                <a:uFillTx/>
                <a:latin typeface="Calibri"/>
                <a:ea typeface="+mn-ea"/>
                <a:cs typeface="+mn-cs"/>
              </a:rPr>
              <a:t>; PFS, progression-free survival; PN, peripheral neuropathy; </a:t>
            </a:r>
            <a:r>
              <a:rPr kumimoji="0" lang="en-US" sz="900" b="0" i="0" u="none" strike="noStrike" kern="1200" cap="none" spc="0" normalizeH="0" baseline="0" noProof="0">
                <a:ln>
                  <a:noFill/>
                </a:ln>
                <a:solidFill>
                  <a:srgbClr val="000000"/>
                </a:solidFill>
                <a:effectLst/>
                <a:uLnTx/>
                <a:uFillTx/>
                <a:latin typeface="Calibri"/>
                <a:ea typeface="+mn-ea"/>
                <a:cs typeface="+mn-cs"/>
              </a:rPr>
              <a:t>SC, subcutaneous; VMP, bortezomib, melphalan, prednisone.</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 Facon T, et al. Presented at: 16th International Myeloma Workshop; New Delhi, India; March 1-4, 2017. </a:t>
            </a:r>
          </a:p>
        </p:txBody>
      </p:sp>
      <p:sp>
        <p:nvSpPr>
          <p:cNvPr id="18" name="Isosceles Triangle 17">
            <a:extLst>
              <a:ext uri="{FF2B5EF4-FFF2-40B4-BE49-F238E27FC236}">
                <a16:creationId xmlns:a16="http://schemas.microsoft.com/office/drawing/2014/main" id="{21580376-5647-4044-A58D-08B1FA89E70E}"/>
              </a:ext>
            </a:extLst>
          </p:cNvPr>
          <p:cNvSpPr/>
          <p:nvPr/>
        </p:nvSpPr>
        <p:spPr bwMode="auto">
          <a:xfrm rot="5400000">
            <a:off x="2121465" y="1701231"/>
            <a:ext cx="410328" cy="202816"/>
          </a:xfrm>
          <a:prstGeom prst="triangle">
            <a:avLst/>
          </a:prstGeom>
          <a:solidFill>
            <a:srgbClr val="81B5E2">
              <a:lumMod val="50000"/>
            </a:srgbClr>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46798" tIns="46798" rIns="46798" bIns="46798" numCol="1" rtlCol="0" anchor="t" anchorCtr="0" compatLnSpc="1">
            <a:prstTxWarp prst="textNoShape">
              <a:avLst/>
            </a:prstTxWarp>
          </a:bodyPr>
          <a:lstStyle/>
          <a:p>
            <a:pPr marL="0" marR="0" lvl="0" indent="0" algn="l" defTabSz="914355" rtl="0" eaLnBrk="1" fontAlgn="base" latinLnBrk="0" hangingPunct="1">
              <a:lnSpc>
                <a:spcPct val="100000"/>
              </a:lnSpc>
              <a:spcBef>
                <a:spcPct val="40000"/>
              </a:spcBef>
              <a:spcAft>
                <a:spcPct val="0"/>
              </a:spcAft>
              <a:buClr>
                <a:srgbClr val="000000"/>
              </a:buClr>
              <a:buSzTx/>
              <a:buFont typeface="Verdana" pitchFamily="84" charset="0"/>
              <a:buChar char="•"/>
              <a:tabLst/>
              <a:defRPr/>
            </a:pPr>
            <a:endParaRPr kumimoji="0" lang="en-US" sz="1200" b="0" i="0" u="none" strike="noStrike" kern="0" cap="none" spc="0" normalizeH="0" baseline="0" noProof="0">
              <a:ln>
                <a:noFill/>
              </a:ln>
              <a:solidFill>
                <a:srgbClr val="000000"/>
              </a:solidFill>
              <a:effectLst/>
              <a:uLnTx/>
              <a:uFillTx/>
              <a:latin typeface="Calibri"/>
              <a:ea typeface="+mn-ea"/>
              <a:cs typeface="Arial" charset="0"/>
            </a:endParaRPr>
          </a:p>
        </p:txBody>
      </p:sp>
      <p:sp>
        <p:nvSpPr>
          <p:cNvPr id="19" name="Isosceles Triangle 18">
            <a:extLst>
              <a:ext uri="{FF2B5EF4-FFF2-40B4-BE49-F238E27FC236}">
                <a16:creationId xmlns:a16="http://schemas.microsoft.com/office/drawing/2014/main" id="{9343B179-EDBC-499B-9666-265BB7D0B3E9}"/>
              </a:ext>
            </a:extLst>
          </p:cNvPr>
          <p:cNvSpPr/>
          <p:nvPr/>
        </p:nvSpPr>
        <p:spPr bwMode="auto">
          <a:xfrm rot="5400000">
            <a:off x="2121466" y="3256347"/>
            <a:ext cx="410329" cy="202816"/>
          </a:xfrm>
          <a:prstGeom prst="triangle">
            <a:avLst/>
          </a:prstGeom>
          <a:solidFill>
            <a:srgbClr val="FFFFFF">
              <a:lumMod val="65000"/>
            </a:srgbClr>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46798" tIns="46798" rIns="46798" bIns="46798" numCol="1" rtlCol="0" anchor="t" anchorCtr="0" compatLnSpc="1">
            <a:prstTxWarp prst="textNoShape">
              <a:avLst/>
            </a:prstTxWarp>
          </a:bodyPr>
          <a:lstStyle/>
          <a:p>
            <a:pPr marL="0" marR="0" lvl="0" indent="0" algn="l" defTabSz="914355" rtl="0" eaLnBrk="1" fontAlgn="base" latinLnBrk="0" hangingPunct="1">
              <a:lnSpc>
                <a:spcPct val="100000"/>
              </a:lnSpc>
              <a:spcBef>
                <a:spcPct val="40000"/>
              </a:spcBef>
              <a:spcAft>
                <a:spcPct val="0"/>
              </a:spcAft>
              <a:buClr>
                <a:srgbClr val="000000"/>
              </a:buClr>
              <a:buSzTx/>
              <a:buFont typeface="Verdana" pitchFamily="84" charset="0"/>
              <a:buChar char="•"/>
              <a:tabLst/>
              <a:defRPr/>
            </a:pPr>
            <a:endParaRPr kumimoji="0" lang="en-US" sz="1200" b="0" i="0" u="none" strike="noStrike" kern="0" cap="none" spc="0" normalizeH="0" baseline="0" noProof="0">
              <a:ln>
                <a:noFill/>
              </a:ln>
              <a:solidFill>
                <a:srgbClr val="000000"/>
              </a:solidFill>
              <a:effectLst/>
              <a:uLnTx/>
              <a:uFillTx/>
              <a:latin typeface="Calibri"/>
              <a:ea typeface="+mn-ea"/>
              <a:cs typeface="Arial" charset="0"/>
            </a:endParaRPr>
          </a:p>
        </p:txBody>
      </p:sp>
      <p:sp>
        <p:nvSpPr>
          <p:cNvPr id="20" name="Rounded Rectangle 32">
            <a:extLst>
              <a:ext uri="{FF2B5EF4-FFF2-40B4-BE49-F238E27FC236}">
                <a16:creationId xmlns:a16="http://schemas.microsoft.com/office/drawing/2014/main" id="{9AD5FF5B-2688-4108-B352-20CDB54F42B2}"/>
              </a:ext>
            </a:extLst>
          </p:cNvPr>
          <p:cNvSpPr>
            <a:spLocks noChangeArrowheads="1"/>
          </p:cNvSpPr>
          <p:nvPr/>
        </p:nvSpPr>
        <p:spPr bwMode="auto">
          <a:xfrm>
            <a:off x="6781801" y="1025398"/>
            <a:ext cx="1932296" cy="2962913"/>
          </a:xfrm>
          <a:prstGeom prst="roundRect">
            <a:avLst>
              <a:gd name="adj" fmla="val 16667"/>
            </a:avLst>
          </a:prstGeom>
          <a:solidFill>
            <a:srgbClr val="81B5E2"/>
          </a:solidFill>
          <a:ln w="19050" algn="ctr">
            <a:noFill/>
            <a:round/>
            <a:headEnd/>
            <a:tailEnd/>
          </a:ln>
          <a:scene3d>
            <a:camera prst="orthographicFront"/>
            <a:lightRig rig="threePt" dir="t"/>
          </a:scene3d>
          <a:sp3d>
            <a:bevelT/>
            <a:bevelB/>
          </a:sp3d>
        </p:spPr>
        <p:txBody>
          <a:bodyPr lIns="45718" tIns="45718" rIns="45718" bIns="45718" anchor="ctr"/>
          <a:lstStyle/>
          <a:p>
            <a:pPr marL="0" marR="0" lvl="0" indent="0" algn="l" defTabSz="685800" rtl="0" eaLnBrk="0" fontAlgn="base" latinLnBrk="0" hangingPunct="0">
              <a:lnSpc>
                <a:spcPct val="100000"/>
              </a:lnSpc>
              <a:spcBef>
                <a:spcPts val="300"/>
              </a:spcBef>
              <a:spcAft>
                <a:spcPts val="12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Arial" panose="020B0604020202020204" pitchFamily="34" charset="0"/>
              </a:rPr>
              <a:t>Primary endpoint: </a:t>
            </a:r>
            <a:br>
              <a:rPr kumimoji="0" lang="en-US" sz="1200" b="1" i="0" u="none" strike="noStrike" kern="0" cap="none" spc="0" normalizeH="0" baseline="0" noProof="0">
                <a:ln>
                  <a:noFill/>
                </a:ln>
                <a:solidFill>
                  <a:srgbClr val="000000"/>
                </a:solidFill>
                <a:effectLst/>
                <a:uLnTx/>
                <a:uFillTx/>
                <a:latin typeface="Calibri"/>
                <a:ea typeface="+mn-ea"/>
                <a:cs typeface="Arial" panose="020B0604020202020204" pitchFamily="34" charset="0"/>
              </a:rPr>
            </a:br>
            <a:r>
              <a:rPr kumimoji="0" lang="en-US" sz="1200" b="0" i="0" u="none" strike="noStrike" kern="0" cap="none" spc="0" normalizeH="0" baseline="0" noProof="0">
                <a:ln>
                  <a:noFill/>
                </a:ln>
                <a:solidFill>
                  <a:srgbClr val="000000"/>
                </a:solidFill>
                <a:effectLst/>
                <a:uLnTx/>
                <a:uFillTx/>
                <a:latin typeface="Calibri"/>
                <a:ea typeface="+mn-ea"/>
                <a:cs typeface="Arial" panose="020B0604020202020204" pitchFamily="34" charset="0"/>
              </a:rPr>
              <a:t>PFS</a:t>
            </a:r>
          </a:p>
          <a:p>
            <a:pPr marL="0" marR="0" lvl="0" indent="0" algn="l" defTabSz="685800" rtl="0" eaLnBrk="0" fontAlgn="base" latinLnBrk="0" hangingPunct="0">
              <a:lnSpc>
                <a:spcPct val="100000"/>
              </a:lnSpc>
              <a:spcBef>
                <a:spcPts val="300"/>
              </a:spcBef>
              <a:spcAft>
                <a:spcPts val="12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Arial" panose="020B0604020202020204" pitchFamily="34" charset="0"/>
              </a:rPr>
              <a:t>Secondary endpoints: </a:t>
            </a:r>
            <a:br>
              <a:rPr kumimoji="0" lang="en-US" sz="1200" b="1" i="0" u="none" strike="noStrike" kern="0" cap="none" spc="0" normalizeH="0" baseline="0" noProof="0">
                <a:ln>
                  <a:noFill/>
                </a:ln>
                <a:solidFill>
                  <a:srgbClr val="000000"/>
                </a:solidFill>
                <a:effectLst/>
                <a:uLnTx/>
                <a:uFillTx/>
                <a:latin typeface="Calibri"/>
                <a:ea typeface="+mn-ea"/>
                <a:cs typeface="Arial" panose="020B0604020202020204" pitchFamily="34" charset="0"/>
              </a:rPr>
            </a:br>
            <a:r>
              <a:rPr kumimoji="0" lang="en-US" sz="1200" b="0" i="0" u="none" strike="noStrike" kern="0" cap="none" spc="0" normalizeH="0" baseline="0" noProof="0">
                <a:ln>
                  <a:noFill/>
                </a:ln>
                <a:solidFill>
                  <a:srgbClr val="000000"/>
                </a:solidFill>
                <a:effectLst/>
                <a:uLnTx/>
                <a:uFillTx/>
                <a:latin typeface="Calibri"/>
                <a:ea typeface="+mn-ea"/>
                <a:cs typeface="Arial" panose="020B0604020202020204" pitchFamily="34" charset="0"/>
              </a:rPr>
              <a:t>OS, CRR, ORR, grade ≥2 PN rate, HRQOL, safety, and tolerability</a:t>
            </a:r>
          </a:p>
          <a:p>
            <a:pPr marL="0" marR="0" lvl="0" indent="0" algn="l" defTabSz="685800" rtl="0" eaLnBrk="0" fontAlgn="base" latinLnBrk="0" hangingPunct="0">
              <a:lnSpc>
                <a:spcPct val="100000"/>
              </a:lnSpc>
              <a:spcBef>
                <a:spcPts val="300"/>
              </a:spcBef>
              <a:spcAft>
                <a:spcPts val="120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mn-ea"/>
                <a:cs typeface="Arial" panose="020B0604020202020204" pitchFamily="34" charset="0"/>
              </a:rPr>
              <a:t>Exploratory endpoint: </a:t>
            </a:r>
            <a:br>
              <a:rPr kumimoji="0" lang="en-US" sz="1200" b="1" i="0" u="none" strike="noStrike" kern="0" cap="none" spc="0" normalizeH="0" baseline="0" noProof="0">
                <a:ln>
                  <a:noFill/>
                </a:ln>
                <a:solidFill>
                  <a:srgbClr val="000000"/>
                </a:solidFill>
                <a:effectLst/>
                <a:uLnTx/>
                <a:uFillTx/>
                <a:latin typeface="Calibri"/>
                <a:ea typeface="+mn-ea"/>
                <a:cs typeface="Arial" panose="020B0604020202020204" pitchFamily="34" charset="0"/>
              </a:rPr>
            </a:br>
            <a:r>
              <a:rPr kumimoji="0" lang="en-US" sz="1200" b="0" i="0" u="none" strike="noStrike" kern="0" cap="none" spc="0" normalizeH="0" baseline="0" noProof="0">
                <a:ln>
                  <a:noFill/>
                </a:ln>
                <a:solidFill>
                  <a:srgbClr val="000000"/>
                </a:solidFill>
                <a:effectLst/>
                <a:uLnTx/>
                <a:uFillTx/>
                <a:latin typeface="Calibri"/>
                <a:ea typeface="+mn-ea"/>
                <a:cs typeface="Arial" panose="020B0604020202020204" pitchFamily="34" charset="0"/>
              </a:rPr>
              <a:t>MRD</a:t>
            </a:r>
            <a:endParaRPr kumimoji="0" lang="en-US" sz="1200" b="0" i="1"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1" name="Isosceles Triangle 20">
            <a:extLst>
              <a:ext uri="{FF2B5EF4-FFF2-40B4-BE49-F238E27FC236}">
                <a16:creationId xmlns:a16="http://schemas.microsoft.com/office/drawing/2014/main" id="{BE395BE4-AC5A-42C1-B355-9F50D154FEFB}"/>
              </a:ext>
            </a:extLst>
          </p:cNvPr>
          <p:cNvSpPr/>
          <p:nvPr/>
        </p:nvSpPr>
        <p:spPr bwMode="auto">
          <a:xfrm rot="5400000">
            <a:off x="6357993" y="1701231"/>
            <a:ext cx="410328" cy="202816"/>
          </a:xfrm>
          <a:prstGeom prst="triangle">
            <a:avLst/>
          </a:prstGeom>
          <a:solidFill>
            <a:srgbClr val="81B5E2">
              <a:lumMod val="50000"/>
            </a:srgbClr>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46798" tIns="46798" rIns="46798" bIns="46798" numCol="1" rtlCol="0" anchor="t" anchorCtr="0" compatLnSpc="1">
            <a:prstTxWarp prst="textNoShape">
              <a:avLst/>
            </a:prstTxWarp>
          </a:bodyPr>
          <a:lstStyle/>
          <a:p>
            <a:pPr marL="0" marR="0" lvl="0" indent="0" algn="l" defTabSz="914355" rtl="0" eaLnBrk="1" fontAlgn="base" latinLnBrk="0" hangingPunct="1">
              <a:lnSpc>
                <a:spcPct val="100000"/>
              </a:lnSpc>
              <a:spcBef>
                <a:spcPct val="40000"/>
              </a:spcBef>
              <a:spcAft>
                <a:spcPct val="0"/>
              </a:spcAft>
              <a:buClr>
                <a:srgbClr val="000000"/>
              </a:buClr>
              <a:buSzTx/>
              <a:buFont typeface="Verdana" pitchFamily="84" charset="0"/>
              <a:buChar char="•"/>
              <a:tabLst/>
              <a:defRPr/>
            </a:pPr>
            <a:endParaRPr kumimoji="0" lang="en-US" sz="1200" b="0" i="0" u="none" strike="noStrike" kern="0" cap="none" spc="0" normalizeH="0" baseline="0" noProof="0">
              <a:ln>
                <a:noFill/>
              </a:ln>
              <a:solidFill>
                <a:srgbClr val="000000"/>
              </a:solidFill>
              <a:effectLst/>
              <a:uLnTx/>
              <a:uFillTx/>
              <a:latin typeface="Calibri"/>
              <a:ea typeface="+mn-ea"/>
              <a:cs typeface="Arial" charset="0"/>
            </a:endParaRPr>
          </a:p>
        </p:txBody>
      </p:sp>
      <p:sp>
        <p:nvSpPr>
          <p:cNvPr id="22" name="Isosceles Triangle 21">
            <a:extLst>
              <a:ext uri="{FF2B5EF4-FFF2-40B4-BE49-F238E27FC236}">
                <a16:creationId xmlns:a16="http://schemas.microsoft.com/office/drawing/2014/main" id="{F7EE49AE-D672-4095-84AB-835D0BD0B402}"/>
              </a:ext>
            </a:extLst>
          </p:cNvPr>
          <p:cNvSpPr/>
          <p:nvPr/>
        </p:nvSpPr>
        <p:spPr bwMode="auto">
          <a:xfrm rot="5400000">
            <a:off x="6357994" y="3256347"/>
            <a:ext cx="410329" cy="202816"/>
          </a:xfrm>
          <a:prstGeom prst="triangle">
            <a:avLst/>
          </a:prstGeom>
          <a:solidFill>
            <a:srgbClr val="FFFFFF">
              <a:lumMod val="65000"/>
            </a:srgbClr>
          </a:solidFill>
          <a:ln w="9525" cap="flat" cmpd="sng" algn="ctr">
            <a:no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46798" tIns="46798" rIns="46798" bIns="46798" numCol="1" rtlCol="0" anchor="t" anchorCtr="0" compatLnSpc="1">
            <a:prstTxWarp prst="textNoShape">
              <a:avLst/>
            </a:prstTxWarp>
          </a:bodyPr>
          <a:lstStyle/>
          <a:p>
            <a:pPr marL="0" marR="0" lvl="0" indent="0" algn="l" defTabSz="914355" rtl="0" eaLnBrk="1" fontAlgn="base" latinLnBrk="0" hangingPunct="1">
              <a:lnSpc>
                <a:spcPct val="100000"/>
              </a:lnSpc>
              <a:spcBef>
                <a:spcPct val="40000"/>
              </a:spcBef>
              <a:spcAft>
                <a:spcPct val="0"/>
              </a:spcAft>
              <a:buClr>
                <a:srgbClr val="000000"/>
              </a:buClr>
              <a:buSzTx/>
              <a:buFont typeface="Verdana" pitchFamily="84" charset="0"/>
              <a:buChar char="•"/>
              <a:tabLst/>
              <a:defRPr/>
            </a:pPr>
            <a:endParaRPr kumimoji="0" lang="en-US" sz="1200" b="0" i="0" u="none" strike="noStrike" kern="0" cap="none" spc="0" normalizeH="0" baseline="0" noProof="0">
              <a:ln>
                <a:noFill/>
              </a:ln>
              <a:solidFill>
                <a:srgbClr val="000000"/>
              </a:solidFill>
              <a:effectLst/>
              <a:uLnTx/>
              <a:uFillTx/>
              <a:latin typeface="Calibri"/>
              <a:ea typeface="+mn-ea"/>
              <a:cs typeface="Arial" charset="0"/>
            </a:endParaRPr>
          </a:p>
        </p:txBody>
      </p:sp>
    </p:spTree>
    <p:extLst>
      <p:ext uri="{BB962C8B-B14F-4D97-AF65-F5344CB8AC3E}">
        <p14:creationId xmlns:p14="http://schemas.microsoft.com/office/powerpoint/2010/main" val="213111199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04316-9F7C-4893-AB46-C8C6E79EEBE8}"/>
              </a:ext>
            </a:extLst>
          </p:cNvPr>
          <p:cNvSpPr txBox="1">
            <a:spLocks/>
          </p:cNvSpPr>
          <p:nvPr/>
        </p:nvSpPr>
        <p:spPr bwMode="gray">
          <a:xfrm>
            <a:off x="599297" y="94503"/>
            <a:ext cx="8116887" cy="832247"/>
          </a:xfrm>
          <a:prstGeom prst="rect">
            <a:avLst/>
          </a:prstGeom>
          <a:noFill/>
          <a:ln w="9525" algn="ctr">
            <a:noFill/>
            <a:miter lim="800000"/>
            <a:headEnd/>
            <a:tailEnd/>
          </a:ln>
          <a:effectLst/>
        </p:spPr>
        <p:txBody>
          <a:bodyPr vert="horz" wrap="square" lIns="91438" tIns="45719" rIns="91438" bIns="45719" numCol="1" anchor="t" anchorCtr="0" compatLnSpc="1">
            <a:prstTxWarp prst="textNoShape">
              <a:avLst/>
            </a:prstTxWarp>
          </a:bodyPr>
          <a:lstStyle>
            <a:lvl1pPr algn="l" rtl="0" fontAlgn="base">
              <a:lnSpc>
                <a:spcPct val="90000"/>
              </a:lnSpc>
              <a:spcBef>
                <a:spcPct val="0"/>
              </a:spcBef>
              <a:spcAft>
                <a:spcPct val="0"/>
              </a:spcAft>
              <a:defRPr sz="3700" b="1">
                <a:solidFill>
                  <a:schemeClr val="tx1"/>
                </a:solidFill>
                <a:latin typeface="+mj-lt"/>
                <a:ea typeface="+mj-ea"/>
                <a:cs typeface="+mj-cs"/>
              </a:defRPr>
            </a:lvl1pPr>
            <a:lvl2pPr algn="l" rtl="0" fontAlgn="base">
              <a:lnSpc>
                <a:spcPct val="90000"/>
              </a:lnSpc>
              <a:spcBef>
                <a:spcPct val="0"/>
              </a:spcBef>
              <a:spcAft>
                <a:spcPct val="0"/>
              </a:spcAft>
              <a:defRPr sz="4300" b="1">
                <a:solidFill>
                  <a:schemeClr val="tx1"/>
                </a:solidFill>
                <a:latin typeface="Arial" charset="0"/>
              </a:defRPr>
            </a:lvl2pPr>
            <a:lvl3pPr algn="l" rtl="0" fontAlgn="base">
              <a:lnSpc>
                <a:spcPct val="90000"/>
              </a:lnSpc>
              <a:spcBef>
                <a:spcPct val="0"/>
              </a:spcBef>
              <a:spcAft>
                <a:spcPct val="0"/>
              </a:spcAft>
              <a:defRPr sz="4300" b="1">
                <a:solidFill>
                  <a:schemeClr val="tx1"/>
                </a:solidFill>
                <a:latin typeface="Arial" charset="0"/>
              </a:defRPr>
            </a:lvl3pPr>
            <a:lvl4pPr algn="l" rtl="0" fontAlgn="base">
              <a:lnSpc>
                <a:spcPct val="90000"/>
              </a:lnSpc>
              <a:spcBef>
                <a:spcPct val="0"/>
              </a:spcBef>
              <a:spcAft>
                <a:spcPct val="0"/>
              </a:spcAft>
              <a:defRPr sz="4300" b="1">
                <a:solidFill>
                  <a:schemeClr val="tx1"/>
                </a:solidFill>
                <a:latin typeface="Arial" charset="0"/>
              </a:defRPr>
            </a:lvl4pPr>
            <a:lvl5pPr algn="l" rtl="0" fontAlgn="base">
              <a:lnSpc>
                <a:spcPct val="90000"/>
              </a:lnSpc>
              <a:spcBef>
                <a:spcPct val="0"/>
              </a:spcBef>
              <a:spcAft>
                <a:spcPct val="0"/>
              </a:spcAft>
              <a:defRPr sz="4300" b="1">
                <a:solidFill>
                  <a:schemeClr val="tx1"/>
                </a:solidFill>
                <a:latin typeface="Arial" charset="0"/>
              </a:defRPr>
            </a:lvl5pPr>
            <a:lvl6pPr marL="609585" algn="l" rtl="0" fontAlgn="base">
              <a:lnSpc>
                <a:spcPct val="90000"/>
              </a:lnSpc>
              <a:spcBef>
                <a:spcPct val="0"/>
              </a:spcBef>
              <a:spcAft>
                <a:spcPct val="0"/>
              </a:spcAft>
              <a:defRPr sz="4300" b="1">
                <a:solidFill>
                  <a:schemeClr val="tx1"/>
                </a:solidFill>
                <a:latin typeface="Arial" charset="0"/>
              </a:defRPr>
            </a:lvl6pPr>
            <a:lvl7pPr marL="1219170" algn="l" rtl="0" fontAlgn="base">
              <a:lnSpc>
                <a:spcPct val="90000"/>
              </a:lnSpc>
              <a:spcBef>
                <a:spcPct val="0"/>
              </a:spcBef>
              <a:spcAft>
                <a:spcPct val="0"/>
              </a:spcAft>
              <a:defRPr sz="4300" b="1">
                <a:solidFill>
                  <a:schemeClr val="tx1"/>
                </a:solidFill>
                <a:latin typeface="Arial" charset="0"/>
              </a:defRPr>
            </a:lvl7pPr>
            <a:lvl8pPr marL="1828754" algn="l" rtl="0" fontAlgn="base">
              <a:lnSpc>
                <a:spcPct val="90000"/>
              </a:lnSpc>
              <a:spcBef>
                <a:spcPct val="0"/>
              </a:spcBef>
              <a:spcAft>
                <a:spcPct val="0"/>
              </a:spcAft>
              <a:defRPr sz="4300" b="1">
                <a:solidFill>
                  <a:schemeClr val="tx1"/>
                </a:solidFill>
                <a:latin typeface="Arial" charset="0"/>
              </a:defRPr>
            </a:lvl8pPr>
            <a:lvl9pPr marL="2438339" algn="l" rtl="0" fontAlgn="base">
              <a:lnSpc>
                <a:spcPct val="90000"/>
              </a:lnSpc>
              <a:spcBef>
                <a:spcPct val="0"/>
              </a:spcBef>
              <a:spcAft>
                <a:spcPct val="0"/>
              </a:spcAft>
              <a:defRPr sz="4300" b="1">
                <a:solidFill>
                  <a:schemeClr val="tx1"/>
                </a:solidFill>
                <a:latin typeface="Arial"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r>
              <a:rPr kumimoji="0" lang="en-US" sz="30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Primary Endpoint: Progression-Free Survival</a:t>
            </a:r>
          </a:p>
        </p:txBody>
      </p:sp>
      <p:sp>
        <p:nvSpPr>
          <p:cNvPr id="3" name="Content Placeholder 2">
            <a:extLst>
              <a:ext uri="{FF2B5EF4-FFF2-40B4-BE49-F238E27FC236}">
                <a16:creationId xmlns:a16="http://schemas.microsoft.com/office/drawing/2014/main" id="{58E70954-CDD1-4A69-81D6-751ECFCBD57F}"/>
              </a:ext>
            </a:extLst>
          </p:cNvPr>
          <p:cNvSpPr txBox="1">
            <a:spLocks/>
          </p:cNvSpPr>
          <p:nvPr/>
        </p:nvSpPr>
        <p:spPr bwMode="gray">
          <a:xfrm>
            <a:off x="492127" y="4124913"/>
            <a:ext cx="8118475" cy="266700"/>
          </a:xfrm>
          <a:prstGeom prst="rect">
            <a:avLst/>
          </a:prstGeom>
          <a:noFill/>
          <a:ln w="9525" algn="ctr">
            <a:noFill/>
            <a:miter lim="800000"/>
            <a:headEnd/>
            <a:tailEnd/>
          </a:ln>
          <a:effectLst/>
        </p:spPr>
        <p:txBody>
          <a:bodyPr vert="horz" wrap="square" lIns="91438" tIns="45719" rIns="91438" bIns="45719" numCol="1" anchor="t" anchorCtr="0" compatLnSpc="1">
            <a:prstTxWarp prst="textNoShape">
              <a:avLst/>
            </a:prstTxWarp>
          </a:bodyPr>
          <a:lstStyle>
            <a:lvl1pPr marL="457189" indent="-457189" algn="l" rtl="0" fontAlgn="base">
              <a:lnSpc>
                <a:spcPct val="95000"/>
              </a:lnSpc>
              <a:spcBef>
                <a:spcPct val="50000"/>
              </a:spcBef>
              <a:spcAft>
                <a:spcPct val="0"/>
              </a:spcAft>
              <a:buClr>
                <a:schemeClr val="accent3"/>
              </a:buClr>
              <a:buChar char="•"/>
              <a:defRPr sz="3200">
                <a:solidFill>
                  <a:schemeClr val="tx1"/>
                </a:solidFill>
                <a:latin typeface="+mn-lt"/>
                <a:ea typeface="+mn-ea"/>
                <a:cs typeface="+mn-cs"/>
              </a:defRPr>
            </a:lvl1pPr>
            <a:lvl2pPr marL="990575" indent="-380990" algn="l" rtl="0" fontAlgn="base">
              <a:lnSpc>
                <a:spcPct val="95000"/>
              </a:lnSpc>
              <a:spcBef>
                <a:spcPct val="20000"/>
              </a:spcBef>
              <a:spcAft>
                <a:spcPct val="0"/>
              </a:spcAft>
              <a:buClr>
                <a:schemeClr val="accent3"/>
              </a:buClr>
              <a:buFont typeface="Arial" pitchFamily="34" charset="0"/>
              <a:buChar char="–"/>
              <a:defRPr sz="2900">
                <a:solidFill>
                  <a:schemeClr val="tx1"/>
                </a:solidFill>
                <a:latin typeface="+mn-lt"/>
              </a:defRPr>
            </a:lvl2pPr>
            <a:lvl3pPr marL="1523962" indent="-304792" algn="l" rtl="0" fontAlgn="base">
              <a:lnSpc>
                <a:spcPct val="95000"/>
              </a:lnSpc>
              <a:spcBef>
                <a:spcPct val="20000"/>
              </a:spcBef>
              <a:spcAft>
                <a:spcPct val="0"/>
              </a:spcAft>
              <a:buClr>
                <a:schemeClr val="accent3"/>
              </a:buClr>
              <a:buChar char="•"/>
              <a:defRPr sz="2700">
                <a:solidFill>
                  <a:schemeClr val="tx1"/>
                </a:solidFill>
                <a:latin typeface="+mn-lt"/>
              </a:defRPr>
            </a:lvl3pPr>
            <a:lvl4pPr marL="2133547" indent="-304792" algn="l" rtl="0" fontAlgn="base">
              <a:lnSpc>
                <a:spcPct val="95000"/>
              </a:lnSpc>
              <a:spcBef>
                <a:spcPct val="20000"/>
              </a:spcBef>
              <a:spcAft>
                <a:spcPct val="0"/>
              </a:spcAft>
              <a:buClr>
                <a:schemeClr val="accent3"/>
              </a:buClr>
              <a:buFont typeface="Arial" pitchFamily="34" charset="0"/>
              <a:buChar char="–"/>
              <a:defRPr sz="2400">
                <a:solidFill>
                  <a:schemeClr val="tx1"/>
                </a:solidFill>
                <a:latin typeface="+mn-lt"/>
              </a:defRPr>
            </a:lvl4pPr>
            <a:lvl5pPr marL="2743131" indent="-304792" algn="l" rtl="0" fontAlgn="base">
              <a:lnSpc>
                <a:spcPct val="95000"/>
              </a:lnSpc>
              <a:spcBef>
                <a:spcPct val="20000"/>
              </a:spcBef>
              <a:spcAft>
                <a:spcPct val="0"/>
              </a:spcAft>
              <a:buClr>
                <a:schemeClr val="accent3"/>
              </a:buClr>
              <a:buChar char="•"/>
              <a:defRPr sz="2100">
                <a:solidFill>
                  <a:schemeClr val="tx1"/>
                </a:solidFill>
                <a:latin typeface="+mn-lt"/>
              </a:defRPr>
            </a:lvl5pPr>
            <a:lvl6pPr marL="3352716" indent="-304792" algn="l" rtl="0" fontAlgn="base">
              <a:lnSpc>
                <a:spcPct val="95000"/>
              </a:lnSpc>
              <a:spcBef>
                <a:spcPct val="20000"/>
              </a:spcBef>
              <a:spcAft>
                <a:spcPct val="0"/>
              </a:spcAft>
              <a:buClr>
                <a:schemeClr val="accent1"/>
              </a:buClr>
              <a:buChar char="•"/>
              <a:defRPr sz="2100">
                <a:solidFill>
                  <a:schemeClr val="tx1"/>
                </a:solidFill>
                <a:latin typeface="+mn-lt"/>
              </a:defRPr>
            </a:lvl6pPr>
            <a:lvl7pPr marL="3962301" indent="-304792" algn="l" rtl="0" fontAlgn="base">
              <a:lnSpc>
                <a:spcPct val="95000"/>
              </a:lnSpc>
              <a:spcBef>
                <a:spcPct val="20000"/>
              </a:spcBef>
              <a:spcAft>
                <a:spcPct val="0"/>
              </a:spcAft>
              <a:buClr>
                <a:schemeClr val="accent1"/>
              </a:buClr>
              <a:buChar char="•"/>
              <a:defRPr sz="2100">
                <a:solidFill>
                  <a:schemeClr val="tx1"/>
                </a:solidFill>
                <a:latin typeface="+mn-lt"/>
              </a:defRPr>
            </a:lvl7pPr>
            <a:lvl8pPr marL="4571886" indent="-304792" algn="l" rtl="0" fontAlgn="base">
              <a:lnSpc>
                <a:spcPct val="95000"/>
              </a:lnSpc>
              <a:spcBef>
                <a:spcPct val="20000"/>
              </a:spcBef>
              <a:spcAft>
                <a:spcPct val="0"/>
              </a:spcAft>
              <a:buClr>
                <a:schemeClr val="accent1"/>
              </a:buClr>
              <a:buChar char="•"/>
              <a:defRPr sz="2100">
                <a:solidFill>
                  <a:schemeClr val="tx1"/>
                </a:solidFill>
                <a:latin typeface="+mn-lt"/>
              </a:defRPr>
            </a:lvl8pPr>
            <a:lvl9pPr marL="5181470" indent="-304792" algn="l" rtl="0" fontAlgn="base">
              <a:lnSpc>
                <a:spcPct val="95000"/>
              </a:lnSpc>
              <a:spcBef>
                <a:spcPct val="20000"/>
              </a:spcBef>
              <a:spcAft>
                <a:spcPct val="0"/>
              </a:spcAft>
              <a:buClr>
                <a:schemeClr val="accent1"/>
              </a:buClr>
              <a:buChar char="•"/>
              <a:defRPr sz="2100">
                <a:solidFill>
                  <a:schemeClr val="tx1"/>
                </a:solidFill>
                <a:latin typeface="+mn-lt"/>
              </a:defRPr>
            </a:lvl9pPr>
          </a:lstStyle>
          <a:p>
            <a:pPr marL="228588" marR="0" lvl="0" indent="-228588" algn="l" defTabSz="685800" rtl="0" eaLnBrk="1" fontAlgn="base" latinLnBrk="0" hangingPunct="1">
              <a:lnSpc>
                <a:spcPct val="100000"/>
              </a:lnSpc>
              <a:spcBef>
                <a:spcPts val="0"/>
              </a:spcBef>
              <a:spcAft>
                <a:spcPct val="0"/>
              </a:spcAft>
              <a:buClr>
                <a:srgbClr val="007CC2"/>
              </a:buClr>
              <a:buSzTx/>
              <a:buFontTx/>
              <a:buChar char="•"/>
              <a:tabLst/>
              <a:defRPr/>
            </a:pPr>
            <a:r>
              <a:rPr kumimoji="0" lang="en-US" sz="1500" b="0" i="0" u="none" strike="noStrike" kern="0" cap="none" spc="0" normalizeH="0" baseline="0" noProof="0">
                <a:ln>
                  <a:noFill/>
                </a:ln>
                <a:solidFill>
                  <a:srgbClr val="000000"/>
                </a:solidFill>
                <a:effectLst/>
                <a:uLnTx/>
                <a:uFillTx/>
                <a:latin typeface="Calibri"/>
                <a:ea typeface="+mn-ea"/>
                <a:cs typeface="+mn-cs"/>
              </a:rPr>
              <a:t>Median follow-up time: 22.2 months for KMP and 21.6 months for VMP </a:t>
            </a:r>
          </a:p>
          <a:p>
            <a:pPr marL="228588" marR="0" lvl="0" indent="-228588" algn="l" defTabSz="685800" rtl="0" eaLnBrk="1" fontAlgn="base" latinLnBrk="0" hangingPunct="1">
              <a:lnSpc>
                <a:spcPct val="100000"/>
              </a:lnSpc>
              <a:spcBef>
                <a:spcPts val="0"/>
              </a:spcBef>
              <a:spcAft>
                <a:spcPct val="0"/>
              </a:spcAft>
              <a:buClr>
                <a:srgbClr val="007CC2"/>
              </a:buClr>
              <a:buSzTx/>
              <a:buFontTx/>
              <a:buChar char="•"/>
              <a:tabLst/>
              <a:defRPr/>
            </a:pPr>
            <a:r>
              <a:rPr kumimoji="0" lang="en-US" sz="1500" b="0" i="0" u="none" strike="noStrike" kern="0" cap="none" spc="0" normalizeH="0" baseline="0" noProof="0">
                <a:ln>
                  <a:noFill/>
                </a:ln>
                <a:solidFill>
                  <a:srgbClr val="000000"/>
                </a:solidFill>
                <a:effectLst/>
                <a:uLnTx/>
                <a:uFillTx/>
                <a:latin typeface="Calibri"/>
                <a:ea typeface="+mn-ea"/>
                <a:cs typeface="+mn-cs"/>
              </a:rPr>
              <a:t>The absence of PFS difference was consistent across subgroups</a:t>
            </a: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4" name="Rectangle 6">
            <a:extLst>
              <a:ext uri="{FF2B5EF4-FFF2-40B4-BE49-F238E27FC236}">
                <a16:creationId xmlns:a16="http://schemas.microsoft.com/office/drawing/2014/main" id="{01197E3B-D0A8-41DA-A4F2-81A4EDB50E71}"/>
              </a:ext>
            </a:extLst>
          </p:cNvPr>
          <p:cNvSpPr>
            <a:spLocks noChangeArrowheads="1"/>
          </p:cNvSpPr>
          <p:nvPr/>
        </p:nvSpPr>
        <p:spPr bwMode="auto">
          <a:xfrm rot="16200000">
            <a:off x="240946" y="2096458"/>
            <a:ext cx="1388201"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0000"/>
                </a:solidFill>
                <a:effectLst/>
                <a:uLnTx/>
                <a:uFillTx/>
                <a:latin typeface="Calibri"/>
                <a:ea typeface="+mn-ea"/>
                <a:cs typeface="Arial" pitchFamily="34" charset="0"/>
              </a:rPr>
              <a:t>Proportion event free</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5" name="Rectangle 7">
            <a:extLst>
              <a:ext uri="{FF2B5EF4-FFF2-40B4-BE49-F238E27FC236}">
                <a16:creationId xmlns:a16="http://schemas.microsoft.com/office/drawing/2014/main" id="{9F8A16F0-3027-4BE1-8491-791BF83BDDB5}"/>
              </a:ext>
            </a:extLst>
          </p:cNvPr>
          <p:cNvSpPr>
            <a:spLocks noChangeArrowheads="1"/>
          </p:cNvSpPr>
          <p:nvPr/>
        </p:nvSpPr>
        <p:spPr bwMode="auto">
          <a:xfrm>
            <a:off x="1658938" y="3263534"/>
            <a:ext cx="73738"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0</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6" name="Rectangle 8">
            <a:extLst>
              <a:ext uri="{FF2B5EF4-FFF2-40B4-BE49-F238E27FC236}">
                <a16:creationId xmlns:a16="http://schemas.microsoft.com/office/drawing/2014/main" id="{9301E2DD-AEF4-4FBF-B118-0A2156AAECC4}"/>
              </a:ext>
            </a:extLst>
          </p:cNvPr>
          <p:cNvSpPr>
            <a:spLocks noChangeArrowheads="1"/>
          </p:cNvSpPr>
          <p:nvPr/>
        </p:nvSpPr>
        <p:spPr bwMode="auto">
          <a:xfrm>
            <a:off x="4122739" y="3400054"/>
            <a:ext cx="498534"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200" b="1" i="0" u="none" strike="noStrike" kern="0" cap="none" spc="0" normalizeH="0" baseline="0" noProof="0">
                <a:ln>
                  <a:noFill/>
                </a:ln>
                <a:solidFill>
                  <a:srgbClr val="000000"/>
                </a:solidFill>
                <a:effectLst/>
                <a:uLnTx/>
                <a:uFillTx/>
                <a:latin typeface="Calibri"/>
                <a:ea typeface="+mn-ea"/>
                <a:cs typeface="Arial" pitchFamily="34" charset="0"/>
              </a:rPr>
              <a:t>Months</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7" name="Rectangle 34">
            <a:extLst>
              <a:ext uri="{FF2B5EF4-FFF2-40B4-BE49-F238E27FC236}">
                <a16:creationId xmlns:a16="http://schemas.microsoft.com/office/drawing/2014/main" id="{B4F22EE5-EDD3-4080-A340-3EACB0D270C4}"/>
              </a:ext>
            </a:extLst>
          </p:cNvPr>
          <p:cNvSpPr>
            <a:spLocks noChangeArrowheads="1"/>
          </p:cNvSpPr>
          <p:nvPr/>
        </p:nvSpPr>
        <p:spPr bwMode="auto">
          <a:xfrm>
            <a:off x="3389314" y="3263534"/>
            <a:ext cx="14747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12</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8" name="Rectangle 36">
            <a:extLst>
              <a:ext uri="{FF2B5EF4-FFF2-40B4-BE49-F238E27FC236}">
                <a16:creationId xmlns:a16="http://schemas.microsoft.com/office/drawing/2014/main" id="{A323E42F-7A09-4A43-ACE3-8EC68C50EA0D}"/>
              </a:ext>
            </a:extLst>
          </p:cNvPr>
          <p:cNvSpPr>
            <a:spLocks noChangeArrowheads="1"/>
          </p:cNvSpPr>
          <p:nvPr/>
        </p:nvSpPr>
        <p:spPr bwMode="auto">
          <a:xfrm>
            <a:off x="4271964" y="3263534"/>
            <a:ext cx="14747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18</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9" name="Rectangle 38">
            <a:extLst>
              <a:ext uri="{FF2B5EF4-FFF2-40B4-BE49-F238E27FC236}">
                <a16:creationId xmlns:a16="http://schemas.microsoft.com/office/drawing/2014/main" id="{38D760AA-5474-4C87-964E-9EC982CE4266}"/>
              </a:ext>
            </a:extLst>
          </p:cNvPr>
          <p:cNvSpPr>
            <a:spLocks noChangeArrowheads="1"/>
          </p:cNvSpPr>
          <p:nvPr/>
        </p:nvSpPr>
        <p:spPr bwMode="auto">
          <a:xfrm>
            <a:off x="5157789" y="3263534"/>
            <a:ext cx="14747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24</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0" name="Rectangle 40">
            <a:extLst>
              <a:ext uri="{FF2B5EF4-FFF2-40B4-BE49-F238E27FC236}">
                <a16:creationId xmlns:a16="http://schemas.microsoft.com/office/drawing/2014/main" id="{51631629-02D7-4514-91FE-820EAA160F77}"/>
              </a:ext>
            </a:extLst>
          </p:cNvPr>
          <p:cNvSpPr>
            <a:spLocks noChangeArrowheads="1"/>
          </p:cNvSpPr>
          <p:nvPr/>
        </p:nvSpPr>
        <p:spPr bwMode="auto">
          <a:xfrm>
            <a:off x="6926263" y="3263534"/>
            <a:ext cx="14747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36</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1" name="Rectangle 42">
            <a:extLst>
              <a:ext uri="{FF2B5EF4-FFF2-40B4-BE49-F238E27FC236}">
                <a16:creationId xmlns:a16="http://schemas.microsoft.com/office/drawing/2014/main" id="{EBBB201F-E971-4AB5-91B0-05AF51485B08}"/>
              </a:ext>
            </a:extLst>
          </p:cNvPr>
          <p:cNvSpPr>
            <a:spLocks noChangeArrowheads="1"/>
          </p:cNvSpPr>
          <p:nvPr/>
        </p:nvSpPr>
        <p:spPr bwMode="auto">
          <a:xfrm>
            <a:off x="2541589" y="3263534"/>
            <a:ext cx="73738"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6</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2" name="Rectangle 43">
            <a:extLst>
              <a:ext uri="{FF2B5EF4-FFF2-40B4-BE49-F238E27FC236}">
                <a16:creationId xmlns:a16="http://schemas.microsoft.com/office/drawing/2014/main" id="{A671683A-E1E6-4D9A-BA1F-C9B99966149C}"/>
              </a:ext>
            </a:extLst>
          </p:cNvPr>
          <p:cNvSpPr>
            <a:spLocks noChangeArrowheads="1"/>
          </p:cNvSpPr>
          <p:nvPr/>
        </p:nvSpPr>
        <p:spPr bwMode="auto">
          <a:xfrm>
            <a:off x="6043613" y="3263534"/>
            <a:ext cx="14747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30</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3" name="Rectangle 45">
            <a:extLst>
              <a:ext uri="{FF2B5EF4-FFF2-40B4-BE49-F238E27FC236}">
                <a16:creationId xmlns:a16="http://schemas.microsoft.com/office/drawing/2014/main" id="{B29FFE84-BFD4-4C1D-A8E8-4C7BC6FCEAB7}"/>
              </a:ext>
            </a:extLst>
          </p:cNvPr>
          <p:cNvSpPr>
            <a:spLocks noChangeArrowheads="1"/>
          </p:cNvSpPr>
          <p:nvPr/>
        </p:nvSpPr>
        <p:spPr bwMode="auto">
          <a:xfrm>
            <a:off x="1589089" y="3676282"/>
            <a:ext cx="221214"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478</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4" name="Rectangle 47">
            <a:extLst>
              <a:ext uri="{FF2B5EF4-FFF2-40B4-BE49-F238E27FC236}">
                <a16:creationId xmlns:a16="http://schemas.microsoft.com/office/drawing/2014/main" id="{8553F5F3-DEDE-4D9B-A9C0-5D1D4FA92F93}"/>
              </a:ext>
            </a:extLst>
          </p:cNvPr>
          <p:cNvSpPr>
            <a:spLocks noChangeArrowheads="1"/>
          </p:cNvSpPr>
          <p:nvPr/>
        </p:nvSpPr>
        <p:spPr bwMode="auto">
          <a:xfrm>
            <a:off x="1589089" y="3854084"/>
            <a:ext cx="221214"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477</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5" name="Rectangle 49">
            <a:extLst>
              <a:ext uri="{FF2B5EF4-FFF2-40B4-BE49-F238E27FC236}">
                <a16:creationId xmlns:a16="http://schemas.microsoft.com/office/drawing/2014/main" id="{C9018D83-7946-41F1-985C-4226859E90E2}"/>
              </a:ext>
            </a:extLst>
          </p:cNvPr>
          <p:cNvSpPr>
            <a:spLocks noChangeArrowheads="1"/>
          </p:cNvSpPr>
          <p:nvPr/>
        </p:nvSpPr>
        <p:spPr bwMode="auto">
          <a:xfrm>
            <a:off x="3357565" y="3676282"/>
            <a:ext cx="221214"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327</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6" name="Rectangle 51">
            <a:extLst>
              <a:ext uri="{FF2B5EF4-FFF2-40B4-BE49-F238E27FC236}">
                <a16:creationId xmlns:a16="http://schemas.microsoft.com/office/drawing/2014/main" id="{AD9EA51C-4326-41DA-A878-F4B0C25665BC}"/>
              </a:ext>
            </a:extLst>
          </p:cNvPr>
          <p:cNvSpPr>
            <a:spLocks noChangeArrowheads="1"/>
          </p:cNvSpPr>
          <p:nvPr/>
        </p:nvSpPr>
        <p:spPr bwMode="auto">
          <a:xfrm>
            <a:off x="3357565" y="3854084"/>
            <a:ext cx="221214"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309</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7" name="Rectangle 53">
            <a:extLst>
              <a:ext uri="{FF2B5EF4-FFF2-40B4-BE49-F238E27FC236}">
                <a16:creationId xmlns:a16="http://schemas.microsoft.com/office/drawing/2014/main" id="{3371354B-2342-470D-A8C6-320E0E194D1F}"/>
              </a:ext>
            </a:extLst>
          </p:cNvPr>
          <p:cNvSpPr>
            <a:spLocks noChangeArrowheads="1"/>
          </p:cNvSpPr>
          <p:nvPr/>
        </p:nvSpPr>
        <p:spPr bwMode="auto">
          <a:xfrm>
            <a:off x="4240215" y="3676282"/>
            <a:ext cx="221214"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217</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8" name="Rectangle 55">
            <a:extLst>
              <a:ext uri="{FF2B5EF4-FFF2-40B4-BE49-F238E27FC236}">
                <a16:creationId xmlns:a16="http://schemas.microsoft.com/office/drawing/2014/main" id="{C2476BDD-1E0F-4C25-9B4C-7ACB99CCEDEE}"/>
              </a:ext>
            </a:extLst>
          </p:cNvPr>
          <p:cNvSpPr>
            <a:spLocks noChangeArrowheads="1"/>
          </p:cNvSpPr>
          <p:nvPr/>
        </p:nvSpPr>
        <p:spPr bwMode="auto">
          <a:xfrm>
            <a:off x="4240215" y="3854084"/>
            <a:ext cx="221214"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202</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9" name="Rectangle 57">
            <a:extLst>
              <a:ext uri="{FF2B5EF4-FFF2-40B4-BE49-F238E27FC236}">
                <a16:creationId xmlns:a16="http://schemas.microsoft.com/office/drawing/2014/main" id="{844BDFA0-0ED2-44BB-9884-D104A77739D3}"/>
              </a:ext>
            </a:extLst>
          </p:cNvPr>
          <p:cNvSpPr>
            <a:spLocks noChangeArrowheads="1"/>
          </p:cNvSpPr>
          <p:nvPr/>
        </p:nvSpPr>
        <p:spPr bwMode="auto">
          <a:xfrm>
            <a:off x="5160964" y="3676282"/>
            <a:ext cx="14747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85</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20" name="Rectangle 59">
            <a:extLst>
              <a:ext uri="{FF2B5EF4-FFF2-40B4-BE49-F238E27FC236}">
                <a16:creationId xmlns:a16="http://schemas.microsoft.com/office/drawing/2014/main" id="{34C5B9DD-7469-47F6-942D-EA293EA0336F}"/>
              </a:ext>
            </a:extLst>
          </p:cNvPr>
          <p:cNvSpPr>
            <a:spLocks noChangeArrowheads="1"/>
          </p:cNvSpPr>
          <p:nvPr/>
        </p:nvSpPr>
        <p:spPr bwMode="auto">
          <a:xfrm>
            <a:off x="5160964" y="3854084"/>
            <a:ext cx="14747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77</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21" name="Rectangle 61">
            <a:extLst>
              <a:ext uri="{FF2B5EF4-FFF2-40B4-BE49-F238E27FC236}">
                <a16:creationId xmlns:a16="http://schemas.microsoft.com/office/drawing/2014/main" id="{74B92692-6CE6-42C3-91AC-62A9D5AD7943}"/>
              </a:ext>
            </a:extLst>
          </p:cNvPr>
          <p:cNvSpPr>
            <a:spLocks noChangeArrowheads="1"/>
          </p:cNvSpPr>
          <p:nvPr/>
        </p:nvSpPr>
        <p:spPr bwMode="auto">
          <a:xfrm>
            <a:off x="6948490" y="3676282"/>
            <a:ext cx="73738"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0</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22" name="Rectangle 62">
            <a:extLst>
              <a:ext uri="{FF2B5EF4-FFF2-40B4-BE49-F238E27FC236}">
                <a16:creationId xmlns:a16="http://schemas.microsoft.com/office/drawing/2014/main" id="{096A95F3-A28F-400D-BD7A-E61A825B73F5}"/>
              </a:ext>
            </a:extLst>
          </p:cNvPr>
          <p:cNvSpPr>
            <a:spLocks noChangeArrowheads="1"/>
          </p:cNvSpPr>
          <p:nvPr/>
        </p:nvSpPr>
        <p:spPr bwMode="auto">
          <a:xfrm>
            <a:off x="6948490" y="3854084"/>
            <a:ext cx="73738"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0</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23" name="Rectangle 63">
            <a:extLst>
              <a:ext uri="{FF2B5EF4-FFF2-40B4-BE49-F238E27FC236}">
                <a16:creationId xmlns:a16="http://schemas.microsoft.com/office/drawing/2014/main" id="{739028E9-CF2D-49BD-8A3E-31FA2BD0A3C5}"/>
              </a:ext>
            </a:extLst>
          </p:cNvPr>
          <p:cNvSpPr>
            <a:spLocks noChangeArrowheads="1"/>
          </p:cNvSpPr>
          <p:nvPr/>
        </p:nvSpPr>
        <p:spPr bwMode="auto">
          <a:xfrm>
            <a:off x="2474914" y="3676282"/>
            <a:ext cx="221214"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384</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24" name="Rectangle 65">
            <a:extLst>
              <a:ext uri="{FF2B5EF4-FFF2-40B4-BE49-F238E27FC236}">
                <a16:creationId xmlns:a16="http://schemas.microsoft.com/office/drawing/2014/main" id="{B9461035-66DA-4077-A84D-7B32172021D5}"/>
              </a:ext>
            </a:extLst>
          </p:cNvPr>
          <p:cNvSpPr>
            <a:spLocks noChangeArrowheads="1"/>
          </p:cNvSpPr>
          <p:nvPr/>
        </p:nvSpPr>
        <p:spPr bwMode="auto">
          <a:xfrm>
            <a:off x="2474914" y="3854084"/>
            <a:ext cx="221214"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367</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25" name="Rectangle 67">
            <a:extLst>
              <a:ext uri="{FF2B5EF4-FFF2-40B4-BE49-F238E27FC236}">
                <a16:creationId xmlns:a16="http://schemas.microsoft.com/office/drawing/2014/main" id="{CA729B89-E54F-4FFE-9115-A7A01AFF4251}"/>
              </a:ext>
            </a:extLst>
          </p:cNvPr>
          <p:cNvSpPr>
            <a:spLocks noChangeArrowheads="1"/>
          </p:cNvSpPr>
          <p:nvPr/>
        </p:nvSpPr>
        <p:spPr bwMode="auto">
          <a:xfrm>
            <a:off x="6040438" y="3676282"/>
            <a:ext cx="14747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15</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26" name="Rectangle 69">
            <a:extLst>
              <a:ext uri="{FF2B5EF4-FFF2-40B4-BE49-F238E27FC236}">
                <a16:creationId xmlns:a16="http://schemas.microsoft.com/office/drawing/2014/main" id="{CD1A2749-7074-4A0C-B417-B6209A9606FF}"/>
              </a:ext>
            </a:extLst>
          </p:cNvPr>
          <p:cNvSpPr>
            <a:spLocks noChangeArrowheads="1"/>
          </p:cNvSpPr>
          <p:nvPr/>
        </p:nvSpPr>
        <p:spPr bwMode="auto">
          <a:xfrm>
            <a:off x="6115841" y="3854084"/>
            <a:ext cx="73738"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9</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27" name="Line 88">
            <a:extLst>
              <a:ext uri="{FF2B5EF4-FFF2-40B4-BE49-F238E27FC236}">
                <a16:creationId xmlns:a16="http://schemas.microsoft.com/office/drawing/2014/main" id="{F264025B-0261-4389-9E2D-AFAA669D81B8}"/>
              </a:ext>
            </a:extLst>
          </p:cNvPr>
          <p:cNvSpPr>
            <a:spLocks noChangeShapeType="1"/>
          </p:cNvSpPr>
          <p:nvPr/>
        </p:nvSpPr>
        <p:spPr bwMode="auto">
          <a:xfrm>
            <a:off x="1477963" y="1279155"/>
            <a:ext cx="0" cy="1892300"/>
          </a:xfrm>
          <a:prstGeom prst="line">
            <a:avLst/>
          </a:prstGeom>
          <a:noFill/>
          <a:ln w="1905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 name="Line 89">
            <a:extLst>
              <a:ext uri="{FF2B5EF4-FFF2-40B4-BE49-F238E27FC236}">
                <a16:creationId xmlns:a16="http://schemas.microsoft.com/office/drawing/2014/main" id="{D3BE61B4-38B6-4FC4-9D51-A1D2EA41F620}"/>
              </a:ext>
            </a:extLst>
          </p:cNvPr>
          <p:cNvSpPr>
            <a:spLocks noChangeShapeType="1"/>
          </p:cNvSpPr>
          <p:nvPr/>
        </p:nvSpPr>
        <p:spPr bwMode="auto">
          <a:xfrm>
            <a:off x="1474802" y="3177803"/>
            <a:ext cx="5591175" cy="0"/>
          </a:xfrm>
          <a:prstGeom prst="line">
            <a:avLst/>
          </a:prstGeom>
          <a:noFill/>
          <a:ln w="1905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 name="Line 90">
            <a:extLst>
              <a:ext uri="{FF2B5EF4-FFF2-40B4-BE49-F238E27FC236}">
                <a16:creationId xmlns:a16="http://schemas.microsoft.com/office/drawing/2014/main" id="{846B4FD6-A747-43F1-BDD9-12E04E77D25F}"/>
              </a:ext>
            </a:extLst>
          </p:cNvPr>
          <p:cNvSpPr>
            <a:spLocks noChangeShapeType="1"/>
          </p:cNvSpPr>
          <p:nvPr/>
        </p:nvSpPr>
        <p:spPr bwMode="auto">
          <a:xfrm>
            <a:off x="1414466" y="1288678"/>
            <a:ext cx="66675" cy="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 name="Line 91">
            <a:extLst>
              <a:ext uri="{FF2B5EF4-FFF2-40B4-BE49-F238E27FC236}">
                <a16:creationId xmlns:a16="http://schemas.microsoft.com/office/drawing/2014/main" id="{4E976002-3B7C-499D-9A13-6D071A7F353B}"/>
              </a:ext>
            </a:extLst>
          </p:cNvPr>
          <p:cNvSpPr>
            <a:spLocks noChangeShapeType="1"/>
          </p:cNvSpPr>
          <p:nvPr/>
        </p:nvSpPr>
        <p:spPr bwMode="auto">
          <a:xfrm>
            <a:off x="1414466" y="1666502"/>
            <a:ext cx="66675" cy="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 name="Line 92">
            <a:extLst>
              <a:ext uri="{FF2B5EF4-FFF2-40B4-BE49-F238E27FC236}">
                <a16:creationId xmlns:a16="http://schemas.microsoft.com/office/drawing/2014/main" id="{797887B0-8F98-48D8-B521-F3F9AEAAD81D}"/>
              </a:ext>
            </a:extLst>
          </p:cNvPr>
          <p:cNvSpPr>
            <a:spLocks noChangeShapeType="1"/>
          </p:cNvSpPr>
          <p:nvPr/>
        </p:nvSpPr>
        <p:spPr bwMode="auto">
          <a:xfrm>
            <a:off x="1414466" y="2044328"/>
            <a:ext cx="66675" cy="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 name="Line 93">
            <a:extLst>
              <a:ext uri="{FF2B5EF4-FFF2-40B4-BE49-F238E27FC236}">
                <a16:creationId xmlns:a16="http://schemas.microsoft.com/office/drawing/2014/main" id="{35C479BE-F768-4F5B-A93B-955A5186EF1E}"/>
              </a:ext>
            </a:extLst>
          </p:cNvPr>
          <p:cNvSpPr>
            <a:spLocks noChangeShapeType="1"/>
          </p:cNvSpPr>
          <p:nvPr/>
        </p:nvSpPr>
        <p:spPr bwMode="auto">
          <a:xfrm>
            <a:off x="1414466" y="2418977"/>
            <a:ext cx="66675" cy="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 name="Line 94">
            <a:extLst>
              <a:ext uri="{FF2B5EF4-FFF2-40B4-BE49-F238E27FC236}">
                <a16:creationId xmlns:a16="http://schemas.microsoft.com/office/drawing/2014/main" id="{BB114123-B2C5-45A2-8BFC-5D5F455AC4BD}"/>
              </a:ext>
            </a:extLst>
          </p:cNvPr>
          <p:cNvSpPr>
            <a:spLocks noChangeShapeType="1"/>
          </p:cNvSpPr>
          <p:nvPr/>
        </p:nvSpPr>
        <p:spPr bwMode="auto">
          <a:xfrm>
            <a:off x="1414466" y="2796803"/>
            <a:ext cx="66675" cy="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 name="Line 95">
            <a:extLst>
              <a:ext uri="{FF2B5EF4-FFF2-40B4-BE49-F238E27FC236}">
                <a16:creationId xmlns:a16="http://schemas.microsoft.com/office/drawing/2014/main" id="{1F8E6108-D748-464F-AF89-015064A73E1E}"/>
              </a:ext>
            </a:extLst>
          </p:cNvPr>
          <p:cNvSpPr>
            <a:spLocks noChangeShapeType="1"/>
          </p:cNvSpPr>
          <p:nvPr/>
        </p:nvSpPr>
        <p:spPr bwMode="auto">
          <a:xfrm>
            <a:off x="1414466" y="3177803"/>
            <a:ext cx="66675" cy="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 name="Line 96">
            <a:extLst>
              <a:ext uri="{FF2B5EF4-FFF2-40B4-BE49-F238E27FC236}">
                <a16:creationId xmlns:a16="http://schemas.microsoft.com/office/drawing/2014/main" id="{196D4CDB-7139-40FA-8203-6708E1E4AE4A}"/>
              </a:ext>
            </a:extLst>
          </p:cNvPr>
          <p:cNvSpPr>
            <a:spLocks noChangeShapeType="1"/>
          </p:cNvSpPr>
          <p:nvPr/>
        </p:nvSpPr>
        <p:spPr bwMode="auto">
          <a:xfrm>
            <a:off x="1700213"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 name="Line 97">
            <a:extLst>
              <a:ext uri="{FF2B5EF4-FFF2-40B4-BE49-F238E27FC236}">
                <a16:creationId xmlns:a16="http://schemas.microsoft.com/office/drawing/2014/main" id="{D24C067C-D686-4CA3-B0F4-FFCC63877180}"/>
              </a:ext>
            </a:extLst>
          </p:cNvPr>
          <p:cNvSpPr>
            <a:spLocks noChangeShapeType="1"/>
          </p:cNvSpPr>
          <p:nvPr/>
        </p:nvSpPr>
        <p:spPr bwMode="auto">
          <a:xfrm>
            <a:off x="2141538"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 name="Line 98">
            <a:extLst>
              <a:ext uri="{FF2B5EF4-FFF2-40B4-BE49-F238E27FC236}">
                <a16:creationId xmlns:a16="http://schemas.microsoft.com/office/drawing/2014/main" id="{7FCD64D1-D641-4BA4-91C9-6C6F2EE81AEB}"/>
              </a:ext>
            </a:extLst>
          </p:cNvPr>
          <p:cNvSpPr>
            <a:spLocks noChangeShapeType="1"/>
          </p:cNvSpPr>
          <p:nvPr/>
        </p:nvSpPr>
        <p:spPr bwMode="auto">
          <a:xfrm>
            <a:off x="2582863"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 name="Line 99">
            <a:extLst>
              <a:ext uri="{FF2B5EF4-FFF2-40B4-BE49-F238E27FC236}">
                <a16:creationId xmlns:a16="http://schemas.microsoft.com/office/drawing/2014/main" id="{0D11CAEE-CA53-4FE3-B417-38AA66B70239}"/>
              </a:ext>
            </a:extLst>
          </p:cNvPr>
          <p:cNvSpPr>
            <a:spLocks noChangeShapeType="1"/>
          </p:cNvSpPr>
          <p:nvPr/>
        </p:nvSpPr>
        <p:spPr bwMode="auto">
          <a:xfrm>
            <a:off x="3024188"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 name="Line 100">
            <a:extLst>
              <a:ext uri="{FF2B5EF4-FFF2-40B4-BE49-F238E27FC236}">
                <a16:creationId xmlns:a16="http://schemas.microsoft.com/office/drawing/2014/main" id="{FEC71E17-9028-483A-8207-D93D646419D3}"/>
              </a:ext>
            </a:extLst>
          </p:cNvPr>
          <p:cNvSpPr>
            <a:spLocks noChangeShapeType="1"/>
          </p:cNvSpPr>
          <p:nvPr/>
        </p:nvSpPr>
        <p:spPr bwMode="auto">
          <a:xfrm>
            <a:off x="3465513"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 name="Line 101">
            <a:extLst>
              <a:ext uri="{FF2B5EF4-FFF2-40B4-BE49-F238E27FC236}">
                <a16:creationId xmlns:a16="http://schemas.microsoft.com/office/drawing/2014/main" id="{C9DDE927-CEF8-4F92-A70D-88B61D37F772}"/>
              </a:ext>
            </a:extLst>
          </p:cNvPr>
          <p:cNvSpPr>
            <a:spLocks noChangeShapeType="1"/>
          </p:cNvSpPr>
          <p:nvPr/>
        </p:nvSpPr>
        <p:spPr bwMode="auto">
          <a:xfrm>
            <a:off x="3906838"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 name="Line 102">
            <a:extLst>
              <a:ext uri="{FF2B5EF4-FFF2-40B4-BE49-F238E27FC236}">
                <a16:creationId xmlns:a16="http://schemas.microsoft.com/office/drawing/2014/main" id="{4CEC2304-F480-408F-82FA-4676D10FE7B2}"/>
              </a:ext>
            </a:extLst>
          </p:cNvPr>
          <p:cNvSpPr>
            <a:spLocks noChangeShapeType="1"/>
          </p:cNvSpPr>
          <p:nvPr/>
        </p:nvSpPr>
        <p:spPr bwMode="auto">
          <a:xfrm>
            <a:off x="4348163"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 name="Line 103">
            <a:extLst>
              <a:ext uri="{FF2B5EF4-FFF2-40B4-BE49-F238E27FC236}">
                <a16:creationId xmlns:a16="http://schemas.microsoft.com/office/drawing/2014/main" id="{41763BD4-5E52-429E-ACAB-3A72730D8433}"/>
              </a:ext>
            </a:extLst>
          </p:cNvPr>
          <p:cNvSpPr>
            <a:spLocks noChangeShapeType="1"/>
          </p:cNvSpPr>
          <p:nvPr/>
        </p:nvSpPr>
        <p:spPr bwMode="auto">
          <a:xfrm>
            <a:off x="4789488"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 name="Line 104">
            <a:extLst>
              <a:ext uri="{FF2B5EF4-FFF2-40B4-BE49-F238E27FC236}">
                <a16:creationId xmlns:a16="http://schemas.microsoft.com/office/drawing/2014/main" id="{10D8995D-7A22-4ACF-B5F9-4FEE94EA68EF}"/>
              </a:ext>
            </a:extLst>
          </p:cNvPr>
          <p:cNvSpPr>
            <a:spLocks noChangeShapeType="1"/>
          </p:cNvSpPr>
          <p:nvPr/>
        </p:nvSpPr>
        <p:spPr bwMode="auto">
          <a:xfrm>
            <a:off x="5233988"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 name="Line 105">
            <a:extLst>
              <a:ext uri="{FF2B5EF4-FFF2-40B4-BE49-F238E27FC236}">
                <a16:creationId xmlns:a16="http://schemas.microsoft.com/office/drawing/2014/main" id="{C6E55AEB-6ADF-429C-AB2A-288CFAF01111}"/>
              </a:ext>
            </a:extLst>
          </p:cNvPr>
          <p:cNvSpPr>
            <a:spLocks noChangeShapeType="1"/>
          </p:cNvSpPr>
          <p:nvPr/>
        </p:nvSpPr>
        <p:spPr bwMode="auto">
          <a:xfrm>
            <a:off x="5675313"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 name="Line 106">
            <a:extLst>
              <a:ext uri="{FF2B5EF4-FFF2-40B4-BE49-F238E27FC236}">
                <a16:creationId xmlns:a16="http://schemas.microsoft.com/office/drawing/2014/main" id="{3FBEAA73-B351-4831-B721-33AE604922B0}"/>
              </a:ext>
            </a:extLst>
          </p:cNvPr>
          <p:cNvSpPr>
            <a:spLocks noChangeShapeType="1"/>
          </p:cNvSpPr>
          <p:nvPr/>
        </p:nvSpPr>
        <p:spPr bwMode="auto">
          <a:xfrm>
            <a:off x="6116638"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 name="Line 107">
            <a:extLst>
              <a:ext uri="{FF2B5EF4-FFF2-40B4-BE49-F238E27FC236}">
                <a16:creationId xmlns:a16="http://schemas.microsoft.com/office/drawing/2014/main" id="{A2FD0BD1-A30A-4D09-8BFB-8F9BB6145644}"/>
              </a:ext>
            </a:extLst>
          </p:cNvPr>
          <p:cNvSpPr>
            <a:spLocks noChangeShapeType="1"/>
          </p:cNvSpPr>
          <p:nvPr/>
        </p:nvSpPr>
        <p:spPr bwMode="auto">
          <a:xfrm>
            <a:off x="6557963" y="3177803"/>
            <a:ext cx="0" cy="76200"/>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7" name="Line 108">
            <a:extLst>
              <a:ext uri="{FF2B5EF4-FFF2-40B4-BE49-F238E27FC236}">
                <a16:creationId xmlns:a16="http://schemas.microsoft.com/office/drawing/2014/main" id="{16A81765-2F63-4AD2-A99E-92FA250612F1}"/>
              </a:ext>
            </a:extLst>
          </p:cNvPr>
          <p:cNvSpPr>
            <a:spLocks noChangeShapeType="1"/>
          </p:cNvSpPr>
          <p:nvPr/>
        </p:nvSpPr>
        <p:spPr bwMode="auto">
          <a:xfrm>
            <a:off x="6999288" y="3174636"/>
            <a:ext cx="0" cy="79375"/>
          </a:xfrm>
          <a:prstGeom prst="line">
            <a:avLst/>
          </a:prstGeom>
          <a:noFill/>
          <a:ln w="12700">
            <a:solidFill>
              <a:srgbClr val="000000"/>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8" name="Rectangle 111">
            <a:extLst>
              <a:ext uri="{FF2B5EF4-FFF2-40B4-BE49-F238E27FC236}">
                <a16:creationId xmlns:a16="http://schemas.microsoft.com/office/drawing/2014/main" id="{94475EDE-2A3C-4A61-B1B9-47F96E9A1CFB}"/>
              </a:ext>
            </a:extLst>
          </p:cNvPr>
          <p:cNvSpPr>
            <a:spLocks noChangeArrowheads="1"/>
          </p:cNvSpPr>
          <p:nvPr/>
        </p:nvSpPr>
        <p:spPr bwMode="auto">
          <a:xfrm>
            <a:off x="1184714" y="1225184"/>
            <a:ext cx="18434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1.0</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49" name="Rectangle 114">
            <a:extLst>
              <a:ext uri="{FF2B5EF4-FFF2-40B4-BE49-F238E27FC236}">
                <a16:creationId xmlns:a16="http://schemas.microsoft.com/office/drawing/2014/main" id="{A6474F87-A94A-44EB-B4A4-EC17F54323D3}"/>
              </a:ext>
            </a:extLst>
          </p:cNvPr>
          <p:cNvSpPr>
            <a:spLocks noChangeArrowheads="1"/>
          </p:cNvSpPr>
          <p:nvPr/>
        </p:nvSpPr>
        <p:spPr bwMode="auto">
          <a:xfrm>
            <a:off x="1184714" y="1603009"/>
            <a:ext cx="18434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0.8</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50" name="Rectangle 117">
            <a:extLst>
              <a:ext uri="{FF2B5EF4-FFF2-40B4-BE49-F238E27FC236}">
                <a16:creationId xmlns:a16="http://schemas.microsoft.com/office/drawing/2014/main" id="{BBBD01F6-B3FB-4255-9E41-0A8E60359C13}"/>
              </a:ext>
            </a:extLst>
          </p:cNvPr>
          <p:cNvSpPr>
            <a:spLocks noChangeArrowheads="1"/>
          </p:cNvSpPr>
          <p:nvPr/>
        </p:nvSpPr>
        <p:spPr bwMode="auto">
          <a:xfrm>
            <a:off x="1184714" y="1980835"/>
            <a:ext cx="18434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0.6</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51" name="Rectangle 120">
            <a:extLst>
              <a:ext uri="{FF2B5EF4-FFF2-40B4-BE49-F238E27FC236}">
                <a16:creationId xmlns:a16="http://schemas.microsoft.com/office/drawing/2014/main" id="{314EF75C-8E6E-476B-AF50-C60920136BDD}"/>
              </a:ext>
            </a:extLst>
          </p:cNvPr>
          <p:cNvSpPr>
            <a:spLocks noChangeArrowheads="1"/>
          </p:cNvSpPr>
          <p:nvPr/>
        </p:nvSpPr>
        <p:spPr bwMode="auto">
          <a:xfrm>
            <a:off x="1184714" y="2358659"/>
            <a:ext cx="18434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0.4</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52" name="Rectangle 123">
            <a:extLst>
              <a:ext uri="{FF2B5EF4-FFF2-40B4-BE49-F238E27FC236}">
                <a16:creationId xmlns:a16="http://schemas.microsoft.com/office/drawing/2014/main" id="{4F816E76-47BB-48BE-AFC0-01FD64AC0A05}"/>
              </a:ext>
            </a:extLst>
          </p:cNvPr>
          <p:cNvSpPr>
            <a:spLocks noChangeArrowheads="1"/>
          </p:cNvSpPr>
          <p:nvPr/>
        </p:nvSpPr>
        <p:spPr bwMode="auto">
          <a:xfrm>
            <a:off x="1184714" y="2739659"/>
            <a:ext cx="18434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0.2</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53" name="Rectangle 124">
            <a:extLst>
              <a:ext uri="{FF2B5EF4-FFF2-40B4-BE49-F238E27FC236}">
                <a16:creationId xmlns:a16="http://schemas.microsoft.com/office/drawing/2014/main" id="{FD12C915-4F7D-42B3-9D10-079030BE302D}"/>
              </a:ext>
            </a:extLst>
          </p:cNvPr>
          <p:cNvSpPr>
            <a:spLocks noChangeArrowheads="1"/>
          </p:cNvSpPr>
          <p:nvPr/>
        </p:nvSpPr>
        <p:spPr bwMode="auto">
          <a:xfrm>
            <a:off x="1295335" y="3117484"/>
            <a:ext cx="73738"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0</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54" name="Freeform 125">
            <a:extLst>
              <a:ext uri="{FF2B5EF4-FFF2-40B4-BE49-F238E27FC236}">
                <a16:creationId xmlns:a16="http://schemas.microsoft.com/office/drawing/2014/main" id="{68EF607B-E215-4DB4-A898-DB8F0F5B8F4E}"/>
              </a:ext>
            </a:extLst>
          </p:cNvPr>
          <p:cNvSpPr>
            <a:spLocks/>
          </p:cNvSpPr>
          <p:nvPr/>
        </p:nvSpPr>
        <p:spPr bwMode="auto">
          <a:xfrm>
            <a:off x="3960814" y="1945907"/>
            <a:ext cx="2654300" cy="927100"/>
          </a:xfrm>
          <a:custGeom>
            <a:avLst/>
            <a:gdLst>
              <a:gd name="T0" fmla="*/ 1672 w 1672"/>
              <a:gd name="T1" fmla="*/ 584 h 584"/>
              <a:gd name="T2" fmla="*/ 1552 w 1672"/>
              <a:gd name="T3" fmla="*/ 584 h 584"/>
              <a:gd name="T4" fmla="*/ 1552 w 1672"/>
              <a:gd name="T5" fmla="*/ 400 h 584"/>
              <a:gd name="T6" fmla="*/ 1280 w 1672"/>
              <a:gd name="T7" fmla="*/ 400 h 584"/>
              <a:gd name="T8" fmla="*/ 1280 w 1672"/>
              <a:gd name="T9" fmla="*/ 384 h 584"/>
              <a:gd name="T10" fmla="*/ 1280 w 1672"/>
              <a:gd name="T11" fmla="*/ 368 h 584"/>
              <a:gd name="T12" fmla="*/ 1168 w 1672"/>
              <a:gd name="T13" fmla="*/ 368 h 584"/>
              <a:gd name="T14" fmla="*/ 1152 w 1672"/>
              <a:gd name="T15" fmla="*/ 368 h 584"/>
              <a:gd name="T16" fmla="*/ 1152 w 1672"/>
              <a:gd name="T17" fmla="*/ 352 h 584"/>
              <a:gd name="T18" fmla="*/ 1144 w 1672"/>
              <a:gd name="T19" fmla="*/ 336 h 584"/>
              <a:gd name="T20" fmla="*/ 1144 w 1672"/>
              <a:gd name="T21" fmla="*/ 328 h 584"/>
              <a:gd name="T22" fmla="*/ 1144 w 1672"/>
              <a:gd name="T23" fmla="*/ 312 h 584"/>
              <a:gd name="T24" fmla="*/ 1128 w 1672"/>
              <a:gd name="T25" fmla="*/ 304 h 584"/>
              <a:gd name="T26" fmla="*/ 1048 w 1672"/>
              <a:gd name="T27" fmla="*/ 304 h 584"/>
              <a:gd name="T28" fmla="*/ 1040 w 1672"/>
              <a:gd name="T29" fmla="*/ 288 h 584"/>
              <a:gd name="T30" fmla="*/ 1000 w 1672"/>
              <a:gd name="T31" fmla="*/ 272 h 584"/>
              <a:gd name="T32" fmla="*/ 968 w 1672"/>
              <a:gd name="T33" fmla="*/ 264 h 584"/>
              <a:gd name="T34" fmla="*/ 960 w 1672"/>
              <a:gd name="T35" fmla="*/ 256 h 584"/>
              <a:gd name="T36" fmla="*/ 864 w 1672"/>
              <a:gd name="T37" fmla="*/ 256 h 584"/>
              <a:gd name="T38" fmla="*/ 840 w 1672"/>
              <a:gd name="T39" fmla="*/ 256 h 584"/>
              <a:gd name="T40" fmla="*/ 840 w 1672"/>
              <a:gd name="T41" fmla="*/ 248 h 584"/>
              <a:gd name="T42" fmla="*/ 816 w 1672"/>
              <a:gd name="T43" fmla="*/ 248 h 584"/>
              <a:gd name="T44" fmla="*/ 816 w 1672"/>
              <a:gd name="T45" fmla="*/ 232 h 584"/>
              <a:gd name="T46" fmla="*/ 760 w 1672"/>
              <a:gd name="T47" fmla="*/ 232 h 584"/>
              <a:gd name="T48" fmla="*/ 744 w 1672"/>
              <a:gd name="T49" fmla="*/ 208 h 584"/>
              <a:gd name="T50" fmla="*/ 656 w 1672"/>
              <a:gd name="T51" fmla="*/ 208 h 584"/>
              <a:gd name="T52" fmla="*/ 616 w 1672"/>
              <a:gd name="T53" fmla="*/ 176 h 584"/>
              <a:gd name="T54" fmla="*/ 552 w 1672"/>
              <a:gd name="T55" fmla="*/ 168 h 584"/>
              <a:gd name="T56" fmla="*/ 552 w 1672"/>
              <a:gd name="T57" fmla="*/ 168 h 584"/>
              <a:gd name="T58" fmla="*/ 520 w 1672"/>
              <a:gd name="T59" fmla="*/ 156 h 584"/>
              <a:gd name="T60" fmla="*/ 498 w 1672"/>
              <a:gd name="T61" fmla="*/ 144 h 584"/>
              <a:gd name="T62" fmla="*/ 490 w 1672"/>
              <a:gd name="T63" fmla="*/ 140 h 584"/>
              <a:gd name="T64" fmla="*/ 488 w 1672"/>
              <a:gd name="T65" fmla="*/ 136 h 584"/>
              <a:gd name="T66" fmla="*/ 488 w 1672"/>
              <a:gd name="T67" fmla="*/ 136 h 584"/>
              <a:gd name="T68" fmla="*/ 488 w 1672"/>
              <a:gd name="T69" fmla="*/ 120 h 584"/>
              <a:gd name="T70" fmla="*/ 416 w 1672"/>
              <a:gd name="T71" fmla="*/ 112 h 584"/>
              <a:gd name="T72" fmla="*/ 360 w 1672"/>
              <a:gd name="T73" fmla="*/ 88 h 584"/>
              <a:gd name="T74" fmla="*/ 360 w 1672"/>
              <a:gd name="T75" fmla="*/ 88 h 584"/>
              <a:gd name="T76" fmla="*/ 318 w 1672"/>
              <a:gd name="T77" fmla="*/ 82 h 584"/>
              <a:gd name="T78" fmla="*/ 288 w 1672"/>
              <a:gd name="T79" fmla="*/ 76 h 584"/>
              <a:gd name="T80" fmla="*/ 272 w 1672"/>
              <a:gd name="T81" fmla="*/ 72 h 584"/>
              <a:gd name="T82" fmla="*/ 272 w 1672"/>
              <a:gd name="T83" fmla="*/ 72 h 584"/>
              <a:gd name="T84" fmla="*/ 248 w 1672"/>
              <a:gd name="T85" fmla="*/ 68 h 584"/>
              <a:gd name="T86" fmla="*/ 216 w 1672"/>
              <a:gd name="T87" fmla="*/ 64 h 584"/>
              <a:gd name="T88" fmla="*/ 216 w 1672"/>
              <a:gd name="T89" fmla="*/ 64 h 584"/>
              <a:gd name="T90" fmla="*/ 182 w 1672"/>
              <a:gd name="T91" fmla="*/ 60 h 584"/>
              <a:gd name="T92" fmla="*/ 152 w 1672"/>
              <a:gd name="T93" fmla="*/ 56 h 584"/>
              <a:gd name="T94" fmla="*/ 88 w 1672"/>
              <a:gd name="T95" fmla="*/ 16 h 584"/>
              <a:gd name="T96" fmla="*/ 88 w 1672"/>
              <a:gd name="T97" fmla="*/ 16 h 584"/>
              <a:gd name="T98" fmla="*/ 72 w 1672"/>
              <a:gd name="T99" fmla="*/ 8 h 584"/>
              <a:gd name="T100" fmla="*/ 0 w 1672"/>
              <a:gd name="T101"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2" h="584">
                <a:moveTo>
                  <a:pt x="1672" y="584"/>
                </a:moveTo>
                <a:lnTo>
                  <a:pt x="1552" y="584"/>
                </a:lnTo>
                <a:lnTo>
                  <a:pt x="1552" y="400"/>
                </a:lnTo>
                <a:lnTo>
                  <a:pt x="1280" y="400"/>
                </a:lnTo>
                <a:lnTo>
                  <a:pt x="1280" y="384"/>
                </a:lnTo>
                <a:lnTo>
                  <a:pt x="1280" y="368"/>
                </a:lnTo>
                <a:lnTo>
                  <a:pt x="1168" y="368"/>
                </a:lnTo>
                <a:lnTo>
                  <a:pt x="1152" y="368"/>
                </a:lnTo>
                <a:lnTo>
                  <a:pt x="1152" y="352"/>
                </a:lnTo>
                <a:lnTo>
                  <a:pt x="1144" y="336"/>
                </a:lnTo>
                <a:lnTo>
                  <a:pt x="1144" y="328"/>
                </a:lnTo>
                <a:lnTo>
                  <a:pt x="1144" y="312"/>
                </a:lnTo>
                <a:lnTo>
                  <a:pt x="1128" y="304"/>
                </a:lnTo>
                <a:lnTo>
                  <a:pt x="1048" y="304"/>
                </a:lnTo>
                <a:lnTo>
                  <a:pt x="1040" y="288"/>
                </a:lnTo>
                <a:lnTo>
                  <a:pt x="1000" y="272"/>
                </a:lnTo>
                <a:lnTo>
                  <a:pt x="968" y="264"/>
                </a:lnTo>
                <a:lnTo>
                  <a:pt x="960" y="256"/>
                </a:lnTo>
                <a:lnTo>
                  <a:pt x="864" y="256"/>
                </a:lnTo>
                <a:lnTo>
                  <a:pt x="840" y="256"/>
                </a:lnTo>
                <a:lnTo>
                  <a:pt x="840" y="248"/>
                </a:lnTo>
                <a:lnTo>
                  <a:pt x="816" y="248"/>
                </a:lnTo>
                <a:lnTo>
                  <a:pt x="816" y="232"/>
                </a:lnTo>
                <a:lnTo>
                  <a:pt x="760" y="232"/>
                </a:lnTo>
                <a:lnTo>
                  <a:pt x="744" y="208"/>
                </a:lnTo>
                <a:lnTo>
                  <a:pt x="656" y="208"/>
                </a:lnTo>
                <a:lnTo>
                  <a:pt x="616" y="176"/>
                </a:lnTo>
                <a:lnTo>
                  <a:pt x="552" y="168"/>
                </a:lnTo>
                <a:lnTo>
                  <a:pt x="552" y="168"/>
                </a:lnTo>
                <a:lnTo>
                  <a:pt x="520" y="156"/>
                </a:lnTo>
                <a:lnTo>
                  <a:pt x="498" y="144"/>
                </a:lnTo>
                <a:lnTo>
                  <a:pt x="490" y="140"/>
                </a:lnTo>
                <a:lnTo>
                  <a:pt x="488" y="136"/>
                </a:lnTo>
                <a:lnTo>
                  <a:pt x="488" y="136"/>
                </a:lnTo>
                <a:lnTo>
                  <a:pt x="488" y="120"/>
                </a:lnTo>
                <a:lnTo>
                  <a:pt x="416" y="112"/>
                </a:lnTo>
                <a:lnTo>
                  <a:pt x="360" y="88"/>
                </a:lnTo>
                <a:lnTo>
                  <a:pt x="360" y="88"/>
                </a:lnTo>
                <a:lnTo>
                  <a:pt x="318" y="82"/>
                </a:lnTo>
                <a:lnTo>
                  <a:pt x="288" y="76"/>
                </a:lnTo>
                <a:lnTo>
                  <a:pt x="272" y="72"/>
                </a:lnTo>
                <a:lnTo>
                  <a:pt x="272" y="72"/>
                </a:lnTo>
                <a:lnTo>
                  <a:pt x="248" y="68"/>
                </a:lnTo>
                <a:lnTo>
                  <a:pt x="216" y="64"/>
                </a:lnTo>
                <a:lnTo>
                  <a:pt x="216" y="64"/>
                </a:lnTo>
                <a:lnTo>
                  <a:pt x="182" y="60"/>
                </a:lnTo>
                <a:lnTo>
                  <a:pt x="152" y="56"/>
                </a:lnTo>
                <a:lnTo>
                  <a:pt x="88" y="16"/>
                </a:lnTo>
                <a:lnTo>
                  <a:pt x="88" y="16"/>
                </a:lnTo>
                <a:lnTo>
                  <a:pt x="72" y="8"/>
                </a:lnTo>
                <a:lnTo>
                  <a:pt x="0" y="0"/>
                </a:lnTo>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55" name="Freeform 126">
            <a:extLst>
              <a:ext uri="{FF2B5EF4-FFF2-40B4-BE49-F238E27FC236}">
                <a16:creationId xmlns:a16="http://schemas.microsoft.com/office/drawing/2014/main" id="{6D1C4B22-53E7-47DA-AA1F-E62C1F9C1CE8}"/>
              </a:ext>
            </a:extLst>
          </p:cNvPr>
          <p:cNvSpPr>
            <a:spLocks/>
          </p:cNvSpPr>
          <p:nvPr/>
        </p:nvSpPr>
        <p:spPr bwMode="auto">
          <a:xfrm>
            <a:off x="6577013" y="2847605"/>
            <a:ext cx="0" cy="50800"/>
          </a:xfrm>
          <a:custGeom>
            <a:avLst/>
            <a:gdLst>
              <a:gd name="T0" fmla="*/ 32 h 32"/>
              <a:gd name="T1" fmla="*/ 24 h 32"/>
              <a:gd name="T2" fmla="*/ 16 h 32"/>
              <a:gd name="T3" fmla="*/ 0 h 32"/>
              <a:gd name="T4" fmla="*/ 32 h 32"/>
            </a:gdLst>
            <a:ahLst/>
            <a:cxnLst>
              <a:cxn ang="0">
                <a:pos x="0" y="T0"/>
              </a:cxn>
              <a:cxn ang="0">
                <a:pos x="0" y="T1"/>
              </a:cxn>
              <a:cxn ang="0">
                <a:pos x="0" y="T2"/>
              </a:cxn>
              <a:cxn ang="0">
                <a:pos x="0" y="T3"/>
              </a:cxn>
              <a:cxn ang="0">
                <a:pos x="0" y="T4"/>
              </a:cxn>
            </a:cxnLst>
            <a:rect l="0" t="0" r="r" b="b"/>
            <a:pathLst>
              <a:path h="32">
                <a:moveTo>
                  <a:pt x="0" y="32"/>
                </a:moveTo>
                <a:lnTo>
                  <a:pt x="0" y="24"/>
                </a:lnTo>
                <a:lnTo>
                  <a:pt x="0" y="16"/>
                </a:lnTo>
                <a:lnTo>
                  <a:pt x="0" y="0"/>
                </a:lnTo>
                <a:lnTo>
                  <a:pt x="0" y="32"/>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56" name="Freeform 127">
            <a:extLst>
              <a:ext uri="{FF2B5EF4-FFF2-40B4-BE49-F238E27FC236}">
                <a16:creationId xmlns:a16="http://schemas.microsoft.com/office/drawing/2014/main" id="{AEDD76A6-E6E6-485B-AF87-F2A37EEF447B}"/>
              </a:ext>
            </a:extLst>
          </p:cNvPr>
          <p:cNvSpPr>
            <a:spLocks/>
          </p:cNvSpPr>
          <p:nvPr/>
        </p:nvSpPr>
        <p:spPr bwMode="auto">
          <a:xfrm>
            <a:off x="6272213" y="2555505"/>
            <a:ext cx="0" cy="44450"/>
          </a:xfrm>
          <a:custGeom>
            <a:avLst/>
            <a:gdLst>
              <a:gd name="T0" fmla="*/ 28 h 28"/>
              <a:gd name="T1" fmla="*/ 22 h 28"/>
              <a:gd name="T2" fmla="*/ 14 h 28"/>
              <a:gd name="T3" fmla="*/ 0 h 28"/>
              <a:gd name="T4" fmla="*/ 28 h 28"/>
            </a:gdLst>
            <a:ahLst/>
            <a:cxnLst>
              <a:cxn ang="0">
                <a:pos x="0" y="T0"/>
              </a:cxn>
              <a:cxn ang="0">
                <a:pos x="0" y="T1"/>
              </a:cxn>
              <a:cxn ang="0">
                <a:pos x="0" y="T2"/>
              </a:cxn>
              <a:cxn ang="0">
                <a:pos x="0" y="T3"/>
              </a:cxn>
              <a:cxn ang="0">
                <a:pos x="0" y="T4"/>
              </a:cxn>
            </a:cxnLst>
            <a:rect l="0" t="0" r="r" b="b"/>
            <a:pathLst>
              <a:path h="28">
                <a:moveTo>
                  <a:pt x="0" y="28"/>
                </a:moveTo>
                <a:lnTo>
                  <a:pt x="0" y="22"/>
                </a:lnTo>
                <a:lnTo>
                  <a:pt x="0" y="14"/>
                </a:lnTo>
                <a:lnTo>
                  <a:pt x="0" y="0"/>
                </a:lnTo>
                <a:lnTo>
                  <a:pt x="0" y="28"/>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57" name="Freeform 128">
            <a:extLst>
              <a:ext uri="{FF2B5EF4-FFF2-40B4-BE49-F238E27FC236}">
                <a16:creationId xmlns:a16="http://schemas.microsoft.com/office/drawing/2014/main" id="{B5E4866A-B55F-4F6A-A5CD-8C03137CCB0B}"/>
              </a:ext>
            </a:extLst>
          </p:cNvPr>
          <p:cNvSpPr>
            <a:spLocks/>
          </p:cNvSpPr>
          <p:nvPr/>
        </p:nvSpPr>
        <p:spPr bwMode="auto">
          <a:xfrm>
            <a:off x="6243638" y="2555505"/>
            <a:ext cx="0" cy="44450"/>
          </a:xfrm>
          <a:custGeom>
            <a:avLst/>
            <a:gdLst>
              <a:gd name="T0" fmla="*/ 28 h 28"/>
              <a:gd name="T1" fmla="*/ 22 h 28"/>
              <a:gd name="T2" fmla="*/ 14 h 28"/>
              <a:gd name="T3" fmla="*/ 0 h 28"/>
              <a:gd name="T4" fmla="*/ 28 h 28"/>
            </a:gdLst>
            <a:ahLst/>
            <a:cxnLst>
              <a:cxn ang="0">
                <a:pos x="0" y="T0"/>
              </a:cxn>
              <a:cxn ang="0">
                <a:pos x="0" y="T1"/>
              </a:cxn>
              <a:cxn ang="0">
                <a:pos x="0" y="T2"/>
              </a:cxn>
              <a:cxn ang="0">
                <a:pos x="0" y="T3"/>
              </a:cxn>
              <a:cxn ang="0">
                <a:pos x="0" y="T4"/>
              </a:cxn>
            </a:cxnLst>
            <a:rect l="0" t="0" r="r" b="b"/>
            <a:pathLst>
              <a:path h="28">
                <a:moveTo>
                  <a:pt x="0" y="28"/>
                </a:moveTo>
                <a:lnTo>
                  <a:pt x="0" y="22"/>
                </a:lnTo>
                <a:lnTo>
                  <a:pt x="0" y="14"/>
                </a:lnTo>
                <a:lnTo>
                  <a:pt x="0" y="0"/>
                </a:lnTo>
                <a:lnTo>
                  <a:pt x="0" y="28"/>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58" name="Freeform 129">
            <a:extLst>
              <a:ext uri="{FF2B5EF4-FFF2-40B4-BE49-F238E27FC236}">
                <a16:creationId xmlns:a16="http://schemas.microsoft.com/office/drawing/2014/main" id="{A51235C1-4BA3-42A5-B537-88DD1E1EA62F}"/>
              </a:ext>
            </a:extLst>
          </p:cNvPr>
          <p:cNvSpPr>
            <a:spLocks/>
          </p:cNvSpPr>
          <p:nvPr/>
        </p:nvSpPr>
        <p:spPr bwMode="auto">
          <a:xfrm>
            <a:off x="6183313" y="2555505"/>
            <a:ext cx="0" cy="44450"/>
          </a:xfrm>
          <a:custGeom>
            <a:avLst/>
            <a:gdLst>
              <a:gd name="T0" fmla="*/ 28 h 28"/>
              <a:gd name="T1" fmla="*/ 22 h 28"/>
              <a:gd name="T2" fmla="*/ 14 h 28"/>
              <a:gd name="T3" fmla="*/ 0 h 28"/>
              <a:gd name="T4" fmla="*/ 28 h 28"/>
            </a:gdLst>
            <a:ahLst/>
            <a:cxnLst>
              <a:cxn ang="0">
                <a:pos x="0" y="T0"/>
              </a:cxn>
              <a:cxn ang="0">
                <a:pos x="0" y="T1"/>
              </a:cxn>
              <a:cxn ang="0">
                <a:pos x="0" y="T2"/>
              </a:cxn>
              <a:cxn ang="0">
                <a:pos x="0" y="T3"/>
              </a:cxn>
              <a:cxn ang="0">
                <a:pos x="0" y="T4"/>
              </a:cxn>
            </a:cxnLst>
            <a:rect l="0" t="0" r="r" b="b"/>
            <a:pathLst>
              <a:path h="28">
                <a:moveTo>
                  <a:pt x="0" y="28"/>
                </a:moveTo>
                <a:lnTo>
                  <a:pt x="0" y="22"/>
                </a:lnTo>
                <a:lnTo>
                  <a:pt x="0" y="14"/>
                </a:lnTo>
                <a:lnTo>
                  <a:pt x="0" y="0"/>
                </a:lnTo>
                <a:lnTo>
                  <a:pt x="0" y="28"/>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59" name="Freeform 130">
            <a:extLst>
              <a:ext uri="{FF2B5EF4-FFF2-40B4-BE49-F238E27FC236}">
                <a16:creationId xmlns:a16="http://schemas.microsoft.com/office/drawing/2014/main" id="{6A9542A1-E6C5-4CCB-95EA-1CA0EC4FFAF1}"/>
              </a:ext>
            </a:extLst>
          </p:cNvPr>
          <p:cNvSpPr>
            <a:spLocks/>
          </p:cNvSpPr>
          <p:nvPr/>
        </p:nvSpPr>
        <p:spPr bwMode="auto">
          <a:xfrm>
            <a:off x="6154738" y="2555505"/>
            <a:ext cx="0" cy="44450"/>
          </a:xfrm>
          <a:custGeom>
            <a:avLst/>
            <a:gdLst>
              <a:gd name="T0" fmla="*/ 28 h 28"/>
              <a:gd name="T1" fmla="*/ 22 h 28"/>
              <a:gd name="T2" fmla="*/ 14 h 28"/>
              <a:gd name="T3" fmla="*/ 0 h 28"/>
              <a:gd name="T4" fmla="*/ 28 h 28"/>
            </a:gdLst>
            <a:ahLst/>
            <a:cxnLst>
              <a:cxn ang="0">
                <a:pos x="0" y="T0"/>
              </a:cxn>
              <a:cxn ang="0">
                <a:pos x="0" y="T1"/>
              </a:cxn>
              <a:cxn ang="0">
                <a:pos x="0" y="T2"/>
              </a:cxn>
              <a:cxn ang="0">
                <a:pos x="0" y="T3"/>
              </a:cxn>
              <a:cxn ang="0">
                <a:pos x="0" y="T4"/>
              </a:cxn>
            </a:cxnLst>
            <a:rect l="0" t="0" r="r" b="b"/>
            <a:pathLst>
              <a:path h="28">
                <a:moveTo>
                  <a:pt x="0" y="28"/>
                </a:moveTo>
                <a:lnTo>
                  <a:pt x="0" y="22"/>
                </a:lnTo>
                <a:lnTo>
                  <a:pt x="0" y="14"/>
                </a:lnTo>
                <a:lnTo>
                  <a:pt x="0" y="0"/>
                </a:lnTo>
                <a:lnTo>
                  <a:pt x="0" y="28"/>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0" name="Freeform 131">
            <a:extLst>
              <a:ext uri="{FF2B5EF4-FFF2-40B4-BE49-F238E27FC236}">
                <a16:creationId xmlns:a16="http://schemas.microsoft.com/office/drawing/2014/main" id="{228C7A06-95A5-4263-8CEB-11D4B1697C1A}"/>
              </a:ext>
            </a:extLst>
          </p:cNvPr>
          <p:cNvSpPr>
            <a:spLocks/>
          </p:cNvSpPr>
          <p:nvPr/>
        </p:nvSpPr>
        <p:spPr bwMode="auto">
          <a:xfrm>
            <a:off x="6040438" y="2555505"/>
            <a:ext cx="0" cy="44450"/>
          </a:xfrm>
          <a:custGeom>
            <a:avLst/>
            <a:gdLst>
              <a:gd name="T0" fmla="*/ 28 h 28"/>
              <a:gd name="T1" fmla="*/ 22 h 28"/>
              <a:gd name="T2" fmla="*/ 14 h 28"/>
              <a:gd name="T3" fmla="*/ 0 h 28"/>
              <a:gd name="T4" fmla="*/ 28 h 28"/>
            </a:gdLst>
            <a:ahLst/>
            <a:cxnLst>
              <a:cxn ang="0">
                <a:pos x="0" y="T0"/>
              </a:cxn>
              <a:cxn ang="0">
                <a:pos x="0" y="T1"/>
              </a:cxn>
              <a:cxn ang="0">
                <a:pos x="0" y="T2"/>
              </a:cxn>
              <a:cxn ang="0">
                <a:pos x="0" y="T3"/>
              </a:cxn>
              <a:cxn ang="0">
                <a:pos x="0" y="T4"/>
              </a:cxn>
            </a:cxnLst>
            <a:rect l="0" t="0" r="r" b="b"/>
            <a:pathLst>
              <a:path h="28">
                <a:moveTo>
                  <a:pt x="0" y="28"/>
                </a:moveTo>
                <a:lnTo>
                  <a:pt x="0" y="22"/>
                </a:lnTo>
                <a:lnTo>
                  <a:pt x="0" y="14"/>
                </a:lnTo>
                <a:lnTo>
                  <a:pt x="0" y="0"/>
                </a:lnTo>
                <a:lnTo>
                  <a:pt x="0" y="28"/>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1" name="Freeform 132">
            <a:extLst>
              <a:ext uri="{FF2B5EF4-FFF2-40B4-BE49-F238E27FC236}">
                <a16:creationId xmlns:a16="http://schemas.microsoft.com/office/drawing/2014/main" id="{C2FD29A0-B147-49E3-9737-278F0595E502}"/>
              </a:ext>
            </a:extLst>
          </p:cNvPr>
          <p:cNvSpPr>
            <a:spLocks/>
          </p:cNvSpPr>
          <p:nvPr/>
        </p:nvSpPr>
        <p:spPr bwMode="auto">
          <a:xfrm>
            <a:off x="5992813" y="2555505"/>
            <a:ext cx="0" cy="44450"/>
          </a:xfrm>
          <a:custGeom>
            <a:avLst/>
            <a:gdLst>
              <a:gd name="T0" fmla="*/ 28 h 28"/>
              <a:gd name="T1" fmla="*/ 22 h 28"/>
              <a:gd name="T2" fmla="*/ 14 h 28"/>
              <a:gd name="T3" fmla="*/ 0 h 28"/>
              <a:gd name="T4" fmla="*/ 28 h 28"/>
            </a:gdLst>
            <a:ahLst/>
            <a:cxnLst>
              <a:cxn ang="0">
                <a:pos x="0" y="T0"/>
              </a:cxn>
              <a:cxn ang="0">
                <a:pos x="0" y="T1"/>
              </a:cxn>
              <a:cxn ang="0">
                <a:pos x="0" y="T2"/>
              </a:cxn>
              <a:cxn ang="0">
                <a:pos x="0" y="T3"/>
              </a:cxn>
              <a:cxn ang="0">
                <a:pos x="0" y="T4"/>
              </a:cxn>
            </a:cxnLst>
            <a:rect l="0" t="0" r="r" b="b"/>
            <a:pathLst>
              <a:path h="28">
                <a:moveTo>
                  <a:pt x="0" y="28"/>
                </a:moveTo>
                <a:lnTo>
                  <a:pt x="0" y="22"/>
                </a:lnTo>
                <a:lnTo>
                  <a:pt x="0" y="14"/>
                </a:lnTo>
                <a:lnTo>
                  <a:pt x="0" y="0"/>
                </a:lnTo>
                <a:lnTo>
                  <a:pt x="0" y="28"/>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2" name="Freeform 133">
            <a:extLst>
              <a:ext uri="{FF2B5EF4-FFF2-40B4-BE49-F238E27FC236}">
                <a16:creationId xmlns:a16="http://schemas.microsoft.com/office/drawing/2014/main" id="{698ECCC1-DA93-446A-A9D9-25C609BB2120}"/>
              </a:ext>
            </a:extLst>
          </p:cNvPr>
          <p:cNvSpPr>
            <a:spLocks/>
          </p:cNvSpPr>
          <p:nvPr/>
        </p:nvSpPr>
        <p:spPr bwMode="auto">
          <a:xfrm>
            <a:off x="5942014" y="2577728"/>
            <a:ext cx="44450" cy="0"/>
          </a:xfrm>
          <a:custGeom>
            <a:avLst/>
            <a:gdLst>
              <a:gd name="T0" fmla="*/ 28 w 28"/>
              <a:gd name="T1" fmla="*/ 22 w 28"/>
              <a:gd name="T2" fmla="*/ 14 w 28"/>
              <a:gd name="T3" fmla="*/ 0 w 28"/>
              <a:gd name="T4" fmla="*/ 28 w 28"/>
            </a:gdLst>
            <a:ahLst/>
            <a:cxnLst>
              <a:cxn ang="0">
                <a:pos x="T0" y="0"/>
              </a:cxn>
              <a:cxn ang="0">
                <a:pos x="T1" y="0"/>
              </a:cxn>
              <a:cxn ang="0">
                <a:pos x="T2" y="0"/>
              </a:cxn>
              <a:cxn ang="0">
                <a:pos x="T3" y="0"/>
              </a:cxn>
              <a:cxn ang="0">
                <a:pos x="T4" y="0"/>
              </a:cxn>
            </a:cxnLst>
            <a:rect l="0" t="0" r="r" b="b"/>
            <a:pathLst>
              <a:path w="28">
                <a:moveTo>
                  <a:pt x="28" y="0"/>
                </a:moveTo>
                <a:lnTo>
                  <a:pt x="22" y="0"/>
                </a:lnTo>
                <a:lnTo>
                  <a:pt x="14" y="0"/>
                </a:lnTo>
                <a:lnTo>
                  <a:pt x="0" y="0"/>
                </a:lnTo>
                <a:lnTo>
                  <a:pt x="28" y="0"/>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3" name="Freeform 134">
            <a:extLst>
              <a:ext uri="{FF2B5EF4-FFF2-40B4-BE49-F238E27FC236}">
                <a16:creationId xmlns:a16="http://schemas.microsoft.com/office/drawing/2014/main" id="{487E1C5C-FAD0-4790-92A1-CE7910136C33}"/>
              </a:ext>
            </a:extLst>
          </p:cNvPr>
          <p:cNvSpPr>
            <a:spLocks/>
          </p:cNvSpPr>
          <p:nvPr/>
        </p:nvSpPr>
        <p:spPr bwMode="auto">
          <a:xfrm>
            <a:off x="5980113" y="2504702"/>
            <a:ext cx="0" cy="57150"/>
          </a:xfrm>
          <a:custGeom>
            <a:avLst/>
            <a:gdLst>
              <a:gd name="T0" fmla="*/ 36 h 36"/>
              <a:gd name="T1" fmla="*/ 28 h 36"/>
              <a:gd name="T2" fmla="*/ 18 h 36"/>
              <a:gd name="T3" fmla="*/ 0 h 36"/>
              <a:gd name="T4" fmla="*/ 36 h 36"/>
            </a:gdLst>
            <a:ahLst/>
            <a:cxnLst>
              <a:cxn ang="0">
                <a:pos x="0" y="T0"/>
              </a:cxn>
              <a:cxn ang="0">
                <a:pos x="0" y="T1"/>
              </a:cxn>
              <a:cxn ang="0">
                <a:pos x="0" y="T2"/>
              </a:cxn>
              <a:cxn ang="0">
                <a:pos x="0" y="T3"/>
              </a:cxn>
              <a:cxn ang="0">
                <a:pos x="0" y="T4"/>
              </a:cxn>
            </a:cxnLst>
            <a:rect l="0" t="0" r="r" b="b"/>
            <a:pathLst>
              <a:path h="36">
                <a:moveTo>
                  <a:pt x="0" y="36"/>
                </a:moveTo>
                <a:lnTo>
                  <a:pt x="0" y="28"/>
                </a:lnTo>
                <a:lnTo>
                  <a:pt x="0" y="18"/>
                </a:lnTo>
                <a:lnTo>
                  <a:pt x="0" y="0"/>
                </a:lnTo>
                <a:lnTo>
                  <a:pt x="0" y="36"/>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4" name="Freeform 135">
            <a:extLst>
              <a:ext uri="{FF2B5EF4-FFF2-40B4-BE49-F238E27FC236}">
                <a16:creationId xmlns:a16="http://schemas.microsoft.com/office/drawing/2014/main" id="{96366044-860C-46E8-AD13-2C48CA9F9DC1}"/>
              </a:ext>
            </a:extLst>
          </p:cNvPr>
          <p:cNvSpPr>
            <a:spLocks/>
          </p:cNvSpPr>
          <p:nvPr/>
        </p:nvSpPr>
        <p:spPr bwMode="auto">
          <a:xfrm>
            <a:off x="5992813" y="2530103"/>
            <a:ext cx="25400" cy="0"/>
          </a:xfrm>
          <a:custGeom>
            <a:avLst/>
            <a:gdLst>
              <a:gd name="T0" fmla="*/ 14 w 16"/>
              <a:gd name="T1" fmla="*/ 0 w 16"/>
              <a:gd name="T2" fmla="*/ 16 w 16"/>
            </a:gdLst>
            <a:ahLst/>
            <a:cxnLst>
              <a:cxn ang="0">
                <a:pos x="T0" y="0"/>
              </a:cxn>
              <a:cxn ang="0">
                <a:pos x="T1" y="0"/>
              </a:cxn>
              <a:cxn ang="0">
                <a:pos x="T2" y="0"/>
              </a:cxn>
            </a:cxnLst>
            <a:rect l="0" t="0" r="r" b="b"/>
            <a:pathLst>
              <a:path w="16">
                <a:moveTo>
                  <a:pt x="14" y="0"/>
                </a:moveTo>
                <a:lnTo>
                  <a:pt x="0" y="0"/>
                </a:lnTo>
                <a:lnTo>
                  <a:pt x="16" y="0"/>
                </a:lnTo>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5" name="Line 136">
            <a:extLst>
              <a:ext uri="{FF2B5EF4-FFF2-40B4-BE49-F238E27FC236}">
                <a16:creationId xmlns:a16="http://schemas.microsoft.com/office/drawing/2014/main" id="{9C9BF367-ADFA-446B-81E3-ED7E8E29F4B6}"/>
              </a:ext>
            </a:extLst>
          </p:cNvPr>
          <p:cNvSpPr>
            <a:spLocks noChangeShapeType="1"/>
          </p:cNvSpPr>
          <p:nvPr/>
        </p:nvSpPr>
        <p:spPr bwMode="auto">
          <a:xfrm>
            <a:off x="5935663" y="2511056"/>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6" name="Rectangle 137">
            <a:extLst>
              <a:ext uri="{FF2B5EF4-FFF2-40B4-BE49-F238E27FC236}">
                <a16:creationId xmlns:a16="http://schemas.microsoft.com/office/drawing/2014/main" id="{BA40B3EB-8886-4996-B3F9-56D127AD748F}"/>
              </a:ext>
            </a:extLst>
          </p:cNvPr>
          <p:cNvSpPr>
            <a:spLocks noChangeArrowheads="1"/>
          </p:cNvSpPr>
          <p:nvPr/>
        </p:nvSpPr>
        <p:spPr bwMode="auto">
          <a:xfrm>
            <a:off x="1706565" y="1266455"/>
            <a:ext cx="1588" cy="1588"/>
          </a:xfrm>
          <a:prstGeom prst="rect">
            <a:avLst/>
          </a:prstGeom>
          <a:noFill/>
          <a:ln w="12700">
            <a:solidFill>
              <a:srgbClr val="B3D3EE"/>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7" name="Line 138">
            <a:extLst>
              <a:ext uri="{FF2B5EF4-FFF2-40B4-BE49-F238E27FC236}">
                <a16:creationId xmlns:a16="http://schemas.microsoft.com/office/drawing/2014/main" id="{3EAAE60C-2112-4D0C-8A5F-B2F208104CFE}"/>
              </a:ext>
            </a:extLst>
          </p:cNvPr>
          <p:cNvSpPr>
            <a:spLocks noChangeShapeType="1"/>
          </p:cNvSpPr>
          <p:nvPr/>
        </p:nvSpPr>
        <p:spPr bwMode="auto">
          <a:xfrm>
            <a:off x="5891213" y="2511056"/>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8" name="Freeform 139">
            <a:extLst>
              <a:ext uri="{FF2B5EF4-FFF2-40B4-BE49-F238E27FC236}">
                <a16:creationId xmlns:a16="http://schemas.microsoft.com/office/drawing/2014/main" id="{2B85E767-2809-4BB9-8DC1-0856F44C3821}"/>
              </a:ext>
            </a:extLst>
          </p:cNvPr>
          <p:cNvSpPr>
            <a:spLocks/>
          </p:cNvSpPr>
          <p:nvPr/>
        </p:nvSpPr>
        <p:spPr bwMode="auto">
          <a:xfrm>
            <a:off x="5849938" y="2511056"/>
            <a:ext cx="0" cy="50800"/>
          </a:xfrm>
          <a:custGeom>
            <a:avLst/>
            <a:gdLst>
              <a:gd name="T0" fmla="*/ 32 h 32"/>
              <a:gd name="T1" fmla="*/ 24 h 32"/>
              <a:gd name="T2" fmla="*/ 16 h 32"/>
              <a:gd name="T3" fmla="*/ 0 h 32"/>
              <a:gd name="T4" fmla="*/ 32 h 32"/>
            </a:gdLst>
            <a:ahLst/>
            <a:cxnLst>
              <a:cxn ang="0">
                <a:pos x="0" y="T0"/>
              </a:cxn>
              <a:cxn ang="0">
                <a:pos x="0" y="T1"/>
              </a:cxn>
              <a:cxn ang="0">
                <a:pos x="0" y="T2"/>
              </a:cxn>
              <a:cxn ang="0">
                <a:pos x="0" y="T3"/>
              </a:cxn>
              <a:cxn ang="0">
                <a:pos x="0" y="T4"/>
              </a:cxn>
            </a:cxnLst>
            <a:rect l="0" t="0" r="r" b="b"/>
            <a:pathLst>
              <a:path h="32">
                <a:moveTo>
                  <a:pt x="0" y="32"/>
                </a:moveTo>
                <a:lnTo>
                  <a:pt x="0" y="24"/>
                </a:lnTo>
                <a:lnTo>
                  <a:pt x="0" y="16"/>
                </a:lnTo>
                <a:lnTo>
                  <a:pt x="0" y="0"/>
                </a:lnTo>
                <a:lnTo>
                  <a:pt x="0" y="32"/>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69" name="Line 140">
            <a:extLst>
              <a:ext uri="{FF2B5EF4-FFF2-40B4-BE49-F238E27FC236}">
                <a16:creationId xmlns:a16="http://schemas.microsoft.com/office/drawing/2014/main" id="{D4E5FFAF-32A9-41FC-AFD4-1B48D5E82F9D}"/>
              </a:ext>
            </a:extLst>
          </p:cNvPr>
          <p:cNvSpPr>
            <a:spLocks noChangeShapeType="1"/>
          </p:cNvSpPr>
          <p:nvPr/>
        </p:nvSpPr>
        <p:spPr bwMode="auto">
          <a:xfrm>
            <a:off x="5783265" y="2511053"/>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0" name="Freeform 141">
            <a:extLst>
              <a:ext uri="{FF2B5EF4-FFF2-40B4-BE49-F238E27FC236}">
                <a16:creationId xmlns:a16="http://schemas.microsoft.com/office/drawing/2014/main" id="{067CC774-5920-4C9C-AE00-E1A7E9BB2511}"/>
              </a:ext>
            </a:extLst>
          </p:cNvPr>
          <p:cNvSpPr>
            <a:spLocks/>
          </p:cNvSpPr>
          <p:nvPr/>
        </p:nvSpPr>
        <p:spPr bwMode="auto">
          <a:xfrm>
            <a:off x="5745163" y="2507878"/>
            <a:ext cx="101600" cy="0"/>
          </a:xfrm>
          <a:custGeom>
            <a:avLst/>
            <a:gdLst>
              <a:gd name="T0" fmla="*/ 64 w 64"/>
              <a:gd name="T1" fmla="*/ 38 w 64"/>
              <a:gd name="T2" fmla="*/ 24 w 64"/>
              <a:gd name="T3" fmla="*/ 0 w 64"/>
              <a:gd name="T4" fmla="*/ 64 w 64"/>
            </a:gdLst>
            <a:ahLst/>
            <a:cxnLst>
              <a:cxn ang="0">
                <a:pos x="T0" y="0"/>
              </a:cxn>
              <a:cxn ang="0">
                <a:pos x="T1" y="0"/>
              </a:cxn>
              <a:cxn ang="0">
                <a:pos x="T2" y="0"/>
              </a:cxn>
              <a:cxn ang="0">
                <a:pos x="T3" y="0"/>
              </a:cxn>
              <a:cxn ang="0">
                <a:pos x="T4" y="0"/>
              </a:cxn>
            </a:cxnLst>
            <a:rect l="0" t="0" r="r" b="b"/>
            <a:pathLst>
              <a:path w="64">
                <a:moveTo>
                  <a:pt x="64" y="0"/>
                </a:moveTo>
                <a:lnTo>
                  <a:pt x="38" y="0"/>
                </a:lnTo>
                <a:lnTo>
                  <a:pt x="24" y="0"/>
                </a:lnTo>
                <a:lnTo>
                  <a:pt x="0" y="0"/>
                </a:lnTo>
                <a:lnTo>
                  <a:pt x="64" y="0"/>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1" name="Freeform 142">
            <a:extLst>
              <a:ext uri="{FF2B5EF4-FFF2-40B4-BE49-F238E27FC236}">
                <a16:creationId xmlns:a16="http://schemas.microsoft.com/office/drawing/2014/main" id="{791EFA18-68F4-44D2-93CF-367AB60FA8E0}"/>
              </a:ext>
            </a:extLst>
          </p:cNvPr>
          <p:cNvSpPr>
            <a:spLocks/>
          </p:cNvSpPr>
          <p:nvPr/>
        </p:nvSpPr>
        <p:spPr bwMode="auto">
          <a:xfrm>
            <a:off x="5732463" y="2479303"/>
            <a:ext cx="88900" cy="0"/>
          </a:xfrm>
          <a:custGeom>
            <a:avLst/>
            <a:gdLst>
              <a:gd name="T0" fmla="*/ 56 w 56"/>
              <a:gd name="T1" fmla="*/ 32 w 56"/>
              <a:gd name="T2" fmla="*/ 22 w 56"/>
              <a:gd name="T3" fmla="*/ 0 w 56"/>
              <a:gd name="T4" fmla="*/ 56 w 56"/>
            </a:gdLst>
            <a:ahLst/>
            <a:cxnLst>
              <a:cxn ang="0">
                <a:pos x="T0" y="0"/>
              </a:cxn>
              <a:cxn ang="0">
                <a:pos x="T1" y="0"/>
              </a:cxn>
              <a:cxn ang="0">
                <a:pos x="T2" y="0"/>
              </a:cxn>
              <a:cxn ang="0">
                <a:pos x="T3" y="0"/>
              </a:cxn>
              <a:cxn ang="0">
                <a:pos x="T4" y="0"/>
              </a:cxn>
            </a:cxnLst>
            <a:rect l="0" t="0" r="r" b="b"/>
            <a:pathLst>
              <a:path w="56">
                <a:moveTo>
                  <a:pt x="56" y="0"/>
                </a:moveTo>
                <a:lnTo>
                  <a:pt x="32" y="0"/>
                </a:lnTo>
                <a:lnTo>
                  <a:pt x="22" y="0"/>
                </a:lnTo>
                <a:lnTo>
                  <a:pt x="0" y="0"/>
                </a:lnTo>
                <a:lnTo>
                  <a:pt x="56" y="0"/>
                </a:lnTo>
                <a:close/>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2" name="Line 143">
            <a:extLst>
              <a:ext uri="{FF2B5EF4-FFF2-40B4-BE49-F238E27FC236}">
                <a16:creationId xmlns:a16="http://schemas.microsoft.com/office/drawing/2014/main" id="{608891E4-7CE6-4AA9-9841-27E820DBACF6}"/>
              </a:ext>
            </a:extLst>
          </p:cNvPr>
          <p:cNvSpPr>
            <a:spLocks noChangeShapeType="1"/>
          </p:cNvSpPr>
          <p:nvPr/>
        </p:nvSpPr>
        <p:spPr bwMode="auto">
          <a:xfrm flipH="1">
            <a:off x="5783263" y="244120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3" name="Line 144">
            <a:extLst>
              <a:ext uri="{FF2B5EF4-FFF2-40B4-BE49-F238E27FC236}">
                <a16:creationId xmlns:a16="http://schemas.microsoft.com/office/drawing/2014/main" id="{C85DCFF7-7E47-43A5-9D68-71BFF73BE9BC}"/>
              </a:ext>
            </a:extLst>
          </p:cNvPr>
          <p:cNvSpPr>
            <a:spLocks noChangeShapeType="1"/>
          </p:cNvSpPr>
          <p:nvPr/>
        </p:nvSpPr>
        <p:spPr bwMode="auto">
          <a:xfrm flipV="1">
            <a:off x="5757863" y="2447555"/>
            <a:ext cx="0" cy="127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4" name="Line 145">
            <a:extLst>
              <a:ext uri="{FF2B5EF4-FFF2-40B4-BE49-F238E27FC236}">
                <a16:creationId xmlns:a16="http://schemas.microsoft.com/office/drawing/2014/main" id="{EFDFF2DA-B6BD-494D-B463-A3A3AEE41E58}"/>
              </a:ext>
            </a:extLst>
          </p:cNvPr>
          <p:cNvSpPr>
            <a:spLocks noChangeShapeType="1"/>
          </p:cNvSpPr>
          <p:nvPr/>
        </p:nvSpPr>
        <p:spPr bwMode="auto">
          <a:xfrm>
            <a:off x="5757863" y="242215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5" name="Line 146">
            <a:extLst>
              <a:ext uri="{FF2B5EF4-FFF2-40B4-BE49-F238E27FC236}">
                <a16:creationId xmlns:a16="http://schemas.microsoft.com/office/drawing/2014/main" id="{9F95BEA1-3502-4B15-B430-2BA3AC06A0EC}"/>
              </a:ext>
            </a:extLst>
          </p:cNvPr>
          <p:cNvSpPr>
            <a:spLocks noChangeShapeType="1"/>
          </p:cNvSpPr>
          <p:nvPr/>
        </p:nvSpPr>
        <p:spPr bwMode="auto">
          <a:xfrm>
            <a:off x="5751513" y="24031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6" name="Line 147">
            <a:extLst>
              <a:ext uri="{FF2B5EF4-FFF2-40B4-BE49-F238E27FC236}">
                <a16:creationId xmlns:a16="http://schemas.microsoft.com/office/drawing/2014/main" id="{AE249B44-FDCC-42FC-9802-5AAC12CB3955}"/>
              </a:ext>
            </a:extLst>
          </p:cNvPr>
          <p:cNvSpPr>
            <a:spLocks noChangeShapeType="1"/>
          </p:cNvSpPr>
          <p:nvPr/>
        </p:nvSpPr>
        <p:spPr bwMode="auto">
          <a:xfrm>
            <a:off x="5764213" y="239675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7" name="Line 148">
            <a:extLst>
              <a:ext uri="{FF2B5EF4-FFF2-40B4-BE49-F238E27FC236}">
                <a16:creationId xmlns:a16="http://schemas.microsoft.com/office/drawing/2014/main" id="{6A9FC3FD-F4F2-4240-89A4-D6319A9D0C8C}"/>
              </a:ext>
            </a:extLst>
          </p:cNvPr>
          <p:cNvSpPr>
            <a:spLocks noChangeShapeType="1"/>
          </p:cNvSpPr>
          <p:nvPr/>
        </p:nvSpPr>
        <p:spPr bwMode="auto">
          <a:xfrm>
            <a:off x="5719763" y="244120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8" name="Line 149">
            <a:extLst>
              <a:ext uri="{FF2B5EF4-FFF2-40B4-BE49-F238E27FC236}">
                <a16:creationId xmlns:a16="http://schemas.microsoft.com/office/drawing/2014/main" id="{E80975D4-BB48-4488-B514-6491BF52C292}"/>
              </a:ext>
            </a:extLst>
          </p:cNvPr>
          <p:cNvSpPr>
            <a:spLocks noChangeShapeType="1"/>
          </p:cNvSpPr>
          <p:nvPr/>
        </p:nvSpPr>
        <p:spPr bwMode="auto">
          <a:xfrm>
            <a:off x="5649913" y="239675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79" name="Line 150">
            <a:extLst>
              <a:ext uri="{FF2B5EF4-FFF2-40B4-BE49-F238E27FC236}">
                <a16:creationId xmlns:a16="http://schemas.microsoft.com/office/drawing/2014/main" id="{BA526C89-3792-4B05-A9AD-BB716DD91FB1}"/>
              </a:ext>
            </a:extLst>
          </p:cNvPr>
          <p:cNvSpPr>
            <a:spLocks noChangeShapeType="1"/>
          </p:cNvSpPr>
          <p:nvPr/>
        </p:nvSpPr>
        <p:spPr bwMode="auto">
          <a:xfrm>
            <a:off x="5637213" y="239675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0" name="Line 151">
            <a:extLst>
              <a:ext uri="{FF2B5EF4-FFF2-40B4-BE49-F238E27FC236}">
                <a16:creationId xmlns:a16="http://schemas.microsoft.com/office/drawing/2014/main" id="{E9980CE2-36FA-47F3-AFF4-D243E92E60AE}"/>
              </a:ext>
            </a:extLst>
          </p:cNvPr>
          <p:cNvSpPr>
            <a:spLocks noChangeShapeType="1"/>
          </p:cNvSpPr>
          <p:nvPr/>
        </p:nvSpPr>
        <p:spPr bwMode="auto">
          <a:xfrm>
            <a:off x="5586413" y="2428502"/>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1" name="Line 152">
            <a:extLst>
              <a:ext uri="{FF2B5EF4-FFF2-40B4-BE49-F238E27FC236}">
                <a16:creationId xmlns:a16="http://schemas.microsoft.com/office/drawing/2014/main" id="{15D3A45C-361D-4FC7-8548-4E67B4C14B02}"/>
              </a:ext>
            </a:extLst>
          </p:cNvPr>
          <p:cNvSpPr>
            <a:spLocks noChangeShapeType="1"/>
          </p:cNvSpPr>
          <p:nvPr/>
        </p:nvSpPr>
        <p:spPr bwMode="auto">
          <a:xfrm>
            <a:off x="5599114" y="2390402"/>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2" name="Line 153">
            <a:extLst>
              <a:ext uri="{FF2B5EF4-FFF2-40B4-BE49-F238E27FC236}">
                <a16:creationId xmlns:a16="http://schemas.microsoft.com/office/drawing/2014/main" id="{43C40BA0-A754-4F30-874F-B212988E8720}"/>
              </a:ext>
            </a:extLst>
          </p:cNvPr>
          <p:cNvSpPr>
            <a:spLocks noChangeShapeType="1"/>
          </p:cNvSpPr>
          <p:nvPr/>
        </p:nvSpPr>
        <p:spPr bwMode="auto">
          <a:xfrm>
            <a:off x="5586413" y="236500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3" name="Line 154">
            <a:extLst>
              <a:ext uri="{FF2B5EF4-FFF2-40B4-BE49-F238E27FC236}">
                <a16:creationId xmlns:a16="http://schemas.microsoft.com/office/drawing/2014/main" id="{8F6A2725-0674-4A44-AD72-8B4004038FAB}"/>
              </a:ext>
            </a:extLst>
          </p:cNvPr>
          <p:cNvSpPr>
            <a:spLocks noChangeShapeType="1"/>
          </p:cNvSpPr>
          <p:nvPr/>
        </p:nvSpPr>
        <p:spPr bwMode="auto">
          <a:xfrm>
            <a:off x="5586415" y="2377703"/>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4" name="Line 155">
            <a:extLst>
              <a:ext uri="{FF2B5EF4-FFF2-40B4-BE49-F238E27FC236}">
                <a16:creationId xmlns:a16="http://schemas.microsoft.com/office/drawing/2014/main" id="{530DCA6E-3767-432E-A5C9-CD8F37A762E1}"/>
              </a:ext>
            </a:extLst>
          </p:cNvPr>
          <p:cNvSpPr>
            <a:spLocks noChangeShapeType="1"/>
          </p:cNvSpPr>
          <p:nvPr/>
        </p:nvSpPr>
        <p:spPr bwMode="auto">
          <a:xfrm>
            <a:off x="5561013" y="235230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5" name="Line 156">
            <a:extLst>
              <a:ext uri="{FF2B5EF4-FFF2-40B4-BE49-F238E27FC236}">
                <a16:creationId xmlns:a16="http://schemas.microsoft.com/office/drawing/2014/main" id="{41FDC896-0984-40E8-9FD8-3E009C4E1AF3}"/>
              </a:ext>
            </a:extLst>
          </p:cNvPr>
          <p:cNvSpPr>
            <a:spLocks noChangeShapeType="1"/>
          </p:cNvSpPr>
          <p:nvPr/>
        </p:nvSpPr>
        <p:spPr bwMode="auto">
          <a:xfrm>
            <a:off x="5541963" y="235865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6" name="Line 157">
            <a:extLst>
              <a:ext uri="{FF2B5EF4-FFF2-40B4-BE49-F238E27FC236}">
                <a16:creationId xmlns:a16="http://schemas.microsoft.com/office/drawing/2014/main" id="{766CFBF5-39A2-4462-BFFC-648B31D8975F}"/>
              </a:ext>
            </a:extLst>
          </p:cNvPr>
          <p:cNvSpPr>
            <a:spLocks noChangeShapeType="1"/>
          </p:cNvSpPr>
          <p:nvPr/>
        </p:nvSpPr>
        <p:spPr bwMode="auto">
          <a:xfrm>
            <a:off x="5516563" y="234595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7" name="Line 158">
            <a:extLst>
              <a:ext uri="{FF2B5EF4-FFF2-40B4-BE49-F238E27FC236}">
                <a16:creationId xmlns:a16="http://schemas.microsoft.com/office/drawing/2014/main" id="{8012E903-B6B4-4310-9C76-82C0EEC8BF09}"/>
              </a:ext>
            </a:extLst>
          </p:cNvPr>
          <p:cNvSpPr>
            <a:spLocks noChangeShapeType="1"/>
          </p:cNvSpPr>
          <p:nvPr/>
        </p:nvSpPr>
        <p:spPr bwMode="auto">
          <a:xfrm>
            <a:off x="5497513" y="234595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8" name="Line 159">
            <a:extLst>
              <a:ext uri="{FF2B5EF4-FFF2-40B4-BE49-F238E27FC236}">
                <a16:creationId xmlns:a16="http://schemas.microsoft.com/office/drawing/2014/main" id="{0A56372E-9C63-4F04-AF82-E8A9280E5BF6}"/>
              </a:ext>
            </a:extLst>
          </p:cNvPr>
          <p:cNvSpPr>
            <a:spLocks noChangeShapeType="1"/>
          </p:cNvSpPr>
          <p:nvPr/>
        </p:nvSpPr>
        <p:spPr bwMode="auto">
          <a:xfrm>
            <a:off x="5472115" y="2371352"/>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89" name="Line 160">
            <a:extLst>
              <a:ext uri="{FF2B5EF4-FFF2-40B4-BE49-F238E27FC236}">
                <a16:creationId xmlns:a16="http://schemas.microsoft.com/office/drawing/2014/main" id="{CDCB1127-90ED-4ADE-9B5E-F2DABBC44EEB}"/>
              </a:ext>
            </a:extLst>
          </p:cNvPr>
          <p:cNvSpPr>
            <a:spLocks noChangeShapeType="1"/>
          </p:cNvSpPr>
          <p:nvPr/>
        </p:nvSpPr>
        <p:spPr bwMode="auto">
          <a:xfrm>
            <a:off x="5446713" y="2333255"/>
            <a:ext cx="0" cy="4445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0" name="Line 161">
            <a:extLst>
              <a:ext uri="{FF2B5EF4-FFF2-40B4-BE49-F238E27FC236}">
                <a16:creationId xmlns:a16="http://schemas.microsoft.com/office/drawing/2014/main" id="{05578D42-99B9-4F21-B983-27336E635902}"/>
              </a:ext>
            </a:extLst>
          </p:cNvPr>
          <p:cNvSpPr>
            <a:spLocks noChangeShapeType="1"/>
          </p:cNvSpPr>
          <p:nvPr/>
        </p:nvSpPr>
        <p:spPr bwMode="auto">
          <a:xfrm>
            <a:off x="5357813" y="2352302"/>
            <a:ext cx="762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1" name="Line 162">
            <a:extLst>
              <a:ext uri="{FF2B5EF4-FFF2-40B4-BE49-F238E27FC236}">
                <a16:creationId xmlns:a16="http://schemas.microsoft.com/office/drawing/2014/main" id="{E7CBADFC-A960-478C-A7B9-03D90B5838E4}"/>
              </a:ext>
            </a:extLst>
          </p:cNvPr>
          <p:cNvSpPr>
            <a:spLocks noChangeShapeType="1"/>
          </p:cNvSpPr>
          <p:nvPr/>
        </p:nvSpPr>
        <p:spPr bwMode="auto">
          <a:xfrm>
            <a:off x="5338763" y="2333254"/>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2" name="Line 163">
            <a:extLst>
              <a:ext uri="{FF2B5EF4-FFF2-40B4-BE49-F238E27FC236}">
                <a16:creationId xmlns:a16="http://schemas.microsoft.com/office/drawing/2014/main" id="{DC07DE85-A798-433B-8BC4-AF353CBDCC13}"/>
              </a:ext>
            </a:extLst>
          </p:cNvPr>
          <p:cNvSpPr>
            <a:spLocks noChangeShapeType="1"/>
          </p:cNvSpPr>
          <p:nvPr/>
        </p:nvSpPr>
        <p:spPr bwMode="auto">
          <a:xfrm>
            <a:off x="5218113" y="228880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3" name="Line 164">
            <a:extLst>
              <a:ext uri="{FF2B5EF4-FFF2-40B4-BE49-F238E27FC236}">
                <a16:creationId xmlns:a16="http://schemas.microsoft.com/office/drawing/2014/main" id="{3FA27215-387B-481A-B4CF-808E5F133934}"/>
              </a:ext>
            </a:extLst>
          </p:cNvPr>
          <p:cNvSpPr>
            <a:spLocks noChangeShapeType="1"/>
          </p:cNvSpPr>
          <p:nvPr/>
        </p:nvSpPr>
        <p:spPr bwMode="auto">
          <a:xfrm>
            <a:off x="5243513" y="2326907"/>
            <a:ext cx="0" cy="127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4" name="Line 165">
            <a:extLst>
              <a:ext uri="{FF2B5EF4-FFF2-40B4-BE49-F238E27FC236}">
                <a16:creationId xmlns:a16="http://schemas.microsoft.com/office/drawing/2014/main" id="{7A2351E0-6318-4721-A185-890AE24516C7}"/>
              </a:ext>
            </a:extLst>
          </p:cNvPr>
          <p:cNvSpPr>
            <a:spLocks noChangeShapeType="1"/>
          </p:cNvSpPr>
          <p:nvPr/>
        </p:nvSpPr>
        <p:spPr bwMode="auto">
          <a:xfrm>
            <a:off x="5180013" y="228880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5" name="Line 166">
            <a:extLst>
              <a:ext uri="{FF2B5EF4-FFF2-40B4-BE49-F238E27FC236}">
                <a16:creationId xmlns:a16="http://schemas.microsoft.com/office/drawing/2014/main" id="{82B8CD41-8171-4782-A5AF-5AFD915D5319}"/>
              </a:ext>
            </a:extLst>
          </p:cNvPr>
          <p:cNvSpPr>
            <a:spLocks noChangeShapeType="1"/>
          </p:cNvSpPr>
          <p:nvPr/>
        </p:nvSpPr>
        <p:spPr bwMode="auto">
          <a:xfrm>
            <a:off x="5167313" y="228880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6" name="Line 167">
            <a:extLst>
              <a:ext uri="{FF2B5EF4-FFF2-40B4-BE49-F238E27FC236}">
                <a16:creationId xmlns:a16="http://schemas.microsoft.com/office/drawing/2014/main" id="{B49F6D95-6C85-404B-BA0D-E1FD143CB8E3}"/>
              </a:ext>
            </a:extLst>
          </p:cNvPr>
          <p:cNvSpPr>
            <a:spLocks noChangeShapeType="1"/>
          </p:cNvSpPr>
          <p:nvPr/>
        </p:nvSpPr>
        <p:spPr bwMode="auto">
          <a:xfrm>
            <a:off x="5116513" y="230150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7" name="Line 168">
            <a:extLst>
              <a:ext uri="{FF2B5EF4-FFF2-40B4-BE49-F238E27FC236}">
                <a16:creationId xmlns:a16="http://schemas.microsoft.com/office/drawing/2014/main" id="{9F66A78D-341B-44C0-8E8E-AE59FB3DA214}"/>
              </a:ext>
            </a:extLst>
          </p:cNvPr>
          <p:cNvSpPr>
            <a:spLocks noChangeShapeType="1"/>
          </p:cNvSpPr>
          <p:nvPr/>
        </p:nvSpPr>
        <p:spPr bwMode="auto">
          <a:xfrm>
            <a:off x="5116515" y="2314202"/>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8" name="Line 169">
            <a:extLst>
              <a:ext uri="{FF2B5EF4-FFF2-40B4-BE49-F238E27FC236}">
                <a16:creationId xmlns:a16="http://schemas.microsoft.com/office/drawing/2014/main" id="{392BE5B2-0FD0-4FE0-8D26-4B747E47308A}"/>
              </a:ext>
            </a:extLst>
          </p:cNvPr>
          <p:cNvSpPr>
            <a:spLocks noChangeShapeType="1"/>
          </p:cNvSpPr>
          <p:nvPr/>
        </p:nvSpPr>
        <p:spPr bwMode="auto">
          <a:xfrm>
            <a:off x="5091113" y="22634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99" name="Line 170">
            <a:extLst>
              <a:ext uri="{FF2B5EF4-FFF2-40B4-BE49-F238E27FC236}">
                <a16:creationId xmlns:a16="http://schemas.microsoft.com/office/drawing/2014/main" id="{94817B4C-595B-4F0C-B7CF-C3E4499F46BE}"/>
              </a:ext>
            </a:extLst>
          </p:cNvPr>
          <p:cNvSpPr>
            <a:spLocks noChangeShapeType="1"/>
          </p:cNvSpPr>
          <p:nvPr/>
        </p:nvSpPr>
        <p:spPr bwMode="auto">
          <a:xfrm>
            <a:off x="5065713" y="22634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0" name="Line 171">
            <a:extLst>
              <a:ext uri="{FF2B5EF4-FFF2-40B4-BE49-F238E27FC236}">
                <a16:creationId xmlns:a16="http://schemas.microsoft.com/office/drawing/2014/main" id="{1B142E80-FEDF-4C8F-9014-E3D7AB836A5B}"/>
              </a:ext>
            </a:extLst>
          </p:cNvPr>
          <p:cNvSpPr>
            <a:spLocks noChangeShapeType="1"/>
          </p:cNvSpPr>
          <p:nvPr/>
        </p:nvSpPr>
        <p:spPr bwMode="auto">
          <a:xfrm>
            <a:off x="5167313" y="2276105"/>
            <a:ext cx="0" cy="127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1" name="Line 172">
            <a:extLst>
              <a:ext uri="{FF2B5EF4-FFF2-40B4-BE49-F238E27FC236}">
                <a16:creationId xmlns:a16="http://schemas.microsoft.com/office/drawing/2014/main" id="{6F5C2155-1EE9-470F-A625-970B0938114A}"/>
              </a:ext>
            </a:extLst>
          </p:cNvPr>
          <p:cNvSpPr>
            <a:spLocks noChangeShapeType="1"/>
          </p:cNvSpPr>
          <p:nvPr/>
        </p:nvSpPr>
        <p:spPr bwMode="auto">
          <a:xfrm>
            <a:off x="5180014" y="2301503"/>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2" name="Line 173">
            <a:extLst>
              <a:ext uri="{FF2B5EF4-FFF2-40B4-BE49-F238E27FC236}">
                <a16:creationId xmlns:a16="http://schemas.microsoft.com/office/drawing/2014/main" id="{9AA8542F-EFD3-400E-A528-F8CB83328B04}"/>
              </a:ext>
            </a:extLst>
          </p:cNvPr>
          <p:cNvSpPr>
            <a:spLocks noChangeShapeType="1"/>
          </p:cNvSpPr>
          <p:nvPr/>
        </p:nvSpPr>
        <p:spPr bwMode="auto">
          <a:xfrm>
            <a:off x="5027613" y="22634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3" name="Line 174">
            <a:extLst>
              <a:ext uri="{FF2B5EF4-FFF2-40B4-BE49-F238E27FC236}">
                <a16:creationId xmlns:a16="http://schemas.microsoft.com/office/drawing/2014/main" id="{5CBA3B6E-ACCE-4072-BB44-47DE82CCC108}"/>
              </a:ext>
            </a:extLst>
          </p:cNvPr>
          <p:cNvSpPr>
            <a:spLocks noChangeShapeType="1"/>
          </p:cNvSpPr>
          <p:nvPr/>
        </p:nvSpPr>
        <p:spPr bwMode="auto">
          <a:xfrm>
            <a:off x="5002213" y="2288803"/>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4" name="Line 175">
            <a:extLst>
              <a:ext uri="{FF2B5EF4-FFF2-40B4-BE49-F238E27FC236}">
                <a16:creationId xmlns:a16="http://schemas.microsoft.com/office/drawing/2014/main" id="{C08F0FFC-1FAB-4485-8150-7BDEC098FFA5}"/>
              </a:ext>
            </a:extLst>
          </p:cNvPr>
          <p:cNvSpPr>
            <a:spLocks noChangeShapeType="1"/>
          </p:cNvSpPr>
          <p:nvPr/>
        </p:nvSpPr>
        <p:spPr bwMode="auto">
          <a:xfrm>
            <a:off x="4983163" y="226975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5" name="Line 176">
            <a:extLst>
              <a:ext uri="{FF2B5EF4-FFF2-40B4-BE49-F238E27FC236}">
                <a16:creationId xmlns:a16="http://schemas.microsoft.com/office/drawing/2014/main" id="{37C63DA9-2A0F-45E2-BBF2-C86F79642DF0}"/>
              </a:ext>
            </a:extLst>
          </p:cNvPr>
          <p:cNvSpPr>
            <a:spLocks noChangeShapeType="1"/>
          </p:cNvSpPr>
          <p:nvPr/>
        </p:nvSpPr>
        <p:spPr bwMode="auto">
          <a:xfrm>
            <a:off x="4951413" y="228880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6" name="Line 177">
            <a:extLst>
              <a:ext uri="{FF2B5EF4-FFF2-40B4-BE49-F238E27FC236}">
                <a16:creationId xmlns:a16="http://schemas.microsoft.com/office/drawing/2014/main" id="{5D1190ED-8D03-4FC3-A826-1CD255CB66EF}"/>
              </a:ext>
            </a:extLst>
          </p:cNvPr>
          <p:cNvSpPr>
            <a:spLocks noChangeShapeType="1"/>
          </p:cNvSpPr>
          <p:nvPr/>
        </p:nvSpPr>
        <p:spPr bwMode="auto">
          <a:xfrm>
            <a:off x="4938715" y="2276102"/>
            <a:ext cx="635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7" name="Line 178">
            <a:extLst>
              <a:ext uri="{FF2B5EF4-FFF2-40B4-BE49-F238E27FC236}">
                <a16:creationId xmlns:a16="http://schemas.microsoft.com/office/drawing/2014/main" id="{AD02DA07-D850-4995-A322-C4E699973A20}"/>
              </a:ext>
            </a:extLst>
          </p:cNvPr>
          <p:cNvSpPr>
            <a:spLocks noChangeShapeType="1"/>
          </p:cNvSpPr>
          <p:nvPr/>
        </p:nvSpPr>
        <p:spPr bwMode="auto">
          <a:xfrm>
            <a:off x="4926015" y="2263403"/>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8" name="Line 179">
            <a:extLst>
              <a:ext uri="{FF2B5EF4-FFF2-40B4-BE49-F238E27FC236}">
                <a16:creationId xmlns:a16="http://schemas.microsoft.com/office/drawing/2014/main" id="{B22CA2CE-F798-42E6-888A-05B6AA1D2BEE}"/>
              </a:ext>
            </a:extLst>
          </p:cNvPr>
          <p:cNvSpPr>
            <a:spLocks noChangeShapeType="1"/>
          </p:cNvSpPr>
          <p:nvPr/>
        </p:nvSpPr>
        <p:spPr bwMode="auto">
          <a:xfrm>
            <a:off x="4913313" y="2250703"/>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09" name="Line 180">
            <a:extLst>
              <a:ext uri="{FF2B5EF4-FFF2-40B4-BE49-F238E27FC236}">
                <a16:creationId xmlns:a16="http://schemas.microsoft.com/office/drawing/2014/main" id="{1D672C1B-49D0-40DB-A252-787008386087}"/>
              </a:ext>
            </a:extLst>
          </p:cNvPr>
          <p:cNvSpPr>
            <a:spLocks noChangeShapeType="1"/>
          </p:cNvSpPr>
          <p:nvPr/>
        </p:nvSpPr>
        <p:spPr bwMode="auto">
          <a:xfrm>
            <a:off x="4875213" y="219990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0" name="Line 181">
            <a:extLst>
              <a:ext uri="{FF2B5EF4-FFF2-40B4-BE49-F238E27FC236}">
                <a16:creationId xmlns:a16="http://schemas.microsoft.com/office/drawing/2014/main" id="{2C5B13EC-3404-4530-8827-BF92DAC1B845}"/>
              </a:ext>
            </a:extLst>
          </p:cNvPr>
          <p:cNvSpPr>
            <a:spLocks noChangeShapeType="1"/>
          </p:cNvSpPr>
          <p:nvPr/>
        </p:nvSpPr>
        <p:spPr bwMode="auto">
          <a:xfrm>
            <a:off x="4837113" y="222530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1" name="Line 182">
            <a:extLst>
              <a:ext uri="{FF2B5EF4-FFF2-40B4-BE49-F238E27FC236}">
                <a16:creationId xmlns:a16="http://schemas.microsoft.com/office/drawing/2014/main" id="{DDCA1DF2-89AE-4CC7-A62B-929E0619D76D}"/>
              </a:ext>
            </a:extLst>
          </p:cNvPr>
          <p:cNvSpPr>
            <a:spLocks noChangeShapeType="1"/>
          </p:cNvSpPr>
          <p:nvPr/>
        </p:nvSpPr>
        <p:spPr bwMode="auto">
          <a:xfrm flipV="1">
            <a:off x="4811713" y="2199902"/>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2" name="Line 183">
            <a:extLst>
              <a:ext uri="{FF2B5EF4-FFF2-40B4-BE49-F238E27FC236}">
                <a16:creationId xmlns:a16="http://schemas.microsoft.com/office/drawing/2014/main" id="{EDFBA215-A322-4BEB-A6F8-495D8321CFB6}"/>
              </a:ext>
            </a:extLst>
          </p:cNvPr>
          <p:cNvSpPr>
            <a:spLocks noChangeShapeType="1"/>
          </p:cNvSpPr>
          <p:nvPr/>
        </p:nvSpPr>
        <p:spPr bwMode="auto">
          <a:xfrm>
            <a:off x="4754565" y="2218952"/>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3" name="Line 184">
            <a:extLst>
              <a:ext uri="{FF2B5EF4-FFF2-40B4-BE49-F238E27FC236}">
                <a16:creationId xmlns:a16="http://schemas.microsoft.com/office/drawing/2014/main" id="{4B4147CA-E544-4595-84D0-B691CD9A8550}"/>
              </a:ext>
            </a:extLst>
          </p:cNvPr>
          <p:cNvSpPr>
            <a:spLocks noChangeShapeType="1"/>
          </p:cNvSpPr>
          <p:nvPr/>
        </p:nvSpPr>
        <p:spPr bwMode="auto">
          <a:xfrm>
            <a:off x="4735513" y="2187203"/>
            <a:ext cx="635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4" name="Line 185">
            <a:extLst>
              <a:ext uri="{FF2B5EF4-FFF2-40B4-BE49-F238E27FC236}">
                <a16:creationId xmlns:a16="http://schemas.microsoft.com/office/drawing/2014/main" id="{497B2098-7F31-4CB8-93FD-6642ABBE3064}"/>
              </a:ext>
            </a:extLst>
          </p:cNvPr>
          <p:cNvSpPr>
            <a:spLocks noChangeShapeType="1"/>
          </p:cNvSpPr>
          <p:nvPr/>
        </p:nvSpPr>
        <p:spPr bwMode="auto">
          <a:xfrm>
            <a:off x="4760913" y="2199902"/>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5" name="Line 186">
            <a:extLst>
              <a:ext uri="{FF2B5EF4-FFF2-40B4-BE49-F238E27FC236}">
                <a16:creationId xmlns:a16="http://schemas.microsoft.com/office/drawing/2014/main" id="{6DD0A787-ECC8-46B6-BF09-FD1370CBF426}"/>
              </a:ext>
            </a:extLst>
          </p:cNvPr>
          <p:cNvSpPr>
            <a:spLocks noChangeShapeType="1"/>
          </p:cNvSpPr>
          <p:nvPr/>
        </p:nvSpPr>
        <p:spPr bwMode="auto">
          <a:xfrm>
            <a:off x="4773613" y="2212603"/>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6" name="Line 187">
            <a:extLst>
              <a:ext uri="{FF2B5EF4-FFF2-40B4-BE49-F238E27FC236}">
                <a16:creationId xmlns:a16="http://schemas.microsoft.com/office/drawing/2014/main" id="{FFABC850-FB0F-4192-9A22-1E6282A93ED9}"/>
              </a:ext>
            </a:extLst>
          </p:cNvPr>
          <p:cNvSpPr>
            <a:spLocks noChangeShapeType="1"/>
          </p:cNvSpPr>
          <p:nvPr/>
        </p:nvSpPr>
        <p:spPr bwMode="auto">
          <a:xfrm>
            <a:off x="4710114" y="2161802"/>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7" name="Line 188">
            <a:extLst>
              <a:ext uri="{FF2B5EF4-FFF2-40B4-BE49-F238E27FC236}">
                <a16:creationId xmlns:a16="http://schemas.microsoft.com/office/drawing/2014/main" id="{89280C90-4E79-423D-86C6-3C2EF357CDB2}"/>
              </a:ext>
            </a:extLst>
          </p:cNvPr>
          <p:cNvSpPr>
            <a:spLocks noChangeShapeType="1"/>
          </p:cNvSpPr>
          <p:nvPr/>
        </p:nvSpPr>
        <p:spPr bwMode="auto">
          <a:xfrm>
            <a:off x="4722813" y="2174503"/>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8" name="Line 189">
            <a:extLst>
              <a:ext uri="{FF2B5EF4-FFF2-40B4-BE49-F238E27FC236}">
                <a16:creationId xmlns:a16="http://schemas.microsoft.com/office/drawing/2014/main" id="{E9259F34-CE0E-4E8D-8A53-98C02F9B29D7}"/>
              </a:ext>
            </a:extLst>
          </p:cNvPr>
          <p:cNvSpPr>
            <a:spLocks noChangeShapeType="1"/>
          </p:cNvSpPr>
          <p:nvPr/>
        </p:nvSpPr>
        <p:spPr bwMode="auto">
          <a:xfrm>
            <a:off x="4621213" y="209830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19" name="Line 190">
            <a:extLst>
              <a:ext uri="{FF2B5EF4-FFF2-40B4-BE49-F238E27FC236}">
                <a16:creationId xmlns:a16="http://schemas.microsoft.com/office/drawing/2014/main" id="{FCF63C29-B769-46F2-8598-494280C4F694}"/>
              </a:ext>
            </a:extLst>
          </p:cNvPr>
          <p:cNvSpPr>
            <a:spLocks noChangeShapeType="1"/>
          </p:cNvSpPr>
          <p:nvPr/>
        </p:nvSpPr>
        <p:spPr bwMode="auto">
          <a:xfrm>
            <a:off x="4519613" y="2111003"/>
            <a:ext cx="762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0" name="Line 191">
            <a:extLst>
              <a:ext uri="{FF2B5EF4-FFF2-40B4-BE49-F238E27FC236}">
                <a16:creationId xmlns:a16="http://schemas.microsoft.com/office/drawing/2014/main" id="{82707BB3-E4BB-4075-B7DA-B1A9E2FCED4D}"/>
              </a:ext>
            </a:extLst>
          </p:cNvPr>
          <p:cNvSpPr>
            <a:spLocks noChangeShapeType="1"/>
          </p:cNvSpPr>
          <p:nvPr/>
        </p:nvSpPr>
        <p:spPr bwMode="auto">
          <a:xfrm>
            <a:off x="4532313" y="2123702"/>
            <a:ext cx="762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1" name="Line 192">
            <a:extLst>
              <a:ext uri="{FF2B5EF4-FFF2-40B4-BE49-F238E27FC236}">
                <a16:creationId xmlns:a16="http://schemas.microsoft.com/office/drawing/2014/main" id="{D5101C92-F730-4827-872C-6365099F9A7F}"/>
              </a:ext>
            </a:extLst>
          </p:cNvPr>
          <p:cNvSpPr>
            <a:spLocks noChangeShapeType="1"/>
          </p:cNvSpPr>
          <p:nvPr/>
        </p:nvSpPr>
        <p:spPr bwMode="auto">
          <a:xfrm>
            <a:off x="4564063" y="213640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2" name="Line 193">
            <a:extLst>
              <a:ext uri="{FF2B5EF4-FFF2-40B4-BE49-F238E27FC236}">
                <a16:creationId xmlns:a16="http://schemas.microsoft.com/office/drawing/2014/main" id="{120AF3EF-463B-4248-9EDF-C3FDC6028C48}"/>
              </a:ext>
            </a:extLst>
          </p:cNvPr>
          <p:cNvSpPr>
            <a:spLocks noChangeShapeType="1"/>
          </p:cNvSpPr>
          <p:nvPr/>
        </p:nvSpPr>
        <p:spPr bwMode="auto">
          <a:xfrm>
            <a:off x="4551363" y="2130053"/>
            <a:ext cx="127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3" name="Line 194">
            <a:extLst>
              <a:ext uri="{FF2B5EF4-FFF2-40B4-BE49-F238E27FC236}">
                <a16:creationId xmlns:a16="http://schemas.microsoft.com/office/drawing/2014/main" id="{2AE1A704-E3FD-49CF-AA2E-6581D4ABC9CB}"/>
              </a:ext>
            </a:extLst>
          </p:cNvPr>
          <p:cNvSpPr>
            <a:spLocks noChangeShapeType="1"/>
          </p:cNvSpPr>
          <p:nvPr/>
        </p:nvSpPr>
        <p:spPr bwMode="auto">
          <a:xfrm>
            <a:off x="4532313" y="206020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4" name="Line 195">
            <a:extLst>
              <a:ext uri="{FF2B5EF4-FFF2-40B4-BE49-F238E27FC236}">
                <a16:creationId xmlns:a16="http://schemas.microsoft.com/office/drawing/2014/main" id="{C7AD0108-2ED6-4B3B-8E16-0E7355C52C6F}"/>
              </a:ext>
            </a:extLst>
          </p:cNvPr>
          <p:cNvSpPr>
            <a:spLocks noChangeShapeType="1"/>
          </p:cNvSpPr>
          <p:nvPr/>
        </p:nvSpPr>
        <p:spPr bwMode="auto">
          <a:xfrm>
            <a:off x="4506913" y="206020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5" name="Line 196">
            <a:extLst>
              <a:ext uri="{FF2B5EF4-FFF2-40B4-BE49-F238E27FC236}">
                <a16:creationId xmlns:a16="http://schemas.microsoft.com/office/drawing/2014/main" id="{8F5F2362-2630-4AE5-8CD8-ACB7658C245E}"/>
              </a:ext>
            </a:extLst>
          </p:cNvPr>
          <p:cNvSpPr>
            <a:spLocks noChangeShapeType="1"/>
          </p:cNvSpPr>
          <p:nvPr/>
        </p:nvSpPr>
        <p:spPr bwMode="auto">
          <a:xfrm>
            <a:off x="4424363" y="204115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6" name="Line 197">
            <a:extLst>
              <a:ext uri="{FF2B5EF4-FFF2-40B4-BE49-F238E27FC236}">
                <a16:creationId xmlns:a16="http://schemas.microsoft.com/office/drawing/2014/main" id="{6DB2AB04-B140-4919-AA95-CB84538E6B4B}"/>
              </a:ext>
            </a:extLst>
          </p:cNvPr>
          <p:cNvSpPr>
            <a:spLocks noChangeShapeType="1"/>
          </p:cNvSpPr>
          <p:nvPr/>
        </p:nvSpPr>
        <p:spPr bwMode="auto">
          <a:xfrm>
            <a:off x="4398963" y="204115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7" name="Line 198">
            <a:extLst>
              <a:ext uri="{FF2B5EF4-FFF2-40B4-BE49-F238E27FC236}">
                <a16:creationId xmlns:a16="http://schemas.microsoft.com/office/drawing/2014/main" id="{322B9375-CCBB-4FE5-B85A-162BF4AC6EE9}"/>
              </a:ext>
            </a:extLst>
          </p:cNvPr>
          <p:cNvSpPr>
            <a:spLocks noChangeShapeType="1"/>
          </p:cNvSpPr>
          <p:nvPr/>
        </p:nvSpPr>
        <p:spPr bwMode="auto">
          <a:xfrm>
            <a:off x="4360863" y="202845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8" name="Line 199">
            <a:extLst>
              <a:ext uri="{FF2B5EF4-FFF2-40B4-BE49-F238E27FC236}">
                <a16:creationId xmlns:a16="http://schemas.microsoft.com/office/drawing/2014/main" id="{DD5DD083-FE80-4256-AB3B-59262010B3DE}"/>
              </a:ext>
            </a:extLst>
          </p:cNvPr>
          <p:cNvSpPr>
            <a:spLocks noChangeShapeType="1"/>
          </p:cNvSpPr>
          <p:nvPr/>
        </p:nvSpPr>
        <p:spPr bwMode="auto">
          <a:xfrm>
            <a:off x="4373563" y="204115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29" name="Line 200">
            <a:extLst>
              <a:ext uri="{FF2B5EF4-FFF2-40B4-BE49-F238E27FC236}">
                <a16:creationId xmlns:a16="http://schemas.microsoft.com/office/drawing/2014/main" id="{AD07707D-9774-498F-BFB9-0394CBE135DA}"/>
              </a:ext>
            </a:extLst>
          </p:cNvPr>
          <p:cNvSpPr>
            <a:spLocks noChangeShapeType="1"/>
          </p:cNvSpPr>
          <p:nvPr/>
        </p:nvSpPr>
        <p:spPr bwMode="auto">
          <a:xfrm>
            <a:off x="4348163" y="204115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0" name="Line 201">
            <a:extLst>
              <a:ext uri="{FF2B5EF4-FFF2-40B4-BE49-F238E27FC236}">
                <a16:creationId xmlns:a16="http://schemas.microsoft.com/office/drawing/2014/main" id="{AA6AEFC5-0E5A-4BD2-B24A-9CD0B5CDC96B}"/>
              </a:ext>
            </a:extLst>
          </p:cNvPr>
          <p:cNvSpPr>
            <a:spLocks noChangeShapeType="1"/>
          </p:cNvSpPr>
          <p:nvPr/>
        </p:nvSpPr>
        <p:spPr bwMode="auto">
          <a:xfrm>
            <a:off x="4322763" y="202845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1" name="Line 202">
            <a:extLst>
              <a:ext uri="{FF2B5EF4-FFF2-40B4-BE49-F238E27FC236}">
                <a16:creationId xmlns:a16="http://schemas.microsoft.com/office/drawing/2014/main" id="{4845E4D5-201D-47B2-995B-570F8898B567}"/>
              </a:ext>
            </a:extLst>
          </p:cNvPr>
          <p:cNvSpPr>
            <a:spLocks noChangeShapeType="1"/>
          </p:cNvSpPr>
          <p:nvPr/>
        </p:nvSpPr>
        <p:spPr bwMode="auto">
          <a:xfrm>
            <a:off x="4271963" y="2015756"/>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2" name="Line 203">
            <a:extLst>
              <a:ext uri="{FF2B5EF4-FFF2-40B4-BE49-F238E27FC236}">
                <a16:creationId xmlns:a16="http://schemas.microsoft.com/office/drawing/2014/main" id="{AB447667-9F0F-4BD2-B480-B61A173969E7}"/>
              </a:ext>
            </a:extLst>
          </p:cNvPr>
          <p:cNvSpPr>
            <a:spLocks noChangeShapeType="1"/>
          </p:cNvSpPr>
          <p:nvPr/>
        </p:nvSpPr>
        <p:spPr bwMode="auto">
          <a:xfrm>
            <a:off x="4195763" y="200305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3" name="Line 204">
            <a:extLst>
              <a:ext uri="{FF2B5EF4-FFF2-40B4-BE49-F238E27FC236}">
                <a16:creationId xmlns:a16="http://schemas.microsoft.com/office/drawing/2014/main" id="{3631808E-8F16-4263-8310-FA0CF96EA704}"/>
              </a:ext>
            </a:extLst>
          </p:cNvPr>
          <p:cNvSpPr>
            <a:spLocks noChangeShapeType="1"/>
          </p:cNvSpPr>
          <p:nvPr/>
        </p:nvSpPr>
        <p:spPr bwMode="auto">
          <a:xfrm>
            <a:off x="4208463" y="205385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4" name="Line 205">
            <a:extLst>
              <a:ext uri="{FF2B5EF4-FFF2-40B4-BE49-F238E27FC236}">
                <a16:creationId xmlns:a16="http://schemas.microsoft.com/office/drawing/2014/main" id="{FC61CBC2-AA81-4E2D-9FBA-524DF87AE422}"/>
              </a:ext>
            </a:extLst>
          </p:cNvPr>
          <p:cNvSpPr>
            <a:spLocks noChangeShapeType="1"/>
          </p:cNvSpPr>
          <p:nvPr/>
        </p:nvSpPr>
        <p:spPr bwMode="auto">
          <a:xfrm>
            <a:off x="4100515" y="1996703"/>
            <a:ext cx="635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5" name="Line 207">
            <a:extLst>
              <a:ext uri="{FF2B5EF4-FFF2-40B4-BE49-F238E27FC236}">
                <a16:creationId xmlns:a16="http://schemas.microsoft.com/office/drawing/2014/main" id="{02231F18-199D-453A-90F9-18327B361273}"/>
              </a:ext>
            </a:extLst>
          </p:cNvPr>
          <p:cNvSpPr>
            <a:spLocks noChangeShapeType="1"/>
          </p:cNvSpPr>
          <p:nvPr/>
        </p:nvSpPr>
        <p:spPr bwMode="auto">
          <a:xfrm>
            <a:off x="4113213" y="2009402"/>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6" name="Line 208">
            <a:extLst>
              <a:ext uri="{FF2B5EF4-FFF2-40B4-BE49-F238E27FC236}">
                <a16:creationId xmlns:a16="http://schemas.microsoft.com/office/drawing/2014/main" id="{FBD19BF3-4425-4CC2-9796-10DEF7FC3EE9}"/>
              </a:ext>
            </a:extLst>
          </p:cNvPr>
          <p:cNvSpPr>
            <a:spLocks noChangeShapeType="1"/>
          </p:cNvSpPr>
          <p:nvPr/>
        </p:nvSpPr>
        <p:spPr bwMode="auto">
          <a:xfrm>
            <a:off x="4125915" y="2022103"/>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7" name="Line 209">
            <a:extLst>
              <a:ext uri="{FF2B5EF4-FFF2-40B4-BE49-F238E27FC236}">
                <a16:creationId xmlns:a16="http://schemas.microsoft.com/office/drawing/2014/main" id="{0BF38139-5782-4A95-9A94-1F8B90FFC7CE}"/>
              </a:ext>
            </a:extLst>
          </p:cNvPr>
          <p:cNvSpPr>
            <a:spLocks noChangeShapeType="1"/>
          </p:cNvSpPr>
          <p:nvPr/>
        </p:nvSpPr>
        <p:spPr bwMode="auto">
          <a:xfrm>
            <a:off x="4151313" y="203480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8" name="Line 210">
            <a:extLst>
              <a:ext uri="{FF2B5EF4-FFF2-40B4-BE49-F238E27FC236}">
                <a16:creationId xmlns:a16="http://schemas.microsoft.com/office/drawing/2014/main" id="{005ED988-5B6B-450B-923B-01EE8342D37B}"/>
              </a:ext>
            </a:extLst>
          </p:cNvPr>
          <p:cNvSpPr>
            <a:spLocks noChangeShapeType="1"/>
          </p:cNvSpPr>
          <p:nvPr/>
        </p:nvSpPr>
        <p:spPr bwMode="auto">
          <a:xfrm>
            <a:off x="4164013" y="1996706"/>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39" name="Line 211">
            <a:extLst>
              <a:ext uri="{FF2B5EF4-FFF2-40B4-BE49-F238E27FC236}">
                <a16:creationId xmlns:a16="http://schemas.microsoft.com/office/drawing/2014/main" id="{9E508F2D-3F6A-4A30-8AFD-B780BEC1B9A3}"/>
              </a:ext>
            </a:extLst>
          </p:cNvPr>
          <p:cNvSpPr>
            <a:spLocks noChangeShapeType="1"/>
          </p:cNvSpPr>
          <p:nvPr/>
        </p:nvSpPr>
        <p:spPr bwMode="auto">
          <a:xfrm>
            <a:off x="4176713" y="1996707"/>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0" name="Line 212">
            <a:extLst>
              <a:ext uri="{FF2B5EF4-FFF2-40B4-BE49-F238E27FC236}">
                <a16:creationId xmlns:a16="http://schemas.microsoft.com/office/drawing/2014/main" id="{C85EAFB3-9520-4F9B-98FA-D601429EE91E}"/>
              </a:ext>
            </a:extLst>
          </p:cNvPr>
          <p:cNvSpPr>
            <a:spLocks noChangeShapeType="1"/>
          </p:cNvSpPr>
          <p:nvPr/>
        </p:nvSpPr>
        <p:spPr bwMode="auto">
          <a:xfrm>
            <a:off x="4125913" y="1984003"/>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1" name="Line 213">
            <a:extLst>
              <a:ext uri="{FF2B5EF4-FFF2-40B4-BE49-F238E27FC236}">
                <a16:creationId xmlns:a16="http://schemas.microsoft.com/office/drawing/2014/main" id="{FA59289E-5A40-40EC-9017-63BA2F9BA3BC}"/>
              </a:ext>
            </a:extLst>
          </p:cNvPr>
          <p:cNvSpPr>
            <a:spLocks noChangeShapeType="1"/>
          </p:cNvSpPr>
          <p:nvPr/>
        </p:nvSpPr>
        <p:spPr bwMode="auto">
          <a:xfrm>
            <a:off x="4075113" y="193320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2" name="Line 214">
            <a:extLst>
              <a:ext uri="{FF2B5EF4-FFF2-40B4-BE49-F238E27FC236}">
                <a16:creationId xmlns:a16="http://schemas.microsoft.com/office/drawing/2014/main" id="{D1516A5B-DED4-481F-98DE-89B489D0277A}"/>
              </a:ext>
            </a:extLst>
          </p:cNvPr>
          <p:cNvSpPr>
            <a:spLocks noChangeShapeType="1"/>
          </p:cNvSpPr>
          <p:nvPr/>
        </p:nvSpPr>
        <p:spPr bwMode="auto">
          <a:xfrm>
            <a:off x="4100513" y="1958603"/>
            <a:ext cx="381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3" name="Line 215">
            <a:extLst>
              <a:ext uri="{FF2B5EF4-FFF2-40B4-BE49-F238E27FC236}">
                <a16:creationId xmlns:a16="http://schemas.microsoft.com/office/drawing/2014/main" id="{0E721776-AB9C-489A-86D0-DF3532993FC5}"/>
              </a:ext>
            </a:extLst>
          </p:cNvPr>
          <p:cNvSpPr>
            <a:spLocks noChangeShapeType="1"/>
          </p:cNvSpPr>
          <p:nvPr/>
        </p:nvSpPr>
        <p:spPr bwMode="auto">
          <a:xfrm>
            <a:off x="3998913" y="193320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4" name="Line 216">
            <a:extLst>
              <a:ext uri="{FF2B5EF4-FFF2-40B4-BE49-F238E27FC236}">
                <a16:creationId xmlns:a16="http://schemas.microsoft.com/office/drawing/2014/main" id="{22028E94-FEF5-49A8-B7BA-073A5A2A6CF8}"/>
              </a:ext>
            </a:extLst>
          </p:cNvPr>
          <p:cNvSpPr>
            <a:spLocks noChangeShapeType="1"/>
          </p:cNvSpPr>
          <p:nvPr/>
        </p:nvSpPr>
        <p:spPr bwMode="auto">
          <a:xfrm>
            <a:off x="3960813" y="1945905"/>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5" name="Freeform 217">
            <a:extLst>
              <a:ext uri="{FF2B5EF4-FFF2-40B4-BE49-F238E27FC236}">
                <a16:creationId xmlns:a16="http://schemas.microsoft.com/office/drawing/2014/main" id="{066FEA61-F4F8-40AD-A9E8-2ADCB0D73F86}"/>
              </a:ext>
            </a:extLst>
          </p:cNvPr>
          <p:cNvSpPr>
            <a:spLocks/>
          </p:cNvSpPr>
          <p:nvPr/>
        </p:nvSpPr>
        <p:spPr bwMode="auto">
          <a:xfrm>
            <a:off x="1662114" y="1285505"/>
            <a:ext cx="2298700" cy="660400"/>
          </a:xfrm>
          <a:custGeom>
            <a:avLst/>
            <a:gdLst>
              <a:gd name="T0" fmla="*/ 1424 w 1448"/>
              <a:gd name="T1" fmla="*/ 416 h 416"/>
              <a:gd name="T2" fmla="*/ 1448 w 1448"/>
              <a:gd name="T3" fmla="*/ 416 h 416"/>
              <a:gd name="T4" fmla="*/ 1400 w 1448"/>
              <a:gd name="T5" fmla="*/ 360 h 416"/>
              <a:gd name="T6" fmla="*/ 1320 w 1448"/>
              <a:gd name="T7" fmla="*/ 360 h 416"/>
              <a:gd name="T8" fmla="*/ 1320 w 1448"/>
              <a:gd name="T9" fmla="*/ 360 h 416"/>
              <a:gd name="T10" fmla="*/ 1318 w 1448"/>
              <a:gd name="T11" fmla="*/ 356 h 416"/>
              <a:gd name="T12" fmla="*/ 1314 w 1448"/>
              <a:gd name="T13" fmla="*/ 344 h 416"/>
              <a:gd name="T14" fmla="*/ 1306 w 1448"/>
              <a:gd name="T15" fmla="*/ 334 h 416"/>
              <a:gd name="T16" fmla="*/ 1302 w 1448"/>
              <a:gd name="T17" fmla="*/ 330 h 416"/>
              <a:gd name="T18" fmla="*/ 1296 w 1448"/>
              <a:gd name="T19" fmla="*/ 328 h 416"/>
              <a:gd name="T20" fmla="*/ 1240 w 1448"/>
              <a:gd name="T21" fmla="*/ 320 h 416"/>
              <a:gd name="T22" fmla="*/ 1184 w 1448"/>
              <a:gd name="T23" fmla="*/ 288 h 416"/>
              <a:gd name="T24" fmla="*/ 1160 w 1448"/>
              <a:gd name="T25" fmla="*/ 280 h 416"/>
              <a:gd name="T26" fmla="*/ 1112 w 1448"/>
              <a:gd name="T27" fmla="*/ 272 h 416"/>
              <a:gd name="T28" fmla="*/ 1112 w 1448"/>
              <a:gd name="T29" fmla="*/ 272 h 416"/>
              <a:gd name="T30" fmla="*/ 1096 w 1448"/>
              <a:gd name="T31" fmla="*/ 268 h 416"/>
              <a:gd name="T32" fmla="*/ 1082 w 1448"/>
              <a:gd name="T33" fmla="*/ 262 h 416"/>
              <a:gd name="T34" fmla="*/ 1072 w 1448"/>
              <a:gd name="T35" fmla="*/ 256 h 416"/>
              <a:gd name="T36" fmla="*/ 1056 w 1448"/>
              <a:gd name="T37" fmla="*/ 248 h 416"/>
              <a:gd name="T38" fmla="*/ 1056 w 1448"/>
              <a:gd name="T39" fmla="*/ 248 h 416"/>
              <a:gd name="T40" fmla="*/ 1042 w 1448"/>
              <a:gd name="T41" fmla="*/ 244 h 416"/>
              <a:gd name="T42" fmla="*/ 1030 w 1448"/>
              <a:gd name="T43" fmla="*/ 242 h 416"/>
              <a:gd name="T44" fmla="*/ 1016 w 1448"/>
              <a:gd name="T45" fmla="*/ 240 h 416"/>
              <a:gd name="T46" fmla="*/ 1016 w 1448"/>
              <a:gd name="T47" fmla="*/ 240 h 416"/>
              <a:gd name="T48" fmla="*/ 986 w 1448"/>
              <a:gd name="T49" fmla="*/ 236 h 416"/>
              <a:gd name="T50" fmla="*/ 944 w 1448"/>
              <a:gd name="T51" fmla="*/ 232 h 416"/>
              <a:gd name="T52" fmla="*/ 904 w 1448"/>
              <a:gd name="T53" fmla="*/ 224 h 416"/>
              <a:gd name="T54" fmla="*/ 880 w 1448"/>
              <a:gd name="T55" fmla="*/ 224 h 416"/>
              <a:gd name="T56" fmla="*/ 848 w 1448"/>
              <a:gd name="T57" fmla="*/ 208 h 416"/>
              <a:gd name="T58" fmla="*/ 792 w 1448"/>
              <a:gd name="T59" fmla="*/ 192 h 416"/>
              <a:gd name="T60" fmla="*/ 744 w 1448"/>
              <a:gd name="T61" fmla="*/ 184 h 416"/>
              <a:gd name="T62" fmla="*/ 736 w 1448"/>
              <a:gd name="T63" fmla="*/ 176 h 416"/>
              <a:gd name="T64" fmla="*/ 680 w 1448"/>
              <a:gd name="T65" fmla="*/ 168 h 416"/>
              <a:gd name="T66" fmla="*/ 680 w 1448"/>
              <a:gd name="T67" fmla="*/ 168 h 416"/>
              <a:gd name="T68" fmla="*/ 668 w 1448"/>
              <a:gd name="T69" fmla="*/ 164 h 416"/>
              <a:gd name="T70" fmla="*/ 656 w 1448"/>
              <a:gd name="T71" fmla="*/ 162 h 416"/>
              <a:gd name="T72" fmla="*/ 648 w 1448"/>
              <a:gd name="T73" fmla="*/ 160 h 416"/>
              <a:gd name="T74" fmla="*/ 648 w 1448"/>
              <a:gd name="T75" fmla="*/ 160 h 416"/>
              <a:gd name="T76" fmla="*/ 634 w 1448"/>
              <a:gd name="T77" fmla="*/ 158 h 416"/>
              <a:gd name="T78" fmla="*/ 610 w 1448"/>
              <a:gd name="T79" fmla="*/ 152 h 416"/>
              <a:gd name="T80" fmla="*/ 576 w 1448"/>
              <a:gd name="T81" fmla="*/ 144 h 416"/>
              <a:gd name="T82" fmla="*/ 480 w 1448"/>
              <a:gd name="T83" fmla="*/ 128 h 416"/>
              <a:gd name="T84" fmla="*/ 480 w 1448"/>
              <a:gd name="T85" fmla="*/ 128 h 416"/>
              <a:gd name="T86" fmla="*/ 412 w 1448"/>
              <a:gd name="T87" fmla="*/ 102 h 416"/>
              <a:gd name="T88" fmla="*/ 366 w 1448"/>
              <a:gd name="T89" fmla="*/ 84 h 416"/>
              <a:gd name="T90" fmla="*/ 350 w 1448"/>
              <a:gd name="T91" fmla="*/ 80 h 416"/>
              <a:gd name="T92" fmla="*/ 346 w 1448"/>
              <a:gd name="T93" fmla="*/ 80 h 416"/>
              <a:gd name="T94" fmla="*/ 344 w 1448"/>
              <a:gd name="T95" fmla="*/ 80 h 416"/>
              <a:gd name="T96" fmla="*/ 336 w 1448"/>
              <a:gd name="T97" fmla="*/ 88 h 416"/>
              <a:gd name="T98" fmla="*/ 272 w 1448"/>
              <a:gd name="T99" fmla="*/ 64 h 416"/>
              <a:gd name="T100" fmla="*/ 272 w 1448"/>
              <a:gd name="T101" fmla="*/ 64 h 416"/>
              <a:gd name="T102" fmla="*/ 234 w 1448"/>
              <a:gd name="T103" fmla="*/ 52 h 416"/>
              <a:gd name="T104" fmla="*/ 204 w 1448"/>
              <a:gd name="T105" fmla="*/ 44 h 416"/>
              <a:gd name="T106" fmla="*/ 184 w 1448"/>
              <a:gd name="T107" fmla="*/ 40 h 416"/>
              <a:gd name="T108" fmla="*/ 128 w 1448"/>
              <a:gd name="T109" fmla="*/ 16 h 416"/>
              <a:gd name="T110" fmla="*/ 128 w 1448"/>
              <a:gd name="T111" fmla="*/ 16 h 416"/>
              <a:gd name="T112" fmla="*/ 104 w 1448"/>
              <a:gd name="T113" fmla="*/ 8 h 416"/>
              <a:gd name="T114" fmla="*/ 84 w 1448"/>
              <a:gd name="T115" fmla="*/ 2 h 416"/>
              <a:gd name="T116" fmla="*/ 72 w 1448"/>
              <a:gd name="T117" fmla="*/ 0 h 416"/>
              <a:gd name="T118" fmla="*/ 72 w 1448"/>
              <a:gd name="T119" fmla="*/ 0 h 416"/>
              <a:gd name="T120" fmla="*/ 0 w 1448"/>
              <a:gd name="T12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8" h="416">
                <a:moveTo>
                  <a:pt x="1424" y="416"/>
                </a:moveTo>
                <a:lnTo>
                  <a:pt x="1448" y="416"/>
                </a:lnTo>
                <a:lnTo>
                  <a:pt x="1400" y="360"/>
                </a:lnTo>
                <a:lnTo>
                  <a:pt x="1320" y="360"/>
                </a:lnTo>
                <a:lnTo>
                  <a:pt x="1320" y="360"/>
                </a:lnTo>
                <a:lnTo>
                  <a:pt x="1318" y="356"/>
                </a:lnTo>
                <a:lnTo>
                  <a:pt x="1314" y="344"/>
                </a:lnTo>
                <a:lnTo>
                  <a:pt x="1306" y="334"/>
                </a:lnTo>
                <a:lnTo>
                  <a:pt x="1302" y="330"/>
                </a:lnTo>
                <a:lnTo>
                  <a:pt x="1296" y="328"/>
                </a:lnTo>
                <a:lnTo>
                  <a:pt x="1240" y="320"/>
                </a:lnTo>
                <a:lnTo>
                  <a:pt x="1184" y="288"/>
                </a:lnTo>
                <a:lnTo>
                  <a:pt x="1160" y="280"/>
                </a:lnTo>
                <a:lnTo>
                  <a:pt x="1112" y="272"/>
                </a:lnTo>
                <a:lnTo>
                  <a:pt x="1112" y="272"/>
                </a:lnTo>
                <a:lnTo>
                  <a:pt x="1096" y="268"/>
                </a:lnTo>
                <a:lnTo>
                  <a:pt x="1082" y="262"/>
                </a:lnTo>
                <a:lnTo>
                  <a:pt x="1072" y="256"/>
                </a:lnTo>
                <a:lnTo>
                  <a:pt x="1056" y="248"/>
                </a:lnTo>
                <a:lnTo>
                  <a:pt x="1056" y="248"/>
                </a:lnTo>
                <a:lnTo>
                  <a:pt x="1042" y="244"/>
                </a:lnTo>
                <a:lnTo>
                  <a:pt x="1030" y="242"/>
                </a:lnTo>
                <a:lnTo>
                  <a:pt x="1016" y="240"/>
                </a:lnTo>
                <a:lnTo>
                  <a:pt x="1016" y="240"/>
                </a:lnTo>
                <a:lnTo>
                  <a:pt x="986" y="236"/>
                </a:lnTo>
                <a:lnTo>
                  <a:pt x="944" y="232"/>
                </a:lnTo>
                <a:lnTo>
                  <a:pt x="904" y="224"/>
                </a:lnTo>
                <a:lnTo>
                  <a:pt x="880" y="224"/>
                </a:lnTo>
                <a:lnTo>
                  <a:pt x="848" y="208"/>
                </a:lnTo>
                <a:lnTo>
                  <a:pt x="792" y="192"/>
                </a:lnTo>
                <a:lnTo>
                  <a:pt x="744" y="184"/>
                </a:lnTo>
                <a:lnTo>
                  <a:pt x="736" y="176"/>
                </a:lnTo>
                <a:lnTo>
                  <a:pt x="680" y="168"/>
                </a:lnTo>
                <a:lnTo>
                  <a:pt x="680" y="168"/>
                </a:lnTo>
                <a:lnTo>
                  <a:pt x="668" y="164"/>
                </a:lnTo>
                <a:lnTo>
                  <a:pt x="656" y="162"/>
                </a:lnTo>
                <a:lnTo>
                  <a:pt x="648" y="160"/>
                </a:lnTo>
                <a:lnTo>
                  <a:pt x="648" y="160"/>
                </a:lnTo>
                <a:lnTo>
                  <a:pt x="634" y="158"/>
                </a:lnTo>
                <a:lnTo>
                  <a:pt x="610" y="152"/>
                </a:lnTo>
                <a:lnTo>
                  <a:pt x="576" y="144"/>
                </a:lnTo>
                <a:lnTo>
                  <a:pt x="480" y="128"/>
                </a:lnTo>
                <a:lnTo>
                  <a:pt x="480" y="128"/>
                </a:lnTo>
                <a:lnTo>
                  <a:pt x="412" y="102"/>
                </a:lnTo>
                <a:lnTo>
                  <a:pt x="366" y="84"/>
                </a:lnTo>
                <a:lnTo>
                  <a:pt x="350" y="80"/>
                </a:lnTo>
                <a:lnTo>
                  <a:pt x="346" y="80"/>
                </a:lnTo>
                <a:lnTo>
                  <a:pt x="344" y="80"/>
                </a:lnTo>
                <a:lnTo>
                  <a:pt x="336" y="88"/>
                </a:lnTo>
                <a:lnTo>
                  <a:pt x="272" y="64"/>
                </a:lnTo>
                <a:lnTo>
                  <a:pt x="272" y="64"/>
                </a:lnTo>
                <a:lnTo>
                  <a:pt x="234" y="52"/>
                </a:lnTo>
                <a:lnTo>
                  <a:pt x="204" y="44"/>
                </a:lnTo>
                <a:lnTo>
                  <a:pt x="184" y="40"/>
                </a:lnTo>
                <a:lnTo>
                  <a:pt x="128" y="16"/>
                </a:lnTo>
                <a:lnTo>
                  <a:pt x="128" y="16"/>
                </a:lnTo>
                <a:lnTo>
                  <a:pt x="104" y="8"/>
                </a:lnTo>
                <a:lnTo>
                  <a:pt x="84" y="2"/>
                </a:lnTo>
                <a:lnTo>
                  <a:pt x="72" y="0"/>
                </a:lnTo>
                <a:lnTo>
                  <a:pt x="72" y="0"/>
                </a:lnTo>
                <a:lnTo>
                  <a:pt x="0" y="0"/>
                </a:lnTo>
              </a:path>
            </a:pathLst>
          </a:custGeom>
          <a:noFill/>
          <a:ln w="12700">
            <a:solidFill>
              <a:srgbClr val="B3D3EE"/>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6" name="Line 218">
            <a:extLst>
              <a:ext uri="{FF2B5EF4-FFF2-40B4-BE49-F238E27FC236}">
                <a16:creationId xmlns:a16="http://schemas.microsoft.com/office/drawing/2014/main" id="{C3C54BDE-45D1-4CD8-B405-588A4EE624F0}"/>
              </a:ext>
            </a:extLst>
          </p:cNvPr>
          <p:cNvSpPr>
            <a:spLocks noChangeShapeType="1"/>
          </p:cNvSpPr>
          <p:nvPr/>
        </p:nvSpPr>
        <p:spPr bwMode="auto">
          <a:xfrm>
            <a:off x="3910014" y="1933202"/>
            <a:ext cx="889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7" name="Line 219">
            <a:extLst>
              <a:ext uri="{FF2B5EF4-FFF2-40B4-BE49-F238E27FC236}">
                <a16:creationId xmlns:a16="http://schemas.microsoft.com/office/drawing/2014/main" id="{A63614F7-7388-43E7-BCAD-B096502B0462}"/>
              </a:ext>
            </a:extLst>
          </p:cNvPr>
          <p:cNvSpPr>
            <a:spLocks noChangeShapeType="1"/>
          </p:cNvSpPr>
          <p:nvPr/>
        </p:nvSpPr>
        <p:spPr bwMode="auto">
          <a:xfrm>
            <a:off x="3910013" y="1920503"/>
            <a:ext cx="762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8" name="Line 220">
            <a:extLst>
              <a:ext uri="{FF2B5EF4-FFF2-40B4-BE49-F238E27FC236}">
                <a16:creationId xmlns:a16="http://schemas.microsoft.com/office/drawing/2014/main" id="{B97938D3-BFF1-4507-BB57-5C9ED604202A}"/>
              </a:ext>
            </a:extLst>
          </p:cNvPr>
          <p:cNvSpPr>
            <a:spLocks noChangeShapeType="1"/>
          </p:cNvSpPr>
          <p:nvPr/>
        </p:nvSpPr>
        <p:spPr bwMode="auto">
          <a:xfrm>
            <a:off x="3897315" y="1907803"/>
            <a:ext cx="889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49" name="Line 221">
            <a:extLst>
              <a:ext uri="{FF2B5EF4-FFF2-40B4-BE49-F238E27FC236}">
                <a16:creationId xmlns:a16="http://schemas.microsoft.com/office/drawing/2014/main" id="{D8742E3B-B06A-4C9E-A70E-662D43F4AE86}"/>
              </a:ext>
            </a:extLst>
          </p:cNvPr>
          <p:cNvSpPr>
            <a:spLocks noChangeShapeType="1"/>
          </p:cNvSpPr>
          <p:nvPr/>
        </p:nvSpPr>
        <p:spPr bwMode="auto">
          <a:xfrm>
            <a:off x="3897313" y="1895102"/>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0" name="Line 222">
            <a:extLst>
              <a:ext uri="{FF2B5EF4-FFF2-40B4-BE49-F238E27FC236}">
                <a16:creationId xmlns:a16="http://schemas.microsoft.com/office/drawing/2014/main" id="{28617E86-5713-4EA5-A363-F5CD8539D3E6}"/>
              </a:ext>
            </a:extLst>
          </p:cNvPr>
          <p:cNvSpPr>
            <a:spLocks noChangeShapeType="1"/>
          </p:cNvSpPr>
          <p:nvPr/>
        </p:nvSpPr>
        <p:spPr bwMode="auto">
          <a:xfrm>
            <a:off x="3884614" y="1882403"/>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1" name="Line 223">
            <a:extLst>
              <a:ext uri="{FF2B5EF4-FFF2-40B4-BE49-F238E27FC236}">
                <a16:creationId xmlns:a16="http://schemas.microsoft.com/office/drawing/2014/main" id="{CCF2BB85-20AB-44A6-8873-6A6BED0E5CA4}"/>
              </a:ext>
            </a:extLst>
          </p:cNvPr>
          <p:cNvSpPr>
            <a:spLocks noChangeShapeType="1"/>
          </p:cNvSpPr>
          <p:nvPr/>
        </p:nvSpPr>
        <p:spPr bwMode="auto">
          <a:xfrm>
            <a:off x="3871913" y="1857006"/>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2" name="Line 224">
            <a:extLst>
              <a:ext uri="{FF2B5EF4-FFF2-40B4-BE49-F238E27FC236}">
                <a16:creationId xmlns:a16="http://schemas.microsoft.com/office/drawing/2014/main" id="{88CBF409-7CDA-4A5E-80EC-91670E311C40}"/>
              </a:ext>
            </a:extLst>
          </p:cNvPr>
          <p:cNvSpPr>
            <a:spLocks noChangeShapeType="1"/>
          </p:cNvSpPr>
          <p:nvPr/>
        </p:nvSpPr>
        <p:spPr bwMode="auto">
          <a:xfrm>
            <a:off x="3833815" y="1869703"/>
            <a:ext cx="635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3" name="Line 225">
            <a:extLst>
              <a:ext uri="{FF2B5EF4-FFF2-40B4-BE49-F238E27FC236}">
                <a16:creationId xmlns:a16="http://schemas.microsoft.com/office/drawing/2014/main" id="{A1A90800-2E43-4460-AA23-5222D8B1E86D}"/>
              </a:ext>
            </a:extLst>
          </p:cNvPr>
          <p:cNvSpPr>
            <a:spLocks noChangeShapeType="1"/>
          </p:cNvSpPr>
          <p:nvPr/>
        </p:nvSpPr>
        <p:spPr bwMode="auto">
          <a:xfrm>
            <a:off x="3770313" y="181890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4" name="Line 226">
            <a:extLst>
              <a:ext uri="{FF2B5EF4-FFF2-40B4-BE49-F238E27FC236}">
                <a16:creationId xmlns:a16="http://schemas.microsoft.com/office/drawing/2014/main" id="{C0615862-6345-4CCF-9F34-1EE49257BE14}"/>
              </a:ext>
            </a:extLst>
          </p:cNvPr>
          <p:cNvSpPr>
            <a:spLocks noChangeShapeType="1"/>
          </p:cNvSpPr>
          <p:nvPr/>
        </p:nvSpPr>
        <p:spPr bwMode="auto">
          <a:xfrm>
            <a:off x="3706815" y="1844303"/>
            <a:ext cx="889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5" name="Line 227">
            <a:extLst>
              <a:ext uri="{FF2B5EF4-FFF2-40B4-BE49-F238E27FC236}">
                <a16:creationId xmlns:a16="http://schemas.microsoft.com/office/drawing/2014/main" id="{F485F1C1-58FB-43E7-9560-4D617DEADBE8}"/>
              </a:ext>
            </a:extLst>
          </p:cNvPr>
          <p:cNvSpPr>
            <a:spLocks noChangeShapeType="1"/>
          </p:cNvSpPr>
          <p:nvPr/>
        </p:nvSpPr>
        <p:spPr bwMode="auto">
          <a:xfrm>
            <a:off x="3732213" y="1818902"/>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6" name="Line 228">
            <a:extLst>
              <a:ext uri="{FF2B5EF4-FFF2-40B4-BE49-F238E27FC236}">
                <a16:creationId xmlns:a16="http://schemas.microsoft.com/office/drawing/2014/main" id="{24F895EB-9B3A-43AB-BF6C-8B0869EAD2B6}"/>
              </a:ext>
            </a:extLst>
          </p:cNvPr>
          <p:cNvSpPr>
            <a:spLocks noChangeShapeType="1"/>
          </p:cNvSpPr>
          <p:nvPr/>
        </p:nvSpPr>
        <p:spPr bwMode="auto">
          <a:xfrm>
            <a:off x="3706815" y="1831603"/>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7" name="Line 229">
            <a:extLst>
              <a:ext uri="{FF2B5EF4-FFF2-40B4-BE49-F238E27FC236}">
                <a16:creationId xmlns:a16="http://schemas.microsoft.com/office/drawing/2014/main" id="{A8F6931B-B0CD-43EB-950F-3A5F98204C0B}"/>
              </a:ext>
            </a:extLst>
          </p:cNvPr>
          <p:cNvSpPr>
            <a:spLocks noChangeShapeType="1"/>
          </p:cNvSpPr>
          <p:nvPr/>
        </p:nvSpPr>
        <p:spPr bwMode="auto">
          <a:xfrm>
            <a:off x="3630613" y="1780806"/>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8" name="Line 230">
            <a:extLst>
              <a:ext uri="{FF2B5EF4-FFF2-40B4-BE49-F238E27FC236}">
                <a16:creationId xmlns:a16="http://schemas.microsoft.com/office/drawing/2014/main" id="{1986E446-7320-46F4-8612-8674EE9F94CD}"/>
              </a:ext>
            </a:extLst>
          </p:cNvPr>
          <p:cNvSpPr>
            <a:spLocks noChangeShapeType="1"/>
          </p:cNvSpPr>
          <p:nvPr/>
        </p:nvSpPr>
        <p:spPr bwMode="auto">
          <a:xfrm>
            <a:off x="3503613" y="1742702"/>
            <a:ext cx="889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59" name="Line 231">
            <a:extLst>
              <a:ext uri="{FF2B5EF4-FFF2-40B4-BE49-F238E27FC236}">
                <a16:creationId xmlns:a16="http://schemas.microsoft.com/office/drawing/2014/main" id="{57201B8C-5EC7-4892-88C1-7423F20DC710}"/>
              </a:ext>
            </a:extLst>
          </p:cNvPr>
          <p:cNvSpPr>
            <a:spLocks noChangeShapeType="1"/>
          </p:cNvSpPr>
          <p:nvPr/>
        </p:nvSpPr>
        <p:spPr bwMode="auto">
          <a:xfrm flipV="1">
            <a:off x="3567113" y="1730006"/>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0" name="Line 232">
            <a:extLst>
              <a:ext uri="{FF2B5EF4-FFF2-40B4-BE49-F238E27FC236}">
                <a16:creationId xmlns:a16="http://schemas.microsoft.com/office/drawing/2014/main" id="{4E82CE40-F95F-46E5-85F1-DDF7301DA510}"/>
              </a:ext>
            </a:extLst>
          </p:cNvPr>
          <p:cNvSpPr>
            <a:spLocks noChangeShapeType="1"/>
          </p:cNvSpPr>
          <p:nvPr/>
        </p:nvSpPr>
        <p:spPr bwMode="auto">
          <a:xfrm flipV="1">
            <a:off x="3490913" y="1704605"/>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1" name="Line 233">
            <a:extLst>
              <a:ext uri="{FF2B5EF4-FFF2-40B4-BE49-F238E27FC236}">
                <a16:creationId xmlns:a16="http://schemas.microsoft.com/office/drawing/2014/main" id="{2B182A3D-ABF2-4935-A8A4-242B86022D1A}"/>
              </a:ext>
            </a:extLst>
          </p:cNvPr>
          <p:cNvSpPr>
            <a:spLocks noChangeShapeType="1"/>
          </p:cNvSpPr>
          <p:nvPr/>
        </p:nvSpPr>
        <p:spPr bwMode="auto">
          <a:xfrm flipV="1">
            <a:off x="3465513" y="17173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2" name="Line 234">
            <a:extLst>
              <a:ext uri="{FF2B5EF4-FFF2-40B4-BE49-F238E27FC236}">
                <a16:creationId xmlns:a16="http://schemas.microsoft.com/office/drawing/2014/main" id="{90CB6B08-94A4-445B-92F3-99F2B171A48B}"/>
              </a:ext>
            </a:extLst>
          </p:cNvPr>
          <p:cNvSpPr>
            <a:spLocks noChangeShapeType="1"/>
          </p:cNvSpPr>
          <p:nvPr/>
        </p:nvSpPr>
        <p:spPr bwMode="auto">
          <a:xfrm flipV="1">
            <a:off x="3541713" y="17300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3" name="Line 235">
            <a:extLst>
              <a:ext uri="{FF2B5EF4-FFF2-40B4-BE49-F238E27FC236}">
                <a16:creationId xmlns:a16="http://schemas.microsoft.com/office/drawing/2014/main" id="{6F775B8B-CF4B-486F-ADBB-94E29AE82B2A}"/>
              </a:ext>
            </a:extLst>
          </p:cNvPr>
          <p:cNvSpPr>
            <a:spLocks noChangeShapeType="1"/>
          </p:cNvSpPr>
          <p:nvPr/>
        </p:nvSpPr>
        <p:spPr bwMode="auto">
          <a:xfrm flipV="1">
            <a:off x="3554413" y="171730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4" name="Line 236">
            <a:extLst>
              <a:ext uri="{FF2B5EF4-FFF2-40B4-BE49-F238E27FC236}">
                <a16:creationId xmlns:a16="http://schemas.microsoft.com/office/drawing/2014/main" id="{E91F5778-8096-45FD-B4C9-A9C7A600619E}"/>
              </a:ext>
            </a:extLst>
          </p:cNvPr>
          <p:cNvSpPr>
            <a:spLocks noChangeShapeType="1"/>
          </p:cNvSpPr>
          <p:nvPr/>
        </p:nvSpPr>
        <p:spPr bwMode="auto">
          <a:xfrm>
            <a:off x="3516313" y="17173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5" name="Line 237">
            <a:extLst>
              <a:ext uri="{FF2B5EF4-FFF2-40B4-BE49-F238E27FC236}">
                <a16:creationId xmlns:a16="http://schemas.microsoft.com/office/drawing/2014/main" id="{053AEB58-AC2C-46CB-9D3C-B882BC4164A9}"/>
              </a:ext>
            </a:extLst>
          </p:cNvPr>
          <p:cNvSpPr>
            <a:spLocks noChangeShapeType="1"/>
          </p:cNvSpPr>
          <p:nvPr/>
        </p:nvSpPr>
        <p:spPr bwMode="auto">
          <a:xfrm>
            <a:off x="3249615" y="1653803"/>
            <a:ext cx="127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6" name="Line 238">
            <a:extLst>
              <a:ext uri="{FF2B5EF4-FFF2-40B4-BE49-F238E27FC236}">
                <a16:creationId xmlns:a16="http://schemas.microsoft.com/office/drawing/2014/main" id="{842FF99D-155E-4173-B21E-98A9BAE7BEA1}"/>
              </a:ext>
            </a:extLst>
          </p:cNvPr>
          <p:cNvSpPr>
            <a:spLocks noChangeShapeType="1"/>
          </p:cNvSpPr>
          <p:nvPr/>
        </p:nvSpPr>
        <p:spPr bwMode="auto">
          <a:xfrm>
            <a:off x="3148013" y="1615706"/>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7" name="Line 239">
            <a:extLst>
              <a:ext uri="{FF2B5EF4-FFF2-40B4-BE49-F238E27FC236}">
                <a16:creationId xmlns:a16="http://schemas.microsoft.com/office/drawing/2014/main" id="{34EE43DF-ACA1-4153-8237-F67C2AFD47B9}"/>
              </a:ext>
            </a:extLst>
          </p:cNvPr>
          <p:cNvSpPr>
            <a:spLocks noChangeShapeType="1"/>
          </p:cNvSpPr>
          <p:nvPr/>
        </p:nvSpPr>
        <p:spPr bwMode="auto">
          <a:xfrm flipV="1">
            <a:off x="3071813" y="1641105"/>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8" name="Line 240">
            <a:extLst>
              <a:ext uri="{FF2B5EF4-FFF2-40B4-BE49-F238E27FC236}">
                <a16:creationId xmlns:a16="http://schemas.microsoft.com/office/drawing/2014/main" id="{1DA80A13-60DD-4736-900E-0C674A9ADF92}"/>
              </a:ext>
            </a:extLst>
          </p:cNvPr>
          <p:cNvSpPr>
            <a:spLocks noChangeShapeType="1"/>
          </p:cNvSpPr>
          <p:nvPr/>
        </p:nvSpPr>
        <p:spPr bwMode="auto">
          <a:xfrm flipV="1">
            <a:off x="3033713" y="16157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69" name="Line 241">
            <a:extLst>
              <a:ext uri="{FF2B5EF4-FFF2-40B4-BE49-F238E27FC236}">
                <a16:creationId xmlns:a16="http://schemas.microsoft.com/office/drawing/2014/main" id="{CD4EDFD8-7817-4913-9028-B8BD1559A05A}"/>
              </a:ext>
            </a:extLst>
          </p:cNvPr>
          <p:cNvSpPr>
            <a:spLocks noChangeShapeType="1"/>
          </p:cNvSpPr>
          <p:nvPr/>
        </p:nvSpPr>
        <p:spPr bwMode="auto">
          <a:xfrm>
            <a:off x="2894014" y="1603003"/>
            <a:ext cx="635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0" name="Line 242">
            <a:extLst>
              <a:ext uri="{FF2B5EF4-FFF2-40B4-BE49-F238E27FC236}">
                <a16:creationId xmlns:a16="http://schemas.microsoft.com/office/drawing/2014/main" id="{86065738-3923-475E-B6F4-5417B0FDD7B6}"/>
              </a:ext>
            </a:extLst>
          </p:cNvPr>
          <p:cNvSpPr>
            <a:spLocks noChangeShapeType="1"/>
          </p:cNvSpPr>
          <p:nvPr/>
        </p:nvSpPr>
        <p:spPr bwMode="auto">
          <a:xfrm flipV="1">
            <a:off x="2919413" y="1590302"/>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1" name="Line 243">
            <a:extLst>
              <a:ext uri="{FF2B5EF4-FFF2-40B4-BE49-F238E27FC236}">
                <a16:creationId xmlns:a16="http://schemas.microsoft.com/office/drawing/2014/main" id="{75CEC8DB-49CE-409B-9E1A-33BC8F0DA576}"/>
              </a:ext>
            </a:extLst>
          </p:cNvPr>
          <p:cNvSpPr>
            <a:spLocks noChangeShapeType="1"/>
          </p:cNvSpPr>
          <p:nvPr/>
        </p:nvSpPr>
        <p:spPr bwMode="auto">
          <a:xfrm flipV="1">
            <a:off x="2944813" y="1577606"/>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2" name="Line 244">
            <a:extLst>
              <a:ext uri="{FF2B5EF4-FFF2-40B4-BE49-F238E27FC236}">
                <a16:creationId xmlns:a16="http://schemas.microsoft.com/office/drawing/2014/main" id="{B26C89A3-553B-497E-9D7B-5DA76C5E3F82}"/>
              </a:ext>
            </a:extLst>
          </p:cNvPr>
          <p:cNvSpPr>
            <a:spLocks noChangeShapeType="1"/>
          </p:cNvSpPr>
          <p:nvPr/>
        </p:nvSpPr>
        <p:spPr bwMode="auto">
          <a:xfrm flipV="1">
            <a:off x="2798763" y="1545857"/>
            <a:ext cx="38100" cy="127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3" name="Line 245">
            <a:extLst>
              <a:ext uri="{FF2B5EF4-FFF2-40B4-BE49-F238E27FC236}">
                <a16:creationId xmlns:a16="http://schemas.microsoft.com/office/drawing/2014/main" id="{9CD48D31-9C19-4354-8174-BD168A8A7468}"/>
              </a:ext>
            </a:extLst>
          </p:cNvPr>
          <p:cNvSpPr>
            <a:spLocks noChangeShapeType="1"/>
          </p:cNvSpPr>
          <p:nvPr/>
        </p:nvSpPr>
        <p:spPr bwMode="auto">
          <a:xfrm>
            <a:off x="2513013" y="1476006"/>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4" name="Line 246">
            <a:extLst>
              <a:ext uri="{FF2B5EF4-FFF2-40B4-BE49-F238E27FC236}">
                <a16:creationId xmlns:a16="http://schemas.microsoft.com/office/drawing/2014/main" id="{822F26AB-ECFB-4A95-BE07-C3D1C223C165}"/>
              </a:ext>
            </a:extLst>
          </p:cNvPr>
          <p:cNvSpPr>
            <a:spLocks noChangeShapeType="1"/>
          </p:cNvSpPr>
          <p:nvPr/>
        </p:nvSpPr>
        <p:spPr bwMode="auto">
          <a:xfrm>
            <a:off x="2538413" y="1488705"/>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5" name="Line 247">
            <a:extLst>
              <a:ext uri="{FF2B5EF4-FFF2-40B4-BE49-F238E27FC236}">
                <a16:creationId xmlns:a16="http://schemas.microsoft.com/office/drawing/2014/main" id="{6399AC12-9CD3-4A51-843B-E6C9EA960CC6}"/>
              </a:ext>
            </a:extLst>
          </p:cNvPr>
          <p:cNvSpPr>
            <a:spLocks noChangeShapeType="1"/>
          </p:cNvSpPr>
          <p:nvPr/>
        </p:nvSpPr>
        <p:spPr bwMode="auto">
          <a:xfrm>
            <a:off x="2563813" y="1476006"/>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6" name="Line 248">
            <a:extLst>
              <a:ext uri="{FF2B5EF4-FFF2-40B4-BE49-F238E27FC236}">
                <a16:creationId xmlns:a16="http://schemas.microsoft.com/office/drawing/2014/main" id="{CC44BB3C-4514-403C-B4FC-90EEF3DAC4EA}"/>
              </a:ext>
            </a:extLst>
          </p:cNvPr>
          <p:cNvSpPr>
            <a:spLocks noChangeShapeType="1"/>
          </p:cNvSpPr>
          <p:nvPr/>
        </p:nvSpPr>
        <p:spPr bwMode="auto">
          <a:xfrm>
            <a:off x="2601913" y="1488705"/>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7" name="Line 249">
            <a:extLst>
              <a:ext uri="{FF2B5EF4-FFF2-40B4-BE49-F238E27FC236}">
                <a16:creationId xmlns:a16="http://schemas.microsoft.com/office/drawing/2014/main" id="{19387F8D-80D6-41D4-A5D1-1834FCD84B9B}"/>
              </a:ext>
            </a:extLst>
          </p:cNvPr>
          <p:cNvSpPr>
            <a:spLocks noChangeShapeType="1"/>
          </p:cNvSpPr>
          <p:nvPr/>
        </p:nvSpPr>
        <p:spPr bwMode="auto">
          <a:xfrm>
            <a:off x="2614613" y="1501407"/>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8" name="Line 250">
            <a:extLst>
              <a:ext uri="{FF2B5EF4-FFF2-40B4-BE49-F238E27FC236}">
                <a16:creationId xmlns:a16="http://schemas.microsoft.com/office/drawing/2014/main" id="{9B5FA817-110C-4066-8C11-B7855D0CD918}"/>
              </a:ext>
            </a:extLst>
          </p:cNvPr>
          <p:cNvSpPr>
            <a:spLocks noChangeShapeType="1"/>
          </p:cNvSpPr>
          <p:nvPr/>
        </p:nvSpPr>
        <p:spPr bwMode="auto">
          <a:xfrm>
            <a:off x="2652713" y="15014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79" name="Line 251">
            <a:extLst>
              <a:ext uri="{FF2B5EF4-FFF2-40B4-BE49-F238E27FC236}">
                <a16:creationId xmlns:a16="http://schemas.microsoft.com/office/drawing/2014/main" id="{FCE04819-3D8C-4B3D-BB14-89A5A95D801A}"/>
              </a:ext>
            </a:extLst>
          </p:cNvPr>
          <p:cNvSpPr>
            <a:spLocks noChangeShapeType="1"/>
          </p:cNvSpPr>
          <p:nvPr/>
        </p:nvSpPr>
        <p:spPr bwMode="auto">
          <a:xfrm>
            <a:off x="2627313" y="1514105"/>
            <a:ext cx="0" cy="127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0" name="Line 252">
            <a:extLst>
              <a:ext uri="{FF2B5EF4-FFF2-40B4-BE49-F238E27FC236}">
                <a16:creationId xmlns:a16="http://schemas.microsoft.com/office/drawing/2014/main" id="{560570BC-DC97-42BF-9113-867DE08F345E}"/>
              </a:ext>
            </a:extLst>
          </p:cNvPr>
          <p:cNvSpPr>
            <a:spLocks noChangeShapeType="1"/>
          </p:cNvSpPr>
          <p:nvPr/>
        </p:nvSpPr>
        <p:spPr bwMode="auto">
          <a:xfrm>
            <a:off x="2640013" y="1514106"/>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1" name="Line 253">
            <a:extLst>
              <a:ext uri="{FF2B5EF4-FFF2-40B4-BE49-F238E27FC236}">
                <a16:creationId xmlns:a16="http://schemas.microsoft.com/office/drawing/2014/main" id="{3FE6CE96-1709-4126-8019-682778D12ED9}"/>
              </a:ext>
            </a:extLst>
          </p:cNvPr>
          <p:cNvSpPr>
            <a:spLocks noChangeShapeType="1"/>
          </p:cNvSpPr>
          <p:nvPr/>
        </p:nvSpPr>
        <p:spPr bwMode="auto">
          <a:xfrm>
            <a:off x="2665413" y="1514106"/>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2" name="Line 254">
            <a:extLst>
              <a:ext uri="{FF2B5EF4-FFF2-40B4-BE49-F238E27FC236}">
                <a16:creationId xmlns:a16="http://schemas.microsoft.com/office/drawing/2014/main" id="{46078752-CD7B-4B1F-87A2-776BBD3CEDF8}"/>
              </a:ext>
            </a:extLst>
          </p:cNvPr>
          <p:cNvSpPr>
            <a:spLocks noChangeShapeType="1"/>
          </p:cNvSpPr>
          <p:nvPr/>
        </p:nvSpPr>
        <p:spPr bwMode="auto">
          <a:xfrm>
            <a:off x="2716213" y="1514102"/>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3" name="Line 255">
            <a:extLst>
              <a:ext uri="{FF2B5EF4-FFF2-40B4-BE49-F238E27FC236}">
                <a16:creationId xmlns:a16="http://schemas.microsoft.com/office/drawing/2014/main" id="{2F63A883-F22B-4BA0-B8B7-A83676425B11}"/>
              </a:ext>
            </a:extLst>
          </p:cNvPr>
          <p:cNvSpPr>
            <a:spLocks noChangeShapeType="1"/>
          </p:cNvSpPr>
          <p:nvPr/>
        </p:nvSpPr>
        <p:spPr bwMode="auto">
          <a:xfrm>
            <a:off x="2728915" y="1539503"/>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4" name="Line 256">
            <a:extLst>
              <a:ext uri="{FF2B5EF4-FFF2-40B4-BE49-F238E27FC236}">
                <a16:creationId xmlns:a16="http://schemas.microsoft.com/office/drawing/2014/main" id="{C49D1646-2F04-414F-948F-117FEC00AA74}"/>
              </a:ext>
            </a:extLst>
          </p:cNvPr>
          <p:cNvSpPr>
            <a:spLocks noChangeShapeType="1"/>
          </p:cNvSpPr>
          <p:nvPr/>
        </p:nvSpPr>
        <p:spPr bwMode="auto">
          <a:xfrm flipH="1">
            <a:off x="2563813" y="1501403"/>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5" name="Line 257">
            <a:extLst>
              <a:ext uri="{FF2B5EF4-FFF2-40B4-BE49-F238E27FC236}">
                <a16:creationId xmlns:a16="http://schemas.microsoft.com/office/drawing/2014/main" id="{AF5FED58-D179-4A6C-A617-A80793411FB4}"/>
              </a:ext>
            </a:extLst>
          </p:cNvPr>
          <p:cNvSpPr>
            <a:spLocks noChangeShapeType="1"/>
          </p:cNvSpPr>
          <p:nvPr/>
        </p:nvSpPr>
        <p:spPr bwMode="auto">
          <a:xfrm flipH="1" flipV="1">
            <a:off x="2513014" y="1488707"/>
            <a:ext cx="25400" cy="127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6" name="Line 258">
            <a:extLst>
              <a:ext uri="{FF2B5EF4-FFF2-40B4-BE49-F238E27FC236}">
                <a16:creationId xmlns:a16="http://schemas.microsoft.com/office/drawing/2014/main" id="{E6C0C79D-E041-4ACD-B7E1-DEB08A268228}"/>
              </a:ext>
            </a:extLst>
          </p:cNvPr>
          <p:cNvSpPr>
            <a:spLocks noChangeShapeType="1"/>
          </p:cNvSpPr>
          <p:nvPr/>
        </p:nvSpPr>
        <p:spPr bwMode="auto">
          <a:xfrm>
            <a:off x="2398713" y="1450605"/>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7" name="Line 259">
            <a:extLst>
              <a:ext uri="{FF2B5EF4-FFF2-40B4-BE49-F238E27FC236}">
                <a16:creationId xmlns:a16="http://schemas.microsoft.com/office/drawing/2014/main" id="{9F27B915-2567-49EA-B351-3839B7445726}"/>
              </a:ext>
            </a:extLst>
          </p:cNvPr>
          <p:cNvSpPr>
            <a:spLocks noChangeShapeType="1"/>
          </p:cNvSpPr>
          <p:nvPr/>
        </p:nvSpPr>
        <p:spPr bwMode="auto">
          <a:xfrm>
            <a:off x="2297113" y="1412505"/>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8" name="Line 260">
            <a:extLst>
              <a:ext uri="{FF2B5EF4-FFF2-40B4-BE49-F238E27FC236}">
                <a16:creationId xmlns:a16="http://schemas.microsoft.com/office/drawing/2014/main" id="{2A9902CB-6E9E-4946-A881-7811BA5D94EB}"/>
              </a:ext>
            </a:extLst>
          </p:cNvPr>
          <p:cNvSpPr>
            <a:spLocks noChangeShapeType="1"/>
          </p:cNvSpPr>
          <p:nvPr/>
        </p:nvSpPr>
        <p:spPr bwMode="auto">
          <a:xfrm>
            <a:off x="2259013" y="1399806"/>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89" name="Line 261">
            <a:extLst>
              <a:ext uri="{FF2B5EF4-FFF2-40B4-BE49-F238E27FC236}">
                <a16:creationId xmlns:a16="http://schemas.microsoft.com/office/drawing/2014/main" id="{F6ECB506-5F2E-4F6C-A92F-27EE1130E135}"/>
              </a:ext>
            </a:extLst>
          </p:cNvPr>
          <p:cNvSpPr>
            <a:spLocks noChangeShapeType="1"/>
          </p:cNvSpPr>
          <p:nvPr/>
        </p:nvSpPr>
        <p:spPr bwMode="auto">
          <a:xfrm flipH="1" flipV="1">
            <a:off x="2259013" y="1412507"/>
            <a:ext cx="38100" cy="127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0" name="Line 262">
            <a:extLst>
              <a:ext uri="{FF2B5EF4-FFF2-40B4-BE49-F238E27FC236}">
                <a16:creationId xmlns:a16="http://schemas.microsoft.com/office/drawing/2014/main" id="{9545E526-06C2-469D-99BA-FDB592B82486}"/>
              </a:ext>
            </a:extLst>
          </p:cNvPr>
          <p:cNvSpPr>
            <a:spLocks noChangeShapeType="1"/>
          </p:cNvSpPr>
          <p:nvPr/>
        </p:nvSpPr>
        <p:spPr bwMode="auto">
          <a:xfrm>
            <a:off x="2246313" y="1399805"/>
            <a:ext cx="0" cy="127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1" name="Line 263">
            <a:extLst>
              <a:ext uri="{FF2B5EF4-FFF2-40B4-BE49-F238E27FC236}">
                <a16:creationId xmlns:a16="http://schemas.microsoft.com/office/drawing/2014/main" id="{6A308D3F-9B94-4BB8-ACB9-19BF41475516}"/>
              </a:ext>
            </a:extLst>
          </p:cNvPr>
          <p:cNvSpPr>
            <a:spLocks noChangeShapeType="1"/>
          </p:cNvSpPr>
          <p:nvPr/>
        </p:nvSpPr>
        <p:spPr bwMode="auto">
          <a:xfrm>
            <a:off x="2195513" y="13871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2" name="Line 264">
            <a:extLst>
              <a:ext uri="{FF2B5EF4-FFF2-40B4-BE49-F238E27FC236}">
                <a16:creationId xmlns:a16="http://schemas.microsoft.com/office/drawing/2014/main" id="{1F04253E-7CC0-41C5-A2AC-D973C70A5D8E}"/>
              </a:ext>
            </a:extLst>
          </p:cNvPr>
          <p:cNvSpPr>
            <a:spLocks noChangeShapeType="1"/>
          </p:cNvSpPr>
          <p:nvPr/>
        </p:nvSpPr>
        <p:spPr bwMode="auto">
          <a:xfrm>
            <a:off x="2106613" y="1361703"/>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3" name="Line 265">
            <a:extLst>
              <a:ext uri="{FF2B5EF4-FFF2-40B4-BE49-F238E27FC236}">
                <a16:creationId xmlns:a16="http://schemas.microsoft.com/office/drawing/2014/main" id="{252368F1-EBB3-44F0-B263-D1467BC463B3}"/>
              </a:ext>
            </a:extLst>
          </p:cNvPr>
          <p:cNvSpPr>
            <a:spLocks noChangeShapeType="1"/>
          </p:cNvSpPr>
          <p:nvPr/>
        </p:nvSpPr>
        <p:spPr bwMode="auto">
          <a:xfrm flipH="1">
            <a:off x="2081214" y="1374403"/>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4" name="Line 266">
            <a:extLst>
              <a:ext uri="{FF2B5EF4-FFF2-40B4-BE49-F238E27FC236}">
                <a16:creationId xmlns:a16="http://schemas.microsoft.com/office/drawing/2014/main" id="{7996CE17-6E5A-44AE-9DAD-3891FAC3BF89}"/>
              </a:ext>
            </a:extLst>
          </p:cNvPr>
          <p:cNvSpPr>
            <a:spLocks noChangeShapeType="1"/>
          </p:cNvSpPr>
          <p:nvPr/>
        </p:nvSpPr>
        <p:spPr bwMode="auto">
          <a:xfrm flipH="1">
            <a:off x="2106615" y="1387103"/>
            <a:ext cx="508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5" name="Line 267">
            <a:extLst>
              <a:ext uri="{FF2B5EF4-FFF2-40B4-BE49-F238E27FC236}">
                <a16:creationId xmlns:a16="http://schemas.microsoft.com/office/drawing/2014/main" id="{24CAC197-B99B-43D3-A365-DE8D9931042B}"/>
              </a:ext>
            </a:extLst>
          </p:cNvPr>
          <p:cNvSpPr>
            <a:spLocks noChangeShapeType="1"/>
          </p:cNvSpPr>
          <p:nvPr/>
        </p:nvSpPr>
        <p:spPr bwMode="auto">
          <a:xfrm>
            <a:off x="1890713" y="12982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6" name="Line 268">
            <a:extLst>
              <a:ext uri="{FF2B5EF4-FFF2-40B4-BE49-F238E27FC236}">
                <a16:creationId xmlns:a16="http://schemas.microsoft.com/office/drawing/2014/main" id="{E2510185-66F1-45F2-BFC4-5AB2906DFF33}"/>
              </a:ext>
            </a:extLst>
          </p:cNvPr>
          <p:cNvSpPr>
            <a:spLocks noChangeShapeType="1"/>
          </p:cNvSpPr>
          <p:nvPr/>
        </p:nvSpPr>
        <p:spPr bwMode="auto">
          <a:xfrm>
            <a:off x="1903413" y="1310907"/>
            <a:ext cx="0" cy="254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7" name="Line 269">
            <a:extLst>
              <a:ext uri="{FF2B5EF4-FFF2-40B4-BE49-F238E27FC236}">
                <a16:creationId xmlns:a16="http://schemas.microsoft.com/office/drawing/2014/main" id="{2C669BC5-AC7E-455B-998C-7509632C69D0}"/>
              </a:ext>
            </a:extLst>
          </p:cNvPr>
          <p:cNvSpPr>
            <a:spLocks noChangeShapeType="1"/>
          </p:cNvSpPr>
          <p:nvPr/>
        </p:nvSpPr>
        <p:spPr bwMode="auto">
          <a:xfrm>
            <a:off x="1928814" y="1323602"/>
            <a:ext cx="127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8" name="Line 270">
            <a:extLst>
              <a:ext uri="{FF2B5EF4-FFF2-40B4-BE49-F238E27FC236}">
                <a16:creationId xmlns:a16="http://schemas.microsoft.com/office/drawing/2014/main" id="{7D227180-1B83-4295-9360-AA18A8645E88}"/>
              </a:ext>
            </a:extLst>
          </p:cNvPr>
          <p:cNvSpPr>
            <a:spLocks noChangeShapeType="1"/>
          </p:cNvSpPr>
          <p:nvPr/>
        </p:nvSpPr>
        <p:spPr bwMode="auto">
          <a:xfrm>
            <a:off x="1941513" y="1336303"/>
            <a:ext cx="127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199" name="Line 271">
            <a:extLst>
              <a:ext uri="{FF2B5EF4-FFF2-40B4-BE49-F238E27FC236}">
                <a16:creationId xmlns:a16="http://schemas.microsoft.com/office/drawing/2014/main" id="{4DDA8ACF-9A14-498B-8B6C-FEEBB0F7A65A}"/>
              </a:ext>
            </a:extLst>
          </p:cNvPr>
          <p:cNvSpPr>
            <a:spLocks noChangeShapeType="1"/>
          </p:cNvSpPr>
          <p:nvPr/>
        </p:nvSpPr>
        <p:spPr bwMode="auto">
          <a:xfrm>
            <a:off x="1827213" y="1285502"/>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0" name="Line 272">
            <a:extLst>
              <a:ext uri="{FF2B5EF4-FFF2-40B4-BE49-F238E27FC236}">
                <a16:creationId xmlns:a16="http://schemas.microsoft.com/office/drawing/2014/main" id="{9D9C6D37-BB8D-4D14-8051-374BE41B70A5}"/>
              </a:ext>
            </a:extLst>
          </p:cNvPr>
          <p:cNvSpPr>
            <a:spLocks noChangeShapeType="1"/>
          </p:cNvSpPr>
          <p:nvPr/>
        </p:nvSpPr>
        <p:spPr bwMode="auto">
          <a:xfrm>
            <a:off x="1801813" y="1272803"/>
            <a:ext cx="0" cy="381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1" name="Line 273">
            <a:extLst>
              <a:ext uri="{FF2B5EF4-FFF2-40B4-BE49-F238E27FC236}">
                <a16:creationId xmlns:a16="http://schemas.microsoft.com/office/drawing/2014/main" id="{293CBBC5-C6AF-4B09-A9A7-E3797375964A}"/>
              </a:ext>
            </a:extLst>
          </p:cNvPr>
          <p:cNvSpPr>
            <a:spLocks noChangeShapeType="1"/>
          </p:cNvSpPr>
          <p:nvPr/>
        </p:nvSpPr>
        <p:spPr bwMode="auto">
          <a:xfrm>
            <a:off x="1801813" y="1285502"/>
            <a:ext cx="25400" cy="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2" name="Line 274">
            <a:extLst>
              <a:ext uri="{FF2B5EF4-FFF2-40B4-BE49-F238E27FC236}">
                <a16:creationId xmlns:a16="http://schemas.microsoft.com/office/drawing/2014/main" id="{2AFD77AC-7628-4134-80A0-DABFA2D18649}"/>
              </a:ext>
            </a:extLst>
          </p:cNvPr>
          <p:cNvSpPr>
            <a:spLocks noChangeShapeType="1"/>
          </p:cNvSpPr>
          <p:nvPr/>
        </p:nvSpPr>
        <p:spPr bwMode="auto">
          <a:xfrm>
            <a:off x="1738313" y="1260107"/>
            <a:ext cx="0" cy="50800"/>
          </a:xfrm>
          <a:prstGeom prst="line">
            <a:avLst/>
          </a:prstGeom>
          <a:noFill/>
          <a:ln w="127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3" name="Line 275">
            <a:extLst>
              <a:ext uri="{FF2B5EF4-FFF2-40B4-BE49-F238E27FC236}">
                <a16:creationId xmlns:a16="http://schemas.microsoft.com/office/drawing/2014/main" id="{13047E35-BA0F-4B47-9ED3-60041C667458}"/>
              </a:ext>
            </a:extLst>
          </p:cNvPr>
          <p:cNvSpPr>
            <a:spLocks noChangeShapeType="1"/>
          </p:cNvSpPr>
          <p:nvPr/>
        </p:nvSpPr>
        <p:spPr bwMode="auto">
          <a:xfrm>
            <a:off x="5402263" y="2333254"/>
            <a:ext cx="0" cy="50800"/>
          </a:xfrm>
          <a:prstGeom prst="line">
            <a:avLst/>
          </a:prstGeom>
          <a:noFill/>
          <a:ln w="6350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4" name="Line 276">
            <a:extLst>
              <a:ext uri="{FF2B5EF4-FFF2-40B4-BE49-F238E27FC236}">
                <a16:creationId xmlns:a16="http://schemas.microsoft.com/office/drawing/2014/main" id="{77808C17-B06A-4C85-988E-C0D68F43C6E3}"/>
              </a:ext>
            </a:extLst>
          </p:cNvPr>
          <p:cNvSpPr>
            <a:spLocks noChangeShapeType="1"/>
          </p:cNvSpPr>
          <p:nvPr/>
        </p:nvSpPr>
        <p:spPr bwMode="auto">
          <a:xfrm flipH="1">
            <a:off x="3598864" y="1774453"/>
            <a:ext cx="25400" cy="0"/>
          </a:xfrm>
          <a:prstGeom prst="line">
            <a:avLst/>
          </a:prstGeom>
          <a:noFill/>
          <a:ln w="9525">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5" name="Line 277">
            <a:extLst>
              <a:ext uri="{FF2B5EF4-FFF2-40B4-BE49-F238E27FC236}">
                <a16:creationId xmlns:a16="http://schemas.microsoft.com/office/drawing/2014/main" id="{C48CEC75-1E4D-4813-B895-45777222EE8B}"/>
              </a:ext>
            </a:extLst>
          </p:cNvPr>
          <p:cNvSpPr>
            <a:spLocks noChangeShapeType="1"/>
          </p:cNvSpPr>
          <p:nvPr/>
        </p:nvSpPr>
        <p:spPr bwMode="auto">
          <a:xfrm flipH="1">
            <a:off x="3592513" y="1768103"/>
            <a:ext cx="25400" cy="0"/>
          </a:xfrm>
          <a:prstGeom prst="line">
            <a:avLst/>
          </a:prstGeom>
          <a:noFill/>
          <a:ln w="9525">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6" name="Line 278">
            <a:extLst>
              <a:ext uri="{FF2B5EF4-FFF2-40B4-BE49-F238E27FC236}">
                <a16:creationId xmlns:a16="http://schemas.microsoft.com/office/drawing/2014/main" id="{A9558492-305F-443E-AD03-1DB2FE4D9347}"/>
              </a:ext>
            </a:extLst>
          </p:cNvPr>
          <p:cNvSpPr>
            <a:spLocks noChangeShapeType="1"/>
          </p:cNvSpPr>
          <p:nvPr/>
        </p:nvSpPr>
        <p:spPr bwMode="auto">
          <a:xfrm>
            <a:off x="3414713" y="1730003"/>
            <a:ext cx="38100" cy="0"/>
          </a:xfrm>
          <a:prstGeom prst="line">
            <a:avLst/>
          </a:prstGeom>
          <a:noFill/>
          <a:ln w="9525">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7" name="Line 279">
            <a:extLst>
              <a:ext uri="{FF2B5EF4-FFF2-40B4-BE49-F238E27FC236}">
                <a16:creationId xmlns:a16="http://schemas.microsoft.com/office/drawing/2014/main" id="{BF0DA2F9-1FB0-477E-B7CF-3DD977762838}"/>
              </a:ext>
            </a:extLst>
          </p:cNvPr>
          <p:cNvSpPr>
            <a:spLocks noChangeShapeType="1"/>
          </p:cNvSpPr>
          <p:nvPr/>
        </p:nvSpPr>
        <p:spPr bwMode="auto">
          <a:xfrm flipV="1">
            <a:off x="3452813" y="1704605"/>
            <a:ext cx="0" cy="50800"/>
          </a:xfrm>
          <a:prstGeom prst="line">
            <a:avLst/>
          </a:prstGeom>
          <a:noFill/>
          <a:ln w="9525">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8" name="Freeform 280">
            <a:extLst>
              <a:ext uri="{FF2B5EF4-FFF2-40B4-BE49-F238E27FC236}">
                <a16:creationId xmlns:a16="http://schemas.microsoft.com/office/drawing/2014/main" id="{BF63B726-7A9F-4B87-AD15-CDC476F24BCA}"/>
              </a:ext>
            </a:extLst>
          </p:cNvPr>
          <p:cNvSpPr>
            <a:spLocks/>
          </p:cNvSpPr>
          <p:nvPr/>
        </p:nvSpPr>
        <p:spPr bwMode="auto">
          <a:xfrm>
            <a:off x="1662114" y="1298207"/>
            <a:ext cx="4965700" cy="1079500"/>
          </a:xfrm>
          <a:custGeom>
            <a:avLst/>
            <a:gdLst>
              <a:gd name="T0" fmla="*/ 3016 w 3128"/>
              <a:gd name="T1" fmla="*/ 680 h 680"/>
              <a:gd name="T2" fmla="*/ 2568 w 3128"/>
              <a:gd name="T3" fmla="*/ 664 h 680"/>
              <a:gd name="T4" fmla="*/ 2488 w 3128"/>
              <a:gd name="T5" fmla="*/ 656 h 680"/>
              <a:gd name="T6" fmla="*/ 2456 w 3128"/>
              <a:gd name="T7" fmla="*/ 624 h 680"/>
              <a:gd name="T8" fmla="*/ 2224 w 3128"/>
              <a:gd name="T9" fmla="*/ 616 h 680"/>
              <a:gd name="T10" fmla="*/ 2128 w 3128"/>
              <a:gd name="T11" fmla="*/ 600 h 680"/>
              <a:gd name="T12" fmla="*/ 2112 w 3128"/>
              <a:gd name="T13" fmla="*/ 600 h 680"/>
              <a:gd name="T14" fmla="*/ 2056 w 3128"/>
              <a:gd name="T15" fmla="*/ 562 h 680"/>
              <a:gd name="T16" fmla="*/ 2036 w 3128"/>
              <a:gd name="T17" fmla="*/ 558 h 680"/>
              <a:gd name="T18" fmla="*/ 2016 w 3128"/>
              <a:gd name="T19" fmla="*/ 552 h 680"/>
              <a:gd name="T20" fmla="*/ 1944 w 3128"/>
              <a:gd name="T21" fmla="*/ 528 h 680"/>
              <a:gd name="T22" fmla="*/ 1938 w 3128"/>
              <a:gd name="T23" fmla="*/ 524 h 680"/>
              <a:gd name="T24" fmla="*/ 1824 w 3128"/>
              <a:gd name="T25" fmla="*/ 504 h 680"/>
              <a:gd name="T26" fmla="*/ 1752 w 3128"/>
              <a:gd name="T27" fmla="*/ 464 h 680"/>
              <a:gd name="T28" fmla="*/ 1720 w 3128"/>
              <a:gd name="T29" fmla="*/ 464 h 680"/>
              <a:gd name="T30" fmla="*/ 1696 w 3128"/>
              <a:gd name="T31" fmla="*/ 444 h 680"/>
              <a:gd name="T32" fmla="*/ 1688 w 3128"/>
              <a:gd name="T33" fmla="*/ 440 h 680"/>
              <a:gd name="T34" fmla="*/ 1616 w 3128"/>
              <a:gd name="T35" fmla="*/ 432 h 680"/>
              <a:gd name="T36" fmla="*/ 1576 w 3128"/>
              <a:gd name="T37" fmla="*/ 424 h 680"/>
              <a:gd name="T38" fmla="*/ 1566 w 3128"/>
              <a:gd name="T39" fmla="*/ 398 h 680"/>
              <a:gd name="T40" fmla="*/ 1560 w 3128"/>
              <a:gd name="T41" fmla="*/ 392 h 680"/>
              <a:gd name="T42" fmla="*/ 1464 w 3128"/>
              <a:gd name="T43" fmla="*/ 376 h 680"/>
              <a:gd name="T44" fmla="*/ 1392 w 3128"/>
              <a:gd name="T45" fmla="*/ 344 h 680"/>
              <a:gd name="T46" fmla="*/ 1360 w 3128"/>
              <a:gd name="T47" fmla="*/ 336 h 680"/>
              <a:gd name="T48" fmla="*/ 1340 w 3128"/>
              <a:gd name="T49" fmla="*/ 328 h 680"/>
              <a:gd name="T50" fmla="*/ 1320 w 3128"/>
              <a:gd name="T51" fmla="*/ 320 h 680"/>
              <a:gd name="T52" fmla="*/ 1304 w 3128"/>
              <a:gd name="T53" fmla="*/ 304 h 680"/>
              <a:gd name="T54" fmla="*/ 1288 w 3128"/>
              <a:gd name="T55" fmla="*/ 288 h 680"/>
              <a:gd name="T56" fmla="*/ 1282 w 3128"/>
              <a:gd name="T57" fmla="*/ 284 h 680"/>
              <a:gd name="T58" fmla="*/ 1224 w 3128"/>
              <a:gd name="T59" fmla="*/ 280 h 680"/>
              <a:gd name="T60" fmla="*/ 1170 w 3128"/>
              <a:gd name="T61" fmla="*/ 258 h 680"/>
              <a:gd name="T62" fmla="*/ 1096 w 3128"/>
              <a:gd name="T63" fmla="*/ 256 h 680"/>
              <a:gd name="T64" fmla="*/ 1048 w 3128"/>
              <a:gd name="T65" fmla="*/ 240 h 680"/>
              <a:gd name="T66" fmla="*/ 1000 w 3128"/>
              <a:gd name="T67" fmla="*/ 224 h 680"/>
              <a:gd name="T68" fmla="*/ 928 w 3128"/>
              <a:gd name="T69" fmla="*/ 208 h 680"/>
              <a:gd name="T70" fmla="*/ 768 w 3128"/>
              <a:gd name="T71" fmla="*/ 184 h 680"/>
              <a:gd name="T72" fmla="*/ 752 w 3128"/>
              <a:gd name="T73" fmla="*/ 178 h 680"/>
              <a:gd name="T74" fmla="*/ 736 w 3128"/>
              <a:gd name="T75" fmla="*/ 176 h 680"/>
              <a:gd name="T76" fmla="*/ 672 w 3128"/>
              <a:gd name="T77" fmla="*/ 168 h 680"/>
              <a:gd name="T78" fmla="*/ 592 w 3128"/>
              <a:gd name="T79" fmla="*/ 160 h 680"/>
              <a:gd name="T80" fmla="*/ 546 w 3128"/>
              <a:gd name="T81" fmla="*/ 140 h 680"/>
              <a:gd name="T82" fmla="*/ 528 w 3128"/>
              <a:gd name="T83" fmla="*/ 128 h 680"/>
              <a:gd name="T84" fmla="*/ 440 w 3128"/>
              <a:gd name="T85" fmla="*/ 112 h 680"/>
              <a:gd name="T86" fmla="*/ 416 w 3128"/>
              <a:gd name="T87" fmla="*/ 88 h 680"/>
              <a:gd name="T88" fmla="*/ 304 w 3128"/>
              <a:gd name="T89" fmla="*/ 80 h 680"/>
              <a:gd name="T90" fmla="*/ 240 w 3128"/>
              <a:gd name="T91" fmla="*/ 40 h 680"/>
              <a:gd name="T92" fmla="*/ 96 w 3128"/>
              <a:gd name="T93" fmla="*/ 16 h 680"/>
              <a:gd name="T94" fmla="*/ 80 w 3128"/>
              <a:gd name="T95" fmla="*/ 6 h 680"/>
              <a:gd name="T96" fmla="*/ 64 w 3128"/>
              <a:gd name="T97" fmla="*/ 0 h 680"/>
              <a:gd name="T98" fmla="*/ 0 w 3128"/>
              <a:gd name="T99" fmla="*/ 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8" h="680">
                <a:moveTo>
                  <a:pt x="3128" y="680"/>
                </a:moveTo>
                <a:lnTo>
                  <a:pt x="3104" y="680"/>
                </a:lnTo>
                <a:lnTo>
                  <a:pt x="3016" y="680"/>
                </a:lnTo>
                <a:lnTo>
                  <a:pt x="2736" y="680"/>
                </a:lnTo>
                <a:lnTo>
                  <a:pt x="2568" y="680"/>
                </a:lnTo>
                <a:lnTo>
                  <a:pt x="2568" y="664"/>
                </a:lnTo>
                <a:lnTo>
                  <a:pt x="2544" y="664"/>
                </a:lnTo>
                <a:lnTo>
                  <a:pt x="2544" y="656"/>
                </a:lnTo>
                <a:lnTo>
                  <a:pt x="2488" y="656"/>
                </a:lnTo>
                <a:lnTo>
                  <a:pt x="2472" y="640"/>
                </a:lnTo>
                <a:lnTo>
                  <a:pt x="2464" y="624"/>
                </a:lnTo>
                <a:lnTo>
                  <a:pt x="2456" y="624"/>
                </a:lnTo>
                <a:lnTo>
                  <a:pt x="2264" y="624"/>
                </a:lnTo>
                <a:lnTo>
                  <a:pt x="2264" y="616"/>
                </a:lnTo>
                <a:lnTo>
                  <a:pt x="2224" y="616"/>
                </a:lnTo>
                <a:lnTo>
                  <a:pt x="2216" y="608"/>
                </a:lnTo>
                <a:lnTo>
                  <a:pt x="2216" y="600"/>
                </a:lnTo>
                <a:lnTo>
                  <a:pt x="2128" y="600"/>
                </a:lnTo>
                <a:lnTo>
                  <a:pt x="2120" y="600"/>
                </a:lnTo>
                <a:lnTo>
                  <a:pt x="2112" y="600"/>
                </a:lnTo>
                <a:lnTo>
                  <a:pt x="2112" y="600"/>
                </a:lnTo>
                <a:lnTo>
                  <a:pt x="2086" y="580"/>
                </a:lnTo>
                <a:lnTo>
                  <a:pt x="2064" y="566"/>
                </a:lnTo>
                <a:lnTo>
                  <a:pt x="2056" y="562"/>
                </a:lnTo>
                <a:lnTo>
                  <a:pt x="2048" y="560"/>
                </a:lnTo>
                <a:lnTo>
                  <a:pt x="2048" y="560"/>
                </a:lnTo>
                <a:lnTo>
                  <a:pt x="2036" y="558"/>
                </a:lnTo>
                <a:lnTo>
                  <a:pt x="2026" y="556"/>
                </a:lnTo>
                <a:lnTo>
                  <a:pt x="2016" y="552"/>
                </a:lnTo>
                <a:lnTo>
                  <a:pt x="2016" y="552"/>
                </a:lnTo>
                <a:lnTo>
                  <a:pt x="1984" y="540"/>
                </a:lnTo>
                <a:lnTo>
                  <a:pt x="1958" y="532"/>
                </a:lnTo>
                <a:lnTo>
                  <a:pt x="1944" y="528"/>
                </a:lnTo>
                <a:lnTo>
                  <a:pt x="1944" y="528"/>
                </a:lnTo>
                <a:lnTo>
                  <a:pt x="1940" y="526"/>
                </a:lnTo>
                <a:lnTo>
                  <a:pt x="1938" y="524"/>
                </a:lnTo>
                <a:lnTo>
                  <a:pt x="1936" y="520"/>
                </a:lnTo>
                <a:lnTo>
                  <a:pt x="1864" y="520"/>
                </a:lnTo>
                <a:lnTo>
                  <a:pt x="1824" y="504"/>
                </a:lnTo>
                <a:lnTo>
                  <a:pt x="1816" y="472"/>
                </a:lnTo>
                <a:lnTo>
                  <a:pt x="1808" y="464"/>
                </a:lnTo>
                <a:lnTo>
                  <a:pt x="1752" y="464"/>
                </a:lnTo>
                <a:lnTo>
                  <a:pt x="1744" y="464"/>
                </a:lnTo>
                <a:lnTo>
                  <a:pt x="1736" y="464"/>
                </a:lnTo>
                <a:lnTo>
                  <a:pt x="1720" y="464"/>
                </a:lnTo>
                <a:lnTo>
                  <a:pt x="1720" y="464"/>
                </a:lnTo>
                <a:lnTo>
                  <a:pt x="1708" y="452"/>
                </a:lnTo>
                <a:lnTo>
                  <a:pt x="1696" y="444"/>
                </a:lnTo>
                <a:lnTo>
                  <a:pt x="1692" y="442"/>
                </a:lnTo>
                <a:lnTo>
                  <a:pt x="1688" y="440"/>
                </a:lnTo>
                <a:lnTo>
                  <a:pt x="1688" y="440"/>
                </a:lnTo>
                <a:lnTo>
                  <a:pt x="1648" y="440"/>
                </a:lnTo>
                <a:lnTo>
                  <a:pt x="1640" y="432"/>
                </a:lnTo>
                <a:lnTo>
                  <a:pt x="1616" y="432"/>
                </a:lnTo>
                <a:lnTo>
                  <a:pt x="1608" y="432"/>
                </a:lnTo>
                <a:lnTo>
                  <a:pt x="1608" y="424"/>
                </a:lnTo>
                <a:lnTo>
                  <a:pt x="1576" y="424"/>
                </a:lnTo>
                <a:lnTo>
                  <a:pt x="1576" y="424"/>
                </a:lnTo>
                <a:lnTo>
                  <a:pt x="1572" y="408"/>
                </a:lnTo>
                <a:lnTo>
                  <a:pt x="1566" y="398"/>
                </a:lnTo>
                <a:lnTo>
                  <a:pt x="1562" y="394"/>
                </a:lnTo>
                <a:lnTo>
                  <a:pt x="1560" y="392"/>
                </a:lnTo>
                <a:lnTo>
                  <a:pt x="1560" y="392"/>
                </a:lnTo>
                <a:lnTo>
                  <a:pt x="1520" y="392"/>
                </a:lnTo>
                <a:lnTo>
                  <a:pt x="1488" y="384"/>
                </a:lnTo>
                <a:lnTo>
                  <a:pt x="1464" y="376"/>
                </a:lnTo>
                <a:lnTo>
                  <a:pt x="1432" y="360"/>
                </a:lnTo>
                <a:lnTo>
                  <a:pt x="1392" y="344"/>
                </a:lnTo>
                <a:lnTo>
                  <a:pt x="1392" y="344"/>
                </a:lnTo>
                <a:lnTo>
                  <a:pt x="1380" y="340"/>
                </a:lnTo>
                <a:lnTo>
                  <a:pt x="1368" y="338"/>
                </a:lnTo>
                <a:lnTo>
                  <a:pt x="1360" y="336"/>
                </a:lnTo>
                <a:lnTo>
                  <a:pt x="1360" y="336"/>
                </a:lnTo>
                <a:lnTo>
                  <a:pt x="1352" y="334"/>
                </a:lnTo>
                <a:lnTo>
                  <a:pt x="1340" y="328"/>
                </a:lnTo>
                <a:lnTo>
                  <a:pt x="1328" y="322"/>
                </a:lnTo>
                <a:lnTo>
                  <a:pt x="1320" y="320"/>
                </a:lnTo>
                <a:lnTo>
                  <a:pt x="1320" y="320"/>
                </a:lnTo>
                <a:lnTo>
                  <a:pt x="1316" y="318"/>
                </a:lnTo>
                <a:lnTo>
                  <a:pt x="1312" y="316"/>
                </a:lnTo>
                <a:lnTo>
                  <a:pt x="1304" y="304"/>
                </a:lnTo>
                <a:lnTo>
                  <a:pt x="1296" y="294"/>
                </a:lnTo>
                <a:lnTo>
                  <a:pt x="1292" y="290"/>
                </a:lnTo>
                <a:lnTo>
                  <a:pt x="1288" y="288"/>
                </a:lnTo>
                <a:lnTo>
                  <a:pt x="1288" y="288"/>
                </a:lnTo>
                <a:lnTo>
                  <a:pt x="1284" y="286"/>
                </a:lnTo>
                <a:lnTo>
                  <a:pt x="1282" y="284"/>
                </a:lnTo>
                <a:lnTo>
                  <a:pt x="1280" y="280"/>
                </a:lnTo>
                <a:lnTo>
                  <a:pt x="1224" y="280"/>
                </a:lnTo>
                <a:lnTo>
                  <a:pt x="1224" y="280"/>
                </a:lnTo>
                <a:lnTo>
                  <a:pt x="1202" y="268"/>
                </a:lnTo>
                <a:lnTo>
                  <a:pt x="1180" y="260"/>
                </a:lnTo>
                <a:lnTo>
                  <a:pt x="1170" y="258"/>
                </a:lnTo>
                <a:lnTo>
                  <a:pt x="1160" y="256"/>
                </a:lnTo>
                <a:lnTo>
                  <a:pt x="1160" y="256"/>
                </a:lnTo>
                <a:lnTo>
                  <a:pt x="1096" y="256"/>
                </a:lnTo>
                <a:lnTo>
                  <a:pt x="1064" y="248"/>
                </a:lnTo>
                <a:lnTo>
                  <a:pt x="1056" y="248"/>
                </a:lnTo>
                <a:lnTo>
                  <a:pt x="1048" y="240"/>
                </a:lnTo>
                <a:lnTo>
                  <a:pt x="1008" y="240"/>
                </a:lnTo>
                <a:lnTo>
                  <a:pt x="1000" y="232"/>
                </a:lnTo>
                <a:lnTo>
                  <a:pt x="1000" y="224"/>
                </a:lnTo>
                <a:lnTo>
                  <a:pt x="968" y="224"/>
                </a:lnTo>
                <a:lnTo>
                  <a:pt x="928" y="216"/>
                </a:lnTo>
                <a:lnTo>
                  <a:pt x="928" y="208"/>
                </a:lnTo>
                <a:lnTo>
                  <a:pt x="872" y="200"/>
                </a:lnTo>
                <a:lnTo>
                  <a:pt x="784" y="184"/>
                </a:lnTo>
                <a:lnTo>
                  <a:pt x="768" y="184"/>
                </a:lnTo>
                <a:lnTo>
                  <a:pt x="768" y="184"/>
                </a:lnTo>
                <a:lnTo>
                  <a:pt x="760" y="180"/>
                </a:lnTo>
                <a:lnTo>
                  <a:pt x="752" y="178"/>
                </a:lnTo>
                <a:lnTo>
                  <a:pt x="744" y="176"/>
                </a:lnTo>
                <a:lnTo>
                  <a:pt x="744" y="176"/>
                </a:lnTo>
                <a:lnTo>
                  <a:pt x="736" y="176"/>
                </a:lnTo>
                <a:lnTo>
                  <a:pt x="728" y="176"/>
                </a:lnTo>
                <a:lnTo>
                  <a:pt x="680" y="176"/>
                </a:lnTo>
                <a:lnTo>
                  <a:pt x="672" y="168"/>
                </a:lnTo>
                <a:lnTo>
                  <a:pt x="656" y="160"/>
                </a:lnTo>
                <a:lnTo>
                  <a:pt x="640" y="160"/>
                </a:lnTo>
                <a:lnTo>
                  <a:pt x="592" y="160"/>
                </a:lnTo>
                <a:lnTo>
                  <a:pt x="552" y="144"/>
                </a:lnTo>
                <a:lnTo>
                  <a:pt x="552" y="144"/>
                </a:lnTo>
                <a:lnTo>
                  <a:pt x="546" y="140"/>
                </a:lnTo>
                <a:lnTo>
                  <a:pt x="538" y="138"/>
                </a:lnTo>
                <a:lnTo>
                  <a:pt x="528" y="136"/>
                </a:lnTo>
                <a:lnTo>
                  <a:pt x="528" y="128"/>
                </a:lnTo>
                <a:lnTo>
                  <a:pt x="488" y="128"/>
                </a:lnTo>
                <a:lnTo>
                  <a:pt x="464" y="112"/>
                </a:lnTo>
                <a:lnTo>
                  <a:pt x="440" y="112"/>
                </a:lnTo>
                <a:lnTo>
                  <a:pt x="424" y="104"/>
                </a:lnTo>
                <a:lnTo>
                  <a:pt x="424" y="96"/>
                </a:lnTo>
                <a:lnTo>
                  <a:pt x="416" y="88"/>
                </a:lnTo>
                <a:lnTo>
                  <a:pt x="352" y="88"/>
                </a:lnTo>
                <a:lnTo>
                  <a:pt x="352" y="80"/>
                </a:lnTo>
                <a:lnTo>
                  <a:pt x="304" y="80"/>
                </a:lnTo>
                <a:lnTo>
                  <a:pt x="296" y="64"/>
                </a:lnTo>
                <a:lnTo>
                  <a:pt x="240" y="64"/>
                </a:lnTo>
                <a:lnTo>
                  <a:pt x="240" y="40"/>
                </a:lnTo>
                <a:lnTo>
                  <a:pt x="168" y="40"/>
                </a:lnTo>
                <a:lnTo>
                  <a:pt x="144" y="24"/>
                </a:lnTo>
                <a:lnTo>
                  <a:pt x="96" y="16"/>
                </a:lnTo>
                <a:lnTo>
                  <a:pt x="80" y="8"/>
                </a:lnTo>
                <a:lnTo>
                  <a:pt x="80" y="8"/>
                </a:lnTo>
                <a:lnTo>
                  <a:pt x="80" y="6"/>
                </a:lnTo>
                <a:lnTo>
                  <a:pt x="78" y="4"/>
                </a:lnTo>
                <a:lnTo>
                  <a:pt x="74" y="2"/>
                </a:lnTo>
                <a:lnTo>
                  <a:pt x="64" y="0"/>
                </a:lnTo>
                <a:lnTo>
                  <a:pt x="64" y="0"/>
                </a:lnTo>
                <a:lnTo>
                  <a:pt x="24" y="0"/>
                </a:lnTo>
                <a:lnTo>
                  <a:pt x="0" y="0"/>
                </a:lnTo>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09" name="Line 281">
            <a:extLst>
              <a:ext uri="{FF2B5EF4-FFF2-40B4-BE49-F238E27FC236}">
                <a16:creationId xmlns:a16="http://schemas.microsoft.com/office/drawing/2014/main" id="{273ECB40-B2DA-421B-AD0F-206A7F5AE194}"/>
              </a:ext>
            </a:extLst>
          </p:cNvPr>
          <p:cNvSpPr>
            <a:spLocks noChangeShapeType="1"/>
          </p:cNvSpPr>
          <p:nvPr/>
        </p:nvSpPr>
        <p:spPr bwMode="auto">
          <a:xfrm>
            <a:off x="6589713" y="2352305"/>
            <a:ext cx="0" cy="50800"/>
          </a:xfrm>
          <a:prstGeom prst="line">
            <a:avLst/>
          </a:prstGeom>
          <a:noFill/>
          <a:ln w="254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0" name="Line 282">
            <a:extLst>
              <a:ext uri="{FF2B5EF4-FFF2-40B4-BE49-F238E27FC236}">
                <a16:creationId xmlns:a16="http://schemas.microsoft.com/office/drawing/2014/main" id="{CE9C26A2-5387-424A-948E-DC6754C44E16}"/>
              </a:ext>
            </a:extLst>
          </p:cNvPr>
          <p:cNvSpPr>
            <a:spLocks noChangeShapeType="1"/>
          </p:cNvSpPr>
          <p:nvPr/>
        </p:nvSpPr>
        <p:spPr bwMode="auto">
          <a:xfrm>
            <a:off x="6424613" y="23523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1" name="Line 283">
            <a:extLst>
              <a:ext uri="{FF2B5EF4-FFF2-40B4-BE49-F238E27FC236}">
                <a16:creationId xmlns:a16="http://schemas.microsoft.com/office/drawing/2014/main" id="{79B517DA-BD1A-4F47-9DAD-EFABD2F73FA7}"/>
              </a:ext>
            </a:extLst>
          </p:cNvPr>
          <p:cNvSpPr>
            <a:spLocks noChangeShapeType="1"/>
          </p:cNvSpPr>
          <p:nvPr/>
        </p:nvSpPr>
        <p:spPr bwMode="auto">
          <a:xfrm>
            <a:off x="6373813" y="23523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2" name="Line 284">
            <a:extLst>
              <a:ext uri="{FF2B5EF4-FFF2-40B4-BE49-F238E27FC236}">
                <a16:creationId xmlns:a16="http://schemas.microsoft.com/office/drawing/2014/main" id="{20F07E18-F651-41FA-A296-C76E30531902}"/>
              </a:ext>
            </a:extLst>
          </p:cNvPr>
          <p:cNvSpPr>
            <a:spLocks noChangeShapeType="1"/>
          </p:cNvSpPr>
          <p:nvPr/>
        </p:nvSpPr>
        <p:spPr bwMode="auto">
          <a:xfrm>
            <a:off x="6450013" y="23523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3" name="Line 285">
            <a:extLst>
              <a:ext uri="{FF2B5EF4-FFF2-40B4-BE49-F238E27FC236}">
                <a16:creationId xmlns:a16="http://schemas.microsoft.com/office/drawing/2014/main" id="{ED6B5983-2C9E-4471-9A7A-50FAA3BAE008}"/>
              </a:ext>
            </a:extLst>
          </p:cNvPr>
          <p:cNvSpPr>
            <a:spLocks noChangeShapeType="1"/>
          </p:cNvSpPr>
          <p:nvPr/>
        </p:nvSpPr>
        <p:spPr bwMode="auto">
          <a:xfrm>
            <a:off x="6208713" y="235230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4" name="Line 286">
            <a:extLst>
              <a:ext uri="{FF2B5EF4-FFF2-40B4-BE49-F238E27FC236}">
                <a16:creationId xmlns:a16="http://schemas.microsoft.com/office/drawing/2014/main" id="{E8194CEC-42A0-4962-842A-05B511D88386}"/>
              </a:ext>
            </a:extLst>
          </p:cNvPr>
          <p:cNvSpPr>
            <a:spLocks noChangeShapeType="1"/>
          </p:cNvSpPr>
          <p:nvPr/>
        </p:nvSpPr>
        <p:spPr bwMode="auto">
          <a:xfrm>
            <a:off x="6183313" y="235230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5" name="Line 287">
            <a:extLst>
              <a:ext uri="{FF2B5EF4-FFF2-40B4-BE49-F238E27FC236}">
                <a16:creationId xmlns:a16="http://schemas.microsoft.com/office/drawing/2014/main" id="{B779BB9A-A111-416F-A141-0687B3908F08}"/>
              </a:ext>
            </a:extLst>
          </p:cNvPr>
          <p:cNvSpPr>
            <a:spLocks noChangeShapeType="1"/>
          </p:cNvSpPr>
          <p:nvPr/>
        </p:nvSpPr>
        <p:spPr bwMode="auto">
          <a:xfrm>
            <a:off x="6157913" y="235230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6" name="Line 288">
            <a:extLst>
              <a:ext uri="{FF2B5EF4-FFF2-40B4-BE49-F238E27FC236}">
                <a16:creationId xmlns:a16="http://schemas.microsoft.com/office/drawing/2014/main" id="{54970F70-FD62-4522-A149-47ABBED7C5D8}"/>
              </a:ext>
            </a:extLst>
          </p:cNvPr>
          <p:cNvSpPr>
            <a:spLocks noChangeShapeType="1"/>
          </p:cNvSpPr>
          <p:nvPr/>
        </p:nvSpPr>
        <p:spPr bwMode="auto">
          <a:xfrm>
            <a:off x="6094413" y="235230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7" name="Line 289">
            <a:extLst>
              <a:ext uri="{FF2B5EF4-FFF2-40B4-BE49-F238E27FC236}">
                <a16:creationId xmlns:a16="http://schemas.microsoft.com/office/drawing/2014/main" id="{3238236B-52C4-4EC3-BE69-E5E5025EFA58}"/>
              </a:ext>
            </a:extLst>
          </p:cNvPr>
          <p:cNvSpPr>
            <a:spLocks noChangeShapeType="1"/>
          </p:cNvSpPr>
          <p:nvPr/>
        </p:nvSpPr>
        <p:spPr bwMode="auto">
          <a:xfrm>
            <a:off x="6043613" y="235230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8" name="Line 290">
            <a:extLst>
              <a:ext uri="{FF2B5EF4-FFF2-40B4-BE49-F238E27FC236}">
                <a16:creationId xmlns:a16="http://schemas.microsoft.com/office/drawing/2014/main" id="{C3DEE455-9DE5-47A9-AA0B-40C6ECF813F0}"/>
              </a:ext>
            </a:extLst>
          </p:cNvPr>
          <p:cNvSpPr>
            <a:spLocks noChangeShapeType="1"/>
          </p:cNvSpPr>
          <p:nvPr/>
        </p:nvSpPr>
        <p:spPr bwMode="auto">
          <a:xfrm>
            <a:off x="5929313" y="235230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19" name="Line 291">
            <a:extLst>
              <a:ext uri="{FF2B5EF4-FFF2-40B4-BE49-F238E27FC236}">
                <a16:creationId xmlns:a16="http://schemas.microsoft.com/office/drawing/2014/main" id="{1CCA2A84-1824-4BA8-A198-5E3D137CB814}"/>
              </a:ext>
            </a:extLst>
          </p:cNvPr>
          <p:cNvSpPr>
            <a:spLocks noChangeShapeType="1"/>
          </p:cNvSpPr>
          <p:nvPr/>
        </p:nvSpPr>
        <p:spPr bwMode="auto">
          <a:xfrm>
            <a:off x="5954713" y="235230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0" name="Line 292">
            <a:extLst>
              <a:ext uri="{FF2B5EF4-FFF2-40B4-BE49-F238E27FC236}">
                <a16:creationId xmlns:a16="http://schemas.microsoft.com/office/drawing/2014/main" id="{74963C33-3739-4DA7-A8CB-DCA444D98FB1}"/>
              </a:ext>
            </a:extLst>
          </p:cNvPr>
          <p:cNvSpPr>
            <a:spLocks noChangeShapeType="1"/>
          </p:cNvSpPr>
          <p:nvPr/>
        </p:nvSpPr>
        <p:spPr bwMode="auto">
          <a:xfrm>
            <a:off x="5980113" y="2352306"/>
            <a:ext cx="0" cy="44450"/>
          </a:xfrm>
          <a:prstGeom prst="line">
            <a:avLst/>
          </a:prstGeom>
          <a:noFill/>
          <a:ln w="381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1" name="Line 293">
            <a:extLst>
              <a:ext uri="{FF2B5EF4-FFF2-40B4-BE49-F238E27FC236}">
                <a16:creationId xmlns:a16="http://schemas.microsoft.com/office/drawing/2014/main" id="{8151C1AD-9F2F-4253-8611-C3343800BD74}"/>
              </a:ext>
            </a:extLst>
          </p:cNvPr>
          <p:cNvSpPr>
            <a:spLocks noChangeShapeType="1"/>
          </p:cNvSpPr>
          <p:nvPr/>
        </p:nvSpPr>
        <p:spPr bwMode="auto">
          <a:xfrm>
            <a:off x="5903913" y="2352306"/>
            <a:ext cx="0" cy="44450"/>
          </a:xfrm>
          <a:prstGeom prst="line">
            <a:avLst/>
          </a:prstGeom>
          <a:noFill/>
          <a:ln w="254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2" name="Line 294">
            <a:extLst>
              <a:ext uri="{FF2B5EF4-FFF2-40B4-BE49-F238E27FC236}">
                <a16:creationId xmlns:a16="http://schemas.microsoft.com/office/drawing/2014/main" id="{E2E779E3-327A-4DF6-BA8E-4E8097268DC7}"/>
              </a:ext>
            </a:extLst>
          </p:cNvPr>
          <p:cNvSpPr>
            <a:spLocks noChangeShapeType="1"/>
          </p:cNvSpPr>
          <p:nvPr/>
        </p:nvSpPr>
        <p:spPr bwMode="auto">
          <a:xfrm>
            <a:off x="5872163" y="235230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3" name="Line 295">
            <a:extLst>
              <a:ext uri="{FF2B5EF4-FFF2-40B4-BE49-F238E27FC236}">
                <a16:creationId xmlns:a16="http://schemas.microsoft.com/office/drawing/2014/main" id="{37B6EE56-3EF0-41DD-BF99-075298FC00C2}"/>
              </a:ext>
            </a:extLst>
          </p:cNvPr>
          <p:cNvSpPr>
            <a:spLocks noChangeShapeType="1"/>
          </p:cNvSpPr>
          <p:nvPr/>
        </p:nvSpPr>
        <p:spPr bwMode="auto">
          <a:xfrm>
            <a:off x="5846763" y="235230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4" name="Line 296">
            <a:extLst>
              <a:ext uri="{FF2B5EF4-FFF2-40B4-BE49-F238E27FC236}">
                <a16:creationId xmlns:a16="http://schemas.microsoft.com/office/drawing/2014/main" id="{1555578E-8993-4E9E-9694-B0AE8B84CE92}"/>
              </a:ext>
            </a:extLst>
          </p:cNvPr>
          <p:cNvSpPr>
            <a:spLocks noChangeShapeType="1"/>
          </p:cNvSpPr>
          <p:nvPr/>
        </p:nvSpPr>
        <p:spPr bwMode="auto">
          <a:xfrm>
            <a:off x="5815013" y="2352305"/>
            <a:ext cx="0" cy="50800"/>
          </a:xfrm>
          <a:prstGeom prst="line">
            <a:avLst/>
          </a:prstGeom>
          <a:noFill/>
          <a:ln w="254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5" name="Line 297">
            <a:extLst>
              <a:ext uri="{FF2B5EF4-FFF2-40B4-BE49-F238E27FC236}">
                <a16:creationId xmlns:a16="http://schemas.microsoft.com/office/drawing/2014/main" id="{D832CB5F-ED1D-415D-AF27-145FAAFFCC7A}"/>
              </a:ext>
            </a:extLst>
          </p:cNvPr>
          <p:cNvSpPr>
            <a:spLocks noChangeShapeType="1"/>
          </p:cNvSpPr>
          <p:nvPr/>
        </p:nvSpPr>
        <p:spPr bwMode="auto">
          <a:xfrm>
            <a:off x="5751513" y="2345957"/>
            <a:ext cx="0" cy="50800"/>
          </a:xfrm>
          <a:prstGeom prst="line">
            <a:avLst/>
          </a:prstGeom>
          <a:noFill/>
          <a:ln w="9525">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6" name="Line 298">
            <a:extLst>
              <a:ext uri="{FF2B5EF4-FFF2-40B4-BE49-F238E27FC236}">
                <a16:creationId xmlns:a16="http://schemas.microsoft.com/office/drawing/2014/main" id="{C1B13CDE-6B8B-4201-802E-8CFD96F518FD}"/>
              </a:ext>
            </a:extLst>
          </p:cNvPr>
          <p:cNvSpPr>
            <a:spLocks noChangeShapeType="1"/>
          </p:cNvSpPr>
          <p:nvPr/>
        </p:nvSpPr>
        <p:spPr bwMode="auto">
          <a:xfrm>
            <a:off x="5700713" y="23777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7" name="Line 299">
            <a:extLst>
              <a:ext uri="{FF2B5EF4-FFF2-40B4-BE49-F238E27FC236}">
                <a16:creationId xmlns:a16="http://schemas.microsoft.com/office/drawing/2014/main" id="{02822B74-3C41-4574-A332-1D7B7795DC4F}"/>
              </a:ext>
            </a:extLst>
          </p:cNvPr>
          <p:cNvSpPr>
            <a:spLocks noChangeShapeType="1"/>
          </p:cNvSpPr>
          <p:nvPr/>
        </p:nvSpPr>
        <p:spPr bwMode="auto">
          <a:xfrm>
            <a:off x="5700713" y="23650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8" name="Line 300">
            <a:extLst>
              <a:ext uri="{FF2B5EF4-FFF2-40B4-BE49-F238E27FC236}">
                <a16:creationId xmlns:a16="http://schemas.microsoft.com/office/drawing/2014/main" id="{8D52481D-545E-494C-8089-FBE0B1EE39F6}"/>
              </a:ext>
            </a:extLst>
          </p:cNvPr>
          <p:cNvSpPr>
            <a:spLocks noChangeShapeType="1"/>
          </p:cNvSpPr>
          <p:nvPr/>
        </p:nvSpPr>
        <p:spPr bwMode="auto">
          <a:xfrm>
            <a:off x="5713413" y="2339606"/>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29" name="Line 301">
            <a:extLst>
              <a:ext uri="{FF2B5EF4-FFF2-40B4-BE49-F238E27FC236}">
                <a16:creationId xmlns:a16="http://schemas.microsoft.com/office/drawing/2014/main" id="{986D2267-5D19-4BE8-98FF-9C576AAF8F88}"/>
              </a:ext>
            </a:extLst>
          </p:cNvPr>
          <p:cNvSpPr>
            <a:spLocks noChangeShapeType="1"/>
          </p:cNvSpPr>
          <p:nvPr/>
        </p:nvSpPr>
        <p:spPr bwMode="auto">
          <a:xfrm>
            <a:off x="5675313" y="23142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0" name="Line 302">
            <a:extLst>
              <a:ext uri="{FF2B5EF4-FFF2-40B4-BE49-F238E27FC236}">
                <a16:creationId xmlns:a16="http://schemas.microsoft.com/office/drawing/2014/main" id="{959B0DC8-A0DF-4338-A58B-0E4B7D45D8B5}"/>
              </a:ext>
            </a:extLst>
          </p:cNvPr>
          <p:cNvSpPr>
            <a:spLocks noChangeShapeType="1"/>
          </p:cNvSpPr>
          <p:nvPr/>
        </p:nvSpPr>
        <p:spPr bwMode="auto">
          <a:xfrm>
            <a:off x="5649913" y="23142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1" name="Line 303">
            <a:extLst>
              <a:ext uri="{FF2B5EF4-FFF2-40B4-BE49-F238E27FC236}">
                <a16:creationId xmlns:a16="http://schemas.microsoft.com/office/drawing/2014/main" id="{533DB840-9126-4A11-BB31-F8DE36418291}"/>
              </a:ext>
            </a:extLst>
          </p:cNvPr>
          <p:cNvSpPr>
            <a:spLocks noChangeShapeType="1"/>
          </p:cNvSpPr>
          <p:nvPr/>
        </p:nvSpPr>
        <p:spPr bwMode="auto">
          <a:xfrm>
            <a:off x="5624513" y="23142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2" name="Line 304">
            <a:extLst>
              <a:ext uri="{FF2B5EF4-FFF2-40B4-BE49-F238E27FC236}">
                <a16:creationId xmlns:a16="http://schemas.microsoft.com/office/drawing/2014/main" id="{11B31D05-813B-4327-A8B7-4E3EB6E11BAD}"/>
              </a:ext>
            </a:extLst>
          </p:cNvPr>
          <p:cNvSpPr>
            <a:spLocks noChangeShapeType="1"/>
          </p:cNvSpPr>
          <p:nvPr/>
        </p:nvSpPr>
        <p:spPr bwMode="auto">
          <a:xfrm>
            <a:off x="5580063" y="2339603"/>
            <a:ext cx="3175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3" name="Line 305">
            <a:extLst>
              <a:ext uri="{FF2B5EF4-FFF2-40B4-BE49-F238E27FC236}">
                <a16:creationId xmlns:a16="http://schemas.microsoft.com/office/drawing/2014/main" id="{A58A2A05-FDB0-45C0-B6F7-36B5CAFA5E3A}"/>
              </a:ext>
            </a:extLst>
          </p:cNvPr>
          <p:cNvSpPr>
            <a:spLocks noChangeShapeType="1"/>
          </p:cNvSpPr>
          <p:nvPr/>
        </p:nvSpPr>
        <p:spPr bwMode="auto">
          <a:xfrm>
            <a:off x="5624515" y="23269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4" name="Line 306">
            <a:extLst>
              <a:ext uri="{FF2B5EF4-FFF2-40B4-BE49-F238E27FC236}">
                <a16:creationId xmlns:a16="http://schemas.microsoft.com/office/drawing/2014/main" id="{C9531971-A572-4F3B-AB4A-9A97BB392C2F}"/>
              </a:ext>
            </a:extLst>
          </p:cNvPr>
          <p:cNvSpPr>
            <a:spLocks noChangeShapeType="1"/>
          </p:cNvSpPr>
          <p:nvPr/>
        </p:nvSpPr>
        <p:spPr bwMode="auto">
          <a:xfrm>
            <a:off x="5586413" y="23142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5" name="Line 307">
            <a:extLst>
              <a:ext uri="{FF2B5EF4-FFF2-40B4-BE49-F238E27FC236}">
                <a16:creationId xmlns:a16="http://schemas.microsoft.com/office/drawing/2014/main" id="{B461BB1F-5011-471D-8692-1AB684688931}"/>
              </a:ext>
            </a:extLst>
          </p:cNvPr>
          <p:cNvSpPr>
            <a:spLocks noChangeShapeType="1"/>
          </p:cNvSpPr>
          <p:nvPr/>
        </p:nvSpPr>
        <p:spPr bwMode="auto">
          <a:xfrm>
            <a:off x="5573713" y="22888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6" name="Line 308">
            <a:extLst>
              <a:ext uri="{FF2B5EF4-FFF2-40B4-BE49-F238E27FC236}">
                <a16:creationId xmlns:a16="http://schemas.microsoft.com/office/drawing/2014/main" id="{9ED47B20-3758-40F7-8AF1-205A4AADD6EC}"/>
              </a:ext>
            </a:extLst>
          </p:cNvPr>
          <p:cNvSpPr>
            <a:spLocks noChangeShapeType="1"/>
          </p:cNvSpPr>
          <p:nvPr/>
        </p:nvSpPr>
        <p:spPr bwMode="auto">
          <a:xfrm>
            <a:off x="5586415" y="23015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7" name="Line 309">
            <a:extLst>
              <a:ext uri="{FF2B5EF4-FFF2-40B4-BE49-F238E27FC236}">
                <a16:creationId xmlns:a16="http://schemas.microsoft.com/office/drawing/2014/main" id="{1A6E232D-0051-4507-AF9F-3A18BAE1F7EB}"/>
              </a:ext>
            </a:extLst>
          </p:cNvPr>
          <p:cNvSpPr>
            <a:spLocks noChangeShapeType="1"/>
          </p:cNvSpPr>
          <p:nvPr/>
        </p:nvSpPr>
        <p:spPr bwMode="auto">
          <a:xfrm>
            <a:off x="5548314" y="23269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8" name="Line 310">
            <a:extLst>
              <a:ext uri="{FF2B5EF4-FFF2-40B4-BE49-F238E27FC236}">
                <a16:creationId xmlns:a16="http://schemas.microsoft.com/office/drawing/2014/main" id="{7DADB941-5AC6-4F51-97EE-5472E4DA3287}"/>
              </a:ext>
            </a:extLst>
          </p:cNvPr>
          <p:cNvSpPr>
            <a:spLocks noChangeShapeType="1"/>
          </p:cNvSpPr>
          <p:nvPr/>
        </p:nvSpPr>
        <p:spPr bwMode="auto">
          <a:xfrm>
            <a:off x="5535615" y="2314202"/>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39" name="Line 311">
            <a:extLst>
              <a:ext uri="{FF2B5EF4-FFF2-40B4-BE49-F238E27FC236}">
                <a16:creationId xmlns:a16="http://schemas.microsoft.com/office/drawing/2014/main" id="{4FA595DB-DA4D-475F-95F0-BF9FD56457A7}"/>
              </a:ext>
            </a:extLst>
          </p:cNvPr>
          <p:cNvSpPr>
            <a:spLocks noChangeShapeType="1"/>
          </p:cNvSpPr>
          <p:nvPr/>
        </p:nvSpPr>
        <p:spPr bwMode="auto">
          <a:xfrm>
            <a:off x="5561013" y="2263403"/>
            <a:ext cx="0" cy="571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0" name="Line 312">
            <a:extLst>
              <a:ext uri="{FF2B5EF4-FFF2-40B4-BE49-F238E27FC236}">
                <a16:creationId xmlns:a16="http://schemas.microsoft.com/office/drawing/2014/main" id="{1B7BDA38-F09A-4CC6-A43C-71E4EEE400DC}"/>
              </a:ext>
            </a:extLst>
          </p:cNvPr>
          <p:cNvSpPr>
            <a:spLocks noChangeShapeType="1"/>
          </p:cNvSpPr>
          <p:nvPr/>
        </p:nvSpPr>
        <p:spPr bwMode="auto">
          <a:xfrm>
            <a:off x="5503863" y="225705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1" name="Line 313">
            <a:extLst>
              <a:ext uri="{FF2B5EF4-FFF2-40B4-BE49-F238E27FC236}">
                <a16:creationId xmlns:a16="http://schemas.microsoft.com/office/drawing/2014/main" id="{188EE3CE-20BB-45AC-85AB-F291E619FB47}"/>
              </a:ext>
            </a:extLst>
          </p:cNvPr>
          <p:cNvSpPr>
            <a:spLocks noChangeShapeType="1"/>
          </p:cNvSpPr>
          <p:nvPr/>
        </p:nvSpPr>
        <p:spPr bwMode="auto">
          <a:xfrm>
            <a:off x="5434013" y="2263407"/>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2" name="Line 314">
            <a:extLst>
              <a:ext uri="{FF2B5EF4-FFF2-40B4-BE49-F238E27FC236}">
                <a16:creationId xmlns:a16="http://schemas.microsoft.com/office/drawing/2014/main" id="{A3DB2ADC-3AD9-4D51-A119-5EFD51CA5703}"/>
              </a:ext>
            </a:extLst>
          </p:cNvPr>
          <p:cNvSpPr>
            <a:spLocks noChangeShapeType="1"/>
          </p:cNvSpPr>
          <p:nvPr/>
        </p:nvSpPr>
        <p:spPr bwMode="auto">
          <a:xfrm>
            <a:off x="5408613" y="22634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3" name="Line 315">
            <a:extLst>
              <a:ext uri="{FF2B5EF4-FFF2-40B4-BE49-F238E27FC236}">
                <a16:creationId xmlns:a16="http://schemas.microsoft.com/office/drawing/2014/main" id="{E8FEC834-65F4-4759-B7FE-A7399CC99478}"/>
              </a:ext>
            </a:extLst>
          </p:cNvPr>
          <p:cNvSpPr>
            <a:spLocks noChangeShapeType="1"/>
          </p:cNvSpPr>
          <p:nvPr/>
        </p:nvSpPr>
        <p:spPr bwMode="auto">
          <a:xfrm>
            <a:off x="5383213" y="2263406"/>
            <a:ext cx="0" cy="50800"/>
          </a:xfrm>
          <a:prstGeom prst="line">
            <a:avLst/>
          </a:prstGeom>
          <a:noFill/>
          <a:ln w="254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4" name="Line 316">
            <a:extLst>
              <a:ext uri="{FF2B5EF4-FFF2-40B4-BE49-F238E27FC236}">
                <a16:creationId xmlns:a16="http://schemas.microsoft.com/office/drawing/2014/main" id="{7795D735-3B19-45B6-9670-2A699EDFD718}"/>
              </a:ext>
            </a:extLst>
          </p:cNvPr>
          <p:cNvSpPr>
            <a:spLocks noChangeShapeType="1"/>
          </p:cNvSpPr>
          <p:nvPr/>
        </p:nvSpPr>
        <p:spPr bwMode="auto">
          <a:xfrm>
            <a:off x="5364163" y="225705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5" name="Line 317">
            <a:extLst>
              <a:ext uri="{FF2B5EF4-FFF2-40B4-BE49-F238E27FC236}">
                <a16:creationId xmlns:a16="http://schemas.microsoft.com/office/drawing/2014/main" id="{CF612FC6-7B3B-43D2-97C1-2260548AAF06}"/>
              </a:ext>
            </a:extLst>
          </p:cNvPr>
          <p:cNvSpPr>
            <a:spLocks noChangeShapeType="1"/>
          </p:cNvSpPr>
          <p:nvPr/>
        </p:nvSpPr>
        <p:spPr bwMode="auto">
          <a:xfrm>
            <a:off x="5345113" y="2263407"/>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6" name="Line 318">
            <a:extLst>
              <a:ext uri="{FF2B5EF4-FFF2-40B4-BE49-F238E27FC236}">
                <a16:creationId xmlns:a16="http://schemas.microsoft.com/office/drawing/2014/main" id="{9A28B611-E386-4CE2-9DED-477819276657}"/>
              </a:ext>
            </a:extLst>
          </p:cNvPr>
          <p:cNvSpPr>
            <a:spLocks noChangeShapeType="1"/>
          </p:cNvSpPr>
          <p:nvPr/>
        </p:nvSpPr>
        <p:spPr bwMode="auto">
          <a:xfrm>
            <a:off x="5205413" y="22507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7" name="Line 319">
            <a:extLst>
              <a:ext uri="{FF2B5EF4-FFF2-40B4-BE49-F238E27FC236}">
                <a16:creationId xmlns:a16="http://schemas.microsoft.com/office/drawing/2014/main" id="{3A337860-E36F-4749-939B-8575AD3B1ECD}"/>
              </a:ext>
            </a:extLst>
          </p:cNvPr>
          <p:cNvSpPr>
            <a:spLocks noChangeShapeType="1"/>
          </p:cNvSpPr>
          <p:nvPr/>
        </p:nvSpPr>
        <p:spPr bwMode="auto">
          <a:xfrm>
            <a:off x="5008563" y="223165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8" name="Line 320">
            <a:extLst>
              <a:ext uri="{FF2B5EF4-FFF2-40B4-BE49-F238E27FC236}">
                <a16:creationId xmlns:a16="http://schemas.microsoft.com/office/drawing/2014/main" id="{6A395559-DF9E-4D50-AE67-7675D1301B39}"/>
              </a:ext>
            </a:extLst>
          </p:cNvPr>
          <p:cNvSpPr>
            <a:spLocks noChangeShapeType="1"/>
          </p:cNvSpPr>
          <p:nvPr/>
        </p:nvSpPr>
        <p:spPr bwMode="auto">
          <a:xfrm>
            <a:off x="5002213" y="2238006"/>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49" name="Line 321">
            <a:extLst>
              <a:ext uri="{FF2B5EF4-FFF2-40B4-BE49-F238E27FC236}">
                <a16:creationId xmlns:a16="http://schemas.microsoft.com/office/drawing/2014/main" id="{33593975-F271-4452-BB80-E0C36A04DAFF}"/>
              </a:ext>
            </a:extLst>
          </p:cNvPr>
          <p:cNvSpPr>
            <a:spLocks noChangeShapeType="1"/>
          </p:cNvSpPr>
          <p:nvPr/>
        </p:nvSpPr>
        <p:spPr bwMode="auto">
          <a:xfrm flipH="1">
            <a:off x="5002213" y="2238002"/>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0" name="Line 322">
            <a:extLst>
              <a:ext uri="{FF2B5EF4-FFF2-40B4-BE49-F238E27FC236}">
                <a16:creationId xmlns:a16="http://schemas.microsoft.com/office/drawing/2014/main" id="{B03166F1-BB80-43F4-BEA4-2A57FFC2496F}"/>
              </a:ext>
            </a:extLst>
          </p:cNvPr>
          <p:cNvSpPr>
            <a:spLocks noChangeShapeType="1"/>
          </p:cNvSpPr>
          <p:nvPr/>
        </p:nvSpPr>
        <p:spPr bwMode="auto">
          <a:xfrm>
            <a:off x="4938715" y="2238002"/>
            <a:ext cx="635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1" name="Line 323">
            <a:extLst>
              <a:ext uri="{FF2B5EF4-FFF2-40B4-BE49-F238E27FC236}">
                <a16:creationId xmlns:a16="http://schemas.microsoft.com/office/drawing/2014/main" id="{988ED90B-55EA-48BF-AC95-91730AF5884A}"/>
              </a:ext>
            </a:extLst>
          </p:cNvPr>
          <p:cNvSpPr>
            <a:spLocks noChangeShapeType="1"/>
          </p:cNvSpPr>
          <p:nvPr/>
        </p:nvSpPr>
        <p:spPr bwMode="auto">
          <a:xfrm>
            <a:off x="4951413" y="22507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2" name="Line 324">
            <a:extLst>
              <a:ext uri="{FF2B5EF4-FFF2-40B4-BE49-F238E27FC236}">
                <a16:creationId xmlns:a16="http://schemas.microsoft.com/office/drawing/2014/main" id="{10B5C0CE-905D-4A24-9160-ECC41A2C662B}"/>
              </a:ext>
            </a:extLst>
          </p:cNvPr>
          <p:cNvSpPr>
            <a:spLocks noChangeShapeType="1"/>
          </p:cNvSpPr>
          <p:nvPr/>
        </p:nvSpPr>
        <p:spPr bwMode="auto">
          <a:xfrm>
            <a:off x="4964113" y="22634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3" name="Line 325">
            <a:extLst>
              <a:ext uri="{FF2B5EF4-FFF2-40B4-BE49-F238E27FC236}">
                <a16:creationId xmlns:a16="http://schemas.microsoft.com/office/drawing/2014/main" id="{3635D6A7-1E49-4CAA-9080-5DB702B84DCF}"/>
              </a:ext>
            </a:extLst>
          </p:cNvPr>
          <p:cNvSpPr>
            <a:spLocks noChangeShapeType="1"/>
          </p:cNvSpPr>
          <p:nvPr/>
        </p:nvSpPr>
        <p:spPr bwMode="auto">
          <a:xfrm>
            <a:off x="4989513" y="2276102"/>
            <a:ext cx="127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4" name="Line 326">
            <a:extLst>
              <a:ext uri="{FF2B5EF4-FFF2-40B4-BE49-F238E27FC236}">
                <a16:creationId xmlns:a16="http://schemas.microsoft.com/office/drawing/2014/main" id="{D7F59D19-69FE-42E8-AB86-83EE362D89F3}"/>
              </a:ext>
            </a:extLst>
          </p:cNvPr>
          <p:cNvSpPr>
            <a:spLocks noChangeShapeType="1"/>
          </p:cNvSpPr>
          <p:nvPr/>
        </p:nvSpPr>
        <p:spPr bwMode="auto">
          <a:xfrm flipH="1">
            <a:off x="4976813" y="22126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5" name="Line 327">
            <a:extLst>
              <a:ext uri="{FF2B5EF4-FFF2-40B4-BE49-F238E27FC236}">
                <a16:creationId xmlns:a16="http://schemas.microsoft.com/office/drawing/2014/main" id="{E5280ADE-AF0D-4179-B37F-81F6512F21A9}"/>
              </a:ext>
            </a:extLst>
          </p:cNvPr>
          <p:cNvSpPr>
            <a:spLocks noChangeShapeType="1"/>
          </p:cNvSpPr>
          <p:nvPr/>
        </p:nvSpPr>
        <p:spPr bwMode="auto">
          <a:xfrm flipH="1">
            <a:off x="4976813" y="22253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6" name="Line 328">
            <a:extLst>
              <a:ext uri="{FF2B5EF4-FFF2-40B4-BE49-F238E27FC236}">
                <a16:creationId xmlns:a16="http://schemas.microsoft.com/office/drawing/2014/main" id="{95F6FAB7-7D1C-4F0B-9EE1-D7CD6D4B5028}"/>
              </a:ext>
            </a:extLst>
          </p:cNvPr>
          <p:cNvSpPr>
            <a:spLocks noChangeShapeType="1"/>
          </p:cNvSpPr>
          <p:nvPr/>
        </p:nvSpPr>
        <p:spPr bwMode="auto">
          <a:xfrm flipH="1">
            <a:off x="4951413" y="2199902"/>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7" name="Line 329">
            <a:extLst>
              <a:ext uri="{FF2B5EF4-FFF2-40B4-BE49-F238E27FC236}">
                <a16:creationId xmlns:a16="http://schemas.microsoft.com/office/drawing/2014/main" id="{E04750E7-4307-41D8-88ED-EBFC43D1B700}"/>
              </a:ext>
            </a:extLst>
          </p:cNvPr>
          <p:cNvSpPr>
            <a:spLocks noChangeShapeType="1"/>
          </p:cNvSpPr>
          <p:nvPr/>
        </p:nvSpPr>
        <p:spPr bwMode="auto">
          <a:xfrm>
            <a:off x="4938713" y="21745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8" name="Line 330">
            <a:extLst>
              <a:ext uri="{FF2B5EF4-FFF2-40B4-BE49-F238E27FC236}">
                <a16:creationId xmlns:a16="http://schemas.microsoft.com/office/drawing/2014/main" id="{CA79A8AE-DFD8-4F81-AA4B-80DD528F56CB}"/>
              </a:ext>
            </a:extLst>
          </p:cNvPr>
          <p:cNvSpPr>
            <a:spLocks noChangeShapeType="1"/>
          </p:cNvSpPr>
          <p:nvPr/>
        </p:nvSpPr>
        <p:spPr bwMode="auto">
          <a:xfrm>
            <a:off x="4926015" y="22253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59" name="Line 331">
            <a:extLst>
              <a:ext uri="{FF2B5EF4-FFF2-40B4-BE49-F238E27FC236}">
                <a16:creationId xmlns:a16="http://schemas.microsoft.com/office/drawing/2014/main" id="{29843B62-3C02-4776-9767-67B125944DD4}"/>
              </a:ext>
            </a:extLst>
          </p:cNvPr>
          <p:cNvSpPr>
            <a:spLocks noChangeShapeType="1"/>
          </p:cNvSpPr>
          <p:nvPr/>
        </p:nvSpPr>
        <p:spPr bwMode="auto">
          <a:xfrm flipH="1">
            <a:off x="4926015" y="21872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0" name="Line 332">
            <a:extLst>
              <a:ext uri="{FF2B5EF4-FFF2-40B4-BE49-F238E27FC236}">
                <a16:creationId xmlns:a16="http://schemas.microsoft.com/office/drawing/2014/main" id="{E796088A-B2F8-485A-A35A-01AAF5D3E3F4}"/>
              </a:ext>
            </a:extLst>
          </p:cNvPr>
          <p:cNvSpPr>
            <a:spLocks noChangeShapeType="1"/>
          </p:cNvSpPr>
          <p:nvPr/>
        </p:nvSpPr>
        <p:spPr bwMode="auto">
          <a:xfrm>
            <a:off x="4951413" y="2174503"/>
            <a:ext cx="0" cy="571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1" name="Line 333">
            <a:extLst>
              <a:ext uri="{FF2B5EF4-FFF2-40B4-BE49-F238E27FC236}">
                <a16:creationId xmlns:a16="http://schemas.microsoft.com/office/drawing/2014/main" id="{FA890772-34A6-429F-A3EB-9A2AA7AA6D45}"/>
              </a:ext>
            </a:extLst>
          </p:cNvPr>
          <p:cNvSpPr>
            <a:spLocks noChangeShapeType="1"/>
          </p:cNvSpPr>
          <p:nvPr/>
        </p:nvSpPr>
        <p:spPr bwMode="auto">
          <a:xfrm>
            <a:off x="4919663" y="216815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2" name="Line 334">
            <a:extLst>
              <a:ext uri="{FF2B5EF4-FFF2-40B4-BE49-F238E27FC236}">
                <a16:creationId xmlns:a16="http://schemas.microsoft.com/office/drawing/2014/main" id="{3649DF56-9E38-4080-9F02-20505F9E7A26}"/>
              </a:ext>
            </a:extLst>
          </p:cNvPr>
          <p:cNvSpPr>
            <a:spLocks noChangeShapeType="1"/>
          </p:cNvSpPr>
          <p:nvPr/>
        </p:nvSpPr>
        <p:spPr bwMode="auto">
          <a:xfrm>
            <a:off x="4900613" y="21618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3" name="Line 335">
            <a:extLst>
              <a:ext uri="{FF2B5EF4-FFF2-40B4-BE49-F238E27FC236}">
                <a16:creationId xmlns:a16="http://schemas.microsoft.com/office/drawing/2014/main" id="{C852A418-5B90-41B9-B604-7C086B8AC209}"/>
              </a:ext>
            </a:extLst>
          </p:cNvPr>
          <p:cNvSpPr>
            <a:spLocks noChangeShapeType="1"/>
          </p:cNvSpPr>
          <p:nvPr/>
        </p:nvSpPr>
        <p:spPr bwMode="auto">
          <a:xfrm>
            <a:off x="4875213" y="2161802"/>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4" name="Line 336">
            <a:extLst>
              <a:ext uri="{FF2B5EF4-FFF2-40B4-BE49-F238E27FC236}">
                <a16:creationId xmlns:a16="http://schemas.microsoft.com/office/drawing/2014/main" id="{684E45CE-0B2A-40A0-8DB8-65E5AF3AF855}"/>
              </a:ext>
            </a:extLst>
          </p:cNvPr>
          <p:cNvSpPr>
            <a:spLocks noChangeShapeType="1"/>
          </p:cNvSpPr>
          <p:nvPr/>
        </p:nvSpPr>
        <p:spPr bwMode="auto">
          <a:xfrm flipV="1">
            <a:off x="4824413" y="21491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5" name="Line 337">
            <a:extLst>
              <a:ext uri="{FF2B5EF4-FFF2-40B4-BE49-F238E27FC236}">
                <a16:creationId xmlns:a16="http://schemas.microsoft.com/office/drawing/2014/main" id="{22FFB865-3EDA-47F0-BFD8-A9A31C438C3F}"/>
              </a:ext>
            </a:extLst>
          </p:cNvPr>
          <p:cNvSpPr>
            <a:spLocks noChangeShapeType="1"/>
          </p:cNvSpPr>
          <p:nvPr/>
        </p:nvSpPr>
        <p:spPr bwMode="auto">
          <a:xfrm flipV="1">
            <a:off x="4811713" y="21491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6" name="Line 338">
            <a:extLst>
              <a:ext uri="{FF2B5EF4-FFF2-40B4-BE49-F238E27FC236}">
                <a16:creationId xmlns:a16="http://schemas.microsoft.com/office/drawing/2014/main" id="{791724AF-0089-48B5-BBF8-A72CCB82EB2A}"/>
              </a:ext>
            </a:extLst>
          </p:cNvPr>
          <p:cNvSpPr>
            <a:spLocks noChangeShapeType="1"/>
          </p:cNvSpPr>
          <p:nvPr/>
        </p:nvSpPr>
        <p:spPr bwMode="auto">
          <a:xfrm flipV="1">
            <a:off x="4837113" y="2161806"/>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7" name="Line 339">
            <a:extLst>
              <a:ext uri="{FF2B5EF4-FFF2-40B4-BE49-F238E27FC236}">
                <a16:creationId xmlns:a16="http://schemas.microsoft.com/office/drawing/2014/main" id="{2B82F084-F317-4F80-8084-BE43793DB84B}"/>
              </a:ext>
            </a:extLst>
          </p:cNvPr>
          <p:cNvSpPr>
            <a:spLocks noChangeShapeType="1"/>
          </p:cNvSpPr>
          <p:nvPr/>
        </p:nvSpPr>
        <p:spPr bwMode="auto">
          <a:xfrm>
            <a:off x="4811713" y="2136407"/>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8" name="Line 340">
            <a:extLst>
              <a:ext uri="{FF2B5EF4-FFF2-40B4-BE49-F238E27FC236}">
                <a16:creationId xmlns:a16="http://schemas.microsoft.com/office/drawing/2014/main" id="{BCA37618-B981-4E2F-B38A-18A631EEAD7A}"/>
              </a:ext>
            </a:extLst>
          </p:cNvPr>
          <p:cNvSpPr>
            <a:spLocks noChangeShapeType="1"/>
          </p:cNvSpPr>
          <p:nvPr/>
        </p:nvSpPr>
        <p:spPr bwMode="auto">
          <a:xfrm>
            <a:off x="4799013" y="21237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69" name="Line 341">
            <a:extLst>
              <a:ext uri="{FF2B5EF4-FFF2-40B4-BE49-F238E27FC236}">
                <a16:creationId xmlns:a16="http://schemas.microsoft.com/office/drawing/2014/main" id="{5A0B23E6-3587-4EC9-A972-4F4DA2D1B7B1}"/>
              </a:ext>
            </a:extLst>
          </p:cNvPr>
          <p:cNvSpPr>
            <a:spLocks noChangeShapeType="1"/>
          </p:cNvSpPr>
          <p:nvPr/>
        </p:nvSpPr>
        <p:spPr bwMode="auto">
          <a:xfrm>
            <a:off x="4773613" y="2111007"/>
            <a:ext cx="0" cy="635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0" name="Line 342">
            <a:extLst>
              <a:ext uri="{FF2B5EF4-FFF2-40B4-BE49-F238E27FC236}">
                <a16:creationId xmlns:a16="http://schemas.microsoft.com/office/drawing/2014/main" id="{8C55FF76-BF74-4A3D-9082-69356AB1FE5F}"/>
              </a:ext>
            </a:extLst>
          </p:cNvPr>
          <p:cNvSpPr>
            <a:spLocks noChangeShapeType="1"/>
          </p:cNvSpPr>
          <p:nvPr/>
        </p:nvSpPr>
        <p:spPr bwMode="auto">
          <a:xfrm>
            <a:off x="4786313" y="2123706"/>
            <a:ext cx="0" cy="635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1" name="Line 343">
            <a:extLst>
              <a:ext uri="{FF2B5EF4-FFF2-40B4-BE49-F238E27FC236}">
                <a16:creationId xmlns:a16="http://schemas.microsoft.com/office/drawing/2014/main" id="{6ED4DB0F-F7C3-41DB-AB07-2B651DCDCD39}"/>
              </a:ext>
            </a:extLst>
          </p:cNvPr>
          <p:cNvSpPr>
            <a:spLocks noChangeShapeType="1"/>
          </p:cNvSpPr>
          <p:nvPr/>
        </p:nvSpPr>
        <p:spPr bwMode="auto">
          <a:xfrm>
            <a:off x="4760913" y="21110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2" name="Line 344">
            <a:extLst>
              <a:ext uri="{FF2B5EF4-FFF2-40B4-BE49-F238E27FC236}">
                <a16:creationId xmlns:a16="http://schemas.microsoft.com/office/drawing/2014/main" id="{FFC9B0AE-EA00-45C1-A493-F921A34C63D4}"/>
              </a:ext>
            </a:extLst>
          </p:cNvPr>
          <p:cNvSpPr>
            <a:spLocks noChangeShapeType="1"/>
          </p:cNvSpPr>
          <p:nvPr/>
        </p:nvSpPr>
        <p:spPr bwMode="auto">
          <a:xfrm>
            <a:off x="4748213" y="2098305"/>
            <a:ext cx="0" cy="635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3" name="Line 345">
            <a:extLst>
              <a:ext uri="{FF2B5EF4-FFF2-40B4-BE49-F238E27FC236}">
                <a16:creationId xmlns:a16="http://schemas.microsoft.com/office/drawing/2014/main" id="{8100BF09-C746-4965-878B-75B1E602FBB2}"/>
              </a:ext>
            </a:extLst>
          </p:cNvPr>
          <p:cNvSpPr>
            <a:spLocks noChangeShapeType="1"/>
          </p:cNvSpPr>
          <p:nvPr/>
        </p:nvSpPr>
        <p:spPr bwMode="auto">
          <a:xfrm>
            <a:off x="4735513" y="21110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4" name="Line 346">
            <a:extLst>
              <a:ext uri="{FF2B5EF4-FFF2-40B4-BE49-F238E27FC236}">
                <a16:creationId xmlns:a16="http://schemas.microsoft.com/office/drawing/2014/main" id="{1F78B757-7505-475A-8738-B3F69DCF27FC}"/>
              </a:ext>
            </a:extLst>
          </p:cNvPr>
          <p:cNvSpPr>
            <a:spLocks noChangeShapeType="1"/>
          </p:cNvSpPr>
          <p:nvPr/>
        </p:nvSpPr>
        <p:spPr bwMode="auto">
          <a:xfrm>
            <a:off x="4697413" y="20983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5" name="Line 347">
            <a:extLst>
              <a:ext uri="{FF2B5EF4-FFF2-40B4-BE49-F238E27FC236}">
                <a16:creationId xmlns:a16="http://schemas.microsoft.com/office/drawing/2014/main" id="{67C05882-29D3-4E0B-BE71-EBBD3FB9ABB8}"/>
              </a:ext>
            </a:extLst>
          </p:cNvPr>
          <p:cNvSpPr>
            <a:spLocks noChangeShapeType="1"/>
          </p:cNvSpPr>
          <p:nvPr/>
        </p:nvSpPr>
        <p:spPr bwMode="auto">
          <a:xfrm>
            <a:off x="4659313" y="20983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6" name="Line 348">
            <a:extLst>
              <a:ext uri="{FF2B5EF4-FFF2-40B4-BE49-F238E27FC236}">
                <a16:creationId xmlns:a16="http://schemas.microsoft.com/office/drawing/2014/main" id="{59C754D4-6181-41A2-B80D-880A39050334}"/>
              </a:ext>
            </a:extLst>
          </p:cNvPr>
          <p:cNvSpPr>
            <a:spLocks noChangeShapeType="1"/>
          </p:cNvSpPr>
          <p:nvPr/>
        </p:nvSpPr>
        <p:spPr bwMode="auto">
          <a:xfrm flipH="1">
            <a:off x="4621213" y="21110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7" name="Line 349">
            <a:extLst>
              <a:ext uri="{FF2B5EF4-FFF2-40B4-BE49-F238E27FC236}">
                <a16:creationId xmlns:a16="http://schemas.microsoft.com/office/drawing/2014/main" id="{9C33866D-A31E-48F1-AF46-A5B10FAFC3AD}"/>
              </a:ext>
            </a:extLst>
          </p:cNvPr>
          <p:cNvSpPr>
            <a:spLocks noChangeShapeType="1"/>
          </p:cNvSpPr>
          <p:nvPr/>
        </p:nvSpPr>
        <p:spPr bwMode="auto">
          <a:xfrm>
            <a:off x="4608513" y="20856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8" name="Line 350">
            <a:extLst>
              <a:ext uri="{FF2B5EF4-FFF2-40B4-BE49-F238E27FC236}">
                <a16:creationId xmlns:a16="http://schemas.microsoft.com/office/drawing/2014/main" id="{77E6DEA7-B130-4933-ADCB-C2E7940036DD}"/>
              </a:ext>
            </a:extLst>
          </p:cNvPr>
          <p:cNvSpPr>
            <a:spLocks noChangeShapeType="1"/>
          </p:cNvSpPr>
          <p:nvPr/>
        </p:nvSpPr>
        <p:spPr bwMode="auto">
          <a:xfrm flipV="1">
            <a:off x="4583113" y="20729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79" name="Line 351">
            <a:extLst>
              <a:ext uri="{FF2B5EF4-FFF2-40B4-BE49-F238E27FC236}">
                <a16:creationId xmlns:a16="http://schemas.microsoft.com/office/drawing/2014/main" id="{A333D5C9-6C4D-4A0D-AE6B-96AF98D0F232}"/>
              </a:ext>
            </a:extLst>
          </p:cNvPr>
          <p:cNvSpPr>
            <a:spLocks noChangeShapeType="1"/>
          </p:cNvSpPr>
          <p:nvPr/>
        </p:nvSpPr>
        <p:spPr bwMode="auto">
          <a:xfrm>
            <a:off x="4595813" y="2085605"/>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0" name="Line 352">
            <a:extLst>
              <a:ext uri="{FF2B5EF4-FFF2-40B4-BE49-F238E27FC236}">
                <a16:creationId xmlns:a16="http://schemas.microsoft.com/office/drawing/2014/main" id="{44B63D54-1739-448C-A55C-747CC448BA14}"/>
              </a:ext>
            </a:extLst>
          </p:cNvPr>
          <p:cNvSpPr>
            <a:spLocks noChangeShapeType="1"/>
          </p:cNvSpPr>
          <p:nvPr/>
        </p:nvSpPr>
        <p:spPr bwMode="auto">
          <a:xfrm>
            <a:off x="4621213" y="2098305"/>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1" name="Line 353">
            <a:extLst>
              <a:ext uri="{FF2B5EF4-FFF2-40B4-BE49-F238E27FC236}">
                <a16:creationId xmlns:a16="http://schemas.microsoft.com/office/drawing/2014/main" id="{55B461F3-C614-41F1-A09C-7BEAA7E18068}"/>
              </a:ext>
            </a:extLst>
          </p:cNvPr>
          <p:cNvSpPr>
            <a:spLocks noChangeShapeType="1"/>
          </p:cNvSpPr>
          <p:nvPr/>
        </p:nvSpPr>
        <p:spPr bwMode="auto">
          <a:xfrm flipH="1">
            <a:off x="4557713" y="20856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2" name="Line 354">
            <a:extLst>
              <a:ext uri="{FF2B5EF4-FFF2-40B4-BE49-F238E27FC236}">
                <a16:creationId xmlns:a16="http://schemas.microsoft.com/office/drawing/2014/main" id="{16A65404-FE2B-49C0-9A85-9B054F696E71}"/>
              </a:ext>
            </a:extLst>
          </p:cNvPr>
          <p:cNvSpPr>
            <a:spLocks noChangeShapeType="1"/>
          </p:cNvSpPr>
          <p:nvPr/>
        </p:nvSpPr>
        <p:spPr bwMode="auto">
          <a:xfrm flipH="1">
            <a:off x="4545013" y="20475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3" name="Line 355">
            <a:extLst>
              <a:ext uri="{FF2B5EF4-FFF2-40B4-BE49-F238E27FC236}">
                <a16:creationId xmlns:a16="http://schemas.microsoft.com/office/drawing/2014/main" id="{418F6E31-FCD8-4DED-ADAC-1A363789D43B}"/>
              </a:ext>
            </a:extLst>
          </p:cNvPr>
          <p:cNvSpPr>
            <a:spLocks noChangeShapeType="1"/>
          </p:cNvSpPr>
          <p:nvPr/>
        </p:nvSpPr>
        <p:spPr bwMode="auto">
          <a:xfrm>
            <a:off x="4557713" y="2060205"/>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4" name="Line 356">
            <a:extLst>
              <a:ext uri="{FF2B5EF4-FFF2-40B4-BE49-F238E27FC236}">
                <a16:creationId xmlns:a16="http://schemas.microsoft.com/office/drawing/2014/main" id="{4DA2E709-B746-46C3-9F2D-312F17BFFBC2}"/>
              </a:ext>
            </a:extLst>
          </p:cNvPr>
          <p:cNvSpPr>
            <a:spLocks noChangeShapeType="1"/>
          </p:cNvSpPr>
          <p:nvPr/>
        </p:nvSpPr>
        <p:spPr bwMode="auto">
          <a:xfrm>
            <a:off x="4570413" y="2072906"/>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5" name="Line 357">
            <a:extLst>
              <a:ext uri="{FF2B5EF4-FFF2-40B4-BE49-F238E27FC236}">
                <a16:creationId xmlns:a16="http://schemas.microsoft.com/office/drawing/2014/main" id="{101888FC-B594-4C3C-861B-FB230CBC07CB}"/>
              </a:ext>
            </a:extLst>
          </p:cNvPr>
          <p:cNvSpPr>
            <a:spLocks noChangeShapeType="1"/>
          </p:cNvSpPr>
          <p:nvPr/>
        </p:nvSpPr>
        <p:spPr bwMode="auto">
          <a:xfrm>
            <a:off x="4506915" y="2085602"/>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6" name="Line 358">
            <a:extLst>
              <a:ext uri="{FF2B5EF4-FFF2-40B4-BE49-F238E27FC236}">
                <a16:creationId xmlns:a16="http://schemas.microsoft.com/office/drawing/2014/main" id="{1BC344C7-2101-4858-A24E-942F7743EEAC}"/>
              </a:ext>
            </a:extLst>
          </p:cNvPr>
          <p:cNvSpPr>
            <a:spLocks noChangeShapeType="1"/>
          </p:cNvSpPr>
          <p:nvPr/>
        </p:nvSpPr>
        <p:spPr bwMode="auto">
          <a:xfrm>
            <a:off x="4532313" y="20983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7" name="Line 359">
            <a:extLst>
              <a:ext uri="{FF2B5EF4-FFF2-40B4-BE49-F238E27FC236}">
                <a16:creationId xmlns:a16="http://schemas.microsoft.com/office/drawing/2014/main" id="{3911AD91-56C8-4F23-BE23-CEA290610E65}"/>
              </a:ext>
            </a:extLst>
          </p:cNvPr>
          <p:cNvSpPr>
            <a:spLocks noChangeShapeType="1"/>
          </p:cNvSpPr>
          <p:nvPr/>
        </p:nvSpPr>
        <p:spPr bwMode="auto">
          <a:xfrm flipV="1">
            <a:off x="4570413" y="2085602"/>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8" name="Line 360">
            <a:extLst>
              <a:ext uri="{FF2B5EF4-FFF2-40B4-BE49-F238E27FC236}">
                <a16:creationId xmlns:a16="http://schemas.microsoft.com/office/drawing/2014/main" id="{23C16902-0284-4F44-99EC-308C864ADCF7}"/>
              </a:ext>
            </a:extLst>
          </p:cNvPr>
          <p:cNvSpPr>
            <a:spLocks noChangeShapeType="1"/>
          </p:cNvSpPr>
          <p:nvPr/>
        </p:nvSpPr>
        <p:spPr bwMode="auto">
          <a:xfrm flipV="1">
            <a:off x="4557713" y="2098307"/>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89" name="Line 361">
            <a:extLst>
              <a:ext uri="{FF2B5EF4-FFF2-40B4-BE49-F238E27FC236}">
                <a16:creationId xmlns:a16="http://schemas.microsoft.com/office/drawing/2014/main" id="{05EC73E8-DB01-4E56-B042-819BBCC610A1}"/>
              </a:ext>
            </a:extLst>
          </p:cNvPr>
          <p:cNvSpPr>
            <a:spLocks noChangeShapeType="1"/>
          </p:cNvSpPr>
          <p:nvPr/>
        </p:nvSpPr>
        <p:spPr bwMode="auto">
          <a:xfrm>
            <a:off x="4532313" y="20348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0" name="Line 362">
            <a:extLst>
              <a:ext uri="{FF2B5EF4-FFF2-40B4-BE49-F238E27FC236}">
                <a16:creationId xmlns:a16="http://schemas.microsoft.com/office/drawing/2014/main" id="{13FF12A1-BF67-49A7-950E-280ADF935B38}"/>
              </a:ext>
            </a:extLst>
          </p:cNvPr>
          <p:cNvSpPr>
            <a:spLocks noChangeShapeType="1"/>
          </p:cNvSpPr>
          <p:nvPr/>
        </p:nvSpPr>
        <p:spPr bwMode="auto">
          <a:xfrm>
            <a:off x="4545013" y="20221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1" name="Line 363">
            <a:extLst>
              <a:ext uri="{FF2B5EF4-FFF2-40B4-BE49-F238E27FC236}">
                <a16:creationId xmlns:a16="http://schemas.microsoft.com/office/drawing/2014/main" id="{4DC7D54A-959B-4824-8D65-35EBDDAF7638}"/>
              </a:ext>
            </a:extLst>
          </p:cNvPr>
          <p:cNvSpPr>
            <a:spLocks noChangeShapeType="1"/>
          </p:cNvSpPr>
          <p:nvPr/>
        </p:nvSpPr>
        <p:spPr bwMode="auto">
          <a:xfrm>
            <a:off x="4519613" y="20094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2" name="Line 364">
            <a:extLst>
              <a:ext uri="{FF2B5EF4-FFF2-40B4-BE49-F238E27FC236}">
                <a16:creationId xmlns:a16="http://schemas.microsoft.com/office/drawing/2014/main" id="{1EDE8DB4-6791-4FE2-8288-4423B090B2D4}"/>
              </a:ext>
            </a:extLst>
          </p:cNvPr>
          <p:cNvSpPr>
            <a:spLocks noChangeShapeType="1"/>
          </p:cNvSpPr>
          <p:nvPr/>
        </p:nvSpPr>
        <p:spPr bwMode="auto">
          <a:xfrm>
            <a:off x="4506913" y="2047502"/>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3" name="Line 365">
            <a:extLst>
              <a:ext uri="{FF2B5EF4-FFF2-40B4-BE49-F238E27FC236}">
                <a16:creationId xmlns:a16="http://schemas.microsoft.com/office/drawing/2014/main" id="{8BB336B9-31CD-4736-9176-2C5CEDF6F1B3}"/>
              </a:ext>
            </a:extLst>
          </p:cNvPr>
          <p:cNvSpPr>
            <a:spLocks noChangeShapeType="1"/>
          </p:cNvSpPr>
          <p:nvPr/>
        </p:nvSpPr>
        <p:spPr bwMode="auto">
          <a:xfrm>
            <a:off x="4481513" y="20094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4" name="Line 366">
            <a:extLst>
              <a:ext uri="{FF2B5EF4-FFF2-40B4-BE49-F238E27FC236}">
                <a16:creationId xmlns:a16="http://schemas.microsoft.com/office/drawing/2014/main" id="{8BC31CDD-17E0-4764-BC25-E3B99DFB1C2F}"/>
              </a:ext>
            </a:extLst>
          </p:cNvPr>
          <p:cNvSpPr>
            <a:spLocks noChangeShapeType="1"/>
          </p:cNvSpPr>
          <p:nvPr/>
        </p:nvSpPr>
        <p:spPr bwMode="auto">
          <a:xfrm>
            <a:off x="4443413" y="2047502"/>
            <a:ext cx="762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5" name="Line 367">
            <a:extLst>
              <a:ext uri="{FF2B5EF4-FFF2-40B4-BE49-F238E27FC236}">
                <a16:creationId xmlns:a16="http://schemas.microsoft.com/office/drawing/2014/main" id="{29E04A11-9306-4986-B985-85EA734A6DB7}"/>
              </a:ext>
            </a:extLst>
          </p:cNvPr>
          <p:cNvSpPr>
            <a:spLocks noChangeShapeType="1"/>
          </p:cNvSpPr>
          <p:nvPr/>
        </p:nvSpPr>
        <p:spPr bwMode="auto">
          <a:xfrm flipH="1">
            <a:off x="4379913" y="2022103"/>
            <a:ext cx="889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6" name="Line 368">
            <a:extLst>
              <a:ext uri="{FF2B5EF4-FFF2-40B4-BE49-F238E27FC236}">
                <a16:creationId xmlns:a16="http://schemas.microsoft.com/office/drawing/2014/main" id="{BAD079CC-CB1C-4963-9B78-D56F65564606}"/>
              </a:ext>
            </a:extLst>
          </p:cNvPr>
          <p:cNvSpPr>
            <a:spLocks noChangeShapeType="1"/>
          </p:cNvSpPr>
          <p:nvPr/>
        </p:nvSpPr>
        <p:spPr bwMode="auto">
          <a:xfrm>
            <a:off x="4418013" y="20094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7" name="Line 369">
            <a:extLst>
              <a:ext uri="{FF2B5EF4-FFF2-40B4-BE49-F238E27FC236}">
                <a16:creationId xmlns:a16="http://schemas.microsoft.com/office/drawing/2014/main" id="{4B8A5BEB-8054-481C-AA64-63DA23BF4C2B}"/>
              </a:ext>
            </a:extLst>
          </p:cNvPr>
          <p:cNvSpPr>
            <a:spLocks noChangeShapeType="1"/>
          </p:cNvSpPr>
          <p:nvPr/>
        </p:nvSpPr>
        <p:spPr bwMode="auto">
          <a:xfrm flipV="1">
            <a:off x="4392613" y="1996707"/>
            <a:ext cx="0" cy="635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8" name="Line 370">
            <a:extLst>
              <a:ext uri="{FF2B5EF4-FFF2-40B4-BE49-F238E27FC236}">
                <a16:creationId xmlns:a16="http://schemas.microsoft.com/office/drawing/2014/main" id="{463B867B-F4D3-4D67-9C8A-59745A0A6284}"/>
              </a:ext>
            </a:extLst>
          </p:cNvPr>
          <p:cNvSpPr>
            <a:spLocks noChangeShapeType="1"/>
          </p:cNvSpPr>
          <p:nvPr/>
        </p:nvSpPr>
        <p:spPr bwMode="auto">
          <a:xfrm flipH="1">
            <a:off x="4367213" y="20094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299" name="Line 371">
            <a:extLst>
              <a:ext uri="{FF2B5EF4-FFF2-40B4-BE49-F238E27FC236}">
                <a16:creationId xmlns:a16="http://schemas.microsoft.com/office/drawing/2014/main" id="{2AFC7CB8-BC02-43AE-B8B9-B2FF59960EBC}"/>
              </a:ext>
            </a:extLst>
          </p:cNvPr>
          <p:cNvSpPr>
            <a:spLocks noChangeShapeType="1"/>
          </p:cNvSpPr>
          <p:nvPr/>
        </p:nvSpPr>
        <p:spPr bwMode="auto">
          <a:xfrm flipH="1">
            <a:off x="4341813" y="19967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0" name="Line 372">
            <a:extLst>
              <a:ext uri="{FF2B5EF4-FFF2-40B4-BE49-F238E27FC236}">
                <a16:creationId xmlns:a16="http://schemas.microsoft.com/office/drawing/2014/main" id="{87ACDE05-65B5-4347-9698-6B3B25F2201C}"/>
              </a:ext>
            </a:extLst>
          </p:cNvPr>
          <p:cNvSpPr>
            <a:spLocks noChangeShapeType="1"/>
          </p:cNvSpPr>
          <p:nvPr/>
        </p:nvSpPr>
        <p:spPr bwMode="auto">
          <a:xfrm flipH="1">
            <a:off x="4265614" y="1984003"/>
            <a:ext cx="1016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1" name="Line 373">
            <a:extLst>
              <a:ext uri="{FF2B5EF4-FFF2-40B4-BE49-F238E27FC236}">
                <a16:creationId xmlns:a16="http://schemas.microsoft.com/office/drawing/2014/main" id="{49DBCCD4-771E-43A9-8C9B-5A1190543A9E}"/>
              </a:ext>
            </a:extLst>
          </p:cNvPr>
          <p:cNvSpPr>
            <a:spLocks noChangeShapeType="1"/>
          </p:cNvSpPr>
          <p:nvPr/>
        </p:nvSpPr>
        <p:spPr bwMode="auto">
          <a:xfrm>
            <a:off x="4341813" y="19713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2" name="Line 374">
            <a:extLst>
              <a:ext uri="{FF2B5EF4-FFF2-40B4-BE49-F238E27FC236}">
                <a16:creationId xmlns:a16="http://schemas.microsoft.com/office/drawing/2014/main" id="{3E49F087-85DB-473F-A672-158FDAE8AFA4}"/>
              </a:ext>
            </a:extLst>
          </p:cNvPr>
          <p:cNvSpPr>
            <a:spLocks noChangeShapeType="1"/>
          </p:cNvSpPr>
          <p:nvPr/>
        </p:nvSpPr>
        <p:spPr bwMode="auto">
          <a:xfrm flipV="1">
            <a:off x="4379913" y="19840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3" name="Line 375">
            <a:extLst>
              <a:ext uri="{FF2B5EF4-FFF2-40B4-BE49-F238E27FC236}">
                <a16:creationId xmlns:a16="http://schemas.microsoft.com/office/drawing/2014/main" id="{5AEA0A95-881D-4F95-8C97-03697DFE3806}"/>
              </a:ext>
            </a:extLst>
          </p:cNvPr>
          <p:cNvSpPr>
            <a:spLocks noChangeShapeType="1"/>
          </p:cNvSpPr>
          <p:nvPr/>
        </p:nvSpPr>
        <p:spPr bwMode="auto">
          <a:xfrm flipV="1">
            <a:off x="4360863" y="197765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4" name="Line 376">
            <a:extLst>
              <a:ext uri="{FF2B5EF4-FFF2-40B4-BE49-F238E27FC236}">
                <a16:creationId xmlns:a16="http://schemas.microsoft.com/office/drawing/2014/main" id="{714124C5-1311-4882-81F2-7F5528B1FF17}"/>
              </a:ext>
            </a:extLst>
          </p:cNvPr>
          <p:cNvSpPr>
            <a:spLocks noChangeShapeType="1"/>
          </p:cNvSpPr>
          <p:nvPr/>
        </p:nvSpPr>
        <p:spPr bwMode="auto">
          <a:xfrm flipV="1">
            <a:off x="4322763" y="197765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5" name="Line 377">
            <a:extLst>
              <a:ext uri="{FF2B5EF4-FFF2-40B4-BE49-F238E27FC236}">
                <a16:creationId xmlns:a16="http://schemas.microsoft.com/office/drawing/2014/main" id="{CB9917FA-ED8A-4B59-B273-A9AE4327C3FA}"/>
              </a:ext>
            </a:extLst>
          </p:cNvPr>
          <p:cNvSpPr>
            <a:spLocks noChangeShapeType="1"/>
          </p:cNvSpPr>
          <p:nvPr/>
        </p:nvSpPr>
        <p:spPr bwMode="auto">
          <a:xfrm>
            <a:off x="4246563" y="195225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6" name="Line 378">
            <a:extLst>
              <a:ext uri="{FF2B5EF4-FFF2-40B4-BE49-F238E27FC236}">
                <a16:creationId xmlns:a16="http://schemas.microsoft.com/office/drawing/2014/main" id="{CD9E479B-5016-49BC-B38E-64ACE50C9F53}"/>
              </a:ext>
            </a:extLst>
          </p:cNvPr>
          <p:cNvSpPr>
            <a:spLocks noChangeShapeType="1"/>
          </p:cNvSpPr>
          <p:nvPr/>
        </p:nvSpPr>
        <p:spPr bwMode="auto">
          <a:xfrm flipH="1">
            <a:off x="4214814" y="1971302"/>
            <a:ext cx="127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7" name="Line 379">
            <a:extLst>
              <a:ext uri="{FF2B5EF4-FFF2-40B4-BE49-F238E27FC236}">
                <a16:creationId xmlns:a16="http://schemas.microsoft.com/office/drawing/2014/main" id="{FE5615D5-F2F6-4650-8111-ADD61CDF55EE}"/>
              </a:ext>
            </a:extLst>
          </p:cNvPr>
          <p:cNvSpPr>
            <a:spLocks noChangeShapeType="1"/>
          </p:cNvSpPr>
          <p:nvPr/>
        </p:nvSpPr>
        <p:spPr bwMode="auto">
          <a:xfrm flipV="1">
            <a:off x="4189413" y="19459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8" name="Line 380">
            <a:extLst>
              <a:ext uri="{FF2B5EF4-FFF2-40B4-BE49-F238E27FC236}">
                <a16:creationId xmlns:a16="http://schemas.microsoft.com/office/drawing/2014/main" id="{8C4C8A16-3FCE-4411-8791-8953078602B7}"/>
              </a:ext>
            </a:extLst>
          </p:cNvPr>
          <p:cNvSpPr>
            <a:spLocks noChangeShapeType="1"/>
          </p:cNvSpPr>
          <p:nvPr/>
        </p:nvSpPr>
        <p:spPr bwMode="auto">
          <a:xfrm flipV="1">
            <a:off x="4202113" y="1971305"/>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09" name="Line 381">
            <a:extLst>
              <a:ext uri="{FF2B5EF4-FFF2-40B4-BE49-F238E27FC236}">
                <a16:creationId xmlns:a16="http://schemas.microsoft.com/office/drawing/2014/main" id="{3C70E0EF-9F87-40BB-B05C-BA7679AAA6A8}"/>
              </a:ext>
            </a:extLst>
          </p:cNvPr>
          <p:cNvSpPr>
            <a:spLocks noChangeShapeType="1"/>
          </p:cNvSpPr>
          <p:nvPr/>
        </p:nvSpPr>
        <p:spPr bwMode="auto">
          <a:xfrm flipV="1">
            <a:off x="4164013" y="19459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0" name="Line 382">
            <a:extLst>
              <a:ext uri="{FF2B5EF4-FFF2-40B4-BE49-F238E27FC236}">
                <a16:creationId xmlns:a16="http://schemas.microsoft.com/office/drawing/2014/main" id="{2D02B459-DDB3-4065-B2A0-EEE17EC268E9}"/>
              </a:ext>
            </a:extLst>
          </p:cNvPr>
          <p:cNvSpPr>
            <a:spLocks noChangeShapeType="1"/>
          </p:cNvSpPr>
          <p:nvPr/>
        </p:nvSpPr>
        <p:spPr bwMode="auto">
          <a:xfrm flipH="1">
            <a:off x="4138614" y="19459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1" name="Line 383">
            <a:extLst>
              <a:ext uri="{FF2B5EF4-FFF2-40B4-BE49-F238E27FC236}">
                <a16:creationId xmlns:a16="http://schemas.microsoft.com/office/drawing/2014/main" id="{4EED29AB-6D7D-4CDB-8A68-5FA0BAB00586}"/>
              </a:ext>
            </a:extLst>
          </p:cNvPr>
          <p:cNvSpPr>
            <a:spLocks noChangeShapeType="1"/>
          </p:cNvSpPr>
          <p:nvPr/>
        </p:nvSpPr>
        <p:spPr bwMode="auto">
          <a:xfrm>
            <a:off x="4113213" y="19459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2" name="Line 384">
            <a:extLst>
              <a:ext uri="{FF2B5EF4-FFF2-40B4-BE49-F238E27FC236}">
                <a16:creationId xmlns:a16="http://schemas.microsoft.com/office/drawing/2014/main" id="{DAD00F6B-98FD-413C-AC04-A28AFD2BD7FA}"/>
              </a:ext>
            </a:extLst>
          </p:cNvPr>
          <p:cNvSpPr>
            <a:spLocks noChangeShapeType="1"/>
          </p:cNvSpPr>
          <p:nvPr/>
        </p:nvSpPr>
        <p:spPr bwMode="auto">
          <a:xfrm>
            <a:off x="4113213" y="19586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3" name="Line 385">
            <a:extLst>
              <a:ext uri="{FF2B5EF4-FFF2-40B4-BE49-F238E27FC236}">
                <a16:creationId xmlns:a16="http://schemas.microsoft.com/office/drawing/2014/main" id="{71F563A9-9F67-4F32-A16B-8BE4E7A64FFF}"/>
              </a:ext>
            </a:extLst>
          </p:cNvPr>
          <p:cNvSpPr>
            <a:spLocks noChangeShapeType="1"/>
          </p:cNvSpPr>
          <p:nvPr/>
        </p:nvSpPr>
        <p:spPr bwMode="auto">
          <a:xfrm>
            <a:off x="4113213" y="1971302"/>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4" name="Line 386">
            <a:extLst>
              <a:ext uri="{FF2B5EF4-FFF2-40B4-BE49-F238E27FC236}">
                <a16:creationId xmlns:a16="http://schemas.microsoft.com/office/drawing/2014/main" id="{CEDFE942-5175-451F-B796-6F7679DBACB6}"/>
              </a:ext>
            </a:extLst>
          </p:cNvPr>
          <p:cNvSpPr>
            <a:spLocks noChangeShapeType="1"/>
          </p:cNvSpPr>
          <p:nvPr/>
        </p:nvSpPr>
        <p:spPr bwMode="auto">
          <a:xfrm flipV="1">
            <a:off x="4151313" y="19459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5" name="Line 387">
            <a:extLst>
              <a:ext uri="{FF2B5EF4-FFF2-40B4-BE49-F238E27FC236}">
                <a16:creationId xmlns:a16="http://schemas.microsoft.com/office/drawing/2014/main" id="{A788D3DA-C4EF-483E-85EF-0337DDD9B5B2}"/>
              </a:ext>
            </a:extLst>
          </p:cNvPr>
          <p:cNvSpPr>
            <a:spLocks noChangeShapeType="1"/>
          </p:cNvSpPr>
          <p:nvPr/>
        </p:nvSpPr>
        <p:spPr bwMode="auto">
          <a:xfrm flipH="1">
            <a:off x="4100514" y="1945903"/>
            <a:ext cx="127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6" name="Line 388">
            <a:extLst>
              <a:ext uri="{FF2B5EF4-FFF2-40B4-BE49-F238E27FC236}">
                <a16:creationId xmlns:a16="http://schemas.microsoft.com/office/drawing/2014/main" id="{5820FE69-EC71-47E9-8607-9081A1D6A686}"/>
              </a:ext>
            </a:extLst>
          </p:cNvPr>
          <p:cNvSpPr>
            <a:spLocks noChangeShapeType="1"/>
          </p:cNvSpPr>
          <p:nvPr/>
        </p:nvSpPr>
        <p:spPr bwMode="auto">
          <a:xfrm>
            <a:off x="4100514" y="1933202"/>
            <a:ext cx="889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7" name="Line 389">
            <a:extLst>
              <a:ext uri="{FF2B5EF4-FFF2-40B4-BE49-F238E27FC236}">
                <a16:creationId xmlns:a16="http://schemas.microsoft.com/office/drawing/2014/main" id="{4494C974-8A96-48A8-AF18-4423F64DE460}"/>
              </a:ext>
            </a:extLst>
          </p:cNvPr>
          <p:cNvSpPr>
            <a:spLocks noChangeShapeType="1"/>
          </p:cNvSpPr>
          <p:nvPr/>
        </p:nvSpPr>
        <p:spPr bwMode="auto">
          <a:xfrm flipH="1">
            <a:off x="4113213" y="19205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8" name="Line 390">
            <a:extLst>
              <a:ext uri="{FF2B5EF4-FFF2-40B4-BE49-F238E27FC236}">
                <a16:creationId xmlns:a16="http://schemas.microsoft.com/office/drawing/2014/main" id="{49122CD4-BE7A-4E65-BC15-C219CA040A7D}"/>
              </a:ext>
            </a:extLst>
          </p:cNvPr>
          <p:cNvSpPr>
            <a:spLocks noChangeShapeType="1"/>
          </p:cNvSpPr>
          <p:nvPr/>
        </p:nvSpPr>
        <p:spPr bwMode="auto">
          <a:xfrm>
            <a:off x="4125913" y="1895105"/>
            <a:ext cx="0" cy="889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19" name="Line 391">
            <a:extLst>
              <a:ext uri="{FF2B5EF4-FFF2-40B4-BE49-F238E27FC236}">
                <a16:creationId xmlns:a16="http://schemas.microsoft.com/office/drawing/2014/main" id="{30FAE6C0-6552-477D-9D5D-EA91B20B8302}"/>
              </a:ext>
            </a:extLst>
          </p:cNvPr>
          <p:cNvSpPr>
            <a:spLocks noChangeShapeType="1"/>
          </p:cNvSpPr>
          <p:nvPr/>
        </p:nvSpPr>
        <p:spPr bwMode="auto">
          <a:xfrm flipH="1">
            <a:off x="4125913" y="19078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0" name="Line 392">
            <a:extLst>
              <a:ext uri="{FF2B5EF4-FFF2-40B4-BE49-F238E27FC236}">
                <a16:creationId xmlns:a16="http://schemas.microsoft.com/office/drawing/2014/main" id="{429E2BC0-4928-4863-99A9-11E277D3E164}"/>
              </a:ext>
            </a:extLst>
          </p:cNvPr>
          <p:cNvSpPr>
            <a:spLocks noChangeShapeType="1"/>
          </p:cNvSpPr>
          <p:nvPr/>
        </p:nvSpPr>
        <p:spPr bwMode="auto">
          <a:xfrm flipV="1">
            <a:off x="4037013" y="1882407"/>
            <a:ext cx="0" cy="635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1" name="Line 393">
            <a:extLst>
              <a:ext uri="{FF2B5EF4-FFF2-40B4-BE49-F238E27FC236}">
                <a16:creationId xmlns:a16="http://schemas.microsoft.com/office/drawing/2014/main" id="{980B5AA5-FACE-4F30-98BA-C967FECA6C0D}"/>
              </a:ext>
            </a:extLst>
          </p:cNvPr>
          <p:cNvSpPr>
            <a:spLocks noChangeShapeType="1"/>
          </p:cNvSpPr>
          <p:nvPr/>
        </p:nvSpPr>
        <p:spPr bwMode="auto">
          <a:xfrm flipV="1">
            <a:off x="4024313" y="18824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2" name="Line 394">
            <a:extLst>
              <a:ext uri="{FF2B5EF4-FFF2-40B4-BE49-F238E27FC236}">
                <a16:creationId xmlns:a16="http://schemas.microsoft.com/office/drawing/2014/main" id="{9543EB9D-933D-48DA-AC86-84A25CB32181}"/>
              </a:ext>
            </a:extLst>
          </p:cNvPr>
          <p:cNvSpPr>
            <a:spLocks noChangeShapeType="1"/>
          </p:cNvSpPr>
          <p:nvPr/>
        </p:nvSpPr>
        <p:spPr bwMode="auto">
          <a:xfrm flipH="1">
            <a:off x="4037013" y="19078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3" name="Line 395">
            <a:extLst>
              <a:ext uri="{FF2B5EF4-FFF2-40B4-BE49-F238E27FC236}">
                <a16:creationId xmlns:a16="http://schemas.microsoft.com/office/drawing/2014/main" id="{00A2412D-AF92-4E85-B4B2-9B5AE97B0170}"/>
              </a:ext>
            </a:extLst>
          </p:cNvPr>
          <p:cNvSpPr>
            <a:spLocks noChangeShapeType="1"/>
          </p:cNvSpPr>
          <p:nvPr/>
        </p:nvSpPr>
        <p:spPr bwMode="auto">
          <a:xfrm>
            <a:off x="4049713" y="1895105"/>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4" name="Line 396">
            <a:extLst>
              <a:ext uri="{FF2B5EF4-FFF2-40B4-BE49-F238E27FC236}">
                <a16:creationId xmlns:a16="http://schemas.microsoft.com/office/drawing/2014/main" id="{B11E7179-2CE4-4349-B559-71518B458D0B}"/>
              </a:ext>
            </a:extLst>
          </p:cNvPr>
          <p:cNvSpPr>
            <a:spLocks noChangeShapeType="1"/>
          </p:cNvSpPr>
          <p:nvPr/>
        </p:nvSpPr>
        <p:spPr bwMode="auto">
          <a:xfrm>
            <a:off x="3998913" y="1876056"/>
            <a:ext cx="0" cy="4445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5" name="Line 397">
            <a:extLst>
              <a:ext uri="{FF2B5EF4-FFF2-40B4-BE49-F238E27FC236}">
                <a16:creationId xmlns:a16="http://schemas.microsoft.com/office/drawing/2014/main" id="{34974F91-A433-4A3A-A8B7-C92FFF89B47C}"/>
              </a:ext>
            </a:extLst>
          </p:cNvPr>
          <p:cNvSpPr>
            <a:spLocks noChangeShapeType="1"/>
          </p:cNvSpPr>
          <p:nvPr/>
        </p:nvSpPr>
        <p:spPr bwMode="auto">
          <a:xfrm flipV="1">
            <a:off x="3973513" y="18824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6" name="Line 398">
            <a:extLst>
              <a:ext uri="{FF2B5EF4-FFF2-40B4-BE49-F238E27FC236}">
                <a16:creationId xmlns:a16="http://schemas.microsoft.com/office/drawing/2014/main" id="{A16BAB6A-A172-4362-B077-28F1CE25A9EC}"/>
              </a:ext>
            </a:extLst>
          </p:cNvPr>
          <p:cNvSpPr>
            <a:spLocks noChangeShapeType="1"/>
          </p:cNvSpPr>
          <p:nvPr/>
        </p:nvSpPr>
        <p:spPr bwMode="auto">
          <a:xfrm flipH="1">
            <a:off x="3935413" y="18697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7" name="Line 399">
            <a:extLst>
              <a:ext uri="{FF2B5EF4-FFF2-40B4-BE49-F238E27FC236}">
                <a16:creationId xmlns:a16="http://schemas.microsoft.com/office/drawing/2014/main" id="{39B49C44-782F-4044-8475-6ABDF9BEAD85}"/>
              </a:ext>
            </a:extLst>
          </p:cNvPr>
          <p:cNvSpPr>
            <a:spLocks noChangeShapeType="1"/>
          </p:cNvSpPr>
          <p:nvPr/>
        </p:nvSpPr>
        <p:spPr bwMode="auto">
          <a:xfrm flipH="1">
            <a:off x="3960814" y="18824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8" name="Line 400">
            <a:extLst>
              <a:ext uri="{FF2B5EF4-FFF2-40B4-BE49-F238E27FC236}">
                <a16:creationId xmlns:a16="http://schemas.microsoft.com/office/drawing/2014/main" id="{DBB6A0F4-1086-4DA0-9926-F5848B998BC9}"/>
              </a:ext>
            </a:extLst>
          </p:cNvPr>
          <p:cNvSpPr>
            <a:spLocks noChangeShapeType="1"/>
          </p:cNvSpPr>
          <p:nvPr/>
        </p:nvSpPr>
        <p:spPr bwMode="auto">
          <a:xfrm>
            <a:off x="3935413" y="18443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29" name="Line 401">
            <a:extLst>
              <a:ext uri="{FF2B5EF4-FFF2-40B4-BE49-F238E27FC236}">
                <a16:creationId xmlns:a16="http://schemas.microsoft.com/office/drawing/2014/main" id="{6A0AA629-55DA-4044-993F-1769B7BEA4CD}"/>
              </a:ext>
            </a:extLst>
          </p:cNvPr>
          <p:cNvSpPr>
            <a:spLocks noChangeShapeType="1"/>
          </p:cNvSpPr>
          <p:nvPr/>
        </p:nvSpPr>
        <p:spPr bwMode="auto">
          <a:xfrm flipV="1">
            <a:off x="3960813" y="1857006"/>
            <a:ext cx="0" cy="635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0" name="Line 402">
            <a:extLst>
              <a:ext uri="{FF2B5EF4-FFF2-40B4-BE49-F238E27FC236}">
                <a16:creationId xmlns:a16="http://schemas.microsoft.com/office/drawing/2014/main" id="{D35A5A71-9B85-4FDE-9A27-4FF59CA48DD6}"/>
              </a:ext>
            </a:extLst>
          </p:cNvPr>
          <p:cNvSpPr>
            <a:spLocks noChangeShapeType="1"/>
          </p:cNvSpPr>
          <p:nvPr/>
        </p:nvSpPr>
        <p:spPr bwMode="auto">
          <a:xfrm flipV="1">
            <a:off x="3948113" y="18697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1" name="Line 403">
            <a:extLst>
              <a:ext uri="{FF2B5EF4-FFF2-40B4-BE49-F238E27FC236}">
                <a16:creationId xmlns:a16="http://schemas.microsoft.com/office/drawing/2014/main" id="{B7B733FF-269C-4720-8E09-E3B1D75852FB}"/>
              </a:ext>
            </a:extLst>
          </p:cNvPr>
          <p:cNvSpPr>
            <a:spLocks noChangeShapeType="1"/>
          </p:cNvSpPr>
          <p:nvPr/>
        </p:nvSpPr>
        <p:spPr bwMode="auto">
          <a:xfrm>
            <a:off x="3897313" y="18697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2" name="Line 404">
            <a:extLst>
              <a:ext uri="{FF2B5EF4-FFF2-40B4-BE49-F238E27FC236}">
                <a16:creationId xmlns:a16="http://schemas.microsoft.com/office/drawing/2014/main" id="{0068C214-7854-4A30-99C0-21E32E4D6070}"/>
              </a:ext>
            </a:extLst>
          </p:cNvPr>
          <p:cNvSpPr>
            <a:spLocks noChangeShapeType="1"/>
          </p:cNvSpPr>
          <p:nvPr/>
        </p:nvSpPr>
        <p:spPr bwMode="auto">
          <a:xfrm>
            <a:off x="3922713" y="18443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3" name="Line 405">
            <a:extLst>
              <a:ext uri="{FF2B5EF4-FFF2-40B4-BE49-F238E27FC236}">
                <a16:creationId xmlns:a16="http://schemas.microsoft.com/office/drawing/2014/main" id="{CE61A6DE-5310-415E-93FC-9EEB1157E1F1}"/>
              </a:ext>
            </a:extLst>
          </p:cNvPr>
          <p:cNvSpPr>
            <a:spLocks noChangeShapeType="1"/>
          </p:cNvSpPr>
          <p:nvPr/>
        </p:nvSpPr>
        <p:spPr bwMode="auto">
          <a:xfrm>
            <a:off x="3922714" y="1895102"/>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4" name="Line 406">
            <a:extLst>
              <a:ext uri="{FF2B5EF4-FFF2-40B4-BE49-F238E27FC236}">
                <a16:creationId xmlns:a16="http://schemas.microsoft.com/office/drawing/2014/main" id="{81EAA3D1-08B1-461C-88A6-7E064B5D0840}"/>
              </a:ext>
            </a:extLst>
          </p:cNvPr>
          <p:cNvSpPr>
            <a:spLocks noChangeShapeType="1"/>
          </p:cNvSpPr>
          <p:nvPr/>
        </p:nvSpPr>
        <p:spPr bwMode="auto">
          <a:xfrm>
            <a:off x="3910015" y="18824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5" name="Line 408">
            <a:extLst>
              <a:ext uri="{FF2B5EF4-FFF2-40B4-BE49-F238E27FC236}">
                <a16:creationId xmlns:a16="http://schemas.microsoft.com/office/drawing/2014/main" id="{35B7C612-DDE8-4FFE-B3B0-F6CE2AEBC0A3}"/>
              </a:ext>
            </a:extLst>
          </p:cNvPr>
          <p:cNvSpPr>
            <a:spLocks noChangeShapeType="1"/>
          </p:cNvSpPr>
          <p:nvPr/>
        </p:nvSpPr>
        <p:spPr bwMode="auto">
          <a:xfrm>
            <a:off x="3910015" y="1895102"/>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6" name="Line 409">
            <a:extLst>
              <a:ext uri="{FF2B5EF4-FFF2-40B4-BE49-F238E27FC236}">
                <a16:creationId xmlns:a16="http://schemas.microsoft.com/office/drawing/2014/main" id="{64CCA3E1-D342-483F-AF52-DC93077220A4}"/>
              </a:ext>
            </a:extLst>
          </p:cNvPr>
          <p:cNvSpPr>
            <a:spLocks noChangeShapeType="1"/>
          </p:cNvSpPr>
          <p:nvPr/>
        </p:nvSpPr>
        <p:spPr bwMode="auto">
          <a:xfrm flipH="1">
            <a:off x="3884614" y="18443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7" name="Line 410">
            <a:extLst>
              <a:ext uri="{FF2B5EF4-FFF2-40B4-BE49-F238E27FC236}">
                <a16:creationId xmlns:a16="http://schemas.microsoft.com/office/drawing/2014/main" id="{A8C3798B-F6CE-4352-945D-A8204AA871C1}"/>
              </a:ext>
            </a:extLst>
          </p:cNvPr>
          <p:cNvSpPr>
            <a:spLocks noChangeShapeType="1"/>
          </p:cNvSpPr>
          <p:nvPr/>
        </p:nvSpPr>
        <p:spPr bwMode="auto">
          <a:xfrm flipV="1">
            <a:off x="3871913" y="1831605"/>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8" name="Line 411">
            <a:extLst>
              <a:ext uri="{FF2B5EF4-FFF2-40B4-BE49-F238E27FC236}">
                <a16:creationId xmlns:a16="http://schemas.microsoft.com/office/drawing/2014/main" id="{459138A0-6792-4FC1-92C0-AB51CEF75D6D}"/>
              </a:ext>
            </a:extLst>
          </p:cNvPr>
          <p:cNvSpPr>
            <a:spLocks noChangeShapeType="1"/>
          </p:cNvSpPr>
          <p:nvPr/>
        </p:nvSpPr>
        <p:spPr bwMode="auto">
          <a:xfrm flipV="1">
            <a:off x="3884613" y="1831605"/>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39" name="Line 412">
            <a:extLst>
              <a:ext uri="{FF2B5EF4-FFF2-40B4-BE49-F238E27FC236}">
                <a16:creationId xmlns:a16="http://schemas.microsoft.com/office/drawing/2014/main" id="{7804354C-3125-4BDD-833C-5B584318E8AF}"/>
              </a:ext>
            </a:extLst>
          </p:cNvPr>
          <p:cNvSpPr>
            <a:spLocks noChangeShapeType="1"/>
          </p:cNvSpPr>
          <p:nvPr/>
        </p:nvSpPr>
        <p:spPr bwMode="auto">
          <a:xfrm>
            <a:off x="3833813" y="1818906"/>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0" name="Line 413">
            <a:extLst>
              <a:ext uri="{FF2B5EF4-FFF2-40B4-BE49-F238E27FC236}">
                <a16:creationId xmlns:a16="http://schemas.microsoft.com/office/drawing/2014/main" id="{FF310588-9F50-464B-B8C2-7249620FAAAF}"/>
              </a:ext>
            </a:extLst>
          </p:cNvPr>
          <p:cNvSpPr>
            <a:spLocks noChangeShapeType="1"/>
          </p:cNvSpPr>
          <p:nvPr/>
        </p:nvSpPr>
        <p:spPr bwMode="auto">
          <a:xfrm>
            <a:off x="3821113" y="1818906"/>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1" name="Line 414">
            <a:extLst>
              <a:ext uri="{FF2B5EF4-FFF2-40B4-BE49-F238E27FC236}">
                <a16:creationId xmlns:a16="http://schemas.microsoft.com/office/drawing/2014/main" id="{AFAE2012-4E52-4F43-9CC0-F559924DE6E0}"/>
              </a:ext>
            </a:extLst>
          </p:cNvPr>
          <p:cNvSpPr>
            <a:spLocks noChangeShapeType="1"/>
          </p:cNvSpPr>
          <p:nvPr/>
        </p:nvSpPr>
        <p:spPr bwMode="auto">
          <a:xfrm>
            <a:off x="3757613" y="17808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2" name="Line 415">
            <a:extLst>
              <a:ext uri="{FF2B5EF4-FFF2-40B4-BE49-F238E27FC236}">
                <a16:creationId xmlns:a16="http://schemas.microsoft.com/office/drawing/2014/main" id="{1A37A983-87FD-42CB-94D1-E764A9C76925}"/>
              </a:ext>
            </a:extLst>
          </p:cNvPr>
          <p:cNvSpPr>
            <a:spLocks noChangeShapeType="1"/>
          </p:cNvSpPr>
          <p:nvPr/>
        </p:nvSpPr>
        <p:spPr bwMode="auto">
          <a:xfrm>
            <a:off x="3783013" y="1793504"/>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3" name="Line 416">
            <a:extLst>
              <a:ext uri="{FF2B5EF4-FFF2-40B4-BE49-F238E27FC236}">
                <a16:creationId xmlns:a16="http://schemas.microsoft.com/office/drawing/2014/main" id="{3D04F8C8-CE1A-4577-BAAD-B224F7977126}"/>
              </a:ext>
            </a:extLst>
          </p:cNvPr>
          <p:cNvSpPr>
            <a:spLocks noChangeShapeType="1"/>
          </p:cNvSpPr>
          <p:nvPr/>
        </p:nvSpPr>
        <p:spPr bwMode="auto">
          <a:xfrm>
            <a:off x="3770313" y="17935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4" name="Line 417">
            <a:extLst>
              <a:ext uri="{FF2B5EF4-FFF2-40B4-BE49-F238E27FC236}">
                <a16:creationId xmlns:a16="http://schemas.microsoft.com/office/drawing/2014/main" id="{3DD5E91A-B6D7-4FA5-B43F-550BD95F4917}"/>
              </a:ext>
            </a:extLst>
          </p:cNvPr>
          <p:cNvSpPr>
            <a:spLocks noChangeShapeType="1"/>
          </p:cNvSpPr>
          <p:nvPr/>
        </p:nvSpPr>
        <p:spPr bwMode="auto">
          <a:xfrm>
            <a:off x="3808413" y="1806204"/>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5" name="Line 418">
            <a:extLst>
              <a:ext uri="{FF2B5EF4-FFF2-40B4-BE49-F238E27FC236}">
                <a16:creationId xmlns:a16="http://schemas.microsoft.com/office/drawing/2014/main" id="{C18BB66B-7B6E-4870-B9D8-66CDE46C9316}"/>
              </a:ext>
            </a:extLst>
          </p:cNvPr>
          <p:cNvSpPr>
            <a:spLocks noChangeShapeType="1"/>
          </p:cNvSpPr>
          <p:nvPr/>
        </p:nvSpPr>
        <p:spPr bwMode="auto">
          <a:xfrm flipV="1">
            <a:off x="3744913" y="17681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6" name="Line 419">
            <a:extLst>
              <a:ext uri="{FF2B5EF4-FFF2-40B4-BE49-F238E27FC236}">
                <a16:creationId xmlns:a16="http://schemas.microsoft.com/office/drawing/2014/main" id="{403A4740-8216-4FAD-88F9-31E8F8F2E564}"/>
              </a:ext>
            </a:extLst>
          </p:cNvPr>
          <p:cNvSpPr>
            <a:spLocks noChangeShapeType="1"/>
          </p:cNvSpPr>
          <p:nvPr/>
        </p:nvSpPr>
        <p:spPr bwMode="auto">
          <a:xfrm flipH="1">
            <a:off x="3719514" y="17681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7" name="Line 420">
            <a:extLst>
              <a:ext uri="{FF2B5EF4-FFF2-40B4-BE49-F238E27FC236}">
                <a16:creationId xmlns:a16="http://schemas.microsoft.com/office/drawing/2014/main" id="{E42C2AB9-FD02-479A-A036-BBBEE22B5D63}"/>
              </a:ext>
            </a:extLst>
          </p:cNvPr>
          <p:cNvSpPr>
            <a:spLocks noChangeShapeType="1"/>
          </p:cNvSpPr>
          <p:nvPr/>
        </p:nvSpPr>
        <p:spPr bwMode="auto">
          <a:xfrm flipH="1">
            <a:off x="3706813" y="17554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8" name="Line 421">
            <a:extLst>
              <a:ext uri="{FF2B5EF4-FFF2-40B4-BE49-F238E27FC236}">
                <a16:creationId xmlns:a16="http://schemas.microsoft.com/office/drawing/2014/main" id="{F3AFA2F6-9268-40B3-9F46-9F4FD69515C1}"/>
              </a:ext>
            </a:extLst>
          </p:cNvPr>
          <p:cNvSpPr>
            <a:spLocks noChangeShapeType="1"/>
          </p:cNvSpPr>
          <p:nvPr/>
        </p:nvSpPr>
        <p:spPr bwMode="auto">
          <a:xfrm flipH="1">
            <a:off x="3681413" y="17427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49" name="Line 422">
            <a:extLst>
              <a:ext uri="{FF2B5EF4-FFF2-40B4-BE49-F238E27FC236}">
                <a16:creationId xmlns:a16="http://schemas.microsoft.com/office/drawing/2014/main" id="{8C1D55E7-4CE2-469B-832B-9AB87D07E393}"/>
              </a:ext>
            </a:extLst>
          </p:cNvPr>
          <p:cNvSpPr>
            <a:spLocks noChangeShapeType="1"/>
          </p:cNvSpPr>
          <p:nvPr/>
        </p:nvSpPr>
        <p:spPr bwMode="auto">
          <a:xfrm>
            <a:off x="3694113" y="17935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0" name="Line 423">
            <a:extLst>
              <a:ext uri="{FF2B5EF4-FFF2-40B4-BE49-F238E27FC236}">
                <a16:creationId xmlns:a16="http://schemas.microsoft.com/office/drawing/2014/main" id="{18240754-10FD-4AD7-9DE9-FCAAC6829524}"/>
              </a:ext>
            </a:extLst>
          </p:cNvPr>
          <p:cNvSpPr>
            <a:spLocks noChangeShapeType="1"/>
          </p:cNvSpPr>
          <p:nvPr/>
        </p:nvSpPr>
        <p:spPr bwMode="auto">
          <a:xfrm>
            <a:off x="3719513" y="18062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1" name="Line 424">
            <a:extLst>
              <a:ext uri="{FF2B5EF4-FFF2-40B4-BE49-F238E27FC236}">
                <a16:creationId xmlns:a16="http://schemas.microsoft.com/office/drawing/2014/main" id="{2F2EE163-E576-4EE5-8A72-42EFC238614C}"/>
              </a:ext>
            </a:extLst>
          </p:cNvPr>
          <p:cNvSpPr>
            <a:spLocks noChangeShapeType="1"/>
          </p:cNvSpPr>
          <p:nvPr/>
        </p:nvSpPr>
        <p:spPr bwMode="auto">
          <a:xfrm flipV="1">
            <a:off x="3706813" y="1742702"/>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2" name="Line 425">
            <a:extLst>
              <a:ext uri="{FF2B5EF4-FFF2-40B4-BE49-F238E27FC236}">
                <a16:creationId xmlns:a16="http://schemas.microsoft.com/office/drawing/2014/main" id="{10C93C83-4F5D-43CF-AD4E-8AF597E29478}"/>
              </a:ext>
            </a:extLst>
          </p:cNvPr>
          <p:cNvSpPr>
            <a:spLocks noChangeShapeType="1"/>
          </p:cNvSpPr>
          <p:nvPr/>
        </p:nvSpPr>
        <p:spPr bwMode="auto">
          <a:xfrm>
            <a:off x="3656013" y="1755403"/>
            <a:ext cx="762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3" name="Line 426">
            <a:extLst>
              <a:ext uri="{FF2B5EF4-FFF2-40B4-BE49-F238E27FC236}">
                <a16:creationId xmlns:a16="http://schemas.microsoft.com/office/drawing/2014/main" id="{D8F2ACC7-3AA7-4D03-B0E8-0E15098BE7E7}"/>
              </a:ext>
            </a:extLst>
          </p:cNvPr>
          <p:cNvSpPr>
            <a:spLocks noChangeShapeType="1"/>
          </p:cNvSpPr>
          <p:nvPr/>
        </p:nvSpPr>
        <p:spPr bwMode="auto">
          <a:xfrm>
            <a:off x="3668715" y="1768103"/>
            <a:ext cx="889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4" name="Line 427">
            <a:extLst>
              <a:ext uri="{FF2B5EF4-FFF2-40B4-BE49-F238E27FC236}">
                <a16:creationId xmlns:a16="http://schemas.microsoft.com/office/drawing/2014/main" id="{7C702786-D77E-4CDD-AA0F-D7E7EC49A48E}"/>
              </a:ext>
            </a:extLst>
          </p:cNvPr>
          <p:cNvSpPr>
            <a:spLocks noChangeShapeType="1"/>
          </p:cNvSpPr>
          <p:nvPr/>
        </p:nvSpPr>
        <p:spPr bwMode="auto">
          <a:xfrm>
            <a:off x="3681413" y="17173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5" name="Line 428">
            <a:extLst>
              <a:ext uri="{FF2B5EF4-FFF2-40B4-BE49-F238E27FC236}">
                <a16:creationId xmlns:a16="http://schemas.microsoft.com/office/drawing/2014/main" id="{333FD93C-2AE7-4AE6-9C77-56C35D93F7BE}"/>
              </a:ext>
            </a:extLst>
          </p:cNvPr>
          <p:cNvSpPr>
            <a:spLocks noChangeShapeType="1"/>
          </p:cNvSpPr>
          <p:nvPr/>
        </p:nvSpPr>
        <p:spPr bwMode="auto">
          <a:xfrm>
            <a:off x="3643313" y="17173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6" name="Line 429">
            <a:extLst>
              <a:ext uri="{FF2B5EF4-FFF2-40B4-BE49-F238E27FC236}">
                <a16:creationId xmlns:a16="http://schemas.microsoft.com/office/drawing/2014/main" id="{C0845FE5-BDD6-4787-8ABF-29EEF5C48B41}"/>
              </a:ext>
            </a:extLst>
          </p:cNvPr>
          <p:cNvSpPr>
            <a:spLocks noChangeShapeType="1"/>
          </p:cNvSpPr>
          <p:nvPr/>
        </p:nvSpPr>
        <p:spPr bwMode="auto">
          <a:xfrm>
            <a:off x="3617913" y="1730007"/>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7" name="Line 430">
            <a:extLst>
              <a:ext uri="{FF2B5EF4-FFF2-40B4-BE49-F238E27FC236}">
                <a16:creationId xmlns:a16="http://schemas.microsoft.com/office/drawing/2014/main" id="{18F68735-ACB1-49F0-83B2-5435B90D5E79}"/>
              </a:ext>
            </a:extLst>
          </p:cNvPr>
          <p:cNvSpPr>
            <a:spLocks noChangeShapeType="1"/>
          </p:cNvSpPr>
          <p:nvPr/>
        </p:nvSpPr>
        <p:spPr bwMode="auto">
          <a:xfrm>
            <a:off x="3586163" y="171095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8" name="Line 431">
            <a:extLst>
              <a:ext uri="{FF2B5EF4-FFF2-40B4-BE49-F238E27FC236}">
                <a16:creationId xmlns:a16="http://schemas.microsoft.com/office/drawing/2014/main" id="{19354253-AA15-4641-BC6D-1C3DE48B2D71}"/>
              </a:ext>
            </a:extLst>
          </p:cNvPr>
          <p:cNvSpPr>
            <a:spLocks noChangeShapeType="1"/>
          </p:cNvSpPr>
          <p:nvPr/>
        </p:nvSpPr>
        <p:spPr bwMode="auto">
          <a:xfrm>
            <a:off x="3579813" y="1704602"/>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59" name="Line 432">
            <a:extLst>
              <a:ext uri="{FF2B5EF4-FFF2-40B4-BE49-F238E27FC236}">
                <a16:creationId xmlns:a16="http://schemas.microsoft.com/office/drawing/2014/main" id="{385B4563-33C4-48C9-8675-6AF80149AEA7}"/>
              </a:ext>
            </a:extLst>
          </p:cNvPr>
          <p:cNvSpPr>
            <a:spLocks noChangeShapeType="1"/>
          </p:cNvSpPr>
          <p:nvPr/>
        </p:nvSpPr>
        <p:spPr bwMode="auto">
          <a:xfrm>
            <a:off x="3529013" y="16792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0" name="Line 433">
            <a:extLst>
              <a:ext uri="{FF2B5EF4-FFF2-40B4-BE49-F238E27FC236}">
                <a16:creationId xmlns:a16="http://schemas.microsoft.com/office/drawing/2014/main" id="{EA2707FB-DCFA-41CC-B416-8DBA079DFABD}"/>
              </a:ext>
            </a:extLst>
          </p:cNvPr>
          <p:cNvSpPr>
            <a:spLocks noChangeShapeType="1"/>
          </p:cNvSpPr>
          <p:nvPr/>
        </p:nvSpPr>
        <p:spPr bwMode="auto">
          <a:xfrm>
            <a:off x="3541713" y="16919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1" name="Line 434">
            <a:extLst>
              <a:ext uri="{FF2B5EF4-FFF2-40B4-BE49-F238E27FC236}">
                <a16:creationId xmlns:a16="http://schemas.microsoft.com/office/drawing/2014/main" id="{37F1707A-B7F0-46F8-962C-50B496D93816}"/>
              </a:ext>
            </a:extLst>
          </p:cNvPr>
          <p:cNvSpPr>
            <a:spLocks noChangeShapeType="1"/>
          </p:cNvSpPr>
          <p:nvPr/>
        </p:nvSpPr>
        <p:spPr bwMode="auto">
          <a:xfrm>
            <a:off x="3554413" y="16919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2" name="Line 435">
            <a:extLst>
              <a:ext uri="{FF2B5EF4-FFF2-40B4-BE49-F238E27FC236}">
                <a16:creationId xmlns:a16="http://schemas.microsoft.com/office/drawing/2014/main" id="{5D2AA5DC-7ADA-496F-8A5A-F5400444452F}"/>
              </a:ext>
            </a:extLst>
          </p:cNvPr>
          <p:cNvSpPr>
            <a:spLocks noChangeShapeType="1"/>
          </p:cNvSpPr>
          <p:nvPr/>
        </p:nvSpPr>
        <p:spPr bwMode="auto">
          <a:xfrm>
            <a:off x="3567113" y="1704606"/>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3" name="Line 436">
            <a:extLst>
              <a:ext uri="{FF2B5EF4-FFF2-40B4-BE49-F238E27FC236}">
                <a16:creationId xmlns:a16="http://schemas.microsoft.com/office/drawing/2014/main" id="{921007A7-CAE0-4250-8225-D7A6014CE88B}"/>
              </a:ext>
            </a:extLst>
          </p:cNvPr>
          <p:cNvSpPr>
            <a:spLocks noChangeShapeType="1"/>
          </p:cNvSpPr>
          <p:nvPr/>
        </p:nvSpPr>
        <p:spPr bwMode="auto">
          <a:xfrm>
            <a:off x="3554413" y="1742702"/>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4" name="Line 437">
            <a:extLst>
              <a:ext uri="{FF2B5EF4-FFF2-40B4-BE49-F238E27FC236}">
                <a16:creationId xmlns:a16="http://schemas.microsoft.com/office/drawing/2014/main" id="{FE86CCF2-7495-43CC-8BA8-C6599E48321D}"/>
              </a:ext>
            </a:extLst>
          </p:cNvPr>
          <p:cNvSpPr>
            <a:spLocks noChangeShapeType="1"/>
          </p:cNvSpPr>
          <p:nvPr/>
        </p:nvSpPr>
        <p:spPr bwMode="auto">
          <a:xfrm>
            <a:off x="3478213" y="16792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5" name="Line 438">
            <a:extLst>
              <a:ext uri="{FF2B5EF4-FFF2-40B4-BE49-F238E27FC236}">
                <a16:creationId xmlns:a16="http://schemas.microsoft.com/office/drawing/2014/main" id="{11B1CE11-3255-47B7-99D4-42F4A127BDB5}"/>
              </a:ext>
            </a:extLst>
          </p:cNvPr>
          <p:cNvSpPr>
            <a:spLocks noChangeShapeType="1"/>
          </p:cNvSpPr>
          <p:nvPr/>
        </p:nvSpPr>
        <p:spPr bwMode="auto">
          <a:xfrm>
            <a:off x="3516315" y="1717303"/>
            <a:ext cx="127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6" name="Line 439">
            <a:extLst>
              <a:ext uri="{FF2B5EF4-FFF2-40B4-BE49-F238E27FC236}">
                <a16:creationId xmlns:a16="http://schemas.microsoft.com/office/drawing/2014/main" id="{F8411043-A9DD-41C2-97F5-0A93A74F91DA}"/>
              </a:ext>
            </a:extLst>
          </p:cNvPr>
          <p:cNvSpPr>
            <a:spLocks noChangeShapeType="1"/>
          </p:cNvSpPr>
          <p:nvPr/>
        </p:nvSpPr>
        <p:spPr bwMode="auto">
          <a:xfrm>
            <a:off x="3402013" y="16792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7" name="Line 440">
            <a:extLst>
              <a:ext uri="{FF2B5EF4-FFF2-40B4-BE49-F238E27FC236}">
                <a16:creationId xmlns:a16="http://schemas.microsoft.com/office/drawing/2014/main" id="{DC819CCE-999D-415F-9F8A-C9071D670E8E}"/>
              </a:ext>
            </a:extLst>
          </p:cNvPr>
          <p:cNvSpPr>
            <a:spLocks noChangeShapeType="1"/>
          </p:cNvSpPr>
          <p:nvPr/>
        </p:nvSpPr>
        <p:spPr bwMode="auto">
          <a:xfrm>
            <a:off x="3338513" y="16665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8" name="Line 441">
            <a:extLst>
              <a:ext uri="{FF2B5EF4-FFF2-40B4-BE49-F238E27FC236}">
                <a16:creationId xmlns:a16="http://schemas.microsoft.com/office/drawing/2014/main" id="{B4FC343C-A905-47FE-93C6-450B504333E6}"/>
              </a:ext>
            </a:extLst>
          </p:cNvPr>
          <p:cNvSpPr>
            <a:spLocks noChangeShapeType="1"/>
          </p:cNvSpPr>
          <p:nvPr/>
        </p:nvSpPr>
        <p:spPr bwMode="auto">
          <a:xfrm>
            <a:off x="3376615" y="1704602"/>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69" name="Line 442">
            <a:extLst>
              <a:ext uri="{FF2B5EF4-FFF2-40B4-BE49-F238E27FC236}">
                <a16:creationId xmlns:a16="http://schemas.microsoft.com/office/drawing/2014/main" id="{4355B0D1-A9AD-47DF-947E-FDCFC3328560}"/>
              </a:ext>
            </a:extLst>
          </p:cNvPr>
          <p:cNvSpPr>
            <a:spLocks noChangeShapeType="1"/>
          </p:cNvSpPr>
          <p:nvPr/>
        </p:nvSpPr>
        <p:spPr bwMode="auto">
          <a:xfrm>
            <a:off x="3363913" y="17046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0" name="Line 443">
            <a:extLst>
              <a:ext uri="{FF2B5EF4-FFF2-40B4-BE49-F238E27FC236}">
                <a16:creationId xmlns:a16="http://schemas.microsoft.com/office/drawing/2014/main" id="{4E171A53-A0FB-45B3-901B-E67F4140C5D4}"/>
              </a:ext>
            </a:extLst>
          </p:cNvPr>
          <p:cNvSpPr>
            <a:spLocks noChangeShapeType="1"/>
          </p:cNvSpPr>
          <p:nvPr/>
        </p:nvSpPr>
        <p:spPr bwMode="auto">
          <a:xfrm>
            <a:off x="3300413" y="16919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1" name="Line 444">
            <a:extLst>
              <a:ext uri="{FF2B5EF4-FFF2-40B4-BE49-F238E27FC236}">
                <a16:creationId xmlns:a16="http://schemas.microsoft.com/office/drawing/2014/main" id="{01B0E97D-D1DC-4F3D-8E7D-6A2EA200D310}"/>
              </a:ext>
            </a:extLst>
          </p:cNvPr>
          <p:cNvSpPr>
            <a:spLocks noChangeShapeType="1"/>
          </p:cNvSpPr>
          <p:nvPr/>
        </p:nvSpPr>
        <p:spPr bwMode="auto">
          <a:xfrm>
            <a:off x="3236913" y="16792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2" name="Line 445">
            <a:extLst>
              <a:ext uri="{FF2B5EF4-FFF2-40B4-BE49-F238E27FC236}">
                <a16:creationId xmlns:a16="http://schemas.microsoft.com/office/drawing/2014/main" id="{6F79CD04-56D2-486A-B2B4-FAE9A6BBE490}"/>
              </a:ext>
            </a:extLst>
          </p:cNvPr>
          <p:cNvSpPr>
            <a:spLocks noChangeShapeType="1"/>
          </p:cNvSpPr>
          <p:nvPr/>
        </p:nvSpPr>
        <p:spPr bwMode="auto">
          <a:xfrm>
            <a:off x="3224213" y="16284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3" name="Line 446">
            <a:extLst>
              <a:ext uri="{FF2B5EF4-FFF2-40B4-BE49-F238E27FC236}">
                <a16:creationId xmlns:a16="http://schemas.microsoft.com/office/drawing/2014/main" id="{0509DE61-3637-40B6-86D1-60F60EE37CC3}"/>
              </a:ext>
            </a:extLst>
          </p:cNvPr>
          <p:cNvSpPr>
            <a:spLocks noChangeShapeType="1"/>
          </p:cNvSpPr>
          <p:nvPr/>
        </p:nvSpPr>
        <p:spPr bwMode="auto">
          <a:xfrm>
            <a:off x="3198813" y="16284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4" name="Line 447">
            <a:extLst>
              <a:ext uri="{FF2B5EF4-FFF2-40B4-BE49-F238E27FC236}">
                <a16:creationId xmlns:a16="http://schemas.microsoft.com/office/drawing/2014/main" id="{629B7332-9698-4FD6-9458-FD6F5BDDA61F}"/>
              </a:ext>
            </a:extLst>
          </p:cNvPr>
          <p:cNvSpPr>
            <a:spLocks noChangeShapeType="1"/>
          </p:cNvSpPr>
          <p:nvPr/>
        </p:nvSpPr>
        <p:spPr bwMode="auto">
          <a:xfrm>
            <a:off x="3122613" y="1603004"/>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5" name="Line 448">
            <a:extLst>
              <a:ext uri="{FF2B5EF4-FFF2-40B4-BE49-F238E27FC236}">
                <a16:creationId xmlns:a16="http://schemas.microsoft.com/office/drawing/2014/main" id="{DB45D745-6A3B-47AC-B118-4C55D77CA576}"/>
              </a:ext>
            </a:extLst>
          </p:cNvPr>
          <p:cNvSpPr>
            <a:spLocks noChangeShapeType="1"/>
          </p:cNvSpPr>
          <p:nvPr/>
        </p:nvSpPr>
        <p:spPr bwMode="auto">
          <a:xfrm>
            <a:off x="3071813" y="15903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6" name="Line 449">
            <a:extLst>
              <a:ext uri="{FF2B5EF4-FFF2-40B4-BE49-F238E27FC236}">
                <a16:creationId xmlns:a16="http://schemas.microsoft.com/office/drawing/2014/main" id="{2DD3ACD4-CE13-4F0E-A1C3-864C097590DB}"/>
              </a:ext>
            </a:extLst>
          </p:cNvPr>
          <p:cNvSpPr>
            <a:spLocks noChangeShapeType="1"/>
          </p:cNvSpPr>
          <p:nvPr/>
        </p:nvSpPr>
        <p:spPr bwMode="auto">
          <a:xfrm>
            <a:off x="3046413" y="15903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7" name="Line 450">
            <a:extLst>
              <a:ext uri="{FF2B5EF4-FFF2-40B4-BE49-F238E27FC236}">
                <a16:creationId xmlns:a16="http://schemas.microsoft.com/office/drawing/2014/main" id="{3CD6D217-4CAA-4C00-AEC1-88304E5D3E47}"/>
              </a:ext>
            </a:extLst>
          </p:cNvPr>
          <p:cNvSpPr>
            <a:spLocks noChangeShapeType="1"/>
          </p:cNvSpPr>
          <p:nvPr/>
        </p:nvSpPr>
        <p:spPr bwMode="auto">
          <a:xfrm>
            <a:off x="3021013" y="16030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8" name="Line 451">
            <a:extLst>
              <a:ext uri="{FF2B5EF4-FFF2-40B4-BE49-F238E27FC236}">
                <a16:creationId xmlns:a16="http://schemas.microsoft.com/office/drawing/2014/main" id="{3C9162F1-9990-45E4-96F3-DF55B05ACD03}"/>
              </a:ext>
            </a:extLst>
          </p:cNvPr>
          <p:cNvSpPr>
            <a:spLocks noChangeShapeType="1"/>
          </p:cNvSpPr>
          <p:nvPr/>
        </p:nvSpPr>
        <p:spPr bwMode="auto">
          <a:xfrm>
            <a:off x="3008313" y="158395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79" name="Line 452">
            <a:extLst>
              <a:ext uri="{FF2B5EF4-FFF2-40B4-BE49-F238E27FC236}">
                <a16:creationId xmlns:a16="http://schemas.microsoft.com/office/drawing/2014/main" id="{0CFC9BAE-5CBE-4FE5-84BB-421382F43C13}"/>
              </a:ext>
            </a:extLst>
          </p:cNvPr>
          <p:cNvSpPr>
            <a:spLocks noChangeShapeType="1"/>
          </p:cNvSpPr>
          <p:nvPr/>
        </p:nvSpPr>
        <p:spPr bwMode="auto">
          <a:xfrm>
            <a:off x="2982913" y="1590302"/>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0" name="Freeform 453">
            <a:extLst>
              <a:ext uri="{FF2B5EF4-FFF2-40B4-BE49-F238E27FC236}">
                <a16:creationId xmlns:a16="http://schemas.microsoft.com/office/drawing/2014/main" id="{60EE23CD-98BB-4B45-B0F6-69D609A27532}"/>
              </a:ext>
            </a:extLst>
          </p:cNvPr>
          <p:cNvSpPr>
            <a:spLocks/>
          </p:cNvSpPr>
          <p:nvPr/>
        </p:nvSpPr>
        <p:spPr bwMode="auto">
          <a:xfrm>
            <a:off x="2944813" y="1577606"/>
            <a:ext cx="0" cy="50800"/>
          </a:xfrm>
          <a:custGeom>
            <a:avLst/>
            <a:gdLst>
              <a:gd name="T0" fmla="*/ 16 h 32"/>
              <a:gd name="T1" fmla="*/ 16 h 32"/>
              <a:gd name="T2" fmla="*/ 32 h 32"/>
              <a:gd name="T3" fmla="*/ 32 h 32"/>
              <a:gd name="T4" fmla="*/ 16 h 32"/>
              <a:gd name="T5" fmla="*/ 16 h 32"/>
              <a:gd name="T6" fmla="*/ 0 h 32"/>
              <a:gd name="T7" fmla="*/ 0 h 32"/>
              <a:gd name="T8" fmla="*/ 16 h 32"/>
              <a:gd name="T9" fmla="*/ 16 h 3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32">
                <a:moveTo>
                  <a:pt x="0" y="16"/>
                </a:moveTo>
                <a:lnTo>
                  <a:pt x="0" y="16"/>
                </a:lnTo>
                <a:lnTo>
                  <a:pt x="0" y="32"/>
                </a:lnTo>
                <a:lnTo>
                  <a:pt x="0" y="32"/>
                </a:lnTo>
                <a:lnTo>
                  <a:pt x="0" y="16"/>
                </a:lnTo>
                <a:lnTo>
                  <a:pt x="0" y="16"/>
                </a:lnTo>
                <a:lnTo>
                  <a:pt x="0" y="0"/>
                </a:lnTo>
                <a:lnTo>
                  <a:pt x="0" y="0"/>
                </a:lnTo>
                <a:lnTo>
                  <a:pt x="0" y="16"/>
                </a:lnTo>
                <a:lnTo>
                  <a:pt x="0" y="16"/>
                </a:lnTo>
                <a:close/>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1" name="Freeform 454">
            <a:extLst>
              <a:ext uri="{FF2B5EF4-FFF2-40B4-BE49-F238E27FC236}">
                <a16:creationId xmlns:a16="http://schemas.microsoft.com/office/drawing/2014/main" id="{1BDAA2B1-1594-4D4A-99E7-5083FB937420}"/>
              </a:ext>
            </a:extLst>
          </p:cNvPr>
          <p:cNvSpPr>
            <a:spLocks/>
          </p:cNvSpPr>
          <p:nvPr/>
        </p:nvSpPr>
        <p:spPr bwMode="auto">
          <a:xfrm>
            <a:off x="2881313" y="1564907"/>
            <a:ext cx="0" cy="50800"/>
          </a:xfrm>
          <a:custGeom>
            <a:avLst/>
            <a:gdLst>
              <a:gd name="T0" fmla="*/ 16 h 32"/>
              <a:gd name="T1" fmla="*/ 16 h 32"/>
              <a:gd name="T2" fmla="*/ 32 h 32"/>
              <a:gd name="T3" fmla="*/ 32 h 32"/>
              <a:gd name="T4" fmla="*/ 16 h 32"/>
              <a:gd name="T5" fmla="*/ 16 h 32"/>
              <a:gd name="T6" fmla="*/ 0 h 32"/>
              <a:gd name="T7" fmla="*/ 0 h 32"/>
              <a:gd name="T8" fmla="*/ 16 h 32"/>
              <a:gd name="T9" fmla="*/ 16 h 3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32">
                <a:moveTo>
                  <a:pt x="0" y="16"/>
                </a:moveTo>
                <a:lnTo>
                  <a:pt x="0" y="16"/>
                </a:lnTo>
                <a:lnTo>
                  <a:pt x="0" y="32"/>
                </a:lnTo>
                <a:lnTo>
                  <a:pt x="0" y="32"/>
                </a:lnTo>
                <a:lnTo>
                  <a:pt x="0" y="16"/>
                </a:lnTo>
                <a:lnTo>
                  <a:pt x="0" y="16"/>
                </a:lnTo>
                <a:lnTo>
                  <a:pt x="0" y="0"/>
                </a:lnTo>
                <a:lnTo>
                  <a:pt x="0" y="0"/>
                </a:lnTo>
                <a:lnTo>
                  <a:pt x="0" y="16"/>
                </a:lnTo>
                <a:lnTo>
                  <a:pt x="0" y="16"/>
                </a:lnTo>
                <a:close/>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2" name="Freeform 455">
            <a:extLst>
              <a:ext uri="{FF2B5EF4-FFF2-40B4-BE49-F238E27FC236}">
                <a16:creationId xmlns:a16="http://schemas.microsoft.com/office/drawing/2014/main" id="{0243E9F8-2478-4347-A7B6-E3A4A77CF8C2}"/>
              </a:ext>
            </a:extLst>
          </p:cNvPr>
          <p:cNvSpPr>
            <a:spLocks/>
          </p:cNvSpPr>
          <p:nvPr/>
        </p:nvSpPr>
        <p:spPr bwMode="auto">
          <a:xfrm>
            <a:off x="2906713" y="1603003"/>
            <a:ext cx="38100" cy="0"/>
          </a:xfrm>
          <a:custGeom>
            <a:avLst/>
            <a:gdLst>
              <a:gd name="T0" fmla="*/ 24 w 24"/>
              <a:gd name="T1" fmla="*/ 24 w 24"/>
              <a:gd name="T2" fmla="*/ 12 w 24"/>
              <a:gd name="T3" fmla="*/ 12 w 24"/>
              <a:gd name="T4" fmla="*/ 0 w 24"/>
              <a:gd name="T5" fmla="*/ 0 w 24"/>
              <a:gd name="T6" fmla="*/ 12 w 24"/>
              <a:gd name="T7" fmla="*/ 12 w 24"/>
              <a:gd name="T8" fmla="*/ 24 w 24"/>
              <a:gd name="T9" fmla="*/ 24 w 2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24">
                <a:moveTo>
                  <a:pt x="24" y="0"/>
                </a:moveTo>
                <a:lnTo>
                  <a:pt x="24" y="0"/>
                </a:lnTo>
                <a:lnTo>
                  <a:pt x="12" y="0"/>
                </a:lnTo>
                <a:lnTo>
                  <a:pt x="12" y="0"/>
                </a:lnTo>
                <a:lnTo>
                  <a:pt x="0" y="0"/>
                </a:lnTo>
                <a:lnTo>
                  <a:pt x="0" y="0"/>
                </a:lnTo>
                <a:lnTo>
                  <a:pt x="12" y="0"/>
                </a:lnTo>
                <a:lnTo>
                  <a:pt x="12" y="0"/>
                </a:lnTo>
                <a:lnTo>
                  <a:pt x="24" y="0"/>
                </a:lnTo>
                <a:lnTo>
                  <a:pt x="24" y="0"/>
                </a:lnTo>
                <a:close/>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3" name="Freeform 456">
            <a:extLst>
              <a:ext uri="{FF2B5EF4-FFF2-40B4-BE49-F238E27FC236}">
                <a16:creationId xmlns:a16="http://schemas.microsoft.com/office/drawing/2014/main" id="{82118EEC-5D08-4181-9615-4B8B776797BF}"/>
              </a:ext>
            </a:extLst>
          </p:cNvPr>
          <p:cNvSpPr>
            <a:spLocks/>
          </p:cNvSpPr>
          <p:nvPr/>
        </p:nvSpPr>
        <p:spPr bwMode="auto">
          <a:xfrm>
            <a:off x="2881313" y="1577603"/>
            <a:ext cx="38100" cy="0"/>
          </a:xfrm>
          <a:custGeom>
            <a:avLst/>
            <a:gdLst>
              <a:gd name="T0" fmla="*/ 0 w 24"/>
              <a:gd name="T1" fmla="*/ 0 w 24"/>
              <a:gd name="T2" fmla="*/ 12 w 24"/>
              <a:gd name="T3" fmla="*/ 12 w 24"/>
              <a:gd name="T4" fmla="*/ 24 w 24"/>
              <a:gd name="T5" fmla="*/ 24 w 24"/>
              <a:gd name="T6" fmla="*/ 12 w 24"/>
              <a:gd name="T7" fmla="*/ 12 w 24"/>
              <a:gd name="T8" fmla="*/ 0 w 24"/>
              <a:gd name="T9" fmla="*/ 0 w 2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24">
                <a:moveTo>
                  <a:pt x="0" y="0"/>
                </a:moveTo>
                <a:lnTo>
                  <a:pt x="0" y="0"/>
                </a:lnTo>
                <a:lnTo>
                  <a:pt x="12" y="0"/>
                </a:lnTo>
                <a:lnTo>
                  <a:pt x="12" y="0"/>
                </a:lnTo>
                <a:lnTo>
                  <a:pt x="24" y="0"/>
                </a:lnTo>
                <a:lnTo>
                  <a:pt x="24" y="0"/>
                </a:lnTo>
                <a:lnTo>
                  <a:pt x="12" y="0"/>
                </a:lnTo>
                <a:lnTo>
                  <a:pt x="12" y="0"/>
                </a:lnTo>
                <a:lnTo>
                  <a:pt x="0" y="0"/>
                </a:lnTo>
                <a:lnTo>
                  <a:pt x="0" y="0"/>
                </a:lnTo>
                <a:close/>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4" name="Freeform 457">
            <a:extLst>
              <a:ext uri="{FF2B5EF4-FFF2-40B4-BE49-F238E27FC236}">
                <a16:creationId xmlns:a16="http://schemas.microsoft.com/office/drawing/2014/main" id="{896E656A-FEC9-4E7F-A26A-62CF185C485C}"/>
              </a:ext>
            </a:extLst>
          </p:cNvPr>
          <p:cNvSpPr>
            <a:spLocks/>
          </p:cNvSpPr>
          <p:nvPr/>
        </p:nvSpPr>
        <p:spPr bwMode="auto">
          <a:xfrm>
            <a:off x="2741613" y="1564903"/>
            <a:ext cx="88900" cy="0"/>
          </a:xfrm>
          <a:custGeom>
            <a:avLst/>
            <a:gdLst>
              <a:gd name="T0" fmla="*/ 0 w 56"/>
              <a:gd name="T1" fmla="*/ 0 w 56"/>
              <a:gd name="T2" fmla="*/ 28 w 56"/>
              <a:gd name="T3" fmla="*/ 28 w 56"/>
              <a:gd name="T4" fmla="*/ 56 w 56"/>
              <a:gd name="T5" fmla="*/ 56 w 56"/>
              <a:gd name="T6" fmla="*/ 28 w 56"/>
              <a:gd name="T7" fmla="*/ 28 w 56"/>
              <a:gd name="T8" fmla="*/ 0 w 56"/>
              <a:gd name="T9" fmla="*/ 0 w 5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56">
                <a:moveTo>
                  <a:pt x="0" y="0"/>
                </a:moveTo>
                <a:lnTo>
                  <a:pt x="0" y="0"/>
                </a:lnTo>
                <a:lnTo>
                  <a:pt x="28" y="0"/>
                </a:lnTo>
                <a:lnTo>
                  <a:pt x="28" y="0"/>
                </a:lnTo>
                <a:lnTo>
                  <a:pt x="56" y="0"/>
                </a:lnTo>
                <a:lnTo>
                  <a:pt x="56" y="0"/>
                </a:lnTo>
                <a:lnTo>
                  <a:pt x="28" y="0"/>
                </a:lnTo>
                <a:lnTo>
                  <a:pt x="28" y="0"/>
                </a:lnTo>
                <a:lnTo>
                  <a:pt x="0" y="0"/>
                </a:lnTo>
                <a:lnTo>
                  <a:pt x="0" y="0"/>
                </a:lnTo>
                <a:close/>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5" name="Freeform 458">
            <a:extLst>
              <a:ext uri="{FF2B5EF4-FFF2-40B4-BE49-F238E27FC236}">
                <a16:creationId xmlns:a16="http://schemas.microsoft.com/office/drawing/2014/main" id="{FB8FE5B3-7664-40C5-B1B3-247ADBA114FA}"/>
              </a:ext>
            </a:extLst>
          </p:cNvPr>
          <p:cNvSpPr>
            <a:spLocks/>
          </p:cNvSpPr>
          <p:nvPr/>
        </p:nvSpPr>
        <p:spPr bwMode="auto">
          <a:xfrm>
            <a:off x="2741613" y="1552205"/>
            <a:ext cx="0" cy="50800"/>
          </a:xfrm>
          <a:custGeom>
            <a:avLst/>
            <a:gdLst>
              <a:gd name="T0" fmla="*/ 16 h 32"/>
              <a:gd name="T1" fmla="*/ 16 h 32"/>
              <a:gd name="T2" fmla="*/ 32 h 32"/>
              <a:gd name="T3" fmla="*/ 32 h 32"/>
              <a:gd name="T4" fmla="*/ 16 h 32"/>
              <a:gd name="T5" fmla="*/ 16 h 32"/>
              <a:gd name="T6" fmla="*/ 0 h 32"/>
              <a:gd name="T7" fmla="*/ 0 h 32"/>
              <a:gd name="T8" fmla="*/ 16 h 32"/>
              <a:gd name="T9" fmla="*/ 16 h 3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32">
                <a:moveTo>
                  <a:pt x="0" y="16"/>
                </a:moveTo>
                <a:lnTo>
                  <a:pt x="0" y="16"/>
                </a:lnTo>
                <a:lnTo>
                  <a:pt x="0" y="32"/>
                </a:lnTo>
                <a:lnTo>
                  <a:pt x="0" y="32"/>
                </a:lnTo>
                <a:lnTo>
                  <a:pt x="0" y="16"/>
                </a:lnTo>
                <a:lnTo>
                  <a:pt x="0" y="16"/>
                </a:lnTo>
                <a:lnTo>
                  <a:pt x="0" y="0"/>
                </a:lnTo>
                <a:lnTo>
                  <a:pt x="0" y="0"/>
                </a:lnTo>
                <a:lnTo>
                  <a:pt x="0" y="16"/>
                </a:lnTo>
                <a:lnTo>
                  <a:pt x="0" y="16"/>
                </a:lnTo>
                <a:close/>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6" name="Freeform 459">
            <a:extLst>
              <a:ext uri="{FF2B5EF4-FFF2-40B4-BE49-F238E27FC236}">
                <a16:creationId xmlns:a16="http://schemas.microsoft.com/office/drawing/2014/main" id="{367F75E8-A17A-488A-854D-5BFCA71E9802}"/>
              </a:ext>
            </a:extLst>
          </p:cNvPr>
          <p:cNvSpPr>
            <a:spLocks/>
          </p:cNvSpPr>
          <p:nvPr/>
        </p:nvSpPr>
        <p:spPr bwMode="auto">
          <a:xfrm>
            <a:off x="2830513" y="1590302"/>
            <a:ext cx="38100" cy="0"/>
          </a:xfrm>
          <a:custGeom>
            <a:avLst/>
            <a:gdLst>
              <a:gd name="T0" fmla="*/ 24 w 24"/>
              <a:gd name="T1" fmla="*/ 24 w 24"/>
              <a:gd name="T2" fmla="*/ 12 w 24"/>
              <a:gd name="T3" fmla="*/ 12 w 24"/>
              <a:gd name="T4" fmla="*/ 0 w 24"/>
              <a:gd name="T5" fmla="*/ 0 w 24"/>
              <a:gd name="T6" fmla="*/ 12 w 24"/>
              <a:gd name="T7" fmla="*/ 12 w 24"/>
              <a:gd name="T8" fmla="*/ 24 w 24"/>
              <a:gd name="T9" fmla="*/ 24 w 2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24">
                <a:moveTo>
                  <a:pt x="24" y="0"/>
                </a:moveTo>
                <a:lnTo>
                  <a:pt x="24" y="0"/>
                </a:lnTo>
                <a:lnTo>
                  <a:pt x="12" y="0"/>
                </a:lnTo>
                <a:lnTo>
                  <a:pt x="12" y="0"/>
                </a:lnTo>
                <a:lnTo>
                  <a:pt x="0" y="0"/>
                </a:lnTo>
                <a:lnTo>
                  <a:pt x="0" y="0"/>
                </a:lnTo>
                <a:lnTo>
                  <a:pt x="12" y="0"/>
                </a:lnTo>
                <a:lnTo>
                  <a:pt x="12" y="0"/>
                </a:lnTo>
                <a:lnTo>
                  <a:pt x="24" y="0"/>
                </a:lnTo>
                <a:lnTo>
                  <a:pt x="24" y="0"/>
                </a:lnTo>
                <a:close/>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7" name="Freeform 460">
            <a:extLst>
              <a:ext uri="{FF2B5EF4-FFF2-40B4-BE49-F238E27FC236}">
                <a16:creationId xmlns:a16="http://schemas.microsoft.com/office/drawing/2014/main" id="{87DE9AFF-EF0E-4D3D-B661-7BEB92F14A18}"/>
              </a:ext>
            </a:extLst>
          </p:cNvPr>
          <p:cNvSpPr>
            <a:spLocks/>
          </p:cNvSpPr>
          <p:nvPr/>
        </p:nvSpPr>
        <p:spPr bwMode="auto">
          <a:xfrm>
            <a:off x="2817813" y="1590302"/>
            <a:ext cx="12700" cy="0"/>
          </a:xfrm>
          <a:custGeom>
            <a:avLst/>
            <a:gdLst>
              <a:gd name="T0" fmla="*/ 8 w 8"/>
              <a:gd name="T1" fmla="*/ 8 w 8"/>
              <a:gd name="T2" fmla="*/ 4 w 8"/>
              <a:gd name="T3" fmla="*/ 4 w 8"/>
              <a:gd name="T4" fmla="*/ 0 w 8"/>
              <a:gd name="T5" fmla="*/ 0 w 8"/>
              <a:gd name="T6" fmla="*/ 4 w 8"/>
              <a:gd name="T7" fmla="*/ 4 w 8"/>
              <a:gd name="T8" fmla="*/ 8 w 8"/>
              <a:gd name="T9"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8">
                <a:moveTo>
                  <a:pt x="8" y="0"/>
                </a:moveTo>
                <a:lnTo>
                  <a:pt x="8" y="0"/>
                </a:lnTo>
                <a:lnTo>
                  <a:pt x="4" y="0"/>
                </a:lnTo>
                <a:lnTo>
                  <a:pt x="4" y="0"/>
                </a:lnTo>
                <a:lnTo>
                  <a:pt x="0" y="0"/>
                </a:lnTo>
                <a:lnTo>
                  <a:pt x="0" y="0"/>
                </a:lnTo>
                <a:lnTo>
                  <a:pt x="4" y="0"/>
                </a:lnTo>
                <a:lnTo>
                  <a:pt x="4" y="0"/>
                </a:lnTo>
                <a:lnTo>
                  <a:pt x="8" y="0"/>
                </a:lnTo>
                <a:lnTo>
                  <a:pt x="8" y="0"/>
                </a:lnTo>
                <a:close/>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8" name="Freeform 461">
            <a:extLst>
              <a:ext uri="{FF2B5EF4-FFF2-40B4-BE49-F238E27FC236}">
                <a16:creationId xmlns:a16="http://schemas.microsoft.com/office/drawing/2014/main" id="{4494A015-3A00-4AFF-B48C-81A57C7D232D}"/>
              </a:ext>
            </a:extLst>
          </p:cNvPr>
          <p:cNvSpPr>
            <a:spLocks/>
          </p:cNvSpPr>
          <p:nvPr/>
        </p:nvSpPr>
        <p:spPr bwMode="auto">
          <a:xfrm>
            <a:off x="2932113" y="1603003"/>
            <a:ext cx="12700" cy="0"/>
          </a:xfrm>
          <a:custGeom>
            <a:avLst/>
            <a:gdLst>
              <a:gd name="T0" fmla="*/ 8 w 8"/>
              <a:gd name="T1" fmla="*/ 8 w 8"/>
              <a:gd name="T2" fmla="*/ 4 w 8"/>
              <a:gd name="T3" fmla="*/ 4 w 8"/>
              <a:gd name="T4" fmla="*/ 0 w 8"/>
              <a:gd name="T5" fmla="*/ 0 w 8"/>
              <a:gd name="T6" fmla="*/ 4 w 8"/>
              <a:gd name="T7" fmla="*/ 4 w 8"/>
              <a:gd name="T8" fmla="*/ 8 w 8"/>
              <a:gd name="T9" fmla="*/ 8 w 8"/>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8">
                <a:moveTo>
                  <a:pt x="8" y="0"/>
                </a:moveTo>
                <a:lnTo>
                  <a:pt x="8" y="0"/>
                </a:lnTo>
                <a:lnTo>
                  <a:pt x="4" y="0"/>
                </a:lnTo>
                <a:lnTo>
                  <a:pt x="4" y="0"/>
                </a:lnTo>
                <a:lnTo>
                  <a:pt x="0" y="0"/>
                </a:lnTo>
                <a:lnTo>
                  <a:pt x="0" y="0"/>
                </a:lnTo>
                <a:lnTo>
                  <a:pt x="4" y="0"/>
                </a:lnTo>
                <a:lnTo>
                  <a:pt x="4" y="0"/>
                </a:lnTo>
                <a:lnTo>
                  <a:pt x="8" y="0"/>
                </a:lnTo>
                <a:lnTo>
                  <a:pt x="8" y="0"/>
                </a:lnTo>
                <a:close/>
              </a:path>
            </a:pathLst>
          </a:custGeom>
          <a:noFill/>
          <a:ln w="12700">
            <a:solidFill>
              <a:srgbClr val="003E6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89" name="Line 462">
            <a:extLst>
              <a:ext uri="{FF2B5EF4-FFF2-40B4-BE49-F238E27FC236}">
                <a16:creationId xmlns:a16="http://schemas.microsoft.com/office/drawing/2014/main" id="{02643089-9D37-4BD5-AB3F-8C69EDB95354}"/>
              </a:ext>
            </a:extLst>
          </p:cNvPr>
          <p:cNvSpPr>
            <a:spLocks noChangeShapeType="1"/>
          </p:cNvSpPr>
          <p:nvPr/>
        </p:nvSpPr>
        <p:spPr bwMode="auto">
          <a:xfrm>
            <a:off x="2944813" y="16157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0" name="Line 463">
            <a:extLst>
              <a:ext uri="{FF2B5EF4-FFF2-40B4-BE49-F238E27FC236}">
                <a16:creationId xmlns:a16="http://schemas.microsoft.com/office/drawing/2014/main" id="{D79705BC-4A19-41E4-B994-0A824D72B07A}"/>
              </a:ext>
            </a:extLst>
          </p:cNvPr>
          <p:cNvSpPr>
            <a:spLocks noChangeShapeType="1"/>
          </p:cNvSpPr>
          <p:nvPr/>
        </p:nvSpPr>
        <p:spPr bwMode="auto">
          <a:xfrm flipH="1">
            <a:off x="3122613" y="16284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1" name="Line 464">
            <a:extLst>
              <a:ext uri="{FF2B5EF4-FFF2-40B4-BE49-F238E27FC236}">
                <a16:creationId xmlns:a16="http://schemas.microsoft.com/office/drawing/2014/main" id="{E8716B29-5E9A-45FA-BBDA-09822D3379C8}"/>
              </a:ext>
            </a:extLst>
          </p:cNvPr>
          <p:cNvSpPr>
            <a:spLocks noChangeShapeType="1"/>
          </p:cNvSpPr>
          <p:nvPr/>
        </p:nvSpPr>
        <p:spPr bwMode="auto">
          <a:xfrm flipH="1">
            <a:off x="3135315" y="16411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2" name="Line 465">
            <a:extLst>
              <a:ext uri="{FF2B5EF4-FFF2-40B4-BE49-F238E27FC236}">
                <a16:creationId xmlns:a16="http://schemas.microsoft.com/office/drawing/2014/main" id="{76317F50-A9D0-494A-B479-57CAEB712D97}"/>
              </a:ext>
            </a:extLst>
          </p:cNvPr>
          <p:cNvSpPr>
            <a:spLocks noChangeShapeType="1"/>
          </p:cNvSpPr>
          <p:nvPr/>
        </p:nvSpPr>
        <p:spPr bwMode="auto">
          <a:xfrm>
            <a:off x="3021013" y="1590305"/>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3" name="Line 466">
            <a:extLst>
              <a:ext uri="{FF2B5EF4-FFF2-40B4-BE49-F238E27FC236}">
                <a16:creationId xmlns:a16="http://schemas.microsoft.com/office/drawing/2014/main" id="{17EAF0AC-2C43-4018-A81D-A1F0AA492328}"/>
              </a:ext>
            </a:extLst>
          </p:cNvPr>
          <p:cNvSpPr>
            <a:spLocks noChangeShapeType="1"/>
          </p:cNvSpPr>
          <p:nvPr/>
        </p:nvSpPr>
        <p:spPr bwMode="auto">
          <a:xfrm>
            <a:off x="2678113" y="15268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4" name="Line 467">
            <a:extLst>
              <a:ext uri="{FF2B5EF4-FFF2-40B4-BE49-F238E27FC236}">
                <a16:creationId xmlns:a16="http://schemas.microsoft.com/office/drawing/2014/main" id="{D24E0681-F6AF-431C-9D1E-A87AD47CBDC0}"/>
              </a:ext>
            </a:extLst>
          </p:cNvPr>
          <p:cNvSpPr>
            <a:spLocks noChangeShapeType="1"/>
          </p:cNvSpPr>
          <p:nvPr/>
        </p:nvSpPr>
        <p:spPr bwMode="auto">
          <a:xfrm>
            <a:off x="2703513" y="15776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5" name="Line 468">
            <a:extLst>
              <a:ext uri="{FF2B5EF4-FFF2-40B4-BE49-F238E27FC236}">
                <a16:creationId xmlns:a16="http://schemas.microsoft.com/office/drawing/2014/main" id="{14982EBC-2679-4338-B8DF-6389CE5FE1CA}"/>
              </a:ext>
            </a:extLst>
          </p:cNvPr>
          <p:cNvSpPr>
            <a:spLocks noChangeShapeType="1"/>
          </p:cNvSpPr>
          <p:nvPr/>
        </p:nvSpPr>
        <p:spPr bwMode="auto">
          <a:xfrm>
            <a:off x="2703514" y="15649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6" name="Line 469">
            <a:extLst>
              <a:ext uri="{FF2B5EF4-FFF2-40B4-BE49-F238E27FC236}">
                <a16:creationId xmlns:a16="http://schemas.microsoft.com/office/drawing/2014/main" id="{555E5B04-E4BE-454A-901B-7AEEF18B552C}"/>
              </a:ext>
            </a:extLst>
          </p:cNvPr>
          <p:cNvSpPr>
            <a:spLocks noChangeShapeType="1"/>
          </p:cNvSpPr>
          <p:nvPr/>
        </p:nvSpPr>
        <p:spPr bwMode="auto">
          <a:xfrm>
            <a:off x="2690815" y="15649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7" name="Line 470">
            <a:extLst>
              <a:ext uri="{FF2B5EF4-FFF2-40B4-BE49-F238E27FC236}">
                <a16:creationId xmlns:a16="http://schemas.microsoft.com/office/drawing/2014/main" id="{F21D07E2-E3E5-4702-BA7E-4A7D688ADF1F}"/>
              </a:ext>
            </a:extLst>
          </p:cNvPr>
          <p:cNvSpPr>
            <a:spLocks noChangeShapeType="1"/>
          </p:cNvSpPr>
          <p:nvPr/>
        </p:nvSpPr>
        <p:spPr bwMode="auto">
          <a:xfrm flipV="1">
            <a:off x="2601913" y="15268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8" name="Line 471">
            <a:extLst>
              <a:ext uri="{FF2B5EF4-FFF2-40B4-BE49-F238E27FC236}">
                <a16:creationId xmlns:a16="http://schemas.microsoft.com/office/drawing/2014/main" id="{B415D7C2-4CC3-42BC-A71A-2F4FE54180CD}"/>
              </a:ext>
            </a:extLst>
          </p:cNvPr>
          <p:cNvSpPr>
            <a:spLocks noChangeShapeType="1"/>
          </p:cNvSpPr>
          <p:nvPr/>
        </p:nvSpPr>
        <p:spPr bwMode="auto">
          <a:xfrm flipH="1">
            <a:off x="2601913" y="15395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399" name="Line 472">
            <a:extLst>
              <a:ext uri="{FF2B5EF4-FFF2-40B4-BE49-F238E27FC236}">
                <a16:creationId xmlns:a16="http://schemas.microsoft.com/office/drawing/2014/main" id="{D8ED53E5-DCAA-4506-B60D-D19ECBE7BF48}"/>
              </a:ext>
            </a:extLst>
          </p:cNvPr>
          <p:cNvSpPr>
            <a:spLocks noChangeShapeType="1"/>
          </p:cNvSpPr>
          <p:nvPr/>
        </p:nvSpPr>
        <p:spPr bwMode="auto">
          <a:xfrm>
            <a:off x="2589213" y="15141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0" name="Line 473">
            <a:extLst>
              <a:ext uri="{FF2B5EF4-FFF2-40B4-BE49-F238E27FC236}">
                <a16:creationId xmlns:a16="http://schemas.microsoft.com/office/drawing/2014/main" id="{61786B20-FD67-4550-9285-5452FEC3987B}"/>
              </a:ext>
            </a:extLst>
          </p:cNvPr>
          <p:cNvSpPr>
            <a:spLocks noChangeShapeType="1"/>
          </p:cNvSpPr>
          <p:nvPr/>
        </p:nvSpPr>
        <p:spPr bwMode="auto">
          <a:xfrm flipH="1">
            <a:off x="2538413" y="15268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1" name="Line 474">
            <a:extLst>
              <a:ext uri="{FF2B5EF4-FFF2-40B4-BE49-F238E27FC236}">
                <a16:creationId xmlns:a16="http://schemas.microsoft.com/office/drawing/2014/main" id="{C0C0B98B-2B6F-477C-BFF4-8327EBE431C3}"/>
              </a:ext>
            </a:extLst>
          </p:cNvPr>
          <p:cNvSpPr>
            <a:spLocks noChangeShapeType="1"/>
          </p:cNvSpPr>
          <p:nvPr/>
        </p:nvSpPr>
        <p:spPr bwMode="auto">
          <a:xfrm flipH="1">
            <a:off x="2513013" y="1514102"/>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2" name="Line 475">
            <a:extLst>
              <a:ext uri="{FF2B5EF4-FFF2-40B4-BE49-F238E27FC236}">
                <a16:creationId xmlns:a16="http://schemas.microsoft.com/office/drawing/2014/main" id="{3BFC6654-F45B-4B52-AAFD-3C1BD6F97A28}"/>
              </a:ext>
            </a:extLst>
          </p:cNvPr>
          <p:cNvSpPr>
            <a:spLocks noChangeShapeType="1"/>
          </p:cNvSpPr>
          <p:nvPr/>
        </p:nvSpPr>
        <p:spPr bwMode="auto">
          <a:xfrm flipH="1">
            <a:off x="2500313" y="15014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3" name="Line 476">
            <a:extLst>
              <a:ext uri="{FF2B5EF4-FFF2-40B4-BE49-F238E27FC236}">
                <a16:creationId xmlns:a16="http://schemas.microsoft.com/office/drawing/2014/main" id="{78034C1C-1F86-4872-93F0-DCE9DAD326D9}"/>
              </a:ext>
            </a:extLst>
          </p:cNvPr>
          <p:cNvSpPr>
            <a:spLocks noChangeShapeType="1"/>
          </p:cNvSpPr>
          <p:nvPr/>
        </p:nvSpPr>
        <p:spPr bwMode="auto">
          <a:xfrm>
            <a:off x="2513013" y="14887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4" name="Line 477">
            <a:extLst>
              <a:ext uri="{FF2B5EF4-FFF2-40B4-BE49-F238E27FC236}">
                <a16:creationId xmlns:a16="http://schemas.microsoft.com/office/drawing/2014/main" id="{63E29702-FE5E-491F-9929-A9352A19BD2C}"/>
              </a:ext>
            </a:extLst>
          </p:cNvPr>
          <p:cNvSpPr>
            <a:spLocks noChangeShapeType="1"/>
          </p:cNvSpPr>
          <p:nvPr/>
        </p:nvSpPr>
        <p:spPr bwMode="auto">
          <a:xfrm flipV="1">
            <a:off x="2525713" y="15014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5" name="Line 478">
            <a:extLst>
              <a:ext uri="{FF2B5EF4-FFF2-40B4-BE49-F238E27FC236}">
                <a16:creationId xmlns:a16="http://schemas.microsoft.com/office/drawing/2014/main" id="{B183D656-456F-4F15-96E6-9DBC275EAE6D}"/>
              </a:ext>
            </a:extLst>
          </p:cNvPr>
          <p:cNvSpPr>
            <a:spLocks noChangeShapeType="1"/>
          </p:cNvSpPr>
          <p:nvPr/>
        </p:nvSpPr>
        <p:spPr bwMode="auto">
          <a:xfrm flipV="1">
            <a:off x="2513013" y="15014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6" name="Line 479">
            <a:extLst>
              <a:ext uri="{FF2B5EF4-FFF2-40B4-BE49-F238E27FC236}">
                <a16:creationId xmlns:a16="http://schemas.microsoft.com/office/drawing/2014/main" id="{DD935A37-D26B-469D-96DF-22761D5C2F3E}"/>
              </a:ext>
            </a:extLst>
          </p:cNvPr>
          <p:cNvSpPr>
            <a:spLocks noChangeShapeType="1"/>
          </p:cNvSpPr>
          <p:nvPr/>
        </p:nvSpPr>
        <p:spPr bwMode="auto">
          <a:xfrm>
            <a:off x="2551113" y="15522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7" name="Line 480">
            <a:extLst>
              <a:ext uri="{FF2B5EF4-FFF2-40B4-BE49-F238E27FC236}">
                <a16:creationId xmlns:a16="http://schemas.microsoft.com/office/drawing/2014/main" id="{BC03E147-ED46-427B-9BDF-3881402E82B7}"/>
              </a:ext>
            </a:extLst>
          </p:cNvPr>
          <p:cNvSpPr>
            <a:spLocks noChangeShapeType="1"/>
          </p:cNvSpPr>
          <p:nvPr/>
        </p:nvSpPr>
        <p:spPr bwMode="auto">
          <a:xfrm>
            <a:off x="2576513" y="15141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8" name="Line 481">
            <a:extLst>
              <a:ext uri="{FF2B5EF4-FFF2-40B4-BE49-F238E27FC236}">
                <a16:creationId xmlns:a16="http://schemas.microsoft.com/office/drawing/2014/main" id="{A37BCA06-DA49-46C6-AFF4-85201F7DA3D9}"/>
              </a:ext>
            </a:extLst>
          </p:cNvPr>
          <p:cNvSpPr>
            <a:spLocks noChangeShapeType="1"/>
          </p:cNvSpPr>
          <p:nvPr/>
        </p:nvSpPr>
        <p:spPr bwMode="auto">
          <a:xfrm flipV="1">
            <a:off x="2538413" y="1526805"/>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09" name="Line 482">
            <a:extLst>
              <a:ext uri="{FF2B5EF4-FFF2-40B4-BE49-F238E27FC236}">
                <a16:creationId xmlns:a16="http://schemas.microsoft.com/office/drawing/2014/main" id="{854DD192-2E4A-48D6-B602-119EA4D16E87}"/>
              </a:ext>
            </a:extLst>
          </p:cNvPr>
          <p:cNvSpPr>
            <a:spLocks noChangeShapeType="1"/>
          </p:cNvSpPr>
          <p:nvPr/>
        </p:nvSpPr>
        <p:spPr bwMode="auto">
          <a:xfrm>
            <a:off x="2487613" y="15268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0" name="Line 483">
            <a:extLst>
              <a:ext uri="{FF2B5EF4-FFF2-40B4-BE49-F238E27FC236}">
                <a16:creationId xmlns:a16="http://schemas.microsoft.com/office/drawing/2014/main" id="{87F01F64-D1F7-444B-B260-1B08C0408453}"/>
              </a:ext>
            </a:extLst>
          </p:cNvPr>
          <p:cNvSpPr>
            <a:spLocks noChangeShapeType="1"/>
          </p:cNvSpPr>
          <p:nvPr/>
        </p:nvSpPr>
        <p:spPr bwMode="auto">
          <a:xfrm>
            <a:off x="2474914" y="1514102"/>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1" name="Line 484">
            <a:extLst>
              <a:ext uri="{FF2B5EF4-FFF2-40B4-BE49-F238E27FC236}">
                <a16:creationId xmlns:a16="http://schemas.microsoft.com/office/drawing/2014/main" id="{6BC7C83D-686E-4F09-89B2-D554E08F4E08}"/>
              </a:ext>
            </a:extLst>
          </p:cNvPr>
          <p:cNvSpPr>
            <a:spLocks noChangeShapeType="1"/>
          </p:cNvSpPr>
          <p:nvPr/>
        </p:nvSpPr>
        <p:spPr bwMode="auto">
          <a:xfrm>
            <a:off x="2424113" y="14760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2" name="Line 485">
            <a:extLst>
              <a:ext uri="{FF2B5EF4-FFF2-40B4-BE49-F238E27FC236}">
                <a16:creationId xmlns:a16="http://schemas.microsoft.com/office/drawing/2014/main" id="{8A4ED5EF-DD9E-4D83-BE4D-DFEDA28185B5}"/>
              </a:ext>
            </a:extLst>
          </p:cNvPr>
          <p:cNvSpPr>
            <a:spLocks noChangeShapeType="1"/>
          </p:cNvSpPr>
          <p:nvPr/>
        </p:nvSpPr>
        <p:spPr bwMode="auto">
          <a:xfrm>
            <a:off x="2449513" y="14760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3" name="Line 486">
            <a:extLst>
              <a:ext uri="{FF2B5EF4-FFF2-40B4-BE49-F238E27FC236}">
                <a16:creationId xmlns:a16="http://schemas.microsoft.com/office/drawing/2014/main" id="{E9AAB31F-8284-4B37-AE4B-D7F369F00C06}"/>
              </a:ext>
            </a:extLst>
          </p:cNvPr>
          <p:cNvSpPr>
            <a:spLocks noChangeShapeType="1"/>
          </p:cNvSpPr>
          <p:nvPr/>
        </p:nvSpPr>
        <p:spPr bwMode="auto">
          <a:xfrm>
            <a:off x="2436813" y="1463307"/>
            <a:ext cx="0" cy="635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4" name="Line 487">
            <a:extLst>
              <a:ext uri="{FF2B5EF4-FFF2-40B4-BE49-F238E27FC236}">
                <a16:creationId xmlns:a16="http://schemas.microsoft.com/office/drawing/2014/main" id="{FDFE919D-F4A6-4260-A31B-D7E664D5ED8B}"/>
              </a:ext>
            </a:extLst>
          </p:cNvPr>
          <p:cNvSpPr>
            <a:spLocks noChangeShapeType="1"/>
          </p:cNvSpPr>
          <p:nvPr/>
        </p:nvSpPr>
        <p:spPr bwMode="auto">
          <a:xfrm flipV="1">
            <a:off x="2411413" y="1476002"/>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5" name="Line 488">
            <a:extLst>
              <a:ext uri="{FF2B5EF4-FFF2-40B4-BE49-F238E27FC236}">
                <a16:creationId xmlns:a16="http://schemas.microsoft.com/office/drawing/2014/main" id="{5C1BAA43-841A-4D91-8641-F37E2894FD2A}"/>
              </a:ext>
            </a:extLst>
          </p:cNvPr>
          <p:cNvSpPr>
            <a:spLocks noChangeShapeType="1"/>
          </p:cNvSpPr>
          <p:nvPr/>
        </p:nvSpPr>
        <p:spPr bwMode="auto">
          <a:xfrm flipH="1">
            <a:off x="2449513" y="14887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6" name="Line 489">
            <a:extLst>
              <a:ext uri="{FF2B5EF4-FFF2-40B4-BE49-F238E27FC236}">
                <a16:creationId xmlns:a16="http://schemas.microsoft.com/office/drawing/2014/main" id="{9ACF731D-C723-4564-8820-0412A749AC95}"/>
              </a:ext>
            </a:extLst>
          </p:cNvPr>
          <p:cNvSpPr>
            <a:spLocks noChangeShapeType="1"/>
          </p:cNvSpPr>
          <p:nvPr/>
        </p:nvSpPr>
        <p:spPr bwMode="auto">
          <a:xfrm>
            <a:off x="2373313" y="14887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7" name="Line 490">
            <a:extLst>
              <a:ext uri="{FF2B5EF4-FFF2-40B4-BE49-F238E27FC236}">
                <a16:creationId xmlns:a16="http://schemas.microsoft.com/office/drawing/2014/main" id="{CC1E4F24-77B2-4ACD-BD7F-AC4124978AE1}"/>
              </a:ext>
            </a:extLst>
          </p:cNvPr>
          <p:cNvSpPr>
            <a:spLocks noChangeShapeType="1"/>
          </p:cNvSpPr>
          <p:nvPr/>
        </p:nvSpPr>
        <p:spPr bwMode="auto">
          <a:xfrm>
            <a:off x="2398714" y="15014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8" name="Line 491">
            <a:extLst>
              <a:ext uri="{FF2B5EF4-FFF2-40B4-BE49-F238E27FC236}">
                <a16:creationId xmlns:a16="http://schemas.microsoft.com/office/drawing/2014/main" id="{6584224F-7B50-4D24-B531-D190C831E7D6}"/>
              </a:ext>
            </a:extLst>
          </p:cNvPr>
          <p:cNvSpPr>
            <a:spLocks noChangeShapeType="1"/>
          </p:cNvSpPr>
          <p:nvPr/>
        </p:nvSpPr>
        <p:spPr bwMode="auto">
          <a:xfrm>
            <a:off x="2411413" y="1476005"/>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19" name="Line 492">
            <a:extLst>
              <a:ext uri="{FF2B5EF4-FFF2-40B4-BE49-F238E27FC236}">
                <a16:creationId xmlns:a16="http://schemas.microsoft.com/office/drawing/2014/main" id="{713AF1F6-13CB-4C60-A459-1E132D4BF1A0}"/>
              </a:ext>
            </a:extLst>
          </p:cNvPr>
          <p:cNvSpPr>
            <a:spLocks noChangeShapeType="1"/>
          </p:cNvSpPr>
          <p:nvPr/>
        </p:nvSpPr>
        <p:spPr bwMode="auto">
          <a:xfrm>
            <a:off x="2411413" y="1476005"/>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0" name="Line 493">
            <a:extLst>
              <a:ext uri="{FF2B5EF4-FFF2-40B4-BE49-F238E27FC236}">
                <a16:creationId xmlns:a16="http://schemas.microsoft.com/office/drawing/2014/main" id="{EC5ADB6A-06C0-47C0-9CD5-8A2A29D61BE3}"/>
              </a:ext>
            </a:extLst>
          </p:cNvPr>
          <p:cNvSpPr>
            <a:spLocks noChangeShapeType="1"/>
          </p:cNvSpPr>
          <p:nvPr/>
        </p:nvSpPr>
        <p:spPr bwMode="auto">
          <a:xfrm>
            <a:off x="2360613" y="14506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1" name="Line 494">
            <a:extLst>
              <a:ext uri="{FF2B5EF4-FFF2-40B4-BE49-F238E27FC236}">
                <a16:creationId xmlns:a16="http://schemas.microsoft.com/office/drawing/2014/main" id="{5D7F4A5D-BFF0-4E65-9941-F7173D01BE30}"/>
              </a:ext>
            </a:extLst>
          </p:cNvPr>
          <p:cNvSpPr>
            <a:spLocks noChangeShapeType="1"/>
          </p:cNvSpPr>
          <p:nvPr/>
        </p:nvSpPr>
        <p:spPr bwMode="auto">
          <a:xfrm flipV="1">
            <a:off x="2335213" y="14506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2" name="Line 495">
            <a:extLst>
              <a:ext uri="{FF2B5EF4-FFF2-40B4-BE49-F238E27FC236}">
                <a16:creationId xmlns:a16="http://schemas.microsoft.com/office/drawing/2014/main" id="{6C90CCB9-DE39-4998-A583-21CCDDDD22F0}"/>
              </a:ext>
            </a:extLst>
          </p:cNvPr>
          <p:cNvSpPr>
            <a:spLocks noChangeShapeType="1"/>
          </p:cNvSpPr>
          <p:nvPr/>
        </p:nvSpPr>
        <p:spPr bwMode="auto">
          <a:xfrm flipV="1">
            <a:off x="2347913" y="14506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3" name="Line 496">
            <a:extLst>
              <a:ext uri="{FF2B5EF4-FFF2-40B4-BE49-F238E27FC236}">
                <a16:creationId xmlns:a16="http://schemas.microsoft.com/office/drawing/2014/main" id="{A737D90A-A767-4815-9EF6-C4AE217AB63A}"/>
              </a:ext>
            </a:extLst>
          </p:cNvPr>
          <p:cNvSpPr>
            <a:spLocks noChangeShapeType="1"/>
          </p:cNvSpPr>
          <p:nvPr/>
        </p:nvSpPr>
        <p:spPr bwMode="auto">
          <a:xfrm flipH="1">
            <a:off x="2373313" y="14633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4" name="Line 497">
            <a:extLst>
              <a:ext uri="{FF2B5EF4-FFF2-40B4-BE49-F238E27FC236}">
                <a16:creationId xmlns:a16="http://schemas.microsoft.com/office/drawing/2014/main" id="{D28CE3D1-8198-4C69-B312-C695C15B8B11}"/>
              </a:ext>
            </a:extLst>
          </p:cNvPr>
          <p:cNvSpPr>
            <a:spLocks noChangeShapeType="1"/>
          </p:cNvSpPr>
          <p:nvPr/>
        </p:nvSpPr>
        <p:spPr bwMode="auto">
          <a:xfrm>
            <a:off x="2335213" y="14379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5" name="Line 498">
            <a:extLst>
              <a:ext uri="{FF2B5EF4-FFF2-40B4-BE49-F238E27FC236}">
                <a16:creationId xmlns:a16="http://schemas.microsoft.com/office/drawing/2014/main" id="{C3B6B2BE-379C-436E-B149-E1411CF0EEA9}"/>
              </a:ext>
            </a:extLst>
          </p:cNvPr>
          <p:cNvSpPr>
            <a:spLocks noChangeShapeType="1"/>
          </p:cNvSpPr>
          <p:nvPr/>
        </p:nvSpPr>
        <p:spPr bwMode="auto">
          <a:xfrm flipV="1">
            <a:off x="2322513" y="1437906"/>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6" name="Line 499">
            <a:extLst>
              <a:ext uri="{FF2B5EF4-FFF2-40B4-BE49-F238E27FC236}">
                <a16:creationId xmlns:a16="http://schemas.microsoft.com/office/drawing/2014/main" id="{B6AE0801-AD06-42D1-8CB8-A0C77E6472F2}"/>
              </a:ext>
            </a:extLst>
          </p:cNvPr>
          <p:cNvSpPr>
            <a:spLocks noChangeShapeType="1"/>
          </p:cNvSpPr>
          <p:nvPr/>
        </p:nvSpPr>
        <p:spPr bwMode="auto">
          <a:xfrm>
            <a:off x="2284413" y="14506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7" name="Line 500">
            <a:extLst>
              <a:ext uri="{FF2B5EF4-FFF2-40B4-BE49-F238E27FC236}">
                <a16:creationId xmlns:a16="http://schemas.microsoft.com/office/drawing/2014/main" id="{687F478C-575A-4D9F-ADBC-FCFAFF862B8D}"/>
              </a:ext>
            </a:extLst>
          </p:cNvPr>
          <p:cNvSpPr>
            <a:spLocks noChangeShapeType="1"/>
          </p:cNvSpPr>
          <p:nvPr/>
        </p:nvSpPr>
        <p:spPr bwMode="auto">
          <a:xfrm>
            <a:off x="2297113" y="14633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8" name="Line 501">
            <a:extLst>
              <a:ext uri="{FF2B5EF4-FFF2-40B4-BE49-F238E27FC236}">
                <a16:creationId xmlns:a16="http://schemas.microsoft.com/office/drawing/2014/main" id="{87963658-986E-4DA8-BF9E-D6ABF8508A00}"/>
              </a:ext>
            </a:extLst>
          </p:cNvPr>
          <p:cNvSpPr>
            <a:spLocks noChangeShapeType="1"/>
          </p:cNvSpPr>
          <p:nvPr/>
        </p:nvSpPr>
        <p:spPr bwMode="auto">
          <a:xfrm>
            <a:off x="2322513" y="1476002"/>
            <a:ext cx="127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29" name="Line 502">
            <a:extLst>
              <a:ext uri="{FF2B5EF4-FFF2-40B4-BE49-F238E27FC236}">
                <a16:creationId xmlns:a16="http://schemas.microsoft.com/office/drawing/2014/main" id="{45D7DA51-EF5D-4C85-8D1A-8154E4E56390}"/>
              </a:ext>
            </a:extLst>
          </p:cNvPr>
          <p:cNvSpPr>
            <a:spLocks noChangeShapeType="1"/>
          </p:cNvSpPr>
          <p:nvPr/>
        </p:nvSpPr>
        <p:spPr bwMode="auto">
          <a:xfrm>
            <a:off x="2208213" y="13998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0" name="Line 503">
            <a:extLst>
              <a:ext uri="{FF2B5EF4-FFF2-40B4-BE49-F238E27FC236}">
                <a16:creationId xmlns:a16="http://schemas.microsoft.com/office/drawing/2014/main" id="{B24ED708-FCF6-4167-A184-D94EFAE6B2EC}"/>
              </a:ext>
            </a:extLst>
          </p:cNvPr>
          <p:cNvSpPr>
            <a:spLocks noChangeShapeType="1"/>
          </p:cNvSpPr>
          <p:nvPr/>
        </p:nvSpPr>
        <p:spPr bwMode="auto">
          <a:xfrm>
            <a:off x="2220913" y="14125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1" name="Line 504">
            <a:extLst>
              <a:ext uri="{FF2B5EF4-FFF2-40B4-BE49-F238E27FC236}">
                <a16:creationId xmlns:a16="http://schemas.microsoft.com/office/drawing/2014/main" id="{6240CD54-2739-44FF-89FC-6AD14FC98087}"/>
              </a:ext>
            </a:extLst>
          </p:cNvPr>
          <p:cNvSpPr>
            <a:spLocks noChangeShapeType="1"/>
          </p:cNvSpPr>
          <p:nvPr/>
        </p:nvSpPr>
        <p:spPr bwMode="auto">
          <a:xfrm flipH="1">
            <a:off x="2220915" y="14252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2" name="Line 505">
            <a:extLst>
              <a:ext uri="{FF2B5EF4-FFF2-40B4-BE49-F238E27FC236}">
                <a16:creationId xmlns:a16="http://schemas.microsoft.com/office/drawing/2014/main" id="{5899A6B9-FCD2-4BEC-A853-81211DF42F14}"/>
              </a:ext>
            </a:extLst>
          </p:cNvPr>
          <p:cNvSpPr>
            <a:spLocks noChangeShapeType="1"/>
          </p:cNvSpPr>
          <p:nvPr/>
        </p:nvSpPr>
        <p:spPr bwMode="auto">
          <a:xfrm flipH="1">
            <a:off x="2132013" y="14125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3" name="Line 506">
            <a:extLst>
              <a:ext uri="{FF2B5EF4-FFF2-40B4-BE49-F238E27FC236}">
                <a16:creationId xmlns:a16="http://schemas.microsoft.com/office/drawing/2014/main" id="{32B3071C-0758-4158-A7FD-D64408484367}"/>
              </a:ext>
            </a:extLst>
          </p:cNvPr>
          <p:cNvSpPr>
            <a:spLocks noChangeShapeType="1"/>
          </p:cNvSpPr>
          <p:nvPr/>
        </p:nvSpPr>
        <p:spPr bwMode="auto">
          <a:xfrm>
            <a:off x="2144713" y="13871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4" name="Line 507">
            <a:extLst>
              <a:ext uri="{FF2B5EF4-FFF2-40B4-BE49-F238E27FC236}">
                <a16:creationId xmlns:a16="http://schemas.microsoft.com/office/drawing/2014/main" id="{E7A43FF9-F9E7-43C5-83CA-81806CFD4686}"/>
              </a:ext>
            </a:extLst>
          </p:cNvPr>
          <p:cNvSpPr>
            <a:spLocks noChangeShapeType="1"/>
          </p:cNvSpPr>
          <p:nvPr/>
        </p:nvSpPr>
        <p:spPr bwMode="auto">
          <a:xfrm>
            <a:off x="2132013" y="1387106"/>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5" name="Line 508">
            <a:extLst>
              <a:ext uri="{FF2B5EF4-FFF2-40B4-BE49-F238E27FC236}">
                <a16:creationId xmlns:a16="http://schemas.microsoft.com/office/drawing/2014/main" id="{92435325-F13B-4C85-8AFA-B9565C477276}"/>
              </a:ext>
            </a:extLst>
          </p:cNvPr>
          <p:cNvSpPr>
            <a:spLocks noChangeShapeType="1"/>
          </p:cNvSpPr>
          <p:nvPr/>
        </p:nvSpPr>
        <p:spPr bwMode="auto">
          <a:xfrm>
            <a:off x="2119313" y="13871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6" name="Line 509">
            <a:extLst>
              <a:ext uri="{FF2B5EF4-FFF2-40B4-BE49-F238E27FC236}">
                <a16:creationId xmlns:a16="http://schemas.microsoft.com/office/drawing/2014/main" id="{DC42BE83-4A00-40B0-8E19-4BA68CCA0E5C}"/>
              </a:ext>
            </a:extLst>
          </p:cNvPr>
          <p:cNvSpPr>
            <a:spLocks noChangeShapeType="1"/>
          </p:cNvSpPr>
          <p:nvPr/>
        </p:nvSpPr>
        <p:spPr bwMode="auto">
          <a:xfrm>
            <a:off x="2106613" y="13744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7" name="Line 510">
            <a:extLst>
              <a:ext uri="{FF2B5EF4-FFF2-40B4-BE49-F238E27FC236}">
                <a16:creationId xmlns:a16="http://schemas.microsoft.com/office/drawing/2014/main" id="{C88DF91F-6DA8-4A0B-A008-495EC195EBC1}"/>
              </a:ext>
            </a:extLst>
          </p:cNvPr>
          <p:cNvSpPr>
            <a:spLocks noChangeShapeType="1"/>
          </p:cNvSpPr>
          <p:nvPr/>
        </p:nvSpPr>
        <p:spPr bwMode="auto">
          <a:xfrm flipH="1">
            <a:off x="2144713" y="1399802"/>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8" name="Line 511">
            <a:extLst>
              <a:ext uri="{FF2B5EF4-FFF2-40B4-BE49-F238E27FC236}">
                <a16:creationId xmlns:a16="http://schemas.microsoft.com/office/drawing/2014/main" id="{77B89BEE-E8C5-478D-96BD-2093CE7F1AAC}"/>
              </a:ext>
            </a:extLst>
          </p:cNvPr>
          <p:cNvSpPr>
            <a:spLocks noChangeShapeType="1"/>
          </p:cNvSpPr>
          <p:nvPr/>
        </p:nvSpPr>
        <p:spPr bwMode="auto">
          <a:xfrm>
            <a:off x="2233613" y="1412507"/>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39" name="Line 512">
            <a:extLst>
              <a:ext uri="{FF2B5EF4-FFF2-40B4-BE49-F238E27FC236}">
                <a16:creationId xmlns:a16="http://schemas.microsoft.com/office/drawing/2014/main" id="{C14D5C09-0D58-47ED-BBFF-149822B4A318}"/>
              </a:ext>
            </a:extLst>
          </p:cNvPr>
          <p:cNvSpPr>
            <a:spLocks noChangeShapeType="1"/>
          </p:cNvSpPr>
          <p:nvPr/>
        </p:nvSpPr>
        <p:spPr bwMode="auto">
          <a:xfrm flipH="1">
            <a:off x="2043113" y="13744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0" name="Line 513">
            <a:extLst>
              <a:ext uri="{FF2B5EF4-FFF2-40B4-BE49-F238E27FC236}">
                <a16:creationId xmlns:a16="http://schemas.microsoft.com/office/drawing/2014/main" id="{D2B507E7-3194-4F83-83D5-3ACDFBFC1085}"/>
              </a:ext>
            </a:extLst>
          </p:cNvPr>
          <p:cNvSpPr>
            <a:spLocks noChangeShapeType="1"/>
          </p:cNvSpPr>
          <p:nvPr/>
        </p:nvSpPr>
        <p:spPr bwMode="auto">
          <a:xfrm>
            <a:off x="2055813" y="1374405"/>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1" name="Line 514">
            <a:extLst>
              <a:ext uri="{FF2B5EF4-FFF2-40B4-BE49-F238E27FC236}">
                <a16:creationId xmlns:a16="http://schemas.microsoft.com/office/drawing/2014/main" id="{CBC1226E-536F-4865-8B46-958B83B58A37}"/>
              </a:ext>
            </a:extLst>
          </p:cNvPr>
          <p:cNvSpPr>
            <a:spLocks noChangeShapeType="1"/>
          </p:cNvSpPr>
          <p:nvPr/>
        </p:nvSpPr>
        <p:spPr bwMode="auto">
          <a:xfrm>
            <a:off x="2030413" y="1349003"/>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2" name="Line 515">
            <a:extLst>
              <a:ext uri="{FF2B5EF4-FFF2-40B4-BE49-F238E27FC236}">
                <a16:creationId xmlns:a16="http://schemas.microsoft.com/office/drawing/2014/main" id="{8DE23CDA-FE34-4CBB-90A1-2C2D02772C15}"/>
              </a:ext>
            </a:extLst>
          </p:cNvPr>
          <p:cNvSpPr>
            <a:spLocks noChangeShapeType="1"/>
          </p:cNvSpPr>
          <p:nvPr/>
        </p:nvSpPr>
        <p:spPr bwMode="auto">
          <a:xfrm>
            <a:off x="2017713" y="1349003"/>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3" name="Line 516">
            <a:extLst>
              <a:ext uri="{FF2B5EF4-FFF2-40B4-BE49-F238E27FC236}">
                <a16:creationId xmlns:a16="http://schemas.microsoft.com/office/drawing/2014/main" id="{1C6B082C-6EAE-423E-BC95-C2FAF8EC7E5E}"/>
              </a:ext>
            </a:extLst>
          </p:cNvPr>
          <p:cNvSpPr>
            <a:spLocks noChangeShapeType="1"/>
          </p:cNvSpPr>
          <p:nvPr/>
        </p:nvSpPr>
        <p:spPr bwMode="auto">
          <a:xfrm>
            <a:off x="1979613" y="1336304"/>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4" name="Line 517">
            <a:extLst>
              <a:ext uri="{FF2B5EF4-FFF2-40B4-BE49-F238E27FC236}">
                <a16:creationId xmlns:a16="http://schemas.microsoft.com/office/drawing/2014/main" id="{9DC107E8-6ECE-4D35-9792-0FD8F1946A7C}"/>
              </a:ext>
            </a:extLst>
          </p:cNvPr>
          <p:cNvSpPr>
            <a:spLocks noChangeShapeType="1"/>
          </p:cNvSpPr>
          <p:nvPr/>
        </p:nvSpPr>
        <p:spPr bwMode="auto">
          <a:xfrm>
            <a:off x="1966913" y="1336304"/>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5" name="Line 518">
            <a:extLst>
              <a:ext uri="{FF2B5EF4-FFF2-40B4-BE49-F238E27FC236}">
                <a16:creationId xmlns:a16="http://schemas.microsoft.com/office/drawing/2014/main" id="{DBDEE350-6825-4DFA-BBFE-6EBD05C73BA2}"/>
              </a:ext>
            </a:extLst>
          </p:cNvPr>
          <p:cNvSpPr>
            <a:spLocks noChangeShapeType="1"/>
          </p:cNvSpPr>
          <p:nvPr/>
        </p:nvSpPr>
        <p:spPr bwMode="auto">
          <a:xfrm flipV="1">
            <a:off x="2005013" y="1349003"/>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6" name="Line 519">
            <a:extLst>
              <a:ext uri="{FF2B5EF4-FFF2-40B4-BE49-F238E27FC236}">
                <a16:creationId xmlns:a16="http://schemas.microsoft.com/office/drawing/2014/main" id="{3142A65F-8A9D-4382-BCC8-6DC5EA4E83E9}"/>
              </a:ext>
            </a:extLst>
          </p:cNvPr>
          <p:cNvSpPr>
            <a:spLocks noChangeShapeType="1"/>
          </p:cNvSpPr>
          <p:nvPr/>
        </p:nvSpPr>
        <p:spPr bwMode="auto">
          <a:xfrm flipV="1">
            <a:off x="1992313" y="1361703"/>
            <a:ext cx="0" cy="254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7" name="Line 520">
            <a:extLst>
              <a:ext uri="{FF2B5EF4-FFF2-40B4-BE49-F238E27FC236}">
                <a16:creationId xmlns:a16="http://schemas.microsoft.com/office/drawing/2014/main" id="{D82D87D5-1928-4261-8649-1B42C0FF95F6}"/>
              </a:ext>
            </a:extLst>
          </p:cNvPr>
          <p:cNvSpPr>
            <a:spLocks noChangeShapeType="1"/>
          </p:cNvSpPr>
          <p:nvPr/>
        </p:nvSpPr>
        <p:spPr bwMode="auto">
          <a:xfrm flipV="1">
            <a:off x="1928813" y="1336304"/>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8" name="Line 521">
            <a:extLst>
              <a:ext uri="{FF2B5EF4-FFF2-40B4-BE49-F238E27FC236}">
                <a16:creationId xmlns:a16="http://schemas.microsoft.com/office/drawing/2014/main" id="{8774D459-31C0-48EE-94B7-BFB64783D4F6}"/>
              </a:ext>
            </a:extLst>
          </p:cNvPr>
          <p:cNvSpPr>
            <a:spLocks noChangeShapeType="1"/>
          </p:cNvSpPr>
          <p:nvPr/>
        </p:nvSpPr>
        <p:spPr bwMode="auto">
          <a:xfrm flipV="1">
            <a:off x="1916113" y="13236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49" name="Line 522">
            <a:extLst>
              <a:ext uri="{FF2B5EF4-FFF2-40B4-BE49-F238E27FC236}">
                <a16:creationId xmlns:a16="http://schemas.microsoft.com/office/drawing/2014/main" id="{6DE3A4B4-C1DC-4FB8-9B41-A9301C1228BC}"/>
              </a:ext>
            </a:extLst>
          </p:cNvPr>
          <p:cNvSpPr>
            <a:spLocks noChangeShapeType="1"/>
          </p:cNvSpPr>
          <p:nvPr/>
        </p:nvSpPr>
        <p:spPr bwMode="auto">
          <a:xfrm>
            <a:off x="1890715" y="1361702"/>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0" name="Line 523">
            <a:extLst>
              <a:ext uri="{FF2B5EF4-FFF2-40B4-BE49-F238E27FC236}">
                <a16:creationId xmlns:a16="http://schemas.microsoft.com/office/drawing/2014/main" id="{49A3B0D6-6D63-40D7-B168-7FC21D6CB116}"/>
              </a:ext>
            </a:extLst>
          </p:cNvPr>
          <p:cNvSpPr>
            <a:spLocks noChangeShapeType="1"/>
          </p:cNvSpPr>
          <p:nvPr/>
        </p:nvSpPr>
        <p:spPr bwMode="auto">
          <a:xfrm>
            <a:off x="1865313" y="13490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1" name="Line 524">
            <a:extLst>
              <a:ext uri="{FF2B5EF4-FFF2-40B4-BE49-F238E27FC236}">
                <a16:creationId xmlns:a16="http://schemas.microsoft.com/office/drawing/2014/main" id="{367FCD01-402E-4E66-AD24-21493EF1EC74}"/>
              </a:ext>
            </a:extLst>
          </p:cNvPr>
          <p:cNvSpPr>
            <a:spLocks noChangeShapeType="1"/>
          </p:cNvSpPr>
          <p:nvPr/>
        </p:nvSpPr>
        <p:spPr bwMode="auto">
          <a:xfrm>
            <a:off x="1852614" y="1336303"/>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2" name="Line 525">
            <a:extLst>
              <a:ext uri="{FF2B5EF4-FFF2-40B4-BE49-F238E27FC236}">
                <a16:creationId xmlns:a16="http://schemas.microsoft.com/office/drawing/2014/main" id="{9ED3397F-CA50-4CA3-88D7-560F646E4794}"/>
              </a:ext>
            </a:extLst>
          </p:cNvPr>
          <p:cNvSpPr>
            <a:spLocks noChangeShapeType="1"/>
          </p:cNvSpPr>
          <p:nvPr/>
        </p:nvSpPr>
        <p:spPr bwMode="auto">
          <a:xfrm flipV="1">
            <a:off x="1827213" y="1298207"/>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3" name="Line 526">
            <a:extLst>
              <a:ext uri="{FF2B5EF4-FFF2-40B4-BE49-F238E27FC236}">
                <a16:creationId xmlns:a16="http://schemas.microsoft.com/office/drawing/2014/main" id="{D77AE4F7-1C2F-4706-AF5B-455A3BD770A1}"/>
              </a:ext>
            </a:extLst>
          </p:cNvPr>
          <p:cNvSpPr>
            <a:spLocks noChangeShapeType="1"/>
          </p:cNvSpPr>
          <p:nvPr/>
        </p:nvSpPr>
        <p:spPr bwMode="auto">
          <a:xfrm flipH="1">
            <a:off x="1814513" y="13109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4" name="Line 527">
            <a:extLst>
              <a:ext uri="{FF2B5EF4-FFF2-40B4-BE49-F238E27FC236}">
                <a16:creationId xmlns:a16="http://schemas.microsoft.com/office/drawing/2014/main" id="{1B057E36-3EA3-4182-87B6-062AB152757C}"/>
              </a:ext>
            </a:extLst>
          </p:cNvPr>
          <p:cNvSpPr>
            <a:spLocks noChangeShapeType="1"/>
          </p:cNvSpPr>
          <p:nvPr/>
        </p:nvSpPr>
        <p:spPr bwMode="auto">
          <a:xfrm>
            <a:off x="1814513" y="128550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5" name="Line 528">
            <a:extLst>
              <a:ext uri="{FF2B5EF4-FFF2-40B4-BE49-F238E27FC236}">
                <a16:creationId xmlns:a16="http://schemas.microsoft.com/office/drawing/2014/main" id="{20DE6558-A9B8-4CF9-BDB6-112A8837631A}"/>
              </a:ext>
            </a:extLst>
          </p:cNvPr>
          <p:cNvSpPr>
            <a:spLocks noChangeShapeType="1"/>
          </p:cNvSpPr>
          <p:nvPr/>
        </p:nvSpPr>
        <p:spPr bwMode="auto">
          <a:xfrm>
            <a:off x="1751013" y="1310903"/>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6" name="Line 529">
            <a:extLst>
              <a:ext uri="{FF2B5EF4-FFF2-40B4-BE49-F238E27FC236}">
                <a16:creationId xmlns:a16="http://schemas.microsoft.com/office/drawing/2014/main" id="{0D3602E0-C931-47FD-9D91-20445A55B569}"/>
              </a:ext>
            </a:extLst>
          </p:cNvPr>
          <p:cNvSpPr>
            <a:spLocks noChangeShapeType="1"/>
          </p:cNvSpPr>
          <p:nvPr/>
        </p:nvSpPr>
        <p:spPr bwMode="auto">
          <a:xfrm>
            <a:off x="1776413" y="13236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7" name="Line 530">
            <a:extLst>
              <a:ext uri="{FF2B5EF4-FFF2-40B4-BE49-F238E27FC236}">
                <a16:creationId xmlns:a16="http://schemas.microsoft.com/office/drawing/2014/main" id="{A6008071-4917-498F-9FBC-338C74E4F109}"/>
              </a:ext>
            </a:extLst>
          </p:cNvPr>
          <p:cNvSpPr>
            <a:spLocks noChangeShapeType="1"/>
          </p:cNvSpPr>
          <p:nvPr/>
        </p:nvSpPr>
        <p:spPr bwMode="auto">
          <a:xfrm>
            <a:off x="1801813" y="1298207"/>
            <a:ext cx="0" cy="127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8" name="Line 531">
            <a:extLst>
              <a:ext uri="{FF2B5EF4-FFF2-40B4-BE49-F238E27FC236}">
                <a16:creationId xmlns:a16="http://schemas.microsoft.com/office/drawing/2014/main" id="{00287808-FCED-4510-8F64-6957C2DAF7D0}"/>
              </a:ext>
            </a:extLst>
          </p:cNvPr>
          <p:cNvSpPr>
            <a:spLocks noChangeShapeType="1"/>
          </p:cNvSpPr>
          <p:nvPr/>
        </p:nvSpPr>
        <p:spPr bwMode="auto">
          <a:xfrm>
            <a:off x="1712913" y="1272803"/>
            <a:ext cx="0" cy="381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59" name="Line 532">
            <a:extLst>
              <a:ext uri="{FF2B5EF4-FFF2-40B4-BE49-F238E27FC236}">
                <a16:creationId xmlns:a16="http://schemas.microsoft.com/office/drawing/2014/main" id="{B5C77466-EDE0-46CE-84F4-D5A0DFE6A860}"/>
              </a:ext>
            </a:extLst>
          </p:cNvPr>
          <p:cNvSpPr>
            <a:spLocks noChangeShapeType="1"/>
          </p:cNvSpPr>
          <p:nvPr/>
        </p:nvSpPr>
        <p:spPr bwMode="auto">
          <a:xfrm>
            <a:off x="1662114" y="1285502"/>
            <a:ext cx="508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0" name="Line 533">
            <a:extLst>
              <a:ext uri="{FF2B5EF4-FFF2-40B4-BE49-F238E27FC236}">
                <a16:creationId xmlns:a16="http://schemas.microsoft.com/office/drawing/2014/main" id="{DDCB9B5D-9932-4350-919F-ED3D2F639531}"/>
              </a:ext>
            </a:extLst>
          </p:cNvPr>
          <p:cNvSpPr>
            <a:spLocks noChangeShapeType="1"/>
          </p:cNvSpPr>
          <p:nvPr/>
        </p:nvSpPr>
        <p:spPr bwMode="auto">
          <a:xfrm flipH="1">
            <a:off x="1712913" y="1285502"/>
            <a:ext cx="381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1" name="Line 534">
            <a:extLst>
              <a:ext uri="{FF2B5EF4-FFF2-40B4-BE49-F238E27FC236}">
                <a16:creationId xmlns:a16="http://schemas.microsoft.com/office/drawing/2014/main" id="{767A43E6-1728-4348-A968-E01E43F27BBE}"/>
              </a:ext>
            </a:extLst>
          </p:cNvPr>
          <p:cNvSpPr>
            <a:spLocks noChangeShapeType="1"/>
          </p:cNvSpPr>
          <p:nvPr/>
        </p:nvSpPr>
        <p:spPr bwMode="auto">
          <a:xfrm flipH="1">
            <a:off x="1719265" y="129185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2" name="Line 535">
            <a:extLst>
              <a:ext uri="{FF2B5EF4-FFF2-40B4-BE49-F238E27FC236}">
                <a16:creationId xmlns:a16="http://schemas.microsoft.com/office/drawing/2014/main" id="{533B05DE-7AB4-413E-A00E-77EEF5A217A4}"/>
              </a:ext>
            </a:extLst>
          </p:cNvPr>
          <p:cNvSpPr>
            <a:spLocks noChangeShapeType="1"/>
          </p:cNvSpPr>
          <p:nvPr/>
        </p:nvSpPr>
        <p:spPr bwMode="auto">
          <a:xfrm>
            <a:off x="1719265" y="1304552"/>
            <a:ext cx="635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3" name="Line 536">
            <a:extLst>
              <a:ext uri="{FF2B5EF4-FFF2-40B4-BE49-F238E27FC236}">
                <a16:creationId xmlns:a16="http://schemas.microsoft.com/office/drawing/2014/main" id="{C2DAB3E1-6EA7-41EA-8BEC-FA2A6B0284BC}"/>
              </a:ext>
            </a:extLst>
          </p:cNvPr>
          <p:cNvSpPr>
            <a:spLocks noChangeShapeType="1"/>
          </p:cNvSpPr>
          <p:nvPr/>
        </p:nvSpPr>
        <p:spPr bwMode="auto">
          <a:xfrm flipV="1">
            <a:off x="1706563" y="1266455"/>
            <a:ext cx="0" cy="5080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4" name="Line 537">
            <a:extLst>
              <a:ext uri="{FF2B5EF4-FFF2-40B4-BE49-F238E27FC236}">
                <a16:creationId xmlns:a16="http://schemas.microsoft.com/office/drawing/2014/main" id="{782AD80B-A883-4596-B479-3817F49379AC}"/>
              </a:ext>
            </a:extLst>
          </p:cNvPr>
          <p:cNvSpPr>
            <a:spLocks noChangeShapeType="1"/>
          </p:cNvSpPr>
          <p:nvPr/>
        </p:nvSpPr>
        <p:spPr bwMode="auto">
          <a:xfrm>
            <a:off x="2093914" y="14125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5" name="Line 538">
            <a:extLst>
              <a:ext uri="{FF2B5EF4-FFF2-40B4-BE49-F238E27FC236}">
                <a16:creationId xmlns:a16="http://schemas.microsoft.com/office/drawing/2014/main" id="{C81B6837-337F-484B-B5FC-2373E5BF367E}"/>
              </a:ext>
            </a:extLst>
          </p:cNvPr>
          <p:cNvSpPr>
            <a:spLocks noChangeShapeType="1"/>
          </p:cNvSpPr>
          <p:nvPr/>
        </p:nvSpPr>
        <p:spPr bwMode="auto">
          <a:xfrm>
            <a:off x="2551113" y="1539503"/>
            <a:ext cx="127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6" name="Line 539">
            <a:extLst>
              <a:ext uri="{FF2B5EF4-FFF2-40B4-BE49-F238E27FC236}">
                <a16:creationId xmlns:a16="http://schemas.microsoft.com/office/drawing/2014/main" id="{257D2EDC-5B36-4404-A27F-D7D2FDB552B8}"/>
              </a:ext>
            </a:extLst>
          </p:cNvPr>
          <p:cNvSpPr>
            <a:spLocks noChangeShapeType="1"/>
          </p:cNvSpPr>
          <p:nvPr/>
        </p:nvSpPr>
        <p:spPr bwMode="auto">
          <a:xfrm flipH="1">
            <a:off x="3249613" y="1653803"/>
            <a:ext cx="25400" cy="0"/>
          </a:xfrm>
          <a:prstGeom prst="line">
            <a:avLst/>
          </a:prstGeom>
          <a:noFill/>
          <a:ln w="127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7" name="Line 540">
            <a:extLst>
              <a:ext uri="{FF2B5EF4-FFF2-40B4-BE49-F238E27FC236}">
                <a16:creationId xmlns:a16="http://schemas.microsoft.com/office/drawing/2014/main" id="{7E680A4C-965F-4FBE-9968-EEB2296F6273}"/>
              </a:ext>
            </a:extLst>
          </p:cNvPr>
          <p:cNvSpPr>
            <a:spLocks noChangeShapeType="1"/>
          </p:cNvSpPr>
          <p:nvPr/>
        </p:nvSpPr>
        <p:spPr bwMode="auto">
          <a:xfrm>
            <a:off x="5154613" y="2225306"/>
            <a:ext cx="0" cy="50800"/>
          </a:xfrm>
          <a:prstGeom prst="line">
            <a:avLst/>
          </a:prstGeom>
          <a:noFill/>
          <a:ln w="635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8" name="Line 541">
            <a:extLst>
              <a:ext uri="{FF2B5EF4-FFF2-40B4-BE49-F238E27FC236}">
                <a16:creationId xmlns:a16="http://schemas.microsoft.com/office/drawing/2014/main" id="{832B28BD-C7AB-4A32-9F94-E62B389644ED}"/>
              </a:ext>
            </a:extLst>
          </p:cNvPr>
          <p:cNvSpPr>
            <a:spLocks noChangeShapeType="1"/>
          </p:cNvSpPr>
          <p:nvPr/>
        </p:nvSpPr>
        <p:spPr bwMode="auto">
          <a:xfrm flipV="1">
            <a:off x="5192713" y="2250707"/>
            <a:ext cx="0" cy="50800"/>
          </a:xfrm>
          <a:prstGeom prst="line">
            <a:avLst/>
          </a:prstGeom>
          <a:noFill/>
          <a:ln w="9525">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69" name="Line 542">
            <a:extLst>
              <a:ext uri="{FF2B5EF4-FFF2-40B4-BE49-F238E27FC236}">
                <a16:creationId xmlns:a16="http://schemas.microsoft.com/office/drawing/2014/main" id="{F6DDFB5E-793C-4425-9661-FF4A93DC49C0}"/>
              </a:ext>
            </a:extLst>
          </p:cNvPr>
          <p:cNvSpPr>
            <a:spLocks noChangeShapeType="1"/>
          </p:cNvSpPr>
          <p:nvPr/>
        </p:nvSpPr>
        <p:spPr bwMode="auto">
          <a:xfrm>
            <a:off x="5776913" y="2352305"/>
            <a:ext cx="0" cy="50800"/>
          </a:xfrm>
          <a:prstGeom prst="line">
            <a:avLst/>
          </a:prstGeom>
          <a:noFill/>
          <a:ln w="3810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70" name="Rectangle 111">
            <a:extLst>
              <a:ext uri="{FF2B5EF4-FFF2-40B4-BE49-F238E27FC236}">
                <a16:creationId xmlns:a16="http://schemas.microsoft.com/office/drawing/2014/main" id="{A1023AEC-B229-4094-B1B0-12D6A84F76BA}"/>
              </a:ext>
            </a:extLst>
          </p:cNvPr>
          <p:cNvSpPr>
            <a:spLocks noChangeArrowheads="1"/>
          </p:cNvSpPr>
          <p:nvPr/>
        </p:nvSpPr>
        <p:spPr bwMode="auto">
          <a:xfrm>
            <a:off x="845516" y="3466315"/>
            <a:ext cx="926536"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125" b="1" i="0" u="none" strike="noStrike" kern="0" cap="none" spc="0" normalizeH="0" baseline="0" noProof="0">
                <a:ln>
                  <a:noFill/>
                </a:ln>
                <a:solidFill>
                  <a:srgbClr val="000000"/>
                </a:solidFill>
                <a:effectLst/>
                <a:uLnTx/>
                <a:uFillTx/>
                <a:latin typeface="Calibri"/>
                <a:ea typeface="+mn-ea"/>
                <a:cs typeface="Arial" pitchFamily="34" charset="0"/>
              </a:rPr>
              <a:t>Number at risk:</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471" name="Rectangle 122">
            <a:extLst>
              <a:ext uri="{FF2B5EF4-FFF2-40B4-BE49-F238E27FC236}">
                <a16:creationId xmlns:a16="http://schemas.microsoft.com/office/drawing/2014/main" id="{7C13F170-C2A4-49FF-A410-26CD8ADB7422}"/>
              </a:ext>
            </a:extLst>
          </p:cNvPr>
          <p:cNvSpPr>
            <a:spLocks noChangeArrowheads="1"/>
          </p:cNvSpPr>
          <p:nvPr/>
        </p:nvSpPr>
        <p:spPr bwMode="auto">
          <a:xfrm>
            <a:off x="845517" y="3679039"/>
            <a:ext cx="272510"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KMP</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472" name="Rectangle 125">
            <a:extLst>
              <a:ext uri="{FF2B5EF4-FFF2-40B4-BE49-F238E27FC236}">
                <a16:creationId xmlns:a16="http://schemas.microsoft.com/office/drawing/2014/main" id="{F3451E75-D36C-4D6F-AF7D-9B9D7D2DE318}"/>
              </a:ext>
            </a:extLst>
          </p:cNvPr>
          <p:cNvSpPr>
            <a:spLocks noChangeArrowheads="1"/>
          </p:cNvSpPr>
          <p:nvPr/>
        </p:nvSpPr>
        <p:spPr bwMode="auto">
          <a:xfrm>
            <a:off x="845518" y="3875888"/>
            <a:ext cx="278923"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VMP</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473" name="Rectangle 12">
            <a:extLst>
              <a:ext uri="{FF2B5EF4-FFF2-40B4-BE49-F238E27FC236}">
                <a16:creationId xmlns:a16="http://schemas.microsoft.com/office/drawing/2014/main" id="{BB01A4EF-3825-421F-8BE7-910935AF1B13}"/>
              </a:ext>
            </a:extLst>
          </p:cNvPr>
          <p:cNvSpPr>
            <a:spLocks noChangeArrowheads="1"/>
          </p:cNvSpPr>
          <p:nvPr/>
        </p:nvSpPr>
        <p:spPr bwMode="auto">
          <a:xfrm>
            <a:off x="2217745" y="2751856"/>
            <a:ext cx="272510"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KMP</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474" name="Rectangle 15">
            <a:extLst>
              <a:ext uri="{FF2B5EF4-FFF2-40B4-BE49-F238E27FC236}">
                <a16:creationId xmlns:a16="http://schemas.microsoft.com/office/drawing/2014/main" id="{44488451-732E-48C5-AEEA-801485431279}"/>
              </a:ext>
            </a:extLst>
          </p:cNvPr>
          <p:cNvSpPr>
            <a:spLocks noChangeArrowheads="1"/>
          </p:cNvSpPr>
          <p:nvPr/>
        </p:nvSpPr>
        <p:spPr bwMode="auto">
          <a:xfrm>
            <a:off x="2217745" y="2913781"/>
            <a:ext cx="278923" cy="173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355" rtl="0" eaLnBrk="1" fontAlgn="base" latinLnBrk="0" hangingPunct="1">
              <a:lnSpc>
                <a:spcPct val="100000"/>
              </a:lnSpc>
              <a:spcBef>
                <a:spcPct val="0"/>
              </a:spcBef>
              <a:spcAft>
                <a:spcPct val="0"/>
              </a:spcAft>
              <a:buClrTx/>
              <a:buSzTx/>
              <a:buFontTx/>
              <a:buNone/>
              <a:tabLst/>
              <a:defRPr/>
            </a:pPr>
            <a:r>
              <a:rPr kumimoji="0" lang="en-US" altLang="en-US" sz="1125" b="0" i="0" u="none" strike="noStrike" kern="0" cap="none" spc="0" normalizeH="0" baseline="0" noProof="0">
                <a:ln>
                  <a:noFill/>
                </a:ln>
                <a:solidFill>
                  <a:srgbClr val="000000"/>
                </a:solidFill>
                <a:effectLst/>
                <a:uLnTx/>
                <a:uFillTx/>
                <a:latin typeface="Calibri"/>
                <a:ea typeface="+mn-ea"/>
                <a:cs typeface="Arial" pitchFamily="34" charset="0"/>
              </a:rPr>
              <a:t>VMP</a:t>
            </a:r>
            <a:endParaRPr kumimoji="0" lang="en-US" altLang="en-US" sz="1350" b="0"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475" name="Line 279">
            <a:extLst>
              <a:ext uri="{FF2B5EF4-FFF2-40B4-BE49-F238E27FC236}">
                <a16:creationId xmlns:a16="http://schemas.microsoft.com/office/drawing/2014/main" id="{4ADFF1BD-2255-4420-A674-4BED5E9C76F7}"/>
              </a:ext>
            </a:extLst>
          </p:cNvPr>
          <p:cNvSpPr>
            <a:spLocks noChangeShapeType="1"/>
          </p:cNvSpPr>
          <p:nvPr/>
        </p:nvSpPr>
        <p:spPr bwMode="auto">
          <a:xfrm>
            <a:off x="1738319" y="3009023"/>
            <a:ext cx="361950" cy="0"/>
          </a:xfrm>
          <a:prstGeom prst="line">
            <a:avLst/>
          </a:prstGeom>
          <a:noFill/>
          <a:ln w="19050">
            <a:solidFill>
              <a:srgbClr val="B3D3EE"/>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76" name="Line 280">
            <a:extLst>
              <a:ext uri="{FF2B5EF4-FFF2-40B4-BE49-F238E27FC236}">
                <a16:creationId xmlns:a16="http://schemas.microsoft.com/office/drawing/2014/main" id="{98C26598-D3FF-4EED-8A66-BFB9CFAF1CA1}"/>
              </a:ext>
            </a:extLst>
          </p:cNvPr>
          <p:cNvSpPr>
            <a:spLocks noChangeShapeType="1"/>
          </p:cNvSpPr>
          <p:nvPr/>
        </p:nvSpPr>
        <p:spPr bwMode="auto">
          <a:xfrm>
            <a:off x="1738319" y="2856623"/>
            <a:ext cx="361950" cy="0"/>
          </a:xfrm>
          <a:prstGeom prst="line">
            <a:avLst/>
          </a:prstGeom>
          <a:noFill/>
          <a:ln w="19050">
            <a:solidFill>
              <a:srgbClr val="003E61"/>
            </a:solidFill>
            <a:prstDash val="solid"/>
            <a:round/>
            <a:headEnd/>
            <a:tailEnd/>
          </a:ln>
          <a:extLst>
            <a:ext uri="{909E8E84-426E-40dd-AFC4-6F175D3DCCD1}">
              <a14:hiddenFill xmlns="" xmlns:a14="http://schemas.microsoft.com/office/drawing/2010/main">
                <a:noFill/>
              </a14:hiddenFill>
            </a:ext>
          </a:extLst>
        </p:spPr>
        <p:txBody>
          <a:bodyPr vert="horz" wrap="square" lIns="91436" tIns="45718" rIns="91436" bIns="45718" numCol="1" anchor="t"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sp>
        <p:nvSpPr>
          <p:cNvPr id="477" name="Rectangle 476">
            <a:extLst>
              <a:ext uri="{FF2B5EF4-FFF2-40B4-BE49-F238E27FC236}">
                <a16:creationId xmlns:a16="http://schemas.microsoft.com/office/drawing/2014/main" id="{C13A01C5-45C6-4266-994A-1757AFCCA2E3}"/>
              </a:ext>
            </a:extLst>
          </p:cNvPr>
          <p:cNvSpPr/>
          <p:nvPr/>
        </p:nvSpPr>
        <p:spPr>
          <a:xfrm>
            <a:off x="0" y="4772751"/>
            <a:ext cx="7411241" cy="369327"/>
          </a:xfrm>
          <a:prstGeom prst="rect">
            <a:avLst/>
          </a:prstGeom>
        </p:spPr>
        <p:txBody>
          <a:bodyPr wrap="square" lIns="91440" tIns="45718" rIns="91436" bIns="45720" anchor="b" anchorCtr="0">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HR, hazard ratio; KMP, carfilzomib, melphalan, prednisone; PFS, progression-free survival; VMP, bortezomib, melphalan, prednisone.</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acon T, et al. Presented at: 16th International Myeloma Workshop; New Delhi, India; March 1-4, 2017. </a:t>
            </a:r>
          </a:p>
        </p:txBody>
      </p:sp>
      <p:graphicFrame>
        <p:nvGraphicFramePr>
          <p:cNvPr id="478" name="Table 477">
            <a:extLst>
              <a:ext uri="{FF2B5EF4-FFF2-40B4-BE49-F238E27FC236}">
                <a16:creationId xmlns:a16="http://schemas.microsoft.com/office/drawing/2014/main" id="{B4957305-1A11-43EB-8B16-B717C03477A6}"/>
              </a:ext>
            </a:extLst>
          </p:cNvPr>
          <p:cNvGraphicFramePr>
            <a:graphicFrameLocks noGrp="1"/>
          </p:cNvGraphicFramePr>
          <p:nvPr/>
        </p:nvGraphicFramePr>
        <p:xfrm>
          <a:off x="4727647" y="767739"/>
          <a:ext cx="4105427" cy="1165860"/>
        </p:xfrm>
        <a:graphic>
          <a:graphicData uri="http://schemas.openxmlformats.org/drawingml/2006/table">
            <a:tbl>
              <a:tblPr firstRow="1" bandRow="1">
                <a:tableStyleId>{5C22544A-7EE6-4342-B048-85BDC9FD1C3A}</a:tableStyleId>
              </a:tblPr>
              <a:tblGrid>
                <a:gridCol w="2064133">
                  <a:extLst>
                    <a:ext uri="{9D8B030D-6E8A-4147-A177-3AD203B41FA5}">
                      <a16:colId xmlns:a16="http://schemas.microsoft.com/office/drawing/2014/main" val="20000"/>
                    </a:ext>
                  </a:extLst>
                </a:gridCol>
                <a:gridCol w="1020647">
                  <a:extLst>
                    <a:ext uri="{9D8B030D-6E8A-4147-A177-3AD203B41FA5}">
                      <a16:colId xmlns:a16="http://schemas.microsoft.com/office/drawing/2014/main" val="20001"/>
                    </a:ext>
                  </a:extLst>
                </a:gridCol>
                <a:gridCol w="1020647">
                  <a:extLst>
                    <a:ext uri="{9D8B030D-6E8A-4147-A177-3AD203B41FA5}">
                      <a16:colId xmlns:a16="http://schemas.microsoft.com/office/drawing/2014/main" val="20002"/>
                    </a:ext>
                  </a:extLst>
                </a:gridCol>
              </a:tblGrid>
              <a:tr h="3200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sz="900" b="1">
                        <a:solidFill>
                          <a:schemeClr val="bg1"/>
                        </a:solidFill>
                        <a:latin typeface="+mn-lt"/>
                      </a:endParaRPr>
                    </a:p>
                  </a:txBody>
                  <a:tcPr marT="34290" marB="34290"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solidFill>
                            <a:schemeClr val="bg1"/>
                          </a:solidFill>
                          <a:latin typeface="+mn-lt"/>
                        </a:rPr>
                        <a:t>KMP</a:t>
                      </a:r>
                    </a:p>
                    <a:p>
                      <a:pPr algn="ctr"/>
                      <a:r>
                        <a:rPr lang="en-US" sz="900" b="1">
                          <a:solidFill>
                            <a:schemeClr val="bg1"/>
                          </a:solidFill>
                          <a:latin typeface="+mn-lt"/>
                        </a:rPr>
                        <a:t>(n = 478)</a:t>
                      </a:r>
                    </a:p>
                  </a:txBody>
                  <a:tcPr marT="34290" marB="34290"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solidFill>
                            <a:schemeClr val="bg1"/>
                          </a:solidFill>
                          <a:latin typeface="+mn-lt"/>
                        </a:rPr>
                        <a:t>VMP</a:t>
                      </a:r>
                    </a:p>
                    <a:p>
                      <a:pPr algn="ctr"/>
                      <a:r>
                        <a:rPr lang="en-US" sz="900" b="1">
                          <a:solidFill>
                            <a:schemeClr val="bg1"/>
                          </a:solidFill>
                          <a:latin typeface="+mn-lt"/>
                        </a:rPr>
                        <a:t>(n = 477)</a:t>
                      </a:r>
                    </a:p>
                  </a:txBody>
                  <a:tcPr marT="34290" marB="34290" anchor="ctr"/>
                </a:tc>
                <a:extLst>
                  <a:ext uri="{0D108BD9-81ED-4DB2-BD59-A6C34878D82A}">
                    <a16:rowId xmlns:a16="http://schemas.microsoft.com/office/drawing/2014/main" val="10000"/>
                  </a:ext>
                </a:extLst>
              </a:tr>
              <a:tr h="19431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r>
                        <a:rPr lang="en-US" sz="900" b="1">
                          <a:solidFill>
                            <a:schemeClr val="tx1"/>
                          </a:solidFill>
                          <a:latin typeface="+mn-lt"/>
                        </a:rPr>
                        <a:t>Disease progression or death, n (%)</a:t>
                      </a:r>
                    </a:p>
                  </a:txBody>
                  <a:tcPr marT="34290" marB="34290" anchor="ctr">
                    <a:solidFill>
                      <a:srgbClr val="CFD5EA"/>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solidFill>
                            <a:schemeClr val="tx1"/>
                          </a:solidFill>
                          <a:latin typeface="+mn-lt"/>
                        </a:rPr>
                        <a:t>207 (43.3)</a:t>
                      </a:r>
                    </a:p>
                  </a:txBody>
                  <a:tcPr marT="34290" marB="34290"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solidFill>
                            <a:schemeClr val="tx1"/>
                          </a:solidFill>
                          <a:latin typeface="+mn-lt"/>
                        </a:rPr>
                        <a:t>214 (44.9)</a:t>
                      </a:r>
                    </a:p>
                  </a:txBody>
                  <a:tcPr marT="34290" marB="34290" anchor="ctr"/>
                </a:tc>
                <a:extLst>
                  <a:ext uri="{0D108BD9-81ED-4DB2-BD59-A6C34878D82A}">
                    <a16:rowId xmlns:a16="http://schemas.microsoft.com/office/drawing/2014/main" val="10001"/>
                  </a:ext>
                </a:extLst>
              </a:tr>
              <a:tr h="19431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r>
                        <a:rPr lang="en-US" sz="900" b="1" kern="1200">
                          <a:solidFill>
                            <a:schemeClr val="tx1"/>
                          </a:solidFill>
                          <a:latin typeface="+mn-lt"/>
                        </a:rPr>
                        <a:t>Median PFS, months</a:t>
                      </a:r>
                      <a:endParaRPr lang="en-US" sz="900" b="1" kern="1200">
                        <a:solidFill>
                          <a:schemeClr val="tx1"/>
                        </a:solidFill>
                        <a:latin typeface="+mn-lt"/>
                        <a:ea typeface="+mn-ea"/>
                        <a:cs typeface="Arial" panose="020B0604020202020204" pitchFamily="34" charset="0"/>
                      </a:endParaRPr>
                    </a:p>
                  </a:txBody>
                  <a:tcPr marT="34290" marB="34290"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latin typeface="+mn-lt"/>
                        </a:rPr>
                        <a:t>22.3</a:t>
                      </a:r>
                      <a:endParaRPr lang="en-US" sz="900" b="1">
                        <a:latin typeface="+mn-lt"/>
                        <a:cs typeface="Arial" panose="020B0604020202020204" pitchFamily="34" charset="0"/>
                      </a:endParaRPr>
                    </a:p>
                  </a:txBody>
                  <a:tcPr marT="34290" marB="34290" anchor="ct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latin typeface="+mn-lt"/>
                        </a:rPr>
                        <a:t>22.1</a:t>
                      </a:r>
                      <a:endParaRPr lang="en-US" sz="900" b="1">
                        <a:latin typeface="+mn-lt"/>
                        <a:cs typeface="Arial" panose="020B0604020202020204" pitchFamily="34" charset="0"/>
                      </a:endParaRPr>
                    </a:p>
                  </a:txBody>
                  <a:tcPr marT="34290" marB="34290" anchor="ctr"/>
                </a:tc>
                <a:extLst>
                  <a:ext uri="{0D108BD9-81ED-4DB2-BD59-A6C34878D82A}">
                    <a16:rowId xmlns:a16="http://schemas.microsoft.com/office/drawing/2014/main" val="10002"/>
                  </a:ext>
                </a:extLst>
              </a:tr>
              <a:tr h="19431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r>
                        <a:rPr lang="da-DK" sz="900" b="1" kern="1200">
                          <a:solidFill>
                            <a:schemeClr val="tx1"/>
                          </a:solidFill>
                          <a:latin typeface="+mn-lt"/>
                        </a:rPr>
                        <a:t>HR for KMP vs VMP (95% CI)</a:t>
                      </a:r>
                      <a:endParaRPr lang="en-US" sz="900" b="1" kern="1200">
                        <a:solidFill>
                          <a:schemeClr val="tx1"/>
                        </a:solidFill>
                        <a:latin typeface="+mn-lt"/>
                        <a:ea typeface="+mn-ea"/>
                        <a:cs typeface="Arial" panose="020B0604020202020204" pitchFamily="34" charset="0"/>
                      </a:endParaRPr>
                    </a:p>
                  </a:txBody>
                  <a:tcPr marT="34290" marB="34290" anchor="ct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latin typeface="+mn-lt"/>
                        </a:rPr>
                        <a:t>0.91 (0.75–1.10)</a:t>
                      </a:r>
                      <a:endParaRPr lang="en-US" sz="900" b="1">
                        <a:latin typeface="+mn-lt"/>
                        <a:cs typeface="Arial" panose="020B0604020202020204" pitchFamily="34" charset="0"/>
                      </a:endParaRPr>
                    </a:p>
                  </a:txBody>
                  <a:tcPr marT="34290" marB="34290" anchor="ctr"/>
                </a:tc>
                <a:tc hMerge="1">
                  <a:txBody>
                    <a:bodyPr/>
                    <a:lstStyle/>
                    <a:p>
                      <a:pPr algn="ctr"/>
                      <a:endParaRPr lang="en-US" sz="1400"/>
                    </a:p>
                  </a:txBody>
                  <a:tcPr anchor="ctr">
                    <a:lnL w="12700" cap="flat" cmpd="sng" algn="ctr">
                      <a:solidFill>
                        <a:schemeClr val="accent3">
                          <a:lumMod val="50000"/>
                        </a:schemeClr>
                      </a:solidFill>
                      <a:prstDash val="solid"/>
                      <a:round/>
                      <a:headEnd type="none" w="med" len="med"/>
                      <a:tailEnd type="none" w="med" len="med"/>
                    </a:lnL>
                    <a:lnR w="28575"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9431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l" defTabSz="914400" rtl="0" eaLnBrk="1" latinLnBrk="0" hangingPunct="1"/>
                      <a:r>
                        <a:rPr lang="en-US" sz="900" b="1" kern="1200">
                          <a:solidFill>
                            <a:schemeClr val="tx1"/>
                          </a:solidFill>
                          <a:latin typeface="+mn-lt"/>
                        </a:rPr>
                        <a:t>1-sided </a:t>
                      </a:r>
                      <a:r>
                        <a:rPr lang="en-US" sz="900" b="1" i="1" kern="1200">
                          <a:solidFill>
                            <a:schemeClr val="tx1"/>
                          </a:solidFill>
                          <a:latin typeface="+mn-lt"/>
                        </a:rPr>
                        <a:t>P</a:t>
                      </a:r>
                      <a:r>
                        <a:rPr lang="en-US" sz="900" b="1" kern="1200">
                          <a:solidFill>
                            <a:schemeClr val="tx1"/>
                          </a:solidFill>
                          <a:latin typeface="+mn-lt"/>
                        </a:rPr>
                        <a:t> value</a:t>
                      </a:r>
                      <a:endParaRPr lang="en-US" sz="900" b="1" kern="1200">
                        <a:solidFill>
                          <a:schemeClr val="tx1"/>
                        </a:solidFill>
                        <a:latin typeface="+mn-lt"/>
                        <a:ea typeface="+mn-ea"/>
                        <a:cs typeface="Arial" panose="020B0604020202020204" pitchFamily="34" charset="0"/>
                      </a:endParaRPr>
                    </a:p>
                  </a:txBody>
                  <a:tcPr marT="34290" marB="34290" anchor="ct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900" b="1">
                          <a:latin typeface="+mn-lt"/>
                        </a:rPr>
                        <a:t>.16</a:t>
                      </a:r>
                      <a:endParaRPr lang="en-US" sz="900" b="1">
                        <a:latin typeface="+mn-lt"/>
                        <a:cs typeface="Arial" panose="020B0604020202020204" pitchFamily="34" charset="0"/>
                      </a:endParaRPr>
                    </a:p>
                  </a:txBody>
                  <a:tcPr marT="34290" marB="34290" anchor="ctr"/>
                </a:tc>
                <a:tc hMerge="1">
                  <a:txBody>
                    <a:bodyPr/>
                    <a:lstStyle/>
                    <a:p>
                      <a:pPr algn="ctr"/>
                      <a:endParaRPr lang="en-US" sz="1400"/>
                    </a:p>
                  </a:txBody>
                  <a:tcPr anchor="ctr">
                    <a:lnL w="12700" cap="flat" cmpd="sng" algn="ctr">
                      <a:solidFill>
                        <a:schemeClr val="accent3">
                          <a:lumMod val="50000"/>
                        </a:schemeClr>
                      </a:solidFill>
                      <a:prstDash val="solid"/>
                      <a:round/>
                      <a:headEnd type="none" w="med" len="med"/>
                      <a:tailEnd type="none" w="med" len="med"/>
                    </a:lnL>
                    <a:lnR w="28575"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608152811"/>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43ED3-D519-443B-A168-00C7C6290421}"/>
              </a:ext>
            </a:extLst>
          </p:cNvPr>
          <p:cNvSpPr txBox="1">
            <a:spLocks/>
          </p:cNvSpPr>
          <p:nvPr/>
        </p:nvSpPr>
        <p:spPr bwMode="gray">
          <a:xfrm>
            <a:off x="607272" y="94504"/>
            <a:ext cx="8116887" cy="832247"/>
          </a:xfrm>
          <a:prstGeom prst="rect">
            <a:avLst/>
          </a:prstGeom>
          <a:noFill/>
          <a:ln w="9525" algn="ctr">
            <a:noFill/>
            <a:miter lim="800000"/>
            <a:headEnd/>
            <a:tailEnd/>
          </a:ln>
          <a:effectLst/>
        </p:spPr>
        <p:txBody>
          <a:bodyPr vert="horz" wrap="square" lIns="91438" tIns="45719" rIns="91438" bIns="45719" numCol="1" anchor="t" anchorCtr="0" compatLnSpc="1">
            <a:prstTxWarp prst="textNoShape">
              <a:avLst/>
            </a:prstTxWarp>
          </a:bodyPr>
          <a:lstStyle>
            <a:lvl1pPr algn="l" rtl="0" fontAlgn="base">
              <a:lnSpc>
                <a:spcPct val="90000"/>
              </a:lnSpc>
              <a:spcBef>
                <a:spcPct val="0"/>
              </a:spcBef>
              <a:spcAft>
                <a:spcPct val="0"/>
              </a:spcAft>
              <a:defRPr sz="3700" b="1">
                <a:solidFill>
                  <a:schemeClr val="tx1"/>
                </a:solidFill>
                <a:latin typeface="+mj-lt"/>
                <a:ea typeface="+mj-ea"/>
                <a:cs typeface="+mj-cs"/>
              </a:defRPr>
            </a:lvl1pPr>
            <a:lvl2pPr algn="l" rtl="0" fontAlgn="base">
              <a:lnSpc>
                <a:spcPct val="90000"/>
              </a:lnSpc>
              <a:spcBef>
                <a:spcPct val="0"/>
              </a:spcBef>
              <a:spcAft>
                <a:spcPct val="0"/>
              </a:spcAft>
              <a:defRPr sz="4300" b="1">
                <a:solidFill>
                  <a:schemeClr val="tx1"/>
                </a:solidFill>
                <a:latin typeface="Arial" charset="0"/>
              </a:defRPr>
            </a:lvl2pPr>
            <a:lvl3pPr algn="l" rtl="0" fontAlgn="base">
              <a:lnSpc>
                <a:spcPct val="90000"/>
              </a:lnSpc>
              <a:spcBef>
                <a:spcPct val="0"/>
              </a:spcBef>
              <a:spcAft>
                <a:spcPct val="0"/>
              </a:spcAft>
              <a:defRPr sz="4300" b="1">
                <a:solidFill>
                  <a:schemeClr val="tx1"/>
                </a:solidFill>
                <a:latin typeface="Arial" charset="0"/>
              </a:defRPr>
            </a:lvl3pPr>
            <a:lvl4pPr algn="l" rtl="0" fontAlgn="base">
              <a:lnSpc>
                <a:spcPct val="90000"/>
              </a:lnSpc>
              <a:spcBef>
                <a:spcPct val="0"/>
              </a:spcBef>
              <a:spcAft>
                <a:spcPct val="0"/>
              </a:spcAft>
              <a:defRPr sz="4300" b="1">
                <a:solidFill>
                  <a:schemeClr val="tx1"/>
                </a:solidFill>
                <a:latin typeface="Arial" charset="0"/>
              </a:defRPr>
            </a:lvl4pPr>
            <a:lvl5pPr algn="l" rtl="0" fontAlgn="base">
              <a:lnSpc>
                <a:spcPct val="90000"/>
              </a:lnSpc>
              <a:spcBef>
                <a:spcPct val="0"/>
              </a:spcBef>
              <a:spcAft>
                <a:spcPct val="0"/>
              </a:spcAft>
              <a:defRPr sz="4300" b="1">
                <a:solidFill>
                  <a:schemeClr val="tx1"/>
                </a:solidFill>
                <a:latin typeface="Arial" charset="0"/>
              </a:defRPr>
            </a:lvl5pPr>
            <a:lvl6pPr marL="609585" algn="l" rtl="0" fontAlgn="base">
              <a:lnSpc>
                <a:spcPct val="90000"/>
              </a:lnSpc>
              <a:spcBef>
                <a:spcPct val="0"/>
              </a:spcBef>
              <a:spcAft>
                <a:spcPct val="0"/>
              </a:spcAft>
              <a:defRPr sz="4300" b="1">
                <a:solidFill>
                  <a:schemeClr val="tx1"/>
                </a:solidFill>
                <a:latin typeface="Arial" charset="0"/>
              </a:defRPr>
            </a:lvl6pPr>
            <a:lvl7pPr marL="1219170" algn="l" rtl="0" fontAlgn="base">
              <a:lnSpc>
                <a:spcPct val="90000"/>
              </a:lnSpc>
              <a:spcBef>
                <a:spcPct val="0"/>
              </a:spcBef>
              <a:spcAft>
                <a:spcPct val="0"/>
              </a:spcAft>
              <a:defRPr sz="4300" b="1">
                <a:solidFill>
                  <a:schemeClr val="tx1"/>
                </a:solidFill>
                <a:latin typeface="Arial" charset="0"/>
              </a:defRPr>
            </a:lvl7pPr>
            <a:lvl8pPr marL="1828754" algn="l" rtl="0" fontAlgn="base">
              <a:lnSpc>
                <a:spcPct val="90000"/>
              </a:lnSpc>
              <a:spcBef>
                <a:spcPct val="0"/>
              </a:spcBef>
              <a:spcAft>
                <a:spcPct val="0"/>
              </a:spcAft>
              <a:defRPr sz="4300" b="1">
                <a:solidFill>
                  <a:schemeClr val="tx1"/>
                </a:solidFill>
                <a:latin typeface="Arial" charset="0"/>
              </a:defRPr>
            </a:lvl8pPr>
            <a:lvl9pPr marL="2438339" algn="l" rtl="0" fontAlgn="base">
              <a:lnSpc>
                <a:spcPct val="90000"/>
              </a:lnSpc>
              <a:spcBef>
                <a:spcPct val="0"/>
              </a:spcBef>
              <a:spcAft>
                <a:spcPct val="0"/>
              </a:spcAft>
              <a:defRPr sz="4300" b="1">
                <a:solidFill>
                  <a:schemeClr val="tx1"/>
                </a:solidFill>
                <a:latin typeface="Arial"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r>
              <a:rPr kumimoji="0" lang="en-US" sz="30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Secondary Endpoint: Grade ≥2 Neuropathy</a:t>
            </a:r>
          </a:p>
        </p:txBody>
      </p:sp>
      <p:graphicFrame>
        <p:nvGraphicFramePr>
          <p:cNvPr id="3" name="Chart 2">
            <a:extLst>
              <a:ext uri="{FF2B5EF4-FFF2-40B4-BE49-F238E27FC236}">
                <a16:creationId xmlns:a16="http://schemas.microsoft.com/office/drawing/2014/main" id="{0F276CFA-4DCA-406B-892D-7ECA1702DA6A}"/>
              </a:ext>
            </a:extLst>
          </p:cNvPr>
          <p:cNvGraphicFramePr/>
          <p:nvPr/>
        </p:nvGraphicFramePr>
        <p:xfrm>
          <a:off x="542939" y="1238250"/>
          <a:ext cx="8207375" cy="234141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1">
            <a:extLst>
              <a:ext uri="{FF2B5EF4-FFF2-40B4-BE49-F238E27FC236}">
                <a16:creationId xmlns:a16="http://schemas.microsoft.com/office/drawing/2014/main" id="{0098713F-4856-4353-90E3-71776E2590A7}"/>
              </a:ext>
            </a:extLst>
          </p:cNvPr>
          <p:cNvSpPr txBox="1"/>
          <p:nvPr/>
        </p:nvSpPr>
        <p:spPr>
          <a:xfrm>
            <a:off x="3274665" y="1033929"/>
            <a:ext cx="2343591" cy="369332"/>
          </a:xfrm>
          <a:prstGeom prst="rect">
            <a:avLst/>
          </a:prstGeom>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dds ratio (95% CI): 0.05 (0.03–0.09)</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ominal 1-sided </a:t>
            </a:r>
            <a:r>
              <a:rPr kumimoji="0" lang="en-US" sz="1200" b="1" i="1" u="none" strike="noStrike" kern="1200" cap="none" spc="0" normalizeH="0" baseline="0" noProof="0">
                <a:ln>
                  <a:noFill/>
                </a:ln>
                <a:solidFill>
                  <a:srgbClr val="000000"/>
                </a:solidFill>
                <a:effectLst/>
                <a:uLnTx/>
                <a:uFillTx/>
                <a:latin typeface="Calibri"/>
                <a:ea typeface="+mn-ea"/>
                <a:cs typeface="Arial" panose="020B0604020202020204" pitchFamily="34" charset="0"/>
              </a:rPr>
              <a:t>P </a:t>
            </a: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lt;.0001</a:t>
            </a:r>
          </a:p>
        </p:txBody>
      </p:sp>
      <p:sp>
        <p:nvSpPr>
          <p:cNvPr id="5" name="Content Placeholder 2">
            <a:extLst>
              <a:ext uri="{FF2B5EF4-FFF2-40B4-BE49-F238E27FC236}">
                <a16:creationId xmlns:a16="http://schemas.microsoft.com/office/drawing/2014/main" id="{F047D564-14CE-4FFB-8E7B-8AA369ABC682}"/>
              </a:ext>
            </a:extLst>
          </p:cNvPr>
          <p:cNvSpPr txBox="1">
            <a:spLocks/>
          </p:cNvSpPr>
          <p:nvPr/>
        </p:nvSpPr>
        <p:spPr bwMode="gray">
          <a:xfrm>
            <a:off x="464127" y="3637986"/>
            <a:ext cx="8222673" cy="21929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L="457189" indent="-457189" algn="l" rtl="0" fontAlgn="base">
              <a:lnSpc>
                <a:spcPct val="95000"/>
              </a:lnSpc>
              <a:spcBef>
                <a:spcPct val="50000"/>
              </a:spcBef>
              <a:spcAft>
                <a:spcPct val="0"/>
              </a:spcAft>
              <a:buClr>
                <a:schemeClr val="accent3"/>
              </a:buClr>
              <a:buChar char="•"/>
              <a:defRPr sz="3200">
                <a:solidFill>
                  <a:schemeClr val="tx1"/>
                </a:solidFill>
                <a:latin typeface="+mn-lt"/>
                <a:ea typeface="+mn-ea"/>
                <a:cs typeface="+mn-cs"/>
              </a:defRPr>
            </a:lvl1pPr>
            <a:lvl2pPr marL="990575" indent="-380990" algn="l" rtl="0" fontAlgn="base">
              <a:lnSpc>
                <a:spcPct val="95000"/>
              </a:lnSpc>
              <a:spcBef>
                <a:spcPct val="20000"/>
              </a:spcBef>
              <a:spcAft>
                <a:spcPct val="0"/>
              </a:spcAft>
              <a:buClr>
                <a:schemeClr val="accent3"/>
              </a:buClr>
              <a:buFont typeface="Arial" pitchFamily="34" charset="0"/>
              <a:buChar char="–"/>
              <a:defRPr sz="2900">
                <a:solidFill>
                  <a:schemeClr val="tx1"/>
                </a:solidFill>
                <a:latin typeface="+mn-lt"/>
              </a:defRPr>
            </a:lvl2pPr>
            <a:lvl3pPr marL="1523962" indent="-304792" algn="l" rtl="0" fontAlgn="base">
              <a:lnSpc>
                <a:spcPct val="95000"/>
              </a:lnSpc>
              <a:spcBef>
                <a:spcPct val="20000"/>
              </a:spcBef>
              <a:spcAft>
                <a:spcPct val="0"/>
              </a:spcAft>
              <a:buClr>
                <a:schemeClr val="accent3"/>
              </a:buClr>
              <a:buChar char="•"/>
              <a:defRPr sz="2700">
                <a:solidFill>
                  <a:schemeClr val="tx1"/>
                </a:solidFill>
                <a:latin typeface="+mn-lt"/>
              </a:defRPr>
            </a:lvl3pPr>
            <a:lvl4pPr marL="2133547" indent="-304792" algn="l" rtl="0" fontAlgn="base">
              <a:lnSpc>
                <a:spcPct val="95000"/>
              </a:lnSpc>
              <a:spcBef>
                <a:spcPct val="20000"/>
              </a:spcBef>
              <a:spcAft>
                <a:spcPct val="0"/>
              </a:spcAft>
              <a:buClr>
                <a:schemeClr val="accent3"/>
              </a:buClr>
              <a:buFont typeface="Arial" pitchFamily="34" charset="0"/>
              <a:buChar char="–"/>
              <a:defRPr sz="2400">
                <a:solidFill>
                  <a:schemeClr val="tx1"/>
                </a:solidFill>
                <a:latin typeface="+mn-lt"/>
              </a:defRPr>
            </a:lvl4pPr>
            <a:lvl5pPr marL="2743131" indent="-304792" algn="l" rtl="0" fontAlgn="base">
              <a:lnSpc>
                <a:spcPct val="95000"/>
              </a:lnSpc>
              <a:spcBef>
                <a:spcPct val="20000"/>
              </a:spcBef>
              <a:spcAft>
                <a:spcPct val="0"/>
              </a:spcAft>
              <a:buClr>
                <a:schemeClr val="accent3"/>
              </a:buClr>
              <a:buChar char="•"/>
              <a:defRPr sz="2100">
                <a:solidFill>
                  <a:schemeClr val="tx1"/>
                </a:solidFill>
                <a:latin typeface="+mn-lt"/>
              </a:defRPr>
            </a:lvl5pPr>
            <a:lvl6pPr marL="3352716" indent="-304792" algn="l" rtl="0" fontAlgn="base">
              <a:lnSpc>
                <a:spcPct val="95000"/>
              </a:lnSpc>
              <a:spcBef>
                <a:spcPct val="20000"/>
              </a:spcBef>
              <a:spcAft>
                <a:spcPct val="0"/>
              </a:spcAft>
              <a:buClr>
                <a:schemeClr val="accent1"/>
              </a:buClr>
              <a:buChar char="•"/>
              <a:defRPr sz="2100">
                <a:solidFill>
                  <a:schemeClr val="tx1"/>
                </a:solidFill>
                <a:latin typeface="+mn-lt"/>
              </a:defRPr>
            </a:lvl6pPr>
            <a:lvl7pPr marL="3962301" indent="-304792" algn="l" rtl="0" fontAlgn="base">
              <a:lnSpc>
                <a:spcPct val="95000"/>
              </a:lnSpc>
              <a:spcBef>
                <a:spcPct val="20000"/>
              </a:spcBef>
              <a:spcAft>
                <a:spcPct val="0"/>
              </a:spcAft>
              <a:buClr>
                <a:schemeClr val="accent1"/>
              </a:buClr>
              <a:buChar char="•"/>
              <a:defRPr sz="2100">
                <a:solidFill>
                  <a:schemeClr val="tx1"/>
                </a:solidFill>
                <a:latin typeface="+mn-lt"/>
              </a:defRPr>
            </a:lvl7pPr>
            <a:lvl8pPr marL="4571886" indent="-304792" algn="l" rtl="0" fontAlgn="base">
              <a:lnSpc>
                <a:spcPct val="95000"/>
              </a:lnSpc>
              <a:spcBef>
                <a:spcPct val="20000"/>
              </a:spcBef>
              <a:spcAft>
                <a:spcPct val="0"/>
              </a:spcAft>
              <a:buClr>
                <a:schemeClr val="accent1"/>
              </a:buClr>
              <a:buChar char="•"/>
              <a:defRPr sz="2100">
                <a:solidFill>
                  <a:schemeClr val="tx1"/>
                </a:solidFill>
                <a:latin typeface="+mn-lt"/>
              </a:defRPr>
            </a:lvl8pPr>
            <a:lvl9pPr marL="5181470" indent="-304792" algn="l" rtl="0" fontAlgn="base">
              <a:lnSpc>
                <a:spcPct val="95000"/>
              </a:lnSpc>
              <a:spcBef>
                <a:spcPct val="20000"/>
              </a:spcBef>
              <a:spcAft>
                <a:spcPct val="0"/>
              </a:spcAft>
              <a:buClr>
                <a:schemeClr val="accent1"/>
              </a:buClr>
              <a:buChar char="•"/>
              <a:defRPr sz="2100">
                <a:solidFill>
                  <a:schemeClr val="tx1"/>
                </a:solidFill>
                <a:latin typeface="+mn-lt"/>
              </a:defRPr>
            </a:lvl9pPr>
          </a:lstStyle>
          <a:p>
            <a:pPr marL="228588" marR="0" lvl="0" indent="-228588" algn="l" defTabSz="685800" rtl="0" eaLnBrk="1" fontAlgn="base" latinLnBrk="0" hangingPunct="1">
              <a:lnSpc>
                <a:spcPct val="95000"/>
              </a:lnSpc>
              <a:spcBef>
                <a:spcPct val="50000"/>
              </a:spcBef>
              <a:spcAft>
                <a:spcPct val="0"/>
              </a:spcAft>
              <a:buClr>
                <a:srgbClr val="007CC2"/>
              </a:buClr>
              <a:buSzTx/>
              <a:buFontTx/>
              <a:buChar char="•"/>
              <a:tabLst/>
              <a:defRPr/>
            </a:pPr>
            <a:r>
              <a:rPr kumimoji="0" lang="en-US" sz="1500" b="0" i="0" u="none" strike="noStrike" kern="0" cap="none" spc="0" normalizeH="0" baseline="0" noProof="0">
                <a:ln>
                  <a:noFill/>
                </a:ln>
                <a:solidFill>
                  <a:srgbClr val="000000"/>
                </a:solidFill>
                <a:effectLst/>
                <a:uLnTx/>
                <a:uFillTx/>
                <a:latin typeface="Calibri"/>
                <a:ea typeface="+mn-ea"/>
                <a:cs typeface="+mn-cs"/>
              </a:rPr>
              <a:t>Among patients in the VMP group, 69% received subcutaneous bortezomib throughout their treatment</a:t>
            </a:r>
          </a:p>
        </p:txBody>
      </p:sp>
      <p:grpSp>
        <p:nvGrpSpPr>
          <p:cNvPr id="6" name="Group 5">
            <a:extLst>
              <a:ext uri="{FF2B5EF4-FFF2-40B4-BE49-F238E27FC236}">
                <a16:creationId xmlns:a16="http://schemas.microsoft.com/office/drawing/2014/main" id="{C3AC31F0-A445-4EEF-98D0-BE9D22F33395}"/>
              </a:ext>
            </a:extLst>
          </p:cNvPr>
          <p:cNvGrpSpPr/>
          <p:nvPr/>
        </p:nvGrpSpPr>
        <p:grpSpPr>
          <a:xfrm>
            <a:off x="7632391" y="1640478"/>
            <a:ext cx="740589" cy="701602"/>
            <a:chOff x="8201025" y="1457325"/>
            <a:chExt cx="840608" cy="1061805"/>
          </a:xfrm>
        </p:grpSpPr>
        <p:sp>
          <p:nvSpPr>
            <p:cNvPr id="7" name="Rectangle 6">
              <a:extLst>
                <a:ext uri="{FF2B5EF4-FFF2-40B4-BE49-F238E27FC236}">
                  <a16:creationId xmlns:a16="http://schemas.microsoft.com/office/drawing/2014/main" id="{88005FFD-4D20-4F08-9A12-042EED0747AE}"/>
                </a:ext>
              </a:extLst>
            </p:cNvPr>
            <p:cNvSpPr/>
            <p:nvPr/>
          </p:nvSpPr>
          <p:spPr>
            <a:xfrm>
              <a:off x="8201025" y="1680852"/>
              <a:ext cx="219075" cy="228599"/>
            </a:xfrm>
            <a:prstGeom prst="rect">
              <a:avLst/>
            </a:prstGeom>
            <a:solidFill>
              <a:srgbClr val="007CC2">
                <a:lumMod val="50000"/>
              </a:srgbClr>
            </a:solidFill>
            <a:ln w="127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975" b="1" i="0" u="none" strike="noStrike" kern="0" cap="none" spc="0" normalizeH="0" baseline="0" noProof="0">
                <a:ln>
                  <a:noFill/>
                </a:ln>
                <a:solidFill>
                  <a:srgbClr val="000000"/>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F87480B-4A3C-4F86-B276-B30451A3058A}"/>
                </a:ext>
              </a:extLst>
            </p:cNvPr>
            <p:cNvSpPr/>
            <p:nvPr/>
          </p:nvSpPr>
          <p:spPr>
            <a:xfrm>
              <a:off x="8201025" y="2155934"/>
              <a:ext cx="219075" cy="228599"/>
            </a:xfrm>
            <a:prstGeom prst="rect">
              <a:avLst/>
            </a:prstGeom>
            <a:solidFill>
              <a:srgbClr val="81B5E2">
                <a:lumMod val="60000"/>
                <a:lumOff val="40000"/>
              </a:srgbClr>
            </a:solidFill>
            <a:ln w="127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975" b="1" i="0" u="none" strike="noStrike" kern="0" cap="none" spc="0" normalizeH="0" baseline="0" noProof="0">
                <a:ln>
                  <a:noFill/>
                </a:ln>
                <a:solidFill>
                  <a:srgbClr val="00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57CE8A82-AD91-4109-9E1F-42AD74471849}"/>
                </a:ext>
              </a:extLst>
            </p:cNvPr>
            <p:cNvSpPr txBox="1"/>
            <p:nvPr/>
          </p:nvSpPr>
          <p:spPr>
            <a:xfrm>
              <a:off x="8429918" y="1457325"/>
              <a:ext cx="611715" cy="1061805"/>
            </a:xfrm>
            <a:prstGeom prst="rect">
              <a:avLst/>
            </a:prstGeom>
            <a:noFill/>
          </p:spPr>
          <p:txBody>
            <a:bodyPr wrap="none" rtlCol="0">
              <a:spAutoFit/>
            </a:bodyPr>
            <a:lstStyle/>
            <a:p>
              <a:pPr marL="0" marR="0" lvl="0" indent="0" algn="ctr" defTabSz="685800" rtl="0" eaLnBrk="1" fontAlgn="base" latinLnBrk="0" hangingPunct="1">
                <a:lnSpc>
                  <a:spcPts val="2500"/>
                </a:lnSpc>
                <a:spcBef>
                  <a:spcPct val="0"/>
                </a:spcBef>
                <a:spcAft>
                  <a:spcPct val="0"/>
                </a:spcAft>
                <a:buClrTx/>
                <a:buSzTx/>
                <a:buFontTx/>
                <a:buNone/>
                <a:tabLst/>
                <a:defRPr/>
              </a:pPr>
              <a:r>
                <a:rPr kumimoji="0" lang="en-US" sz="1425" b="0" i="0" u="none" strike="noStrike" kern="0" cap="none" spc="0" normalizeH="0" baseline="0" noProof="0">
                  <a:ln>
                    <a:noFill/>
                  </a:ln>
                  <a:solidFill>
                    <a:srgbClr val="000000"/>
                  </a:solidFill>
                  <a:effectLst/>
                  <a:uLnTx/>
                  <a:uFillTx/>
                  <a:latin typeface="Calibri"/>
                  <a:ea typeface="+mn-ea"/>
                  <a:cs typeface="+mn-cs"/>
                </a:rPr>
                <a:t>KMP</a:t>
              </a:r>
            </a:p>
            <a:p>
              <a:pPr marL="0" marR="0" lvl="0" indent="0" algn="ctr" defTabSz="685800" rtl="0" eaLnBrk="1" fontAlgn="base" latinLnBrk="0" hangingPunct="1">
                <a:lnSpc>
                  <a:spcPts val="2500"/>
                </a:lnSpc>
                <a:spcBef>
                  <a:spcPct val="0"/>
                </a:spcBef>
                <a:spcAft>
                  <a:spcPct val="0"/>
                </a:spcAft>
                <a:buClrTx/>
                <a:buSzTx/>
                <a:buFontTx/>
                <a:buNone/>
                <a:tabLst/>
                <a:defRPr/>
              </a:pPr>
              <a:r>
                <a:rPr kumimoji="0" lang="en-US" sz="1425" b="0" i="0" u="none" strike="noStrike" kern="0" cap="none" spc="0" normalizeH="0" baseline="0" noProof="0">
                  <a:ln>
                    <a:noFill/>
                  </a:ln>
                  <a:solidFill>
                    <a:srgbClr val="000000"/>
                  </a:solidFill>
                  <a:effectLst/>
                  <a:uLnTx/>
                  <a:uFillTx/>
                  <a:latin typeface="Calibri"/>
                  <a:ea typeface="+mn-ea"/>
                  <a:cs typeface="+mn-cs"/>
                </a:rPr>
                <a:t>VMP</a:t>
              </a:r>
            </a:p>
          </p:txBody>
        </p:sp>
      </p:grpSp>
      <p:sp>
        <p:nvSpPr>
          <p:cNvPr id="10" name="Rectangle 9">
            <a:extLst>
              <a:ext uri="{FF2B5EF4-FFF2-40B4-BE49-F238E27FC236}">
                <a16:creationId xmlns:a16="http://schemas.microsoft.com/office/drawing/2014/main" id="{4F0F9741-5EC4-4E7B-BC23-42B7A8F41B21}"/>
              </a:ext>
            </a:extLst>
          </p:cNvPr>
          <p:cNvSpPr/>
          <p:nvPr/>
        </p:nvSpPr>
        <p:spPr>
          <a:xfrm>
            <a:off x="0" y="4629573"/>
            <a:ext cx="8750314" cy="507829"/>
          </a:xfrm>
          <a:prstGeom prst="rect">
            <a:avLst/>
          </a:prstGeom>
        </p:spPr>
        <p:txBody>
          <a:bodyPr wrap="square" lIns="91440" tIns="45718" rIns="91436" bIns="45720" anchor="b" anchorCtr="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30000" noProof="0">
                <a:ln>
                  <a:noFill/>
                </a:ln>
                <a:solidFill>
                  <a:srgbClr val="000000"/>
                </a:solidFill>
                <a:effectLst/>
                <a:uLnTx/>
                <a:uFillTx/>
                <a:latin typeface="Calibri"/>
                <a:ea typeface="+mn-ea"/>
                <a:cs typeface="+mn-cs"/>
              </a:rPr>
              <a:t>a</a:t>
            </a:r>
            <a:r>
              <a:rPr kumimoji="0" lang="en-US" sz="900" b="0" i="0" u="none" strike="noStrike" kern="1200" cap="none" spc="0" normalizeH="0" baseline="0" noProof="0">
                <a:ln>
                  <a:noFill/>
                </a:ln>
                <a:solidFill>
                  <a:srgbClr val="000000"/>
                </a:solidFill>
                <a:effectLst/>
                <a:uLnTx/>
                <a:uFillTx/>
                <a:latin typeface="Calibri"/>
                <a:ea typeface="+mn-ea"/>
                <a:cs typeface="+mn-cs"/>
              </a:rPr>
              <a:t>Standardized MedDRA Query Narrow Search for peripheral neuropathy.</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rPr>
              <a:t>KMP, carfilzomib, melphalan, prednisone; MedDRA, Medical Dictionary for Regulatory Activities; PN, peripheral neuropathy; VMP, bortezomib, melphalan, prednisone.</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acon T, et al. Presented at: 16th International Myeloma Workshop; New Delhi, India; March 1-4, 2017.</a:t>
            </a:r>
          </a:p>
        </p:txBody>
      </p:sp>
    </p:spTree>
    <p:extLst>
      <p:ext uri="{BB962C8B-B14F-4D97-AF65-F5344CB8AC3E}">
        <p14:creationId xmlns:p14="http://schemas.microsoft.com/office/powerpoint/2010/main" val="3191173131"/>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ADCAC-AE39-4B3B-AFEA-A8AC21A43641}"/>
              </a:ext>
            </a:extLst>
          </p:cNvPr>
          <p:cNvSpPr>
            <a:spLocks noGrp="1"/>
          </p:cNvSpPr>
          <p:nvPr>
            <p:ph type="ctrTitle"/>
          </p:nvPr>
        </p:nvSpPr>
        <p:spPr>
          <a:xfrm>
            <a:off x="685800" y="2443813"/>
            <a:ext cx="7772400" cy="668948"/>
          </a:xfrm>
        </p:spPr>
        <p:txBody>
          <a:bodyPr anchor="t" anchorCtr="0">
            <a:noAutofit/>
          </a:bodyPr>
          <a:lstStyle/>
          <a:p>
            <a:pPr algn="ctr"/>
            <a:r>
              <a:rPr lang="en-US" sz="2000" noProof="0"/>
              <a:t>The Phase 3 TOURMALINE-MM2 Trial: Oral Ixazomib, Lenalidomide, and Dexamethasone vs Placebo-Rd for Transplant-Ineligible Patients with Newly Diagnosed Multiple Myeloma</a:t>
            </a:r>
            <a:endParaRPr lang="en-US" sz="900" noProof="0">
              <a:solidFill>
                <a:srgbClr val="454347"/>
              </a:solidFill>
            </a:endParaRPr>
          </a:p>
        </p:txBody>
      </p:sp>
      <p:sp>
        <p:nvSpPr>
          <p:cNvPr id="7" name="Subtitle 6">
            <a:extLst>
              <a:ext uri="{FF2B5EF4-FFF2-40B4-BE49-F238E27FC236}">
                <a16:creationId xmlns:a16="http://schemas.microsoft.com/office/drawing/2014/main" id="{0D3214C1-2C9E-427E-B01E-F4B5D414583C}"/>
              </a:ext>
            </a:extLst>
          </p:cNvPr>
          <p:cNvSpPr>
            <a:spLocks noGrp="1"/>
          </p:cNvSpPr>
          <p:nvPr>
            <p:ph type="subTitle" idx="1"/>
          </p:nvPr>
        </p:nvSpPr>
        <p:spPr>
          <a:xfrm>
            <a:off x="685800" y="3533198"/>
            <a:ext cx="7772400" cy="1205873"/>
          </a:xfrm>
        </p:spPr>
        <p:txBody>
          <a:bodyPr>
            <a:normAutofit lnSpcReduction="10000"/>
          </a:bodyPr>
          <a:lstStyle/>
          <a:p>
            <a:r>
              <a:rPr lang="en-US" sz="800" b="1" noProof="0"/>
              <a:t>Thierry Facon,</a:t>
            </a:r>
            <a:r>
              <a:rPr lang="en-US" sz="800" b="1" baseline="30000" noProof="0"/>
              <a:t>1</a:t>
            </a:r>
            <a:r>
              <a:rPr lang="en-US" sz="800" b="1" noProof="0"/>
              <a:t> Christopher P. Venner,</a:t>
            </a:r>
            <a:r>
              <a:rPr lang="en-US" sz="800" b="1" baseline="30000" noProof="0"/>
              <a:t>2</a:t>
            </a:r>
            <a:r>
              <a:rPr lang="en-US" sz="800" b="1" noProof="0"/>
              <a:t> Nizar J. Bahlis,</a:t>
            </a:r>
            <a:r>
              <a:rPr lang="en-US" sz="800" b="1" baseline="30000" noProof="0"/>
              <a:t>3</a:t>
            </a:r>
            <a:r>
              <a:rPr lang="en-US" sz="800" b="1" noProof="0"/>
              <a:t> Fritz Offner,</a:t>
            </a:r>
            <a:r>
              <a:rPr lang="en-US" sz="800" b="1" baseline="30000" noProof="0"/>
              <a:t>4</a:t>
            </a:r>
            <a:r>
              <a:rPr lang="en-US" sz="800" b="1" noProof="0"/>
              <a:t> Darrell J. White,</a:t>
            </a:r>
            <a:r>
              <a:rPr lang="en-US" sz="800" b="1" baseline="30000" noProof="0"/>
              <a:t>5</a:t>
            </a:r>
            <a:r>
              <a:rPr lang="en-US" sz="800" b="1" noProof="0"/>
              <a:t> Lotfi Benboubker,</a:t>
            </a:r>
            <a:r>
              <a:rPr lang="en-US" sz="800" b="1" baseline="30000" noProof="0"/>
              <a:t>6</a:t>
            </a:r>
            <a:r>
              <a:rPr lang="en-US" sz="800" b="1" noProof="0"/>
              <a:t> Sophie Rigaudeau,</a:t>
            </a:r>
            <a:r>
              <a:rPr lang="en-US" sz="800" b="1" baseline="30000" noProof="0"/>
              <a:t>7</a:t>
            </a:r>
            <a:r>
              <a:rPr lang="en-US" sz="800" b="1" noProof="0"/>
              <a:t> Philippe Rodon,</a:t>
            </a:r>
            <a:r>
              <a:rPr lang="en-US" sz="800" b="1" baseline="30000" noProof="0"/>
              <a:t>8</a:t>
            </a:r>
            <a:r>
              <a:rPr lang="en-US" sz="800" b="1" noProof="0"/>
              <a:t> Sung-Soo Yoon,</a:t>
            </a:r>
            <a:r>
              <a:rPr lang="en-US" sz="800" b="1" baseline="30000" noProof="0"/>
              <a:t>9</a:t>
            </a:r>
            <a:r>
              <a:rPr lang="en-US" sz="800" b="1" noProof="0"/>
              <a:t> Kenshi Suzuki,</a:t>
            </a:r>
            <a:r>
              <a:rPr lang="en-US" sz="800" b="1" baseline="30000" noProof="0"/>
              <a:t>10</a:t>
            </a:r>
            <a:r>
              <a:rPr lang="en-US" sz="800" b="1" noProof="0"/>
              <a:t> Hirohiko Shibayama,</a:t>
            </a:r>
            <a:r>
              <a:rPr lang="en-US" sz="800" b="1" baseline="30000" noProof="0"/>
              <a:t>11</a:t>
            </a:r>
            <a:r>
              <a:rPr lang="en-US" sz="800" b="1" noProof="0"/>
              <a:t> Xiaoquan Zhang,</a:t>
            </a:r>
            <a:r>
              <a:rPr lang="en-US" sz="800" b="1" baseline="30000" noProof="0"/>
              <a:t>12</a:t>
            </a:r>
            <a:r>
              <a:rPr lang="en-US" sz="800" b="1" noProof="0"/>
              <a:t> Godwin Yung,</a:t>
            </a:r>
            <a:r>
              <a:rPr lang="en-US" sz="800" b="1" baseline="30000" noProof="0"/>
              <a:t>12</a:t>
            </a:r>
            <a:r>
              <a:rPr lang="en-US" sz="800" b="1" noProof="0"/>
              <a:t> Robert M. Rifkin,</a:t>
            </a:r>
            <a:r>
              <a:rPr lang="en-US" sz="800" b="1" baseline="30000" noProof="0"/>
              <a:t>13</a:t>
            </a:r>
            <a:r>
              <a:rPr lang="en-US" sz="800" b="1" noProof="0"/>
              <a:t> Philippe Moreau,</a:t>
            </a:r>
            <a:r>
              <a:rPr lang="en-US" sz="800" b="1" baseline="30000" noProof="0"/>
              <a:t>14</a:t>
            </a:r>
            <a:r>
              <a:rPr lang="en-US" sz="800" b="1" noProof="0"/>
              <a:t> Sagar Lonial,</a:t>
            </a:r>
            <a:r>
              <a:rPr lang="en-US" sz="800" b="1" baseline="30000" noProof="0"/>
              <a:t>15</a:t>
            </a:r>
            <a:r>
              <a:rPr lang="en-US" sz="800" b="1" noProof="0"/>
              <a:t> Shaji K. Kumar,</a:t>
            </a:r>
            <a:r>
              <a:rPr lang="en-US" sz="800" b="1" baseline="30000" noProof="0"/>
              <a:t>16</a:t>
            </a:r>
            <a:r>
              <a:rPr lang="en-US" sz="800" b="1" noProof="0"/>
              <a:t> Paul G. Richardson,</a:t>
            </a:r>
            <a:r>
              <a:rPr lang="en-US" sz="800" b="1" baseline="30000" noProof="0"/>
              <a:t>17</a:t>
            </a:r>
            <a:r>
              <a:rPr lang="en-US" sz="800" b="1" noProof="0"/>
              <a:t> and S. Vincent Rajkumar</a:t>
            </a:r>
            <a:r>
              <a:rPr lang="en-US" sz="800" b="1" baseline="30000" noProof="0"/>
              <a:t>16 </a:t>
            </a:r>
            <a:r>
              <a:rPr lang="en-US" sz="800" b="1" noProof="0"/>
              <a:t>on behalf of the TOURMALINE-MM2 study group</a:t>
            </a:r>
            <a:br>
              <a:rPr lang="en-US" sz="700" noProof="0"/>
            </a:br>
            <a:br>
              <a:rPr lang="en-US" sz="700" noProof="0"/>
            </a:br>
            <a:r>
              <a:rPr lang="en-US" sz="600" baseline="30000" noProof="0"/>
              <a:t>1</a:t>
            </a:r>
            <a:r>
              <a:rPr lang="en-US" sz="600" noProof="0"/>
              <a:t>Centre Hospitalier Universitaire (CHU) Lille, Service des Maladies du Sang, University of Lille, Lille, France; </a:t>
            </a:r>
            <a:r>
              <a:rPr lang="en-US" sz="600" baseline="30000" noProof="0"/>
              <a:t>2</a:t>
            </a:r>
            <a:r>
              <a:rPr lang="en-US" sz="600" noProof="0"/>
              <a:t>Division of Medical Oncology, Cross Cancer Institute, University of Alberta, Edmonton, AB, Canada; </a:t>
            </a:r>
            <a:r>
              <a:rPr lang="en-US" sz="600" baseline="30000" noProof="0"/>
              <a:t>3</a:t>
            </a:r>
            <a:r>
              <a:rPr lang="en-US" sz="600" noProof="0"/>
              <a:t>Division of Hematology and Oncology, Charbonneau Cancer Research Institute, University of Calgary, Calgary, AB, Canada; </a:t>
            </a:r>
            <a:r>
              <a:rPr lang="en-US" sz="600" baseline="30000" noProof="0"/>
              <a:t>4</a:t>
            </a:r>
            <a:r>
              <a:rPr lang="en-US" sz="600" noProof="0"/>
              <a:t>Hematology, Department of Internal Medicine, Ghent University Hospital, Ghent, Belgium; </a:t>
            </a:r>
            <a:r>
              <a:rPr lang="en-US" sz="600" baseline="30000" noProof="0"/>
              <a:t>5</a:t>
            </a:r>
            <a:r>
              <a:rPr lang="en-US" sz="600" noProof="0"/>
              <a:t>QEII Health Sciences Center and Dalhousie University, Halifax, NS, Canada; </a:t>
            </a:r>
            <a:r>
              <a:rPr lang="en-US" sz="600" baseline="30000" noProof="0"/>
              <a:t>6</a:t>
            </a:r>
            <a:r>
              <a:rPr lang="en-US" sz="600" noProof="0"/>
              <a:t>Service d'Hématologie et Thérapie Cellulaire, Hôpital Bretonneau, Centre Hospitalier Régional Universitaire (CHRU), Tours, France; </a:t>
            </a:r>
            <a:r>
              <a:rPr lang="en-US" sz="600" baseline="30000" noProof="0"/>
              <a:t>7</a:t>
            </a:r>
            <a:r>
              <a:rPr lang="en-US" sz="600" noProof="0"/>
              <a:t>Department of Clinical Hematology, Centre Hospitalier Versailles, Le Chesnay, France; </a:t>
            </a:r>
            <a:r>
              <a:rPr lang="en-US" sz="600" baseline="30000" noProof="0"/>
              <a:t>8</a:t>
            </a:r>
            <a:r>
              <a:rPr lang="en-US" sz="600" noProof="0"/>
              <a:t>Unité d'Hématologie et d'Oncologie, Centre Hospitalier Périgueux, Périgueux, France; </a:t>
            </a:r>
            <a:r>
              <a:rPr lang="en-US" sz="600" baseline="30000" noProof="0"/>
              <a:t>9</a:t>
            </a:r>
            <a:r>
              <a:rPr lang="en-US" sz="600" noProof="0"/>
              <a:t>Department of Internal Medicine, Seoul National University Hospital, Seoul, South Korea; </a:t>
            </a:r>
            <a:r>
              <a:rPr lang="en-US" sz="600" baseline="30000" noProof="0"/>
              <a:t>10</a:t>
            </a:r>
            <a:r>
              <a:rPr lang="en-US" sz="600" noProof="0"/>
              <a:t>Department of Hematology, Japanese Red Cross Medical Center, Tokyo, Japan; </a:t>
            </a:r>
            <a:r>
              <a:rPr lang="en-US" sz="600" baseline="30000" noProof="0"/>
              <a:t>11</a:t>
            </a:r>
            <a:r>
              <a:rPr lang="en-US" sz="600" noProof="0"/>
              <a:t>Department of Hematology and Oncology, Osaka University Graduate School of Medicine, Suita, Japan; </a:t>
            </a:r>
            <a:r>
              <a:rPr lang="en-US" sz="600" baseline="30000" noProof="0"/>
              <a:t>12</a:t>
            </a:r>
            <a:r>
              <a:rPr lang="en-US" sz="600" noProof="0"/>
              <a:t>Millennium Pharmaceuticals, Inc., Cambridge, MA, USA, a wholly owned subsidiary of Takeda Pharmaceutical Company Limited; </a:t>
            </a:r>
            <a:r>
              <a:rPr lang="en-US" sz="600" baseline="30000" noProof="0"/>
              <a:t>13</a:t>
            </a:r>
            <a:r>
              <a:rPr lang="en-US" sz="600" noProof="0"/>
              <a:t>Rocky Mountain Cancer Centers/US Oncology Research, Denver, CO, USA; </a:t>
            </a:r>
            <a:r>
              <a:rPr lang="en-US" sz="600" baseline="30000" noProof="0"/>
              <a:t>14</a:t>
            </a:r>
            <a:r>
              <a:rPr lang="en-US" sz="600" noProof="0"/>
              <a:t>Department of Hematology, University Hospital Hôtel Dieu, University of Nantes, Nantes, France; </a:t>
            </a:r>
            <a:r>
              <a:rPr lang="en-US" sz="600" baseline="30000" noProof="0"/>
              <a:t>15</a:t>
            </a:r>
            <a:r>
              <a:rPr lang="en-US" sz="600" noProof="0"/>
              <a:t>Department of Hematology and Medical Oncology, Winship Cancer Institute, Emory University, Atlanta, GA, USA; </a:t>
            </a:r>
            <a:r>
              <a:rPr lang="en-US" sz="600" baseline="30000" noProof="0"/>
              <a:t>16</a:t>
            </a:r>
            <a:r>
              <a:rPr lang="en-US" sz="600" noProof="0"/>
              <a:t>Division of Hematology, Department of Internal Medicine, Mayo Clinic, Rochester, MN, USA; </a:t>
            </a:r>
            <a:r>
              <a:rPr lang="en-US" sz="600" baseline="30000" noProof="0"/>
              <a:t>17</a:t>
            </a:r>
            <a:r>
              <a:rPr lang="en-US" sz="600" noProof="0"/>
              <a:t>Medical Oncology, Dana-Farber Cancer Institute, Boston, MA, USA</a:t>
            </a:r>
          </a:p>
        </p:txBody>
      </p:sp>
      <p:sp>
        <p:nvSpPr>
          <p:cNvPr id="5" name="TextBox 4"/>
          <p:cNvSpPr txBox="1"/>
          <p:nvPr/>
        </p:nvSpPr>
        <p:spPr>
          <a:xfrm>
            <a:off x="8152377" y="46166"/>
            <a:ext cx="673261" cy="184666"/>
          </a:xfrm>
          <a:prstGeom prst="rect">
            <a:avLst/>
          </a:prstGeom>
          <a:noFill/>
        </p:spPr>
        <p:txBody>
          <a:bodyPr wrap="none" lIns="0" tIns="0" rIns="0" bIns="0"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454347"/>
                </a:solidFill>
                <a:effectLst/>
                <a:uLnTx/>
                <a:uFillTx/>
                <a:latin typeface="Arial" charset="0"/>
                <a:ea typeface="Geneva" charset="0"/>
                <a:cs typeface="+mn-cs"/>
              </a:rPr>
              <a:t>Oral #551</a:t>
            </a:r>
            <a:endParaRPr kumimoji="0" lang="en-GB" sz="1200" b="0" i="0" u="none" strike="noStrike" kern="1200" cap="none" spc="0" normalizeH="0" baseline="0" noProof="0">
              <a:ln>
                <a:noFill/>
              </a:ln>
              <a:solidFill>
                <a:srgbClr val="CC66FF"/>
              </a:solidFill>
              <a:effectLst/>
              <a:uLnTx/>
              <a:uFillTx/>
              <a:latin typeface="Arial" charset="0"/>
              <a:ea typeface="Geneva" charset="0"/>
              <a:cs typeface="+mn-cs"/>
            </a:endParaRPr>
          </a:p>
        </p:txBody>
      </p:sp>
    </p:spTree>
    <p:extLst>
      <p:ext uri="{BB962C8B-B14F-4D97-AF65-F5344CB8AC3E}">
        <p14:creationId xmlns:p14="http://schemas.microsoft.com/office/powerpoint/2010/main" val="188103171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483" y="50856"/>
            <a:ext cx="7476067" cy="725392"/>
          </a:xfrm>
        </p:spPr>
        <p:txBody>
          <a:bodyPr anchor="t"/>
          <a:lstStyle/>
          <a:p>
            <a:r>
              <a:rPr lang="en-US" sz="3000" b="1" noProof="0">
                <a:solidFill>
                  <a:srgbClr val="000090"/>
                </a:solidFill>
                <a:latin typeface="Calibri Light" panose="020F0302020204030204" pitchFamily="34" charset="0"/>
                <a:cs typeface="Calibri Light" panose="020F0302020204030204" pitchFamily="34" charset="0"/>
              </a:rPr>
              <a:t>Ixazomib-Rd vs Placebo-Rd: PFS</a:t>
            </a:r>
          </a:p>
        </p:txBody>
      </p:sp>
      <p:sp>
        <p:nvSpPr>
          <p:cNvPr id="3" name="Content Placeholder 2"/>
          <p:cNvSpPr>
            <a:spLocks noGrp="1"/>
          </p:cNvSpPr>
          <p:nvPr>
            <p:ph idx="1"/>
          </p:nvPr>
        </p:nvSpPr>
        <p:spPr>
          <a:xfrm>
            <a:off x="5941321" y="1026692"/>
            <a:ext cx="3064688" cy="3374712"/>
          </a:xfrm>
        </p:spPr>
        <p:txBody>
          <a:bodyPr>
            <a:normAutofit/>
          </a:bodyPr>
          <a:lstStyle/>
          <a:p>
            <a:pPr marL="177796" indent="-177796"/>
            <a:r>
              <a:rPr lang="en-US" sz="1500" noProof="0">
                <a:latin typeface="+mn-lt"/>
              </a:rPr>
              <a:t>Median follow-up for PFS: 53.3 vs 55.8 months in ixazomib-Rd and placebo-Rd arms, respectively</a:t>
            </a:r>
          </a:p>
          <a:p>
            <a:pPr marL="177796" indent="-177796">
              <a:buNone/>
            </a:pPr>
            <a:endParaRPr lang="en-US" sz="1500" noProof="0">
              <a:latin typeface="+mn-lt"/>
            </a:endParaRPr>
          </a:p>
          <a:p>
            <a:pPr marL="177796" indent="-177796"/>
            <a:r>
              <a:rPr lang="en-US" sz="1500" noProof="0">
                <a:latin typeface="+mn-lt"/>
              </a:rPr>
              <a:t>Median DOT: 20 cycles in each arm</a:t>
            </a:r>
          </a:p>
          <a:p>
            <a:pPr marL="361941" lvl="1" indent="-184145"/>
            <a:r>
              <a:rPr lang="en-US" sz="1200" noProof="0">
                <a:latin typeface="+mn-lt"/>
              </a:rPr>
              <a:t>54% of patients in the ixazomib-Rd arm and 54% in the placebo-Rd arm entered cycle 19</a:t>
            </a:r>
          </a:p>
          <a:p>
            <a:pPr marL="361941" lvl="1" indent="-184145"/>
            <a:r>
              <a:rPr lang="en-US" sz="1200" noProof="0">
                <a:latin typeface="+mn-lt"/>
              </a:rPr>
              <a:t>Relative dose intensity for all agents was similar between arms</a:t>
            </a:r>
          </a:p>
        </p:txBody>
      </p:sp>
      <p:sp>
        <p:nvSpPr>
          <p:cNvPr id="305" name="Text Placeholder 3"/>
          <p:cNvSpPr>
            <a:spLocks noGrp="1"/>
          </p:cNvSpPr>
          <p:nvPr>
            <p:ph type="body" sz="quarter" idx="13"/>
          </p:nvPr>
        </p:nvSpPr>
        <p:spPr>
          <a:xfrm>
            <a:off x="1" y="4373244"/>
            <a:ext cx="6448679" cy="349702"/>
          </a:xfrm>
        </p:spPr>
        <p:txBody>
          <a:bodyPr/>
          <a:lstStyle/>
          <a:p>
            <a:pPr>
              <a:spcBef>
                <a:spcPts val="0"/>
              </a:spcBef>
            </a:pPr>
            <a:r>
              <a:rPr lang="en-US" sz="900" noProof="0">
                <a:latin typeface="+mn-lt"/>
              </a:rPr>
              <a:t>Data cutoff: December 2, 2019.</a:t>
            </a:r>
          </a:p>
          <a:p>
            <a:pPr>
              <a:spcBef>
                <a:spcPts val="0"/>
              </a:spcBef>
            </a:pPr>
            <a:r>
              <a:rPr lang="en-US" sz="900" noProof="0">
                <a:latin typeface="+mn-lt"/>
              </a:rPr>
              <a:t>DOT, duration of treatment; HR, hazard ratio.</a:t>
            </a:r>
          </a:p>
        </p:txBody>
      </p:sp>
      <p:sp>
        <p:nvSpPr>
          <p:cNvPr id="5" name="Text Placeholder 4">
            <a:extLst>
              <a:ext uri="{FF2B5EF4-FFF2-40B4-BE49-F238E27FC236}">
                <a16:creationId xmlns:a16="http://schemas.microsoft.com/office/drawing/2014/main" id="{8CC0EFE2-5983-418F-A8AE-B28038878EF1}"/>
              </a:ext>
            </a:extLst>
          </p:cNvPr>
          <p:cNvSpPr>
            <a:spLocks noGrp="1"/>
          </p:cNvSpPr>
          <p:nvPr>
            <p:ph type="body" sz="quarter" idx="14"/>
          </p:nvPr>
        </p:nvSpPr>
        <p:spPr>
          <a:xfrm>
            <a:off x="4675632" y="4513070"/>
            <a:ext cx="4468368" cy="211203"/>
          </a:xfrm>
        </p:spPr>
        <p:txBody>
          <a:bodyPr/>
          <a:lstStyle/>
          <a:p>
            <a:r>
              <a:rPr lang="en-US" sz="900" noProof="0">
                <a:latin typeface="+mn-lt"/>
              </a:rPr>
              <a:t>Facon T, et al. ASH 2020. Oral presentation 551.</a:t>
            </a:r>
          </a:p>
        </p:txBody>
      </p:sp>
      <p:sp>
        <p:nvSpPr>
          <p:cNvPr id="379" name="Line 6">
            <a:extLst>
              <a:ext uri="{FF2B5EF4-FFF2-40B4-BE49-F238E27FC236}">
                <a16:creationId xmlns:a16="http://schemas.microsoft.com/office/drawing/2014/main" id="{FB73EF90-08B7-408F-9DD7-057158F60848}"/>
              </a:ext>
            </a:extLst>
          </p:cNvPr>
          <p:cNvSpPr>
            <a:spLocks noChangeShapeType="1"/>
          </p:cNvSpPr>
          <p:nvPr/>
        </p:nvSpPr>
        <p:spPr bwMode="auto">
          <a:xfrm>
            <a:off x="1106316" y="2284663"/>
            <a:ext cx="4504160" cy="0"/>
          </a:xfrm>
          <a:prstGeom prst="line">
            <a:avLst/>
          </a:prstGeom>
          <a:noFill/>
          <a:ln w="19050" cap="flat">
            <a:solidFill>
              <a:srgbClr val="808284"/>
            </a:solidFill>
            <a:prstDash val="dash"/>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0" name="Freeform 7">
            <a:extLst>
              <a:ext uri="{FF2B5EF4-FFF2-40B4-BE49-F238E27FC236}">
                <a16:creationId xmlns:a16="http://schemas.microsoft.com/office/drawing/2014/main" id="{F93BE384-9675-4EBA-8255-D7B15F6ECF9F}"/>
              </a:ext>
            </a:extLst>
          </p:cNvPr>
          <p:cNvSpPr>
            <a:spLocks/>
          </p:cNvSpPr>
          <p:nvPr/>
        </p:nvSpPr>
        <p:spPr bwMode="auto">
          <a:xfrm>
            <a:off x="1106316" y="996241"/>
            <a:ext cx="4327127" cy="1795628"/>
          </a:xfrm>
          <a:custGeom>
            <a:avLst/>
            <a:gdLst>
              <a:gd name="T0" fmla="*/ 2683 w 2982"/>
              <a:gd name="T1" fmla="*/ 1171 h 1232"/>
              <a:gd name="T2" fmla="*/ 2258 w 2982"/>
              <a:gd name="T3" fmla="*/ 1129 h 1232"/>
              <a:gd name="T4" fmla="*/ 2222 w 2982"/>
              <a:gd name="T5" fmla="*/ 1101 h 1232"/>
              <a:gd name="T6" fmla="*/ 2062 w 2982"/>
              <a:gd name="T7" fmla="*/ 1087 h 1232"/>
              <a:gd name="T8" fmla="*/ 2050 w 2982"/>
              <a:gd name="T9" fmla="*/ 1069 h 1232"/>
              <a:gd name="T10" fmla="*/ 2004 w 2982"/>
              <a:gd name="T11" fmla="*/ 1065 h 1232"/>
              <a:gd name="T12" fmla="*/ 1984 w 2982"/>
              <a:gd name="T13" fmla="*/ 1041 h 1232"/>
              <a:gd name="T14" fmla="*/ 1842 w 2982"/>
              <a:gd name="T15" fmla="*/ 1035 h 1232"/>
              <a:gd name="T16" fmla="*/ 1798 w 2982"/>
              <a:gd name="T17" fmla="*/ 1009 h 1232"/>
              <a:gd name="T18" fmla="*/ 1735 w 2982"/>
              <a:gd name="T19" fmla="*/ 983 h 1232"/>
              <a:gd name="T20" fmla="*/ 1699 w 2982"/>
              <a:gd name="T21" fmla="*/ 951 h 1232"/>
              <a:gd name="T22" fmla="*/ 1567 w 2982"/>
              <a:gd name="T23" fmla="*/ 935 h 1232"/>
              <a:gd name="T24" fmla="*/ 1517 w 2982"/>
              <a:gd name="T25" fmla="*/ 907 h 1232"/>
              <a:gd name="T26" fmla="*/ 1329 w 2982"/>
              <a:gd name="T27" fmla="*/ 897 h 1232"/>
              <a:gd name="T28" fmla="*/ 1309 w 2982"/>
              <a:gd name="T29" fmla="*/ 881 h 1232"/>
              <a:gd name="T30" fmla="*/ 1225 w 2982"/>
              <a:gd name="T31" fmla="*/ 867 h 1232"/>
              <a:gd name="T32" fmla="*/ 1200 w 2982"/>
              <a:gd name="T33" fmla="*/ 847 h 1232"/>
              <a:gd name="T34" fmla="*/ 1140 w 2982"/>
              <a:gd name="T35" fmla="*/ 835 h 1232"/>
              <a:gd name="T36" fmla="*/ 1098 w 2982"/>
              <a:gd name="T37" fmla="*/ 781 h 1232"/>
              <a:gd name="T38" fmla="*/ 1024 w 2982"/>
              <a:gd name="T39" fmla="*/ 763 h 1232"/>
              <a:gd name="T40" fmla="*/ 1008 w 2982"/>
              <a:gd name="T41" fmla="*/ 743 h 1232"/>
              <a:gd name="T42" fmla="*/ 962 w 2982"/>
              <a:gd name="T43" fmla="*/ 721 h 1232"/>
              <a:gd name="T44" fmla="*/ 920 w 2982"/>
              <a:gd name="T45" fmla="*/ 711 h 1232"/>
              <a:gd name="T46" fmla="*/ 896 w 2982"/>
              <a:gd name="T47" fmla="*/ 699 h 1232"/>
              <a:gd name="T48" fmla="*/ 888 w 2982"/>
              <a:gd name="T49" fmla="*/ 675 h 1232"/>
              <a:gd name="T50" fmla="*/ 858 w 2982"/>
              <a:gd name="T51" fmla="*/ 667 h 1232"/>
              <a:gd name="T52" fmla="*/ 824 w 2982"/>
              <a:gd name="T53" fmla="*/ 631 h 1232"/>
              <a:gd name="T54" fmla="*/ 808 w 2982"/>
              <a:gd name="T55" fmla="*/ 623 h 1232"/>
              <a:gd name="T56" fmla="*/ 794 w 2982"/>
              <a:gd name="T57" fmla="*/ 605 h 1232"/>
              <a:gd name="T58" fmla="*/ 772 w 2982"/>
              <a:gd name="T59" fmla="*/ 593 h 1232"/>
              <a:gd name="T60" fmla="*/ 764 w 2982"/>
              <a:gd name="T61" fmla="*/ 577 h 1232"/>
              <a:gd name="T62" fmla="*/ 740 w 2982"/>
              <a:gd name="T63" fmla="*/ 553 h 1232"/>
              <a:gd name="T64" fmla="*/ 726 w 2982"/>
              <a:gd name="T65" fmla="*/ 529 h 1232"/>
              <a:gd name="T66" fmla="*/ 714 w 2982"/>
              <a:gd name="T67" fmla="*/ 519 h 1232"/>
              <a:gd name="T68" fmla="*/ 684 w 2982"/>
              <a:gd name="T69" fmla="*/ 481 h 1232"/>
              <a:gd name="T70" fmla="*/ 655 w 2982"/>
              <a:gd name="T71" fmla="*/ 469 h 1232"/>
              <a:gd name="T72" fmla="*/ 607 w 2982"/>
              <a:gd name="T73" fmla="*/ 425 h 1232"/>
              <a:gd name="T74" fmla="*/ 499 w 2982"/>
              <a:gd name="T75" fmla="*/ 413 h 1232"/>
              <a:gd name="T76" fmla="*/ 479 w 2982"/>
              <a:gd name="T77" fmla="*/ 363 h 1232"/>
              <a:gd name="T78" fmla="*/ 427 w 2982"/>
              <a:gd name="T79" fmla="*/ 355 h 1232"/>
              <a:gd name="T80" fmla="*/ 417 w 2982"/>
              <a:gd name="T81" fmla="*/ 311 h 1232"/>
              <a:gd name="T82" fmla="*/ 343 w 2982"/>
              <a:gd name="T83" fmla="*/ 308 h 1232"/>
              <a:gd name="T84" fmla="*/ 281 w 2982"/>
              <a:gd name="T85" fmla="*/ 266 h 1232"/>
              <a:gd name="T86" fmla="*/ 251 w 2982"/>
              <a:gd name="T87" fmla="*/ 246 h 1232"/>
              <a:gd name="T88" fmla="*/ 239 w 2982"/>
              <a:gd name="T89" fmla="*/ 230 h 1232"/>
              <a:gd name="T90" fmla="*/ 205 w 2982"/>
              <a:gd name="T91" fmla="*/ 216 h 1232"/>
              <a:gd name="T92" fmla="*/ 187 w 2982"/>
              <a:gd name="T93" fmla="*/ 190 h 1232"/>
              <a:gd name="T94" fmla="*/ 159 w 2982"/>
              <a:gd name="T95" fmla="*/ 176 h 1232"/>
              <a:gd name="T96" fmla="*/ 149 w 2982"/>
              <a:gd name="T97" fmla="*/ 150 h 1232"/>
              <a:gd name="T98" fmla="*/ 135 w 2982"/>
              <a:gd name="T99" fmla="*/ 138 h 1232"/>
              <a:gd name="T100" fmla="*/ 121 w 2982"/>
              <a:gd name="T101" fmla="*/ 110 h 1232"/>
              <a:gd name="T102" fmla="*/ 107 w 2982"/>
              <a:gd name="T103" fmla="*/ 100 h 1232"/>
              <a:gd name="T104" fmla="*/ 96 w 2982"/>
              <a:gd name="T105" fmla="*/ 74 h 1232"/>
              <a:gd name="T106" fmla="*/ 74 w 2982"/>
              <a:gd name="T107" fmla="*/ 62 h 1232"/>
              <a:gd name="T108" fmla="*/ 54 w 2982"/>
              <a:gd name="T109" fmla="*/ 44 h 1232"/>
              <a:gd name="T110" fmla="*/ 4 w 2982"/>
              <a:gd name="T111" fmla="*/ 32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82" h="1232">
                <a:moveTo>
                  <a:pt x="2982" y="1232"/>
                </a:moveTo>
                <a:lnTo>
                  <a:pt x="2683" y="1232"/>
                </a:lnTo>
                <a:lnTo>
                  <a:pt x="2683" y="1171"/>
                </a:lnTo>
                <a:lnTo>
                  <a:pt x="2304" y="1171"/>
                </a:lnTo>
                <a:lnTo>
                  <a:pt x="2304" y="1129"/>
                </a:lnTo>
                <a:lnTo>
                  <a:pt x="2258" y="1129"/>
                </a:lnTo>
                <a:lnTo>
                  <a:pt x="2258" y="1119"/>
                </a:lnTo>
                <a:lnTo>
                  <a:pt x="2222" y="1119"/>
                </a:lnTo>
                <a:lnTo>
                  <a:pt x="2222" y="1101"/>
                </a:lnTo>
                <a:lnTo>
                  <a:pt x="2152" y="1101"/>
                </a:lnTo>
                <a:lnTo>
                  <a:pt x="2152" y="1087"/>
                </a:lnTo>
                <a:lnTo>
                  <a:pt x="2062" y="1087"/>
                </a:lnTo>
                <a:lnTo>
                  <a:pt x="2062" y="1077"/>
                </a:lnTo>
                <a:lnTo>
                  <a:pt x="2050" y="1077"/>
                </a:lnTo>
                <a:lnTo>
                  <a:pt x="2050" y="1069"/>
                </a:lnTo>
                <a:lnTo>
                  <a:pt x="2034" y="1069"/>
                </a:lnTo>
                <a:lnTo>
                  <a:pt x="2034" y="1065"/>
                </a:lnTo>
                <a:lnTo>
                  <a:pt x="2004" y="1065"/>
                </a:lnTo>
                <a:lnTo>
                  <a:pt x="2004" y="1047"/>
                </a:lnTo>
                <a:lnTo>
                  <a:pt x="1984" y="1047"/>
                </a:lnTo>
                <a:lnTo>
                  <a:pt x="1984" y="1041"/>
                </a:lnTo>
                <a:lnTo>
                  <a:pt x="1920" y="1041"/>
                </a:lnTo>
                <a:lnTo>
                  <a:pt x="1920" y="1035"/>
                </a:lnTo>
                <a:lnTo>
                  <a:pt x="1842" y="1035"/>
                </a:lnTo>
                <a:lnTo>
                  <a:pt x="1842" y="1019"/>
                </a:lnTo>
                <a:lnTo>
                  <a:pt x="1798" y="1019"/>
                </a:lnTo>
                <a:lnTo>
                  <a:pt x="1798" y="1009"/>
                </a:lnTo>
                <a:lnTo>
                  <a:pt x="1780" y="1009"/>
                </a:lnTo>
                <a:lnTo>
                  <a:pt x="1780" y="983"/>
                </a:lnTo>
                <a:lnTo>
                  <a:pt x="1735" y="983"/>
                </a:lnTo>
                <a:lnTo>
                  <a:pt x="1735" y="969"/>
                </a:lnTo>
                <a:lnTo>
                  <a:pt x="1699" y="969"/>
                </a:lnTo>
                <a:lnTo>
                  <a:pt x="1699" y="951"/>
                </a:lnTo>
                <a:lnTo>
                  <a:pt x="1635" y="951"/>
                </a:lnTo>
                <a:lnTo>
                  <a:pt x="1635" y="935"/>
                </a:lnTo>
                <a:lnTo>
                  <a:pt x="1567" y="935"/>
                </a:lnTo>
                <a:lnTo>
                  <a:pt x="1567" y="925"/>
                </a:lnTo>
                <a:lnTo>
                  <a:pt x="1517" y="925"/>
                </a:lnTo>
                <a:lnTo>
                  <a:pt x="1517" y="907"/>
                </a:lnTo>
                <a:lnTo>
                  <a:pt x="1459" y="907"/>
                </a:lnTo>
                <a:lnTo>
                  <a:pt x="1459" y="897"/>
                </a:lnTo>
                <a:lnTo>
                  <a:pt x="1329" y="897"/>
                </a:lnTo>
                <a:lnTo>
                  <a:pt x="1329" y="891"/>
                </a:lnTo>
                <a:lnTo>
                  <a:pt x="1309" y="891"/>
                </a:lnTo>
                <a:lnTo>
                  <a:pt x="1309" y="881"/>
                </a:lnTo>
                <a:lnTo>
                  <a:pt x="1285" y="881"/>
                </a:lnTo>
                <a:lnTo>
                  <a:pt x="1285" y="867"/>
                </a:lnTo>
                <a:lnTo>
                  <a:pt x="1225" y="867"/>
                </a:lnTo>
                <a:lnTo>
                  <a:pt x="1225" y="865"/>
                </a:lnTo>
                <a:lnTo>
                  <a:pt x="1200" y="865"/>
                </a:lnTo>
                <a:lnTo>
                  <a:pt x="1200" y="847"/>
                </a:lnTo>
                <a:lnTo>
                  <a:pt x="1170" y="847"/>
                </a:lnTo>
                <a:lnTo>
                  <a:pt x="1170" y="835"/>
                </a:lnTo>
                <a:lnTo>
                  <a:pt x="1140" y="835"/>
                </a:lnTo>
                <a:lnTo>
                  <a:pt x="1140" y="801"/>
                </a:lnTo>
                <a:lnTo>
                  <a:pt x="1098" y="801"/>
                </a:lnTo>
                <a:lnTo>
                  <a:pt x="1098" y="781"/>
                </a:lnTo>
                <a:lnTo>
                  <a:pt x="1056" y="781"/>
                </a:lnTo>
                <a:lnTo>
                  <a:pt x="1056" y="763"/>
                </a:lnTo>
                <a:lnTo>
                  <a:pt x="1024" y="763"/>
                </a:lnTo>
                <a:lnTo>
                  <a:pt x="1024" y="755"/>
                </a:lnTo>
                <a:lnTo>
                  <a:pt x="1008" y="755"/>
                </a:lnTo>
                <a:lnTo>
                  <a:pt x="1008" y="743"/>
                </a:lnTo>
                <a:lnTo>
                  <a:pt x="986" y="743"/>
                </a:lnTo>
                <a:lnTo>
                  <a:pt x="986" y="721"/>
                </a:lnTo>
                <a:lnTo>
                  <a:pt x="962" y="721"/>
                </a:lnTo>
                <a:lnTo>
                  <a:pt x="962" y="715"/>
                </a:lnTo>
                <a:lnTo>
                  <a:pt x="920" y="715"/>
                </a:lnTo>
                <a:lnTo>
                  <a:pt x="920" y="711"/>
                </a:lnTo>
                <a:lnTo>
                  <a:pt x="910" y="711"/>
                </a:lnTo>
                <a:lnTo>
                  <a:pt x="910" y="699"/>
                </a:lnTo>
                <a:lnTo>
                  <a:pt x="896" y="699"/>
                </a:lnTo>
                <a:lnTo>
                  <a:pt x="896" y="687"/>
                </a:lnTo>
                <a:lnTo>
                  <a:pt x="888" y="687"/>
                </a:lnTo>
                <a:lnTo>
                  <a:pt x="888" y="675"/>
                </a:lnTo>
                <a:lnTo>
                  <a:pt x="884" y="675"/>
                </a:lnTo>
                <a:lnTo>
                  <a:pt x="884" y="667"/>
                </a:lnTo>
                <a:lnTo>
                  <a:pt x="858" y="667"/>
                </a:lnTo>
                <a:lnTo>
                  <a:pt x="858" y="655"/>
                </a:lnTo>
                <a:lnTo>
                  <a:pt x="824" y="655"/>
                </a:lnTo>
                <a:lnTo>
                  <a:pt x="824" y="631"/>
                </a:lnTo>
                <a:lnTo>
                  <a:pt x="822" y="631"/>
                </a:lnTo>
                <a:lnTo>
                  <a:pt x="822" y="623"/>
                </a:lnTo>
                <a:lnTo>
                  <a:pt x="808" y="623"/>
                </a:lnTo>
                <a:lnTo>
                  <a:pt x="808" y="611"/>
                </a:lnTo>
                <a:lnTo>
                  <a:pt x="794" y="611"/>
                </a:lnTo>
                <a:lnTo>
                  <a:pt x="794" y="605"/>
                </a:lnTo>
                <a:lnTo>
                  <a:pt x="784" y="605"/>
                </a:lnTo>
                <a:lnTo>
                  <a:pt x="784" y="593"/>
                </a:lnTo>
                <a:lnTo>
                  <a:pt x="772" y="593"/>
                </a:lnTo>
                <a:lnTo>
                  <a:pt x="772" y="583"/>
                </a:lnTo>
                <a:lnTo>
                  <a:pt x="764" y="583"/>
                </a:lnTo>
                <a:lnTo>
                  <a:pt x="764" y="577"/>
                </a:lnTo>
                <a:lnTo>
                  <a:pt x="750" y="577"/>
                </a:lnTo>
                <a:lnTo>
                  <a:pt x="750" y="553"/>
                </a:lnTo>
                <a:lnTo>
                  <a:pt x="740" y="553"/>
                </a:lnTo>
                <a:lnTo>
                  <a:pt x="740" y="541"/>
                </a:lnTo>
                <a:lnTo>
                  <a:pt x="726" y="541"/>
                </a:lnTo>
                <a:lnTo>
                  <a:pt x="726" y="529"/>
                </a:lnTo>
                <a:lnTo>
                  <a:pt x="716" y="529"/>
                </a:lnTo>
                <a:lnTo>
                  <a:pt x="716" y="519"/>
                </a:lnTo>
                <a:lnTo>
                  <a:pt x="714" y="519"/>
                </a:lnTo>
                <a:lnTo>
                  <a:pt x="714" y="499"/>
                </a:lnTo>
                <a:lnTo>
                  <a:pt x="684" y="499"/>
                </a:lnTo>
                <a:lnTo>
                  <a:pt x="684" y="481"/>
                </a:lnTo>
                <a:lnTo>
                  <a:pt x="670" y="481"/>
                </a:lnTo>
                <a:lnTo>
                  <a:pt x="670" y="469"/>
                </a:lnTo>
                <a:lnTo>
                  <a:pt x="655" y="469"/>
                </a:lnTo>
                <a:lnTo>
                  <a:pt x="655" y="455"/>
                </a:lnTo>
                <a:lnTo>
                  <a:pt x="607" y="455"/>
                </a:lnTo>
                <a:lnTo>
                  <a:pt x="607" y="425"/>
                </a:lnTo>
                <a:lnTo>
                  <a:pt x="569" y="425"/>
                </a:lnTo>
                <a:lnTo>
                  <a:pt x="569" y="413"/>
                </a:lnTo>
                <a:lnTo>
                  <a:pt x="499" y="413"/>
                </a:lnTo>
                <a:lnTo>
                  <a:pt x="499" y="371"/>
                </a:lnTo>
                <a:lnTo>
                  <a:pt x="479" y="371"/>
                </a:lnTo>
                <a:lnTo>
                  <a:pt x="479" y="363"/>
                </a:lnTo>
                <a:lnTo>
                  <a:pt x="445" y="363"/>
                </a:lnTo>
                <a:lnTo>
                  <a:pt x="445" y="355"/>
                </a:lnTo>
                <a:lnTo>
                  <a:pt x="427" y="355"/>
                </a:lnTo>
                <a:lnTo>
                  <a:pt x="427" y="333"/>
                </a:lnTo>
                <a:lnTo>
                  <a:pt x="417" y="333"/>
                </a:lnTo>
                <a:lnTo>
                  <a:pt x="417" y="311"/>
                </a:lnTo>
                <a:lnTo>
                  <a:pt x="377" y="311"/>
                </a:lnTo>
                <a:lnTo>
                  <a:pt x="377" y="308"/>
                </a:lnTo>
                <a:lnTo>
                  <a:pt x="343" y="308"/>
                </a:lnTo>
                <a:lnTo>
                  <a:pt x="343" y="284"/>
                </a:lnTo>
                <a:lnTo>
                  <a:pt x="281" y="284"/>
                </a:lnTo>
                <a:lnTo>
                  <a:pt x="281" y="266"/>
                </a:lnTo>
                <a:lnTo>
                  <a:pt x="269" y="266"/>
                </a:lnTo>
                <a:lnTo>
                  <a:pt x="269" y="246"/>
                </a:lnTo>
                <a:lnTo>
                  <a:pt x="251" y="246"/>
                </a:lnTo>
                <a:lnTo>
                  <a:pt x="251" y="240"/>
                </a:lnTo>
                <a:lnTo>
                  <a:pt x="239" y="240"/>
                </a:lnTo>
                <a:lnTo>
                  <a:pt x="239" y="230"/>
                </a:lnTo>
                <a:lnTo>
                  <a:pt x="229" y="230"/>
                </a:lnTo>
                <a:lnTo>
                  <a:pt x="229" y="216"/>
                </a:lnTo>
                <a:lnTo>
                  <a:pt x="205" y="216"/>
                </a:lnTo>
                <a:lnTo>
                  <a:pt x="205" y="204"/>
                </a:lnTo>
                <a:lnTo>
                  <a:pt x="187" y="204"/>
                </a:lnTo>
                <a:lnTo>
                  <a:pt x="187" y="190"/>
                </a:lnTo>
                <a:lnTo>
                  <a:pt x="177" y="190"/>
                </a:lnTo>
                <a:lnTo>
                  <a:pt x="177" y="176"/>
                </a:lnTo>
                <a:lnTo>
                  <a:pt x="159" y="176"/>
                </a:lnTo>
                <a:lnTo>
                  <a:pt x="159" y="166"/>
                </a:lnTo>
                <a:lnTo>
                  <a:pt x="149" y="166"/>
                </a:lnTo>
                <a:lnTo>
                  <a:pt x="149" y="150"/>
                </a:lnTo>
                <a:lnTo>
                  <a:pt x="143" y="150"/>
                </a:lnTo>
                <a:lnTo>
                  <a:pt x="143" y="138"/>
                </a:lnTo>
                <a:lnTo>
                  <a:pt x="135" y="138"/>
                </a:lnTo>
                <a:lnTo>
                  <a:pt x="135" y="128"/>
                </a:lnTo>
                <a:lnTo>
                  <a:pt x="121" y="128"/>
                </a:lnTo>
                <a:lnTo>
                  <a:pt x="121" y="110"/>
                </a:lnTo>
                <a:lnTo>
                  <a:pt x="113" y="110"/>
                </a:lnTo>
                <a:lnTo>
                  <a:pt x="113" y="100"/>
                </a:lnTo>
                <a:lnTo>
                  <a:pt x="107" y="100"/>
                </a:lnTo>
                <a:lnTo>
                  <a:pt x="107" y="86"/>
                </a:lnTo>
                <a:lnTo>
                  <a:pt x="96" y="86"/>
                </a:lnTo>
                <a:lnTo>
                  <a:pt x="96" y="74"/>
                </a:lnTo>
                <a:lnTo>
                  <a:pt x="86" y="74"/>
                </a:lnTo>
                <a:lnTo>
                  <a:pt x="86" y="62"/>
                </a:lnTo>
                <a:lnTo>
                  <a:pt x="74" y="62"/>
                </a:lnTo>
                <a:lnTo>
                  <a:pt x="74" y="54"/>
                </a:lnTo>
                <a:lnTo>
                  <a:pt x="54" y="54"/>
                </a:lnTo>
                <a:lnTo>
                  <a:pt x="54" y="44"/>
                </a:lnTo>
                <a:lnTo>
                  <a:pt x="36" y="44"/>
                </a:lnTo>
                <a:lnTo>
                  <a:pt x="36" y="32"/>
                </a:lnTo>
                <a:lnTo>
                  <a:pt x="4" y="32"/>
                </a:lnTo>
                <a:lnTo>
                  <a:pt x="4" y="0"/>
                </a:lnTo>
                <a:lnTo>
                  <a:pt x="0" y="0"/>
                </a:lnTo>
              </a:path>
            </a:pathLst>
          </a:cu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1" name="Oval 8">
            <a:extLst>
              <a:ext uri="{FF2B5EF4-FFF2-40B4-BE49-F238E27FC236}">
                <a16:creationId xmlns:a16="http://schemas.microsoft.com/office/drawing/2014/main" id="{B71D30AD-78EA-446B-880D-EC3842AE6ED7}"/>
              </a:ext>
            </a:extLst>
          </p:cNvPr>
          <p:cNvSpPr>
            <a:spLocks noChangeArrowheads="1"/>
          </p:cNvSpPr>
          <p:nvPr/>
        </p:nvSpPr>
        <p:spPr bwMode="auto">
          <a:xfrm>
            <a:off x="5404422" y="276272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2" name="Oval 9">
            <a:extLst>
              <a:ext uri="{FF2B5EF4-FFF2-40B4-BE49-F238E27FC236}">
                <a16:creationId xmlns:a16="http://schemas.microsoft.com/office/drawing/2014/main" id="{D6A1B795-01AA-42F8-8FC8-F180CED6E4B3}"/>
              </a:ext>
            </a:extLst>
          </p:cNvPr>
          <p:cNvSpPr>
            <a:spLocks noChangeArrowheads="1"/>
          </p:cNvSpPr>
          <p:nvPr/>
        </p:nvSpPr>
        <p:spPr bwMode="auto">
          <a:xfrm>
            <a:off x="5328966" y="276272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3" name="Oval 10">
            <a:extLst>
              <a:ext uri="{FF2B5EF4-FFF2-40B4-BE49-F238E27FC236}">
                <a16:creationId xmlns:a16="http://schemas.microsoft.com/office/drawing/2014/main" id="{1B7B1E59-C758-4A73-81DC-8E4B6E22C7F3}"/>
              </a:ext>
            </a:extLst>
          </p:cNvPr>
          <p:cNvSpPr>
            <a:spLocks noChangeArrowheads="1"/>
          </p:cNvSpPr>
          <p:nvPr/>
        </p:nvSpPr>
        <p:spPr bwMode="auto">
          <a:xfrm>
            <a:off x="5217233" y="276272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4" name="Oval 11">
            <a:extLst>
              <a:ext uri="{FF2B5EF4-FFF2-40B4-BE49-F238E27FC236}">
                <a16:creationId xmlns:a16="http://schemas.microsoft.com/office/drawing/2014/main" id="{C2A2E74C-4616-41C7-ABBC-8346D627F32B}"/>
              </a:ext>
            </a:extLst>
          </p:cNvPr>
          <p:cNvSpPr>
            <a:spLocks noChangeArrowheads="1"/>
          </p:cNvSpPr>
          <p:nvPr/>
        </p:nvSpPr>
        <p:spPr bwMode="auto">
          <a:xfrm>
            <a:off x="5194016" y="276272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5" name="Oval 12">
            <a:extLst>
              <a:ext uri="{FF2B5EF4-FFF2-40B4-BE49-F238E27FC236}">
                <a16:creationId xmlns:a16="http://schemas.microsoft.com/office/drawing/2014/main" id="{A914F7B7-16CA-454E-9054-0AC190005D8B}"/>
              </a:ext>
            </a:extLst>
          </p:cNvPr>
          <p:cNvSpPr>
            <a:spLocks noChangeArrowheads="1"/>
          </p:cNvSpPr>
          <p:nvPr/>
        </p:nvSpPr>
        <p:spPr bwMode="auto">
          <a:xfrm>
            <a:off x="5188212" y="276272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6" name="Oval 13">
            <a:extLst>
              <a:ext uri="{FF2B5EF4-FFF2-40B4-BE49-F238E27FC236}">
                <a16:creationId xmlns:a16="http://schemas.microsoft.com/office/drawing/2014/main" id="{21B79162-BA4E-4897-A7C6-0B69DD417B5F}"/>
              </a:ext>
            </a:extLst>
          </p:cNvPr>
          <p:cNvSpPr>
            <a:spLocks noChangeArrowheads="1"/>
          </p:cNvSpPr>
          <p:nvPr/>
        </p:nvSpPr>
        <p:spPr bwMode="auto">
          <a:xfrm>
            <a:off x="5138875" y="276272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7" name="Oval 14">
            <a:extLst>
              <a:ext uri="{FF2B5EF4-FFF2-40B4-BE49-F238E27FC236}">
                <a16:creationId xmlns:a16="http://schemas.microsoft.com/office/drawing/2014/main" id="{8BC55648-91C2-45FA-8E85-057E64DBFB7C}"/>
              </a:ext>
            </a:extLst>
          </p:cNvPr>
          <p:cNvSpPr>
            <a:spLocks noChangeArrowheads="1"/>
          </p:cNvSpPr>
          <p:nvPr/>
        </p:nvSpPr>
        <p:spPr bwMode="auto">
          <a:xfrm>
            <a:off x="5109853" y="276272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8" name="Oval 15">
            <a:extLst>
              <a:ext uri="{FF2B5EF4-FFF2-40B4-BE49-F238E27FC236}">
                <a16:creationId xmlns:a16="http://schemas.microsoft.com/office/drawing/2014/main" id="{553EAB35-8B95-412A-850C-69CBCEAA1C05}"/>
              </a:ext>
            </a:extLst>
          </p:cNvPr>
          <p:cNvSpPr>
            <a:spLocks noChangeArrowheads="1"/>
          </p:cNvSpPr>
          <p:nvPr/>
        </p:nvSpPr>
        <p:spPr bwMode="auto">
          <a:xfrm>
            <a:off x="5054712" y="276272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9" name="Oval 16">
            <a:extLst>
              <a:ext uri="{FF2B5EF4-FFF2-40B4-BE49-F238E27FC236}">
                <a16:creationId xmlns:a16="http://schemas.microsoft.com/office/drawing/2014/main" id="{30B854FD-A25A-472F-B0C4-8865E622652F}"/>
              </a:ext>
            </a:extLst>
          </p:cNvPr>
          <p:cNvSpPr>
            <a:spLocks noChangeArrowheads="1"/>
          </p:cNvSpPr>
          <p:nvPr/>
        </p:nvSpPr>
        <p:spPr bwMode="auto">
          <a:xfrm>
            <a:off x="5014082" y="276272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0" name="Oval 17">
            <a:extLst>
              <a:ext uri="{FF2B5EF4-FFF2-40B4-BE49-F238E27FC236}">
                <a16:creationId xmlns:a16="http://schemas.microsoft.com/office/drawing/2014/main" id="{B3581467-5950-4742-A9B8-27AAC9B88080}"/>
              </a:ext>
            </a:extLst>
          </p:cNvPr>
          <p:cNvSpPr>
            <a:spLocks noChangeArrowheads="1"/>
          </p:cNvSpPr>
          <p:nvPr/>
        </p:nvSpPr>
        <p:spPr bwMode="auto">
          <a:xfrm>
            <a:off x="4941528"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1" name="Oval 18">
            <a:extLst>
              <a:ext uri="{FF2B5EF4-FFF2-40B4-BE49-F238E27FC236}">
                <a16:creationId xmlns:a16="http://schemas.microsoft.com/office/drawing/2014/main" id="{A7990FCE-3CC6-4620-9FD6-7CE717E629F9}"/>
              </a:ext>
            </a:extLst>
          </p:cNvPr>
          <p:cNvSpPr>
            <a:spLocks noChangeArrowheads="1"/>
          </p:cNvSpPr>
          <p:nvPr/>
        </p:nvSpPr>
        <p:spPr bwMode="auto">
          <a:xfrm>
            <a:off x="4912506"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2" name="Oval 19">
            <a:extLst>
              <a:ext uri="{FF2B5EF4-FFF2-40B4-BE49-F238E27FC236}">
                <a16:creationId xmlns:a16="http://schemas.microsoft.com/office/drawing/2014/main" id="{CF37CDCE-ED82-4071-BB27-218DDDA92CE7}"/>
              </a:ext>
            </a:extLst>
          </p:cNvPr>
          <p:cNvSpPr>
            <a:spLocks noChangeArrowheads="1"/>
          </p:cNvSpPr>
          <p:nvPr/>
        </p:nvSpPr>
        <p:spPr bwMode="auto">
          <a:xfrm>
            <a:off x="4892191" y="2673813"/>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3" name="Oval 20">
            <a:extLst>
              <a:ext uri="{FF2B5EF4-FFF2-40B4-BE49-F238E27FC236}">
                <a16:creationId xmlns:a16="http://schemas.microsoft.com/office/drawing/2014/main" id="{60D5AC31-50D1-4780-A55A-EE53BC145654}"/>
              </a:ext>
            </a:extLst>
          </p:cNvPr>
          <p:cNvSpPr>
            <a:spLocks noChangeArrowheads="1"/>
          </p:cNvSpPr>
          <p:nvPr/>
        </p:nvSpPr>
        <p:spPr bwMode="auto">
          <a:xfrm>
            <a:off x="4880582" y="2673813"/>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4" name="Oval 21">
            <a:extLst>
              <a:ext uri="{FF2B5EF4-FFF2-40B4-BE49-F238E27FC236}">
                <a16:creationId xmlns:a16="http://schemas.microsoft.com/office/drawing/2014/main" id="{B38189D4-4A0C-4C82-9879-024667A8F370}"/>
              </a:ext>
            </a:extLst>
          </p:cNvPr>
          <p:cNvSpPr>
            <a:spLocks noChangeArrowheads="1"/>
          </p:cNvSpPr>
          <p:nvPr/>
        </p:nvSpPr>
        <p:spPr bwMode="auto">
          <a:xfrm>
            <a:off x="4834147"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5" name="Oval 22">
            <a:extLst>
              <a:ext uri="{FF2B5EF4-FFF2-40B4-BE49-F238E27FC236}">
                <a16:creationId xmlns:a16="http://schemas.microsoft.com/office/drawing/2014/main" id="{E1FBFF35-DD61-4371-B932-70763DA56538}"/>
              </a:ext>
            </a:extLst>
          </p:cNvPr>
          <p:cNvSpPr>
            <a:spLocks noChangeArrowheads="1"/>
          </p:cNvSpPr>
          <p:nvPr/>
        </p:nvSpPr>
        <p:spPr bwMode="auto">
          <a:xfrm>
            <a:off x="4816734"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6" name="Oval 23">
            <a:extLst>
              <a:ext uri="{FF2B5EF4-FFF2-40B4-BE49-F238E27FC236}">
                <a16:creationId xmlns:a16="http://schemas.microsoft.com/office/drawing/2014/main" id="{5833AF2A-5425-4D90-906D-08AA04CED1C5}"/>
              </a:ext>
            </a:extLst>
          </p:cNvPr>
          <p:cNvSpPr>
            <a:spLocks noChangeArrowheads="1"/>
          </p:cNvSpPr>
          <p:nvPr/>
        </p:nvSpPr>
        <p:spPr bwMode="auto">
          <a:xfrm>
            <a:off x="4671626"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7" name="Oval 24">
            <a:extLst>
              <a:ext uri="{FF2B5EF4-FFF2-40B4-BE49-F238E27FC236}">
                <a16:creationId xmlns:a16="http://schemas.microsoft.com/office/drawing/2014/main" id="{6DB73422-8BB5-4B8C-BC81-34FAE330A5AB}"/>
              </a:ext>
            </a:extLst>
          </p:cNvPr>
          <p:cNvSpPr>
            <a:spLocks noChangeArrowheads="1"/>
          </p:cNvSpPr>
          <p:nvPr/>
        </p:nvSpPr>
        <p:spPr bwMode="auto">
          <a:xfrm>
            <a:off x="4651311"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8" name="Oval 25">
            <a:extLst>
              <a:ext uri="{FF2B5EF4-FFF2-40B4-BE49-F238E27FC236}">
                <a16:creationId xmlns:a16="http://schemas.microsoft.com/office/drawing/2014/main" id="{A1A3E1CA-671B-405F-9A9A-C2EB293B393A}"/>
              </a:ext>
            </a:extLst>
          </p:cNvPr>
          <p:cNvSpPr>
            <a:spLocks noChangeArrowheads="1"/>
          </p:cNvSpPr>
          <p:nvPr/>
        </p:nvSpPr>
        <p:spPr bwMode="auto">
          <a:xfrm>
            <a:off x="4628093" y="2673813"/>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9" name="Oval 26">
            <a:extLst>
              <a:ext uri="{FF2B5EF4-FFF2-40B4-BE49-F238E27FC236}">
                <a16:creationId xmlns:a16="http://schemas.microsoft.com/office/drawing/2014/main" id="{62CE73C2-9D64-4A59-ACAC-973DAFB50E28}"/>
              </a:ext>
            </a:extLst>
          </p:cNvPr>
          <p:cNvSpPr>
            <a:spLocks noChangeArrowheads="1"/>
          </p:cNvSpPr>
          <p:nvPr/>
        </p:nvSpPr>
        <p:spPr bwMode="auto">
          <a:xfrm>
            <a:off x="4607779"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0" name="Oval 27">
            <a:extLst>
              <a:ext uri="{FF2B5EF4-FFF2-40B4-BE49-F238E27FC236}">
                <a16:creationId xmlns:a16="http://schemas.microsoft.com/office/drawing/2014/main" id="{B5529A83-3585-4967-9ADC-46DA55B8A9F6}"/>
              </a:ext>
            </a:extLst>
          </p:cNvPr>
          <p:cNvSpPr>
            <a:spLocks noChangeArrowheads="1"/>
          </p:cNvSpPr>
          <p:nvPr/>
        </p:nvSpPr>
        <p:spPr bwMode="auto">
          <a:xfrm>
            <a:off x="4581659"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1" name="Oval 28">
            <a:extLst>
              <a:ext uri="{FF2B5EF4-FFF2-40B4-BE49-F238E27FC236}">
                <a16:creationId xmlns:a16="http://schemas.microsoft.com/office/drawing/2014/main" id="{821257E4-1E9E-4D63-B88B-5BF1A17CFCB0}"/>
              </a:ext>
            </a:extLst>
          </p:cNvPr>
          <p:cNvSpPr>
            <a:spLocks noChangeArrowheads="1"/>
          </p:cNvSpPr>
          <p:nvPr/>
        </p:nvSpPr>
        <p:spPr bwMode="auto">
          <a:xfrm>
            <a:off x="4520714"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2" name="Oval 29">
            <a:extLst>
              <a:ext uri="{FF2B5EF4-FFF2-40B4-BE49-F238E27FC236}">
                <a16:creationId xmlns:a16="http://schemas.microsoft.com/office/drawing/2014/main" id="{CCC7E528-E021-44FF-A6E0-0F1FE68EC7AA}"/>
              </a:ext>
            </a:extLst>
          </p:cNvPr>
          <p:cNvSpPr>
            <a:spLocks noChangeArrowheads="1"/>
          </p:cNvSpPr>
          <p:nvPr/>
        </p:nvSpPr>
        <p:spPr bwMode="auto">
          <a:xfrm>
            <a:off x="4503301"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3" name="Oval 30">
            <a:extLst>
              <a:ext uri="{FF2B5EF4-FFF2-40B4-BE49-F238E27FC236}">
                <a16:creationId xmlns:a16="http://schemas.microsoft.com/office/drawing/2014/main" id="{A2789158-B2D6-4963-9323-C8E603D0D2C1}"/>
              </a:ext>
            </a:extLst>
          </p:cNvPr>
          <p:cNvSpPr>
            <a:spLocks noChangeArrowheads="1"/>
          </p:cNvSpPr>
          <p:nvPr/>
        </p:nvSpPr>
        <p:spPr bwMode="auto">
          <a:xfrm>
            <a:off x="4480083" y="267381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4" name="Oval 31">
            <a:extLst>
              <a:ext uri="{FF2B5EF4-FFF2-40B4-BE49-F238E27FC236}">
                <a16:creationId xmlns:a16="http://schemas.microsoft.com/office/drawing/2014/main" id="{5ACE0F33-A4CE-480A-BD4B-DCCB9DD71A52}"/>
              </a:ext>
            </a:extLst>
          </p:cNvPr>
          <p:cNvSpPr>
            <a:spLocks noChangeArrowheads="1"/>
          </p:cNvSpPr>
          <p:nvPr/>
        </p:nvSpPr>
        <p:spPr bwMode="auto">
          <a:xfrm>
            <a:off x="4458317" y="2673813"/>
            <a:ext cx="59494"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5" name="Oval 32">
            <a:extLst>
              <a:ext uri="{FF2B5EF4-FFF2-40B4-BE49-F238E27FC236}">
                <a16:creationId xmlns:a16="http://schemas.microsoft.com/office/drawing/2014/main" id="{AE04F1AE-5D64-472D-934A-8DC468356550}"/>
              </a:ext>
            </a:extLst>
          </p:cNvPr>
          <p:cNvSpPr>
            <a:spLocks noChangeArrowheads="1"/>
          </p:cNvSpPr>
          <p:nvPr/>
        </p:nvSpPr>
        <p:spPr bwMode="auto">
          <a:xfrm>
            <a:off x="4443806" y="2673813"/>
            <a:ext cx="59494"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6" name="Oval 33">
            <a:extLst>
              <a:ext uri="{FF2B5EF4-FFF2-40B4-BE49-F238E27FC236}">
                <a16:creationId xmlns:a16="http://schemas.microsoft.com/office/drawing/2014/main" id="{965676EB-7EF5-4525-BD1A-0F79C47E25B7}"/>
              </a:ext>
            </a:extLst>
          </p:cNvPr>
          <p:cNvSpPr>
            <a:spLocks noChangeArrowheads="1"/>
          </p:cNvSpPr>
          <p:nvPr/>
        </p:nvSpPr>
        <p:spPr bwMode="auto">
          <a:xfrm>
            <a:off x="4408980" y="2612598"/>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7" name="Oval 34">
            <a:extLst>
              <a:ext uri="{FF2B5EF4-FFF2-40B4-BE49-F238E27FC236}">
                <a16:creationId xmlns:a16="http://schemas.microsoft.com/office/drawing/2014/main" id="{E1C8390A-636C-4E58-B3CE-3511CE9D3BD2}"/>
              </a:ext>
            </a:extLst>
          </p:cNvPr>
          <p:cNvSpPr>
            <a:spLocks noChangeArrowheads="1"/>
          </p:cNvSpPr>
          <p:nvPr/>
        </p:nvSpPr>
        <p:spPr bwMode="auto">
          <a:xfrm>
            <a:off x="4403176" y="2612598"/>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8" name="Oval 35">
            <a:extLst>
              <a:ext uri="{FF2B5EF4-FFF2-40B4-BE49-F238E27FC236}">
                <a16:creationId xmlns:a16="http://schemas.microsoft.com/office/drawing/2014/main" id="{858D1B65-7FED-4EA7-A380-13E8588C79FA}"/>
              </a:ext>
            </a:extLst>
          </p:cNvPr>
          <p:cNvSpPr>
            <a:spLocks noChangeArrowheads="1"/>
          </p:cNvSpPr>
          <p:nvPr/>
        </p:nvSpPr>
        <p:spPr bwMode="auto">
          <a:xfrm>
            <a:off x="4374154" y="2612598"/>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9" name="Oval 36">
            <a:extLst>
              <a:ext uri="{FF2B5EF4-FFF2-40B4-BE49-F238E27FC236}">
                <a16:creationId xmlns:a16="http://schemas.microsoft.com/office/drawing/2014/main" id="{C85AE1D3-3A79-4DB2-B38F-A68769B4E19B}"/>
              </a:ext>
            </a:extLst>
          </p:cNvPr>
          <p:cNvSpPr>
            <a:spLocks noChangeArrowheads="1"/>
          </p:cNvSpPr>
          <p:nvPr/>
        </p:nvSpPr>
        <p:spPr bwMode="auto">
          <a:xfrm>
            <a:off x="4336426" y="2598024"/>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0" name="Oval 37">
            <a:extLst>
              <a:ext uri="{FF2B5EF4-FFF2-40B4-BE49-F238E27FC236}">
                <a16:creationId xmlns:a16="http://schemas.microsoft.com/office/drawing/2014/main" id="{7E233756-D4B3-4084-AA17-8349DBA513CC}"/>
              </a:ext>
            </a:extLst>
          </p:cNvPr>
          <p:cNvSpPr>
            <a:spLocks noChangeArrowheads="1"/>
          </p:cNvSpPr>
          <p:nvPr/>
        </p:nvSpPr>
        <p:spPr bwMode="auto">
          <a:xfrm>
            <a:off x="4321915" y="2598024"/>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1" name="Oval 38">
            <a:extLst>
              <a:ext uri="{FF2B5EF4-FFF2-40B4-BE49-F238E27FC236}">
                <a16:creationId xmlns:a16="http://schemas.microsoft.com/office/drawing/2014/main" id="{D90C1CF7-CBEE-4987-AA72-D2B9DB507012}"/>
              </a:ext>
            </a:extLst>
          </p:cNvPr>
          <p:cNvSpPr>
            <a:spLocks noChangeArrowheads="1"/>
          </p:cNvSpPr>
          <p:nvPr/>
        </p:nvSpPr>
        <p:spPr bwMode="auto">
          <a:xfrm>
            <a:off x="4310306" y="2598024"/>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2" name="Oval 39">
            <a:extLst>
              <a:ext uri="{FF2B5EF4-FFF2-40B4-BE49-F238E27FC236}">
                <a16:creationId xmlns:a16="http://schemas.microsoft.com/office/drawing/2014/main" id="{4291A141-6D7D-45D0-8514-C42D8372D830}"/>
              </a:ext>
            </a:extLst>
          </p:cNvPr>
          <p:cNvSpPr>
            <a:spLocks noChangeArrowheads="1"/>
          </p:cNvSpPr>
          <p:nvPr/>
        </p:nvSpPr>
        <p:spPr bwMode="auto">
          <a:xfrm>
            <a:off x="4289991" y="257178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3" name="Oval 40">
            <a:extLst>
              <a:ext uri="{FF2B5EF4-FFF2-40B4-BE49-F238E27FC236}">
                <a16:creationId xmlns:a16="http://schemas.microsoft.com/office/drawing/2014/main" id="{BC39AB21-119B-4206-A829-DD02A472ABE0}"/>
              </a:ext>
            </a:extLst>
          </p:cNvPr>
          <p:cNvSpPr>
            <a:spLocks noChangeArrowheads="1"/>
          </p:cNvSpPr>
          <p:nvPr/>
        </p:nvSpPr>
        <p:spPr bwMode="auto">
          <a:xfrm>
            <a:off x="4231948" y="257178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4" name="Oval 41">
            <a:extLst>
              <a:ext uri="{FF2B5EF4-FFF2-40B4-BE49-F238E27FC236}">
                <a16:creationId xmlns:a16="http://schemas.microsoft.com/office/drawing/2014/main" id="{DD32E675-AC04-455F-9130-9FE6E53BC856}"/>
              </a:ext>
            </a:extLst>
          </p:cNvPr>
          <p:cNvSpPr>
            <a:spLocks noChangeArrowheads="1"/>
          </p:cNvSpPr>
          <p:nvPr/>
        </p:nvSpPr>
        <p:spPr bwMode="auto">
          <a:xfrm>
            <a:off x="4220339" y="257178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5" name="Oval 42">
            <a:extLst>
              <a:ext uri="{FF2B5EF4-FFF2-40B4-BE49-F238E27FC236}">
                <a16:creationId xmlns:a16="http://schemas.microsoft.com/office/drawing/2014/main" id="{B748F196-4062-4D02-B5C1-D104A7BD1444}"/>
              </a:ext>
            </a:extLst>
          </p:cNvPr>
          <p:cNvSpPr>
            <a:spLocks noChangeArrowheads="1"/>
          </p:cNvSpPr>
          <p:nvPr/>
        </p:nvSpPr>
        <p:spPr bwMode="auto">
          <a:xfrm>
            <a:off x="4188415" y="255138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6" name="Oval 43">
            <a:extLst>
              <a:ext uri="{FF2B5EF4-FFF2-40B4-BE49-F238E27FC236}">
                <a16:creationId xmlns:a16="http://schemas.microsoft.com/office/drawing/2014/main" id="{C93A837B-D27B-43FD-90A1-204B8B17608F}"/>
              </a:ext>
            </a:extLst>
          </p:cNvPr>
          <p:cNvSpPr>
            <a:spLocks noChangeArrowheads="1"/>
          </p:cNvSpPr>
          <p:nvPr/>
        </p:nvSpPr>
        <p:spPr bwMode="auto">
          <a:xfrm>
            <a:off x="4159394" y="255138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7" name="Oval 44">
            <a:extLst>
              <a:ext uri="{FF2B5EF4-FFF2-40B4-BE49-F238E27FC236}">
                <a16:creationId xmlns:a16="http://schemas.microsoft.com/office/drawing/2014/main" id="{98F18467-B15E-489E-A9BE-EE7A60D4CC0A}"/>
              </a:ext>
            </a:extLst>
          </p:cNvPr>
          <p:cNvSpPr>
            <a:spLocks noChangeArrowheads="1"/>
          </p:cNvSpPr>
          <p:nvPr/>
        </p:nvSpPr>
        <p:spPr bwMode="auto">
          <a:xfrm>
            <a:off x="4052014" y="253680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8" name="Oval 45">
            <a:extLst>
              <a:ext uri="{FF2B5EF4-FFF2-40B4-BE49-F238E27FC236}">
                <a16:creationId xmlns:a16="http://schemas.microsoft.com/office/drawing/2014/main" id="{69C71658-382D-4536-911F-55BA604A77C1}"/>
              </a:ext>
            </a:extLst>
          </p:cNvPr>
          <p:cNvSpPr>
            <a:spLocks noChangeArrowheads="1"/>
          </p:cNvSpPr>
          <p:nvPr/>
        </p:nvSpPr>
        <p:spPr bwMode="auto">
          <a:xfrm>
            <a:off x="4025894" y="2516404"/>
            <a:ext cx="60945"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9" name="Oval 46">
            <a:extLst>
              <a:ext uri="{FF2B5EF4-FFF2-40B4-BE49-F238E27FC236}">
                <a16:creationId xmlns:a16="http://schemas.microsoft.com/office/drawing/2014/main" id="{C1E7F679-14AF-4636-8633-36A904CF19A4}"/>
              </a:ext>
            </a:extLst>
          </p:cNvPr>
          <p:cNvSpPr>
            <a:spLocks noChangeArrowheads="1"/>
          </p:cNvSpPr>
          <p:nvPr/>
        </p:nvSpPr>
        <p:spPr bwMode="auto">
          <a:xfrm>
            <a:off x="3930123" y="248433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0" name="Oval 47">
            <a:extLst>
              <a:ext uri="{FF2B5EF4-FFF2-40B4-BE49-F238E27FC236}">
                <a16:creationId xmlns:a16="http://schemas.microsoft.com/office/drawing/2014/main" id="{DAD4B858-84AD-41FD-87AB-8FD271049560}"/>
              </a:ext>
            </a:extLst>
          </p:cNvPr>
          <p:cNvSpPr>
            <a:spLocks noChangeArrowheads="1"/>
          </p:cNvSpPr>
          <p:nvPr/>
        </p:nvSpPr>
        <p:spPr bwMode="auto">
          <a:xfrm>
            <a:off x="3915611" y="2484339"/>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1" name="Oval 48">
            <a:extLst>
              <a:ext uri="{FF2B5EF4-FFF2-40B4-BE49-F238E27FC236}">
                <a16:creationId xmlns:a16="http://schemas.microsoft.com/office/drawing/2014/main" id="{E89CAB9D-2A8B-40BE-A6CD-F7F865EC29B5}"/>
              </a:ext>
            </a:extLst>
          </p:cNvPr>
          <p:cNvSpPr>
            <a:spLocks noChangeArrowheads="1"/>
          </p:cNvSpPr>
          <p:nvPr/>
        </p:nvSpPr>
        <p:spPr bwMode="auto">
          <a:xfrm>
            <a:off x="3863373" y="2475594"/>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2" name="Oval 49">
            <a:extLst>
              <a:ext uri="{FF2B5EF4-FFF2-40B4-BE49-F238E27FC236}">
                <a16:creationId xmlns:a16="http://schemas.microsoft.com/office/drawing/2014/main" id="{F970DCA7-3559-445C-B096-3DD8FCFD560A}"/>
              </a:ext>
            </a:extLst>
          </p:cNvPr>
          <p:cNvSpPr>
            <a:spLocks noChangeArrowheads="1"/>
          </p:cNvSpPr>
          <p:nvPr/>
        </p:nvSpPr>
        <p:spPr bwMode="auto">
          <a:xfrm>
            <a:off x="3712460" y="2449360"/>
            <a:ext cx="58043"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3" name="Oval 50">
            <a:extLst>
              <a:ext uri="{FF2B5EF4-FFF2-40B4-BE49-F238E27FC236}">
                <a16:creationId xmlns:a16="http://schemas.microsoft.com/office/drawing/2014/main" id="{F53CF091-5BFE-470E-AC81-674A98E6317D}"/>
              </a:ext>
            </a:extLst>
          </p:cNvPr>
          <p:cNvSpPr>
            <a:spLocks noChangeArrowheads="1"/>
          </p:cNvSpPr>
          <p:nvPr/>
        </p:nvSpPr>
        <p:spPr bwMode="auto">
          <a:xfrm>
            <a:off x="3697949" y="2449360"/>
            <a:ext cx="58043"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4" name="Oval 51">
            <a:extLst>
              <a:ext uri="{FF2B5EF4-FFF2-40B4-BE49-F238E27FC236}">
                <a16:creationId xmlns:a16="http://schemas.microsoft.com/office/drawing/2014/main" id="{7FFE59B6-9C99-433F-8FFA-25348F4B9F99}"/>
              </a:ext>
            </a:extLst>
          </p:cNvPr>
          <p:cNvSpPr>
            <a:spLocks noChangeArrowheads="1"/>
          </p:cNvSpPr>
          <p:nvPr/>
        </p:nvSpPr>
        <p:spPr bwMode="auto">
          <a:xfrm>
            <a:off x="3668928" y="2437700"/>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5" name="Oval 52">
            <a:extLst>
              <a:ext uri="{FF2B5EF4-FFF2-40B4-BE49-F238E27FC236}">
                <a16:creationId xmlns:a16="http://schemas.microsoft.com/office/drawing/2014/main" id="{43886F1F-52F3-44B2-AD3B-2385FA3F2B18}"/>
              </a:ext>
            </a:extLst>
          </p:cNvPr>
          <p:cNvSpPr>
            <a:spLocks noChangeArrowheads="1"/>
          </p:cNvSpPr>
          <p:nvPr/>
        </p:nvSpPr>
        <p:spPr bwMode="auto">
          <a:xfrm>
            <a:off x="3594923" y="2382315"/>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6" name="Oval 53">
            <a:extLst>
              <a:ext uri="{FF2B5EF4-FFF2-40B4-BE49-F238E27FC236}">
                <a16:creationId xmlns:a16="http://schemas.microsoft.com/office/drawing/2014/main" id="{2D5EF66D-8996-4D5F-ABC2-32C851015858}"/>
              </a:ext>
            </a:extLst>
          </p:cNvPr>
          <p:cNvSpPr>
            <a:spLocks noChangeArrowheads="1"/>
          </p:cNvSpPr>
          <p:nvPr/>
        </p:nvSpPr>
        <p:spPr bwMode="auto">
          <a:xfrm>
            <a:off x="3502054" y="2350250"/>
            <a:ext cx="58043"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7" name="Oval 54">
            <a:extLst>
              <a:ext uri="{FF2B5EF4-FFF2-40B4-BE49-F238E27FC236}">
                <a16:creationId xmlns:a16="http://schemas.microsoft.com/office/drawing/2014/main" id="{190034B2-E632-494C-AA30-F7819EC0BF94}"/>
              </a:ext>
            </a:extLst>
          </p:cNvPr>
          <p:cNvSpPr>
            <a:spLocks noChangeArrowheads="1"/>
          </p:cNvSpPr>
          <p:nvPr/>
        </p:nvSpPr>
        <p:spPr bwMode="auto">
          <a:xfrm>
            <a:off x="3435304" y="2329845"/>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8" name="Oval 55">
            <a:extLst>
              <a:ext uri="{FF2B5EF4-FFF2-40B4-BE49-F238E27FC236}">
                <a16:creationId xmlns:a16="http://schemas.microsoft.com/office/drawing/2014/main" id="{9F18CEC1-EEFA-4C2E-B5E3-B39DECAACE68}"/>
              </a:ext>
            </a:extLst>
          </p:cNvPr>
          <p:cNvSpPr>
            <a:spLocks noChangeArrowheads="1"/>
          </p:cNvSpPr>
          <p:nvPr/>
        </p:nvSpPr>
        <p:spPr bwMode="auto">
          <a:xfrm>
            <a:off x="3348239" y="2315270"/>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9" name="Oval 56">
            <a:extLst>
              <a:ext uri="{FF2B5EF4-FFF2-40B4-BE49-F238E27FC236}">
                <a16:creationId xmlns:a16="http://schemas.microsoft.com/office/drawing/2014/main" id="{2C578E89-ADB0-4382-A9CA-DE4E0B017A3D}"/>
              </a:ext>
            </a:extLst>
          </p:cNvPr>
          <p:cNvSpPr>
            <a:spLocks noChangeArrowheads="1"/>
          </p:cNvSpPr>
          <p:nvPr/>
        </p:nvSpPr>
        <p:spPr bwMode="auto">
          <a:xfrm>
            <a:off x="3208934" y="2289036"/>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0" name="Oval 57">
            <a:extLst>
              <a:ext uri="{FF2B5EF4-FFF2-40B4-BE49-F238E27FC236}">
                <a16:creationId xmlns:a16="http://schemas.microsoft.com/office/drawing/2014/main" id="{1B6CDE62-6FC9-4429-A6F8-DD2F797674F0}"/>
              </a:ext>
            </a:extLst>
          </p:cNvPr>
          <p:cNvSpPr>
            <a:spLocks noChangeArrowheads="1"/>
          </p:cNvSpPr>
          <p:nvPr/>
        </p:nvSpPr>
        <p:spPr bwMode="auto">
          <a:xfrm>
            <a:off x="3139283" y="2271545"/>
            <a:ext cx="60945"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1" name="Oval 58">
            <a:extLst>
              <a:ext uri="{FF2B5EF4-FFF2-40B4-BE49-F238E27FC236}">
                <a16:creationId xmlns:a16="http://schemas.microsoft.com/office/drawing/2014/main" id="{2439ABA0-D8E7-44D0-9C36-247846F2D462}"/>
              </a:ext>
            </a:extLst>
          </p:cNvPr>
          <p:cNvSpPr>
            <a:spLocks noChangeArrowheads="1"/>
          </p:cNvSpPr>
          <p:nvPr/>
        </p:nvSpPr>
        <p:spPr bwMode="auto">
          <a:xfrm>
            <a:off x="3127675" y="2271545"/>
            <a:ext cx="58043"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2" name="Oval 59">
            <a:extLst>
              <a:ext uri="{FF2B5EF4-FFF2-40B4-BE49-F238E27FC236}">
                <a16:creationId xmlns:a16="http://schemas.microsoft.com/office/drawing/2014/main" id="{DBDCAAA1-E1D2-422A-9B63-3EA3A771CB1B}"/>
              </a:ext>
            </a:extLst>
          </p:cNvPr>
          <p:cNvSpPr>
            <a:spLocks noChangeArrowheads="1"/>
          </p:cNvSpPr>
          <p:nvPr/>
        </p:nvSpPr>
        <p:spPr bwMode="auto">
          <a:xfrm>
            <a:off x="3098653" y="2271545"/>
            <a:ext cx="58043"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3" name="Oval 60">
            <a:extLst>
              <a:ext uri="{FF2B5EF4-FFF2-40B4-BE49-F238E27FC236}">
                <a16:creationId xmlns:a16="http://schemas.microsoft.com/office/drawing/2014/main" id="{78F865F6-2B51-48D3-B7AB-63E938A34658}"/>
              </a:ext>
            </a:extLst>
          </p:cNvPr>
          <p:cNvSpPr>
            <a:spLocks noChangeArrowheads="1"/>
          </p:cNvSpPr>
          <p:nvPr/>
        </p:nvSpPr>
        <p:spPr bwMode="auto">
          <a:xfrm>
            <a:off x="3075436" y="2271545"/>
            <a:ext cx="58043"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4" name="Oval 61">
            <a:extLst>
              <a:ext uri="{FF2B5EF4-FFF2-40B4-BE49-F238E27FC236}">
                <a16:creationId xmlns:a16="http://schemas.microsoft.com/office/drawing/2014/main" id="{243EC7CC-6EE2-4057-9D78-69B16F6FEB27}"/>
              </a:ext>
            </a:extLst>
          </p:cNvPr>
          <p:cNvSpPr>
            <a:spLocks noChangeArrowheads="1"/>
          </p:cNvSpPr>
          <p:nvPr/>
        </p:nvSpPr>
        <p:spPr bwMode="auto">
          <a:xfrm>
            <a:off x="3011588" y="2271545"/>
            <a:ext cx="58043"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5" name="Oval 62">
            <a:extLst>
              <a:ext uri="{FF2B5EF4-FFF2-40B4-BE49-F238E27FC236}">
                <a16:creationId xmlns:a16="http://schemas.microsoft.com/office/drawing/2014/main" id="{616B6D23-5495-4280-881A-513EBDBFD19C}"/>
              </a:ext>
            </a:extLst>
          </p:cNvPr>
          <p:cNvSpPr>
            <a:spLocks noChangeArrowheads="1"/>
          </p:cNvSpPr>
          <p:nvPr/>
        </p:nvSpPr>
        <p:spPr bwMode="auto">
          <a:xfrm>
            <a:off x="2982566" y="2265716"/>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6" name="Oval 63">
            <a:extLst>
              <a:ext uri="{FF2B5EF4-FFF2-40B4-BE49-F238E27FC236}">
                <a16:creationId xmlns:a16="http://schemas.microsoft.com/office/drawing/2014/main" id="{AF7E3D9A-67F9-443C-9A5C-A363C16478D4}"/>
              </a:ext>
            </a:extLst>
          </p:cNvPr>
          <p:cNvSpPr>
            <a:spLocks noChangeArrowheads="1"/>
          </p:cNvSpPr>
          <p:nvPr/>
        </p:nvSpPr>
        <p:spPr bwMode="auto">
          <a:xfrm>
            <a:off x="2936132" y="2230736"/>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7" name="Oval 64">
            <a:extLst>
              <a:ext uri="{FF2B5EF4-FFF2-40B4-BE49-F238E27FC236}">
                <a16:creationId xmlns:a16="http://schemas.microsoft.com/office/drawing/2014/main" id="{8845AD53-AB0C-4C34-8F39-9C0D3061C7F4}"/>
              </a:ext>
            </a:extLst>
          </p:cNvPr>
          <p:cNvSpPr>
            <a:spLocks noChangeArrowheads="1"/>
          </p:cNvSpPr>
          <p:nvPr/>
        </p:nvSpPr>
        <p:spPr bwMode="auto">
          <a:xfrm>
            <a:off x="2883893" y="2230736"/>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8" name="Oval 65">
            <a:extLst>
              <a:ext uri="{FF2B5EF4-FFF2-40B4-BE49-F238E27FC236}">
                <a16:creationId xmlns:a16="http://schemas.microsoft.com/office/drawing/2014/main" id="{A1F5DA3E-1010-40A5-A4F3-5D7AF0F01C12}"/>
              </a:ext>
            </a:extLst>
          </p:cNvPr>
          <p:cNvSpPr>
            <a:spLocks noChangeArrowheads="1"/>
          </p:cNvSpPr>
          <p:nvPr/>
        </p:nvSpPr>
        <p:spPr bwMode="auto">
          <a:xfrm>
            <a:off x="2789572" y="2198671"/>
            <a:ext cx="58043"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9" name="Oval 66">
            <a:extLst>
              <a:ext uri="{FF2B5EF4-FFF2-40B4-BE49-F238E27FC236}">
                <a16:creationId xmlns:a16="http://schemas.microsoft.com/office/drawing/2014/main" id="{20F570F0-1F46-48B0-8881-BAECFD785196}"/>
              </a:ext>
            </a:extLst>
          </p:cNvPr>
          <p:cNvSpPr>
            <a:spLocks noChangeArrowheads="1"/>
          </p:cNvSpPr>
          <p:nvPr/>
        </p:nvSpPr>
        <p:spPr bwMode="auto">
          <a:xfrm>
            <a:off x="2763452" y="2184096"/>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0" name="Oval 67">
            <a:extLst>
              <a:ext uri="{FF2B5EF4-FFF2-40B4-BE49-F238E27FC236}">
                <a16:creationId xmlns:a16="http://schemas.microsoft.com/office/drawing/2014/main" id="{FB1E2D0F-598C-4083-B6BA-A8D7C59612AE}"/>
              </a:ext>
            </a:extLst>
          </p:cNvPr>
          <p:cNvSpPr>
            <a:spLocks noChangeArrowheads="1"/>
          </p:cNvSpPr>
          <p:nvPr/>
        </p:nvSpPr>
        <p:spPr bwMode="auto">
          <a:xfrm>
            <a:off x="2632855" y="210539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1" name="Oval 68">
            <a:extLst>
              <a:ext uri="{FF2B5EF4-FFF2-40B4-BE49-F238E27FC236}">
                <a16:creationId xmlns:a16="http://schemas.microsoft.com/office/drawing/2014/main" id="{011B14A9-44D3-45D1-B54B-C1B195504C4D}"/>
              </a:ext>
            </a:extLst>
          </p:cNvPr>
          <p:cNvSpPr>
            <a:spLocks noChangeArrowheads="1"/>
          </p:cNvSpPr>
          <p:nvPr/>
        </p:nvSpPr>
        <p:spPr bwMode="auto">
          <a:xfrm>
            <a:off x="2589323" y="2079156"/>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2" name="Oval 69">
            <a:extLst>
              <a:ext uri="{FF2B5EF4-FFF2-40B4-BE49-F238E27FC236}">
                <a16:creationId xmlns:a16="http://schemas.microsoft.com/office/drawing/2014/main" id="{D7157D5A-9F8D-428F-A0A1-28927DB698A4}"/>
              </a:ext>
            </a:extLst>
          </p:cNvPr>
          <p:cNvSpPr>
            <a:spLocks noChangeArrowheads="1"/>
          </p:cNvSpPr>
          <p:nvPr/>
        </p:nvSpPr>
        <p:spPr bwMode="auto">
          <a:xfrm>
            <a:off x="2569007" y="2079156"/>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3" name="Oval 70">
            <a:extLst>
              <a:ext uri="{FF2B5EF4-FFF2-40B4-BE49-F238E27FC236}">
                <a16:creationId xmlns:a16="http://schemas.microsoft.com/office/drawing/2014/main" id="{6E9708D9-4CF0-430F-A142-FBB6589432BD}"/>
              </a:ext>
            </a:extLst>
          </p:cNvPr>
          <p:cNvSpPr>
            <a:spLocks noChangeArrowheads="1"/>
          </p:cNvSpPr>
          <p:nvPr/>
        </p:nvSpPr>
        <p:spPr bwMode="auto">
          <a:xfrm>
            <a:off x="2551594" y="2067497"/>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4" name="Oval 71">
            <a:extLst>
              <a:ext uri="{FF2B5EF4-FFF2-40B4-BE49-F238E27FC236}">
                <a16:creationId xmlns:a16="http://schemas.microsoft.com/office/drawing/2014/main" id="{BD382D3B-368F-4359-8FA9-3794AA795E40}"/>
              </a:ext>
            </a:extLst>
          </p:cNvPr>
          <p:cNvSpPr>
            <a:spLocks noChangeArrowheads="1"/>
          </p:cNvSpPr>
          <p:nvPr/>
        </p:nvSpPr>
        <p:spPr bwMode="auto">
          <a:xfrm>
            <a:off x="2450019" y="2009196"/>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5" name="Oval 72">
            <a:extLst>
              <a:ext uri="{FF2B5EF4-FFF2-40B4-BE49-F238E27FC236}">
                <a16:creationId xmlns:a16="http://schemas.microsoft.com/office/drawing/2014/main" id="{867F36FD-0316-43BC-8EC7-B67DF1565195}"/>
              </a:ext>
            </a:extLst>
          </p:cNvPr>
          <p:cNvSpPr>
            <a:spLocks noChangeArrowheads="1"/>
          </p:cNvSpPr>
          <p:nvPr/>
        </p:nvSpPr>
        <p:spPr bwMode="auto">
          <a:xfrm>
            <a:off x="2432606" y="2009196"/>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6" name="Oval 73">
            <a:extLst>
              <a:ext uri="{FF2B5EF4-FFF2-40B4-BE49-F238E27FC236}">
                <a16:creationId xmlns:a16="http://schemas.microsoft.com/office/drawing/2014/main" id="{41EA9EC1-ABF8-41CD-B247-23EF4F0920C0}"/>
              </a:ext>
            </a:extLst>
          </p:cNvPr>
          <p:cNvSpPr>
            <a:spLocks noChangeArrowheads="1"/>
          </p:cNvSpPr>
          <p:nvPr/>
        </p:nvSpPr>
        <p:spPr bwMode="auto">
          <a:xfrm>
            <a:off x="2394878" y="2003367"/>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7" name="Oval 74">
            <a:extLst>
              <a:ext uri="{FF2B5EF4-FFF2-40B4-BE49-F238E27FC236}">
                <a16:creationId xmlns:a16="http://schemas.microsoft.com/office/drawing/2014/main" id="{DEE84EDD-1BB3-49B2-BDBB-AC26CBBD11EA}"/>
              </a:ext>
            </a:extLst>
          </p:cNvPr>
          <p:cNvSpPr>
            <a:spLocks noChangeArrowheads="1"/>
          </p:cNvSpPr>
          <p:nvPr/>
        </p:nvSpPr>
        <p:spPr bwMode="auto">
          <a:xfrm>
            <a:off x="2371660" y="1968387"/>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8" name="Oval 75">
            <a:extLst>
              <a:ext uri="{FF2B5EF4-FFF2-40B4-BE49-F238E27FC236}">
                <a16:creationId xmlns:a16="http://schemas.microsoft.com/office/drawing/2014/main" id="{5C90663C-35FC-4740-98B4-DC65176F5E3C}"/>
              </a:ext>
            </a:extLst>
          </p:cNvPr>
          <p:cNvSpPr>
            <a:spLocks noChangeArrowheads="1"/>
          </p:cNvSpPr>
          <p:nvPr/>
        </p:nvSpPr>
        <p:spPr bwMode="auto">
          <a:xfrm>
            <a:off x="2322323" y="1921748"/>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9" name="Oval 76">
            <a:extLst>
              <a:ext uri="{FF2B5EF4-FFF2-40B4-BE49-F238E27FC236}">
                <a16:creationId xmlns:a16="http://schemas.microsoft.com/office/drawing/2014/main" id="{D94B219E-5049-4C60-9C0B-16FFB4F3842A}"/>
              </a:ext>
            </a:extLst>
          </p:cNvPr>
          <p:cNvSpPr>
            <a:spLocks noChangeArrowheads="1"/>
          </p:cNvSpPr>
          <p:nvPr/>
        </p:nvSpPr>
        <p:spPr bwMode="auto">
          <a:xfrm>
            <a:off x="2270084" y="1886768"/>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0" name="Oval 77">
            <a:extLst>
              <a:ext uri="{FF2B5EF4-FFF2-40B4-BE49-F238E27FC236}">
                <a16:creationId xmlns:a16="http://schemas.microsoft.com/office/drawing/2014/main" id="{1C12F563-9479-460D-8ABE-8188B34C8299}"/>
              </a:ext>
            </a:extLst>
          </p:cNvPr>
          <p:cNvSpPr>
            <a:spLocks noChangeArrowheads="1"/>
          </p:cNvSpPr>
          <p:nvPr/>
        </p:nvSpPr>
        <p:spPr bwMode="auto">
          <a:xfrm>
            <a:off x="2214943" y="184887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1" name="Oval 78">
            <a:extLst>
              <a:ext uri="{FF2B5EF4-FFF2-40B4-BE49-F238E27FC236}">
                <a16:creationId xmlns:a16="http://schemas.microsoft.com/office/drawing/2014/main" id="{590294CC-C9D1-4CE9-8B03-5C08DBACA037}"/>
              </a:ext>
            </a:extLst>
          </p:cNvPr>
          <p:cNvSpPr>
            <a:spLocks noChangeArrowheads="1"/>
          </p:cNvSpPr>
          <p:nvPr/>
        </p:nvSpPr>
        <p:spPr bwMode="auto">
          <a:xfrm>
            <a:off x="2209139" y="1831383"/>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2" name="Oval 79">
            <a:extLst>
              <a:ext uri="{FF2B5EF4-FFF2-40B4-BE49-F238E27FC236}">
                <a16:creationId xmlns:a16="http://schemas.microsoft.com/office/drawing/2014/main" id="{C14260D2-6746-4992-B38B-2302E715860E}"/>
              </a:ext>
            </a:extLst>
          </p:cNvPr>
          <p:cNvSpPr>
            <a:spLocks noChangeArrowheads="1"/>
          </p:cNvSpPr>
          <p:nvPr/>
        </p:nvSpPr>
        <p:spPr bwMode="auto">
          <a:xfrm>
            <a:off x="2191726" y="181680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3" name="Oval 80">
            <a:extLst>
              <a:ext uri="{FF2B5EF4-FFF2-40B4-BE49-F238E27FC236}">
                <a16:creationId xmlns:a16="http://schemas.microsoft.com/office/drawing/2014/main" id="{1058F5B0-795E-4AEE-9DCF-33C963F8AB8E}"/>
              </a:ext>
            </a:extLst>
          </p:cNvPr>
          <p:cNvSpPr>
            <a:spLocks noChangeArrowheads="1"/>
          </p:cNvSpPr>
          <p:nvPr/>
        </p:nvSpPr>
        <p:spPr bwMode="auto">
          <a:xfrm>
            <a:off x="2171411" y="1808064"/>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4" name="Oval 81">
            <a:extLst>
              <a:ext uri="{FF2B5EF4-FFF2-40B4-BE49-F238E27FC236}">
                <a16:creationId xmlns:a16="http://schemas.microsoft.com/office/drawing/2014/main" id="{9E4D0F92-CDE1-4F26-A6F3-1E63D94A0E74}"/>
              </a:ext>
            </a:extLst>
          </p:cNvPr>
          <p:cNvSpPr>
            <a:spLocks noChangeArrowheads="1"/>
          </p:cNvSpPr>
          <p:nvPr/>
        </p:nvSpPr>
        <p:spPr bwMode="auto">
          <a:xfrm>
            <a:off x="2130781" y="1755594"/>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5" name="Oval 82">
            <a:extLst>
              <a:ext uri="{FF2B5EF4-FFF2-40B4-BE49-F238E27FC236}">
                <a16:creationId xmlns:a16="http://schemas.microsoft.com/office/drawing/2014/main" id="{B08322BE-B78F-44B3-B207-3C68FAFD2A72}"/>
              </a:ext>
            </a:extLst>
          </p:cNvPr>
          <p:cNvSpPr>
            <a:spLocks noChangeArrowheads="1"/>
          </p:cNvSpPr>
          <p:nvPr/>
        </p:nvSpPr>
        <p:spPr bwMode="auto">
          <a:xfrm>
            <a:off x="2113367" y="1723529"/>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6" name="Oval 83">
            <a:extLst>
              <a:ext uri="{FF2B5EF4-FFF2-40B4-BE49-F238E27FC236}">
                <a16:creationId xmlns:a16="http://schemas.microsoft.com/office/drawing/2014/main" id="{A1CF746B-2DF7-4766-99DE-D0F9F365A120}"/>
              </a:ext>
            </a:extLst>
          </p:cNvPr>
          <p:cNvSpPr>
            <a:spLocks noChangeArrowheads="1"/>
          </p:cNvSpPr>
          <p:nvPr/>
        </p:nvSpPr>
        <p:spPr bwMode="auto">
          <a:xfrm>
            <a:off x="2053873" y="1668144"/>
            <a:ext cx="56592"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7" name="Oval 84">
            <a:extLst>
              <a:ext uri="{FF2B5EF4-FFF2-40B4-BE49-F238E27FC236}">
                <a16:creationId xmlns:a16="http://schemas.microsoft.com/office/drawing/2014/main" id="{8FEC871D-7D69-4D74-9D41-0C1EB11E586C}"/>
              </a:ext>
            </a:extLst>
          </p:cNvPr>
          <p:cNvSpPr>
            <a:spLocks noChangeArrowheads="1"/>
          </p:cNvSpPr>
          <p:nvPr/>
        </p:nvSpPr>
        <p:spPr bwMode="auto">
          <a:xfrm>
            <a:off x="1975515" y="1630250"/>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8" name="Oval 85">
            <a:extLst>
              <a:ext uri="{FF2B5EF4-FFF2-40B4-BE49-F238E27FC236}">
                <a16:creationId xmlns:a16="http://schemas.microsoft.com/office/drawing/2014/main" id="{570FEA5C-6EB5-41AC-86D5-C97938823F16}"/>
              </a:ext>
            </a:extLst>
          </p:cNvPr>
          <p:cNvSpPr>
            <a:spLocks noChangeArrowheads="1"/>
          </p:cNvSpPr>
          <p:nvPr/>
        </p:nvSpPr>
        <p:spPr bwMode="auto">
          <a:xfrm>
            <a:off x="1847820" y="1569035"/>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9" name="Oval 86">
            <a:extLst>
              <a:ext uri="{FF2B5EF4-FFF2-40B4-BE49-F238E27FC236}">
                <a16:creationId xmlns:a16="http://schemas.microsoft.com/office/drawing/2014/main" id="{9A63878F-C859-4A1A-9767-B9846D390653}"/>
              </a:ext>
            </a:extLst>
          </p:cNvPr>
          <p:cNvSpPr>
            <a:spLocks noChangeArrowheads="1"/>
          </p:cNvSpPr>
          <p:nvPr/>
        </p:nvSpPr>
        <p:spPr bwMode="auto">
          <a:xfrm>
            <a:off x="1810091" y="1569035"/>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0" name="Oval 87">
            <a:extLst>
              <a:ext uri="{FF2B5EF4-FFF2-40B4-BE49-F238E27FC236}">
                <a16:creationId xmlns:a16="http://schemas.microsoft.com/office/drawing/2014/main" id="{E05736A8-C4A0-4443-B15E-8CD410C3BB9D}"/>
              </a:ext>
            </a:extLst>
          </p:cNvPr>
          <p:cNvSpPr>
            <a:spLocks noChangeArrowheads="1"/>
          </p:cNvSpPr>
          <p:nvPr/>
        </p:nvSpPr>
        <p:spPr bwMode="auto">
          <a:xfrm>
            <a:off x="1743342" y="1496160"/>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1" name="Oval 88">
            <a:extLst>
              <a:ext uri="{FF2B5EF4-FFF2-40B4-BE49-F238E27FC236}">
                <a16:creationId xmlns:a16="http://schemas.microsoft.com/office/drawing/2014/main" id="{05576E31-35A6-4E90-BAA7-03D3518FC65A}"/>
              </a:ext>
            </a:extLst>
          </p:cNvPr>
          <p:cNvSpPr>
            <a:spLocks noChangeArrowheads="1"/>
          </p:cNvSpPr>
          <p:nvPr/>
        </p:nvSpPr>
        <p:spPr bwMode="auto">
          <a:xfrm>
            <a:off x="1728830" y="1496160"/>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2" name="Oval 89">
            <a:extLst>
              <a:ext uri="{FF2B5EF4-FFF2-40B4-BE49-F238E27FC236}">
                <a16:creationId xmlns:a16="http://schemas.microsoft.com/office/drawing/2014/main" id="{C58569A8-A445-4EFD-AB64-1A60F553DC45}"/>
              </a:ext>
            </a:extLst>
          </p:cNvPr>
          <p:cNvSpPr>
            <a:spLocks noChangeArrowheads="1"/>
          </p:cNvSpPr>
          <p:nvPr/>
        </p:nvSpPr>
        <p:spPr bwMode="auto">
          <a:xfrm>
            <a:off x="1699810" y="1484501"/>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3" name="Oval 90">
            <a:extLst>
              <a:ext uri="{FF2B5EF4-FFF2-40B4-BE49-F238E27FC236}">
                <a16:creationId xmlns:a16="http://schemas.microsoft.com/office/drawing/2014/main" id="{C3E8C4C8-DBE2-40A3-BE55-CEA1836A3144}"/>
              </a:ext>
            </a:extLst>
          </p:cNvPr>
          <p:cNvSpPr>
            <a:spLocks noChangeArrowheads="1"/>
          </p:cNvSpPr>
          <p:nvPr/>
        </p:nvSpPr>
        <p:spPr bwMode="auto">
          <a:xfrm>
            <a:off x="1682397" y="1455351"/>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4" name="Oval 91">
            <a:extLst>
              <a:ext uri="{FF2B5EF4-FFF2-40B4-BE49-F238E27FC236}">
                <a16:creationId xmlns:a16="http://schemas.microsoft.com/office/drawing/2014/main" id="{709862F1-9C22-4A92-ACBF-D9A6065A5425}"/>
              </a:ext>
            </a:extLst>
          </p:cNvPr>
          <p:cNvSpPr>
            <a:spLocks noChangeArrowheads="1"/>
          </p:cNvSpPr>
          <p:nvPr/>
        </p:nvSpPr>
        <p:spPr bwMode="auto">
          <a:xfrm>
            <a:off x="1638864" y="1421829"/>
            <a:ext cx="58043" cy="56842"/>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5" name="Oval 92">
            <a:extLst>
              <a:ext uri="{FF2B5EF4-FFF2-40B4-BE49-F238E27FC236}">
                <a16:creationId xmlns:a16="http://schemas.microsoft.com/office/drawing/2014/main" id="{A8A99542-BB54-4E13-A7B5-437A39CB642B}"/>
              </a:ext>
            </a:extLst>
          </p:cNvPr>
          <p:cNvSpPr>
            <a:spLocks noChangeArrowheads="1"/>
          </p:cNvSpPr>
          <p:nvPr/>
        </p:nvSpPr>
        <p:spPr bwMode="auto">
          <a:xfrm>
            <a:off x="1604038" y="1413083"/>
            <a:ext cx="58043" cy="59757"/>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6" name="Oval 93">
            <a:extLst>
              <a:ext uri="{FF2B5EF4-FFF2-40B4-BE49-F238E27FC236}">
                <a16:creationId xmlns:a16="http://schemas.microsoft.com/office/drawing/2014/main" id="{F75DEE82-BBBC-4E77-ADBB-169350E62537}"/>
              </a:ext>
            </a:extLst>
          </p:cNvPr>
          <p:cNvSpPr>
            <a:spLocks noChangeArrowheads="1"/>
          </p:cNvSpPr>
          <p:nvPr/>
        </p:nvSpPr>
        <p:spPr bwMode="auto">
          <a:xfrm>
            <a:off x="1528582" y="1381019"/>
            <a:ext cx="60945"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7" name="Oval 94">
            <a:extLst>
              <a:ext uri="{FF2B5EF4-FFF2-40B4-BE49-F238E27FC236}">
                <a16:creationId xmlns:a16="http://schemas.microsoft.com/office/drawing/2014/main" id="{BA9D3D55-72CB-4F20-8BF7-0C159DE7E87B}"/>
              </a:ext>
            </a:extLst>
          </p:cNvPr>
          <p:cNvSpPr>
            <a:spLocks noChangeArrowheads="1"/>
          </p:cNvSpPr>
          <p:nvPr/>
        </p:nvSpPr>
        <p:spPr bwMode="auto">
          <a:xfrm>
            <a:off x="1514071" y="138101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8" name="Oval 95">
            <a:extLst>
              <a:ext uri="{FF2B5EF4-FFF2-40B4-BE49-F238E27FC236}">
                <a16:creationId xmlns:a16="http://schemas.microsoft.com/office/drawing/2014/main" id="{391A96A5-C013-445C-8759-A952A7AA7402}"/>
              </a:ext>
            </a:extLst>
          </p:cNvPr>
          <p:cNvSpPr>
            <a:spLocks noChangeArrowheads="1"/>
          </p:cNvSpPr>
          <p:nvPr/>
        </p:nvSpPr>
        <p:spPr bwMode="auto">
          <a:xfrm>
            <a:off x="1458930" y="1325634"/>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9" name="Oval 96">
            <a:extLst>
              <a:ext uri="{FF2B5EF4-FFF2-40B4-BE49-F238E27FC236}">
                <a16:creationId xmlns:a16="http://schemas.microsoft.com/office/drawing/2014/main" id="{0EF7748B-DFCF-43C2-81CA-58F4368B329F}"/>
              </a:ext>
            </a:extLst>
          </p:cNvPr>
          <p:cNvSpPr>
            <a:spLocks noChangeArrowheads="1"/>
          </p:cNvSpPr>
          <p:nvPr/>
        </p:nvSpPr>
        <p:spPr bwMode="auto">
          <a:xfrm>
            <a:off x="1429908" y="131688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0" name="Oval 97">
            <a:extLst>
              <a:ext uri="{FF2B5EF4-FFF2-40B4-BE49-F238E27FC236}">
                <a16:creationId xmlns:a16="http://schemas.microsoft.com/office/drawing/2014/main" id="{5CB93037-8321-455F-9A82-C3E6AA9EADEA}"/>
              </a:ext>
            </a:extLst>
          </p:cNvPr>
          <p:cNvSpPr>
            <a:spLocks noChangeArrowheads="1"/>
          </p:cNvSpPr>
          <p:nvPr/>
        </p:nvSpPr>
        <p:spPr bwMode="auto">
          <a:xfrm>
            <a:off x="1415397" y="1299400"/>
            <a:ext cx="58043" cy="61215"/>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1" name="Oval 98">
            <a:extLst>
              <a:ext uri="{FF2B5EF4-FFF2-40B4-BE49-F238E27FC236}">
                <a16:creationId xmlns:a16="http://schemas.microsoft.com/office/drawing/2014/main" id="{6D34E9F3-9E4D-4193-9178-D04D41304D16}"/>
              </a:ext>
            </a:extLst>
          </p:cNvPr>
          <p:cNvSpPr>
            <a:spLocks noChangeArrowheads="1"/>
          </p:cNvSpPr>
          <p:nvPr/>
        </p:nvSpPr>
        <p:spPr bwMode="auto">
          <a:xfrm>
            <a:off x="1400887" y="128190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2" name="Oval 99">
            <a:extLst>
              <a:ext uri="{FF2B5EF4-FFF2-40B4-BE49-F238E27FC236}">
                <a16:creationId xmlns:a16="http://schemas.microsoft.com/office/drawing/2014/main" id="{981089D7-2F6D-44FC-B2C1-135D9F3E12E9}"/>
              </a:ext>
            </a:extLst>
          </p:cNvPr>
          <p:cNvSpPr>
            <a:spLocks noChangeArrowheads="1"/>
          </p:cNvSpPr>
          <p:nvPr/>
        </p:nvSpPr>
        <p:spPr bwMode="auto">
          <a:xfrm>
            <a:off x="1348648" y="1244015"/>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3" name="Oval 100">
            <a:extLst>
              <a:ext uri="{FF2B5EF4-FFF2-40B4-BE49-F238E27FC236}">
                <a16:creationId xmlns:a16="http://schemas.microsoft.com/office/drawing/2014/main" id="{977AD0AE-73A8-42EC-B129-EAB7F5EFF17E}"/>
              </a:ext>
            </a:extLst>
          </p:cNvPr>
          <p:cNvSpPr>
            <a:spLocks noChangeArrowheads="1"/>
          </p:cNvSpPr>
          <p:nvPr/>
        </p:nvSpPr>
        <p:spPr bwMode="auto">
          <a:xfrm>
            <a:off x="1331235" y="1223610"/>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4" name="Oval 101">
            <a:extLst>
              <a:ext uri="{FF2B5EF4-FFF2-40B4-BE49-F238E27FC236}">
                <a16:creationId xmlns:a16="http://schemas.microsoft.com/office/drawing/2014/main" id="{C9961336-261D-4D12-BAD9-F8E61D6E7CCD}"/>
              </a:ext>
            </a:extLst>
          </p:cNvPr>
          <p:cNvSpPr>
            <a:spLocks noChangeArrowheads="1"/>
          </p:cNvSpPr>
          <p:nvPr/>
        </p:nvSpPr>
        <p:spPr bwMode="auto">
          <a:xfrm>
            <a:off x="1308017" y="1209036"/>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5" name="Oval 102">
            <a:extLst>
              <a:ext uri="{FF2B5EF4-FFF2-40B4-BE49-F238E27FC236}">
                <a16:creationId xmlns:a16="http://schemas.microsoft.com/office/drawing/2014/main" id="{394A1CC2-4E48-4947-A2E3-7C3E330797C5}"/>
              </a:ext>
            </a:extLst>
          </p:cNvPr>
          <p:cNvSpPr>
            <a:spLocks noChangeArrowheads="1"/>
          </p:cNvSpPr>
          <p:nvPr/>
        </p:nvSpPr>
        <p:spPr bwMode="auto">
          <a:xfrm>
            <a:off x="1242717" y="1127415"/>
            <a:ext cx="56592"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6" name="Oval 103">
            <a:extLst>
              <a:ext uri="{FF2B5EF4-FFF2-40B4-BE49-F238E27FC236}">
                <a16:creationId xmlns:a16="http://schemas.microsoft.com/office/drawing/2014/main" id="{EF43BB41-58DF-4B52-B369-98673B2F154E}"/>
              </a:ext>
            </a:extLst>
          </p:cNvPr>
          <p:cNvSpPr>
            <a:spLocks noChangeArrowheads="1"/>
          </p:cNvSpPr>
          <p:nvPr/>
        </p:nvSpPr>
        <p:spPr bwMode="auto">
          <a:xfrm>
            <a:off x="1234011" y="1109925"/>
            <a:ext cx="56592"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7" name="Oval 104">
            <a:extLst>
              <a:ext uri="{FF2B5EF4-FFF2-40B4-BE49-F238E27FC236}">
                <a16:creationId xmlns:a16="http://schemas.microsoft.com/office/drawing/2014/main" id="{7FC714D2-756E-46E4-AACD-D4381A4C458E}"/>
              </a:ext>
            </a:extLst>
          </p:cNvPr>
          <p:cNvSpPr>
            <a:spLocks noChangeArrowheads="1"/>
          </p:cNvSpPr>
          <p:nvPr/>
        </p:nvSpPr>
        <p:spPr bwMode="auto">
          <a:xfrm>
            <a:off x="1202087" y="1074945"/>
            <a:ext cx="56592"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8" name="Oval 105">
            <a:extLst>
              <a:ext uri="{FF2B5EF4-FFF2-40B4-BE49-F238E27FC236}">
                <a16:creationId xmlns:a16="http://schemas.microsoft.com/office/drawing/2014/main" id="{9AA9F367-5732-4950-A78B-A5155DE64A1A}"/>
              </a:ext>
            </a:extLst>
          </p:cNvPr>
          <p:cNvSpPr>
            <a:spLocks noChangeArrowheads="1"/>
          </p:cNvSpPr>
          <p:nvPr/>
        </p:nvSpPr>
        <p:spPr bwMode="auto">
          <a:xfrm>
            <a:off x="1184675" y="1057457"/>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9" name="Oval 106">
            <a:extLst>
              <a:ext uri="{FF2B5EF4-FFF2-40B4-BE49-F238E27FC236}">
                <a16:creationId xmlns:a16="http://schemas.microsoft.com/office/drawing/2014/main" id="{E65A06DD-6A78-4E6F-9E88-382DB5E609E9}"/>
              </a:ext>
            </a:extLst>
          </p:cNvPr>
          <p:cNvSpPr>
            <a:spLocks noChangeArrowheads="1"/>
          </p:cNvSpPr>
          <p:nvPr/>
        </p:nvSpPr>
        <p:spPr bwMode="auto">
          <a:xfrm>
            <a:off x="1164360" y="1045797"/>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0" name="Oval 107">
            <a:extLst>
              <a:ext uri="{FF2B5EF4-FFF2-40B4-BE49-F238E27FC236}">
                <a16:creationId xmlns:a16="http://schemas.microsoft.com/office/drawing/2014/main" id="{E15E26BC-4576-4021-8D81-49D31BCAD604}"/>
              </a:ext>
            </a:extLst>
          </p:cNvPr>
          <p:cNvSpPr>
            <a:spLocks noChangeArrowheads="1"/>
          </p:cNvSpPr>
          <p:nvPr/>
        </p:nvSpPr>
        <p:spPr bwMode="auto">
          <a:xfrm>
            <a:off x="1141142" y="1031222"/>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1" name="Oval 108">
            <a:extLst>
              <a:ext uri="{FF2B5EF4-FFF2-40B4-BE49-F238E27FC236}">
                <a16:creationId xmlns:a16="http://schemas.microsoft.com/office/drawing/2014/main" id="{9EF62F43-3AF7-4EB1-B9C8-E95B7C7B7874}"/>
              </a:ext>
            </a:extLst>
          </p:cNvPr>
          <p:cNvSpPr>
            <a:spLocks noChangeArrowheads="1"/>
          </p:cNvSpPr>
          <p:nvPr/>
        </p:nvSpPr>
        <p:spPr bwMode="auto">
          <a:xfrm>
            <a:off x="1129534" y="1031222"/>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2" name="Oval 109">
            <a:extLst>
              <a:ext uri="{FF2B5EF4-FFF2-40B4-BE49-F238E27FC236}">
                <a16:creationId xmlns:a16="http://schemas.microsoft.com/office/drawing/2014/main" id="{65E7D96C-2C6E-4506-995B-652959E1E4B9}"/>
              </a:ext>
            </a:extLst>
          </p:cNvPr>
          <p:cNvSpPr>
            <a:spLocks noChangeArrowheads="1"/>
          </p:cNvSpPr>
          <p:nvPr/>
        </p:nvSpPr>
        <p:spPr bwMode="auto">
          <a:xfrm>
            <a:off x="1129534" y="1013732"/>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3" name="Oval 110">
            <a:extLst>
              <a:ext uri="{FF2B5EF4-FFF2-40B4-BE49-F238E27FC236}">
                <a16:creationId xmlns:a16="http://schemas.microsoft.com/office/drawing/2014/main" id="{CA9C2154-2FEF-46A7-8A3D-34245F660E43}"/>
              </a:ext>
            </a:extLst>
          </p:cNvPr>
          <p:cNvSpPr>
            <a:spLocks noChangeArrowheads="1"/>
          </p:cNvSpPr>
          <p:nvPr/>
        </p:nvSpPr>
        <p:spPr bwMode="auto">
          <a:xfrm>
            <a:off x="2420997" y="2009196"/>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4" name="Oval 111">
            <a:extLst>
              <a:ext uri="{FF2B5EF4-FFF2-40B4-BE49-F238E27FC236}">
                <a16:creationId xmlns:a16="http://schemas.microsoft.com/office/drawing/2014/main" id="{0EFC71F8-0B22-4939-90C9-637B2472EB32}"/>
              </a:ext>
            </a:extLst>
          </p:cNvPr>
          <p:cNvSpPr>
            <a:spLocks noChangeArrowheads="1"/>
          </p:cNvSpPr>
          <p:nvPr/>
        </p:nvSpPr>
        <p:spPr bwMode="auto">
          <a:xfrm>
            <a:off x="4258067" y="2571789"/>
            <a:ext cx="58043" cy="5830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5" name="Freeform 112">
            <a:extLst>
              <a:ext uri="{FF2B5EF4-FFF2-40B4-BE49-F238E27FC236}">
                <a16:creationId xmlns:a16="http://schemas.microsoft.com/office/drawing/2014/main" id="{62F5B6E4-6AFE-4372-9FEE-D3FADB5A211B}"/>
              </a:ext>
            </a:extLst>
          </p:cNvPr>
          <p:cNvSpPr>
            <a:spLocks/>
          </p:cNvSpPr>
          <p:nvPr/>
        </p:nvSpPr>
        <p:spPr bwMode="auto">
          <a:xfrm>
            <a:off x="1106316" y="996242"/>
            <a:ext cx="4422899" cy="2177491"/>
          </a:xfrm>
          <a:custGeom>
            <a:avLst/>
            <a:gdLst>
              <a:gd name="T0" fmla="*/ 2785 w 3048"/>
              <a:gd name="T1" fmla="*/ 1424 h 1494"/>
              <a:gd name="T2" fmla="*/ 2653 w 3048"/>
              <a:gd name="T3" fmla="*/ 1346 h 1494"/>
              <a:gd name="T4" fmla="*/ 2593 w 3048"/>
              <a:gd name="T5" fmla="*/ 1300 h 1494"/>
              <a:gd name="T6" fmla="*/ 2318 w 3048"/>
              <a:gd name="T7" fmla="*/ 1254 h 1494"/>
              <a:gd name="T8" fmla="*/ 2240 w 3048"/>
              <a:gd name="T9" fmla="*/ 1226 h 1494"/>
              <a:gd name="T10" fmla="*/ 2100 w 3048"/>
              <a:gd name="T11" fmla="*/ 1208 h 1494"/>
              <a:gd name="T12" fmla="*/ 2014 w 3048"/>
              <a:gd name="T13" fmla="*/ 1189 h 1494"/>
              <a:gd name="T14" fmla="*/ 1910 w 3048"/>
              <a:gd name="T15" fmla="*/ 1161 h 1494"/>
              <a:gd name="T16" fmla="*/ 1838 w 3048"/>
              <a:gd name="T17" fmla="*/ 1137 h 1494"/>
              <a:gd name="T18" fmla="*/ 1786 w 3048"/>
              <a:gd name="T19" fmla="*/ 1111 h 1494"/>
              <a:gd name="T20" fmla="*/ 1695 w 3048"/>
              <a:gd name="T21" fmla="*/ 1089 h 1494"/>
              <a:gd name="T22" fmla="*/ 1549 w 3048"/>
              <a:gd name="T23" fmla="*/ 1073 h 1494"/>
              <a:gd name="T24" fmla="*/ 1483 w 3048"/>
              <a:gd name="T25" fmla="*/ 1045 h 1494"/>
              <a:gd name="T26" fmla="*/ 1351 w 3048"/>
              <a:gd name="T27" fmla="*/ 1023 h 1494"/>
              <a:gd name="T28" fmla="*/ 1200 w 3048"/>
              <a:gd name="T29" fmla="*/ 991 h 1494"/>
              <a:gd name="T30" fmla="*/ 1098 w 3048"/>
              <a:gd name="T31" fmla="*/ 967 h 1494"/>
              <a:gd name="T32" fmla="*/ 1006 w 3048"/>
              <a:gd name="T33" fmla="*/ 943 h 1494"/>
              <a:gd name="T34" fmla="*/ 962 w 3048"/>
              <a:gd name="T35" fmla="*/ 915 h 1494"/>
              <a:gd name="T36" fmla="*/ 890 w 3048"/>
              <a:gd name="T37" fmla="*/ 897 h 1494"/>
              <a:gd name="T38" fmla="*/ 868 w 3048"/>
              <a:gd name="T39" fmla="*/ 869 h 1494"/>
              <a:gd name="T40" fmla="*/ 818 w 3048"/>
              <a:gd name="T41" fmla="*/ 821 h 1494"/>
              <a:gd name="T42" fmla="*/ 798 w 3048"/>
              <a:gd name="T43" fmla="*/ 793 h 1494"/>
              <a:gd name="T44" fmla="*/ 786 w 3048"/>
              <a:gd name="T45" fmla="*/ 755 h 1494"/>
              <a:gd name="T46" fmla="*/ 754 w 3048"/>
              <a:gd name="T47" fmla="*/ 735 h 1494"/>
              <a:gd name="T48" fmla="*/ 740 w 3048"/>
              <a:gd name="T49" fmla="*/ 695 h 1494"/>
              <a:gd name="T50" fmla="*/ 722 w 3048"/>
              <a:gd name="T51" fmla="*/ 667 h 1494"/>
              <a:gd name="T52" fmla="*/ 682 w 3048"/>
              <a:gd name="T53" fmla="*/ 633 h 1494"/>
              <a:gd name="T54" fmla="*/ 660 w 3048"/>
              <a:gd name="T55" fmla="*/ 603 h 1494"/>
              <a:gd name="T56" fmla="*/ 613 w 3048"/>
              <a:gd name="T57" fmla="*/ 567 h 1494"/>
              <a:gd name="T58" fmla="*/ 589 w 3048"/>
              <a:gd name="T59" fmla="*/ 551 h 1494"/>
              <a:gd name="T60" fmla="*/ 541 w 3048"/>
              <a:gd name="T61" fmla="*/ 527 h 1494"/>
              <a:gd name="T62" fmla="*/ 507 w 3048"/>
              <a:gd name="T63" fmla="*/ 503 h 1494"/>
              <a:gd name="T64" fmla="*/ 457 w 3048"/>
              <a:gd name="T65" fmla="*/ 461 h 1494"/>
              <a:gd name="T66" fmla="*/ 435 w 3048"/>
              <a:gd name="T67" fmla="*/ 433 h 1494"/>
              <a:gd name="T68" fmla="*/ 419 w 3048"/>
              <a:gd name="T69" fmla="*/ 415 h 1494"/>
              <a:gd name="T70" fmla="*/ 393 w 3048"/>
              <a:gd name="T71" fmla="*/ 395 h 1494"/>
              <a:gd name="T72" fmla="*/ 367 w 3048"/>
              <a:gd name="T73" fmla="*/ 373 h 1494"/>
              <a:gd name="T74" fmla="*/ 339 w 3048"/>
              <a:gd name="T75" fmla="*/ 349 h 1494"/>
              <a:gd name="T76" fmla="*/ 301 w 3048"/>
              <a:gd name="T77" fmla="*/ 317 h 1494"/>
              <a:gd name="T78" fmla="*/ 281 w 3048"/>
              <a:gd name="T79" fmla="*/ 284 h 1494"/>
              <a:gd name="T80" fmla="*/ 237 w 3048"/>
              <a:gd name="T81" fmla="*/ 256 h 1494"/>
              <a:gd name="T82" fmla="*/ 181 w 3048"/>
              <a:gd name="T83" fmla="*/ 216 h 1494"/>
              <a:gd name="T84" fmla="*/ 159 w 3048"/>
              <a:gd name="T85" fmla="*/ 190 h 1494"/>
              <a:gd name="T86" fmla="*/ 143 w 3048"/>
              <a:gd name="T87" fmla="*/ 158 h 1494"/>
              <a:gd name="T88" fmla="*/ 121 w 3048"/>
              <a:gd name="T89" fmla="*/ 128 h 1494"/>
              <a:gd name="T90" fmla="*/ 96 w 3048"/>
              <a:gd name="T91" fmla="*/ 86 h 1494"/>
              <a:gd name="T92" fmla="*/ 66 w 3048"/>
              <a:gd name="T93" fmla="*/ 52 h 1494"/>
              <a:gd name="T94" fmla="*/ 24 w 3048"/>
              <a:gd name="T95" fmla="*/ 16 h 1494"/>
              <a:gd name="T96" fmla="*/ 0 w 3048"/>
              <a:gd name="T97" fmla="*/ 0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48" h="1494">
                <a:moveTo>
                  <a:pt x="3048" y="1494"/>
                </a:moveTo>
                <a:lnTo>
                  <a:pt x="2851" y="1494"/>
                </a:lnTo>
                <a:lnTo>
                  <a:pt x="2851" y="1424"/>
                </a:lnTo>
                <a:lnTo>
                  <a:pt x="2785" y="1424"/>
                </a:lnTo>
                <a:lnTo>
                  <a:pt x="2785" y="1376"/>
                </a:lnTo>
                <a:lnTo>
                  <a:pt x="2689" y="1376"/>
                </a:lnTo>
                <a:lnTo>
                  <a:pt x="2689" y="1346"/>
                </a:lnTo>
                <a:lnTo>
                  <a:pt x="2653" y="1346"/>
                </a:lnTo>
                <a:lnTo>
                  <a:pt x="2653" y="1326"/>
                </a:lnTo>
                <a:lnTo>
                  <a:pt x="2629" y="1326"/>
                </a:lnTo>
                <a:lnTo>
                  <a:pt x="2629" y="1300"/>
                </a:lnTo>
                <a:lnTo>
                  <a:pt x="2593" y="1300"/>
                </a:lnTo>
                <a:lnTo>
                  <a:pt x="2593" y="1276"/>
                </a:lnTo>
                <a:lnTo>
                  <a:pt x="2561" y="1276"/>
                </a:lnTo>
                <a:lnTo>
                  <a:pt x="2561" y="1254"/>
                </a:lnTo>
                <a:lnTo>
                  <a:pt x="2318" y="1254"/>
                </a:lnTo>
                <a:lnTo>
                  <a:pt x="2318" y="1230"/>
                </a:lnTo>
                <a:lnTo>
                  <a:pt x="2290" y="1230"/>
                </a:lnTo>
                <a:lnTo>
                  <a:pt x="2290" y="1226"/>
                </a:lnTo>
                <a:lnTo>
                  <a:pt x="2240" y="1226"/>
                </a:lnTo>
                <a:lnTo>
                  <a:pt x="2240" y="1214"/>
                </a:lnTo>
                <a:lnTo>
                  <a:pt x="2122" y="1214"/>
                </a:lnTo>
                <a:lnTo>
                  <a:pt x="2122" y="1208"/>
                </a:lnTo>
                <a:lnTo>
                  <a:pt x="2100" y="1208"/>
                </a:lnTo>
                <a:lnTo>
                  <a:pt x="2100" y="1196"/>
                </a:lnTo>
                <a:lnTo>
                  <a:pt x="2028" y="1196"/>
                </a:lnTo>
                <a:lnTo>
                  <a:pt x="2028" y="1189"/>
                </a:lnTo>
                <a:lnTo>
                  <a:pt x="2014" y="1189"/>
                </a:lnTo>
                <a:lnTo>
                  <a:pt x="2014" y="1169"/>
                </a:lnTo>
                <a:lnTo>
                  <a:pt x="1958" y="1169"/>
                </a:lnTo>
                <a:lnTo>
                  <a:pt x="1958" y="1161"/>
                </a:lnTo>
                <a:lnTo>
                  <a:pt x="1910" y="1161"/>
                </a:lnTo>
                <a:lnTo>
                  <a:pt x="1910" y="1153"/>
                </a:lnTo>
                <a:lnTo>
                  <a:pt x="1898" y="1153"/>
                </a:lnTo>
                <a:lnTo>
                  <a:pt x="1898" y="1137"/>
                </a:lnTo>
                <a:lnTo>
                  <a:pt x="1838" y="1137"/>
                </a:lnTo>
                <a:lnTo>
                  <a:pt x="1838" y="1123"/>
                </a:lnTo>
                <a:lnTo>
                  <a:pt x="1814" y="1123"/>
                </a:lnTo>
                <a:lnTo>
                  <a:pt x="1814" y="1111"/>
                </a:lnTo>
                <a:lnTo>
                  <a:pt x="1786" y="1111"/>
                </a:lnTo>
                <a:lnTo>
                  <a:pt x="1786" y="1101"/>
                </a:lnTo>
                <a:lnTo>
                  <a:pt x="1770" y="1101"/>
                </a:lnTo>
                <a:lnTo>
                  <a:pt x="1770" y="1089"/>
                </a:lnTo>
                <a:lnTo>
                  <a:pt x="1695" y="1089"/>
                </a:lnTo>
                <a:lnTo>
                  <a:pt x="1695" y="1079"/>
                </a:lnTo>
                <a:lnTo>
                  <a:pt x="1627" y="1079"/>
                </a:lnTo>
                <a:lnTo>
                  <a:pt x="1627" y="1073"/>
                </a:lnTo>
                <a:lnTo>
                  <a:pt x="1549" y="1073"/>
                </a:lnTo>
                <a:lnTo>
                  <a:pt x="1549" y="1053"/>
                </a:lnTo>
                <a:lnTo>
                  <a:pt x="1491" y="1053"/>
                </a:lnTo>
                <a:lnTo>
                  <a:pt x="1491" y="1045"/>
                </a:lnTo>
                <a:lnTo>
                  <a:pt x="1483" y="1045"/>
                </a:lnTo>
                <a:lnTo>
                  <a:pt x="1483" y="1035"/>
                </a:lnTo>
                <a:lnTo>
                  <a:pt x="1363" y="1035"/>
                </a:lnTo>
                <a:lnTo>
                  <a:pt x="1363" y="1023"/>
                </a:lnTo>
                <a:lnTo>
                  <a:pt x="1351" y="1023"/>
                </a:lnTo>
                <a:lnTo>
                  <a:pt x="1351" y="1011"/>
                </a:lnTo>
                <a:lnTo>
                  <a:pt x="1263" y="1011"/>
                </a:lnTo>
                <a:lnTo>
                  <a:pt x="1263" y="991"/>
                </a:lnTo>
                <a:lnTo>
                  <a:pt x="1200" y="991"/>
                </a:lnTo>
                <a:lnTo>
                  <a:pt x="1200" y="975"/>
                </a:lnTo>
                <a:lnTo>
                  <a:pt x="1122" y="975"/>
                </a:lnTo>
                <a:lnTo>
                  <a:pt x="1122" y="967"/>
                </a:lnTo>
                <a:lnTo>
                  <a:pt x="1098" y="967"/>
                </a:lnTo>
                <a:lnTo>
                  <a:pt x="1098" y="951"/>
                </a:lnTo>
                <a:lnTo>
                  <a:pt x="1062" y="951"/>
                </a:lnTo>
                <a:lnTo>
                  <a:pt x="1062" y="943"/>
                </a:lnTo>
                <a:lnTo>
                  <a:pt x="1006" y="943"/>
                </a:lnTo>
                <a:lnTo>
                  <a:pt x="1006" y="935"/>
                </a:lnTo>
                <a:lnTo>
                  <a:pt x="976" y="935"/>
                </a:lnTo>
                <a:lnTo>
                  <a:pt x="976" y="915"/>
                </a:lnTo>
                <a:lnTo>
                  <a:pt x="962" y="915"/>
                </a:lnTo>
                <a:lnTo>
                  <a:pt x="962" y="903"/>
                </a:lnTo>
                <a:lnTo>
                  <a:pt x="898" y="903"/>
                </a:lnTo>
                <a:lnTo>
                  <a:pt x="898" y="897"/>
                </a:lnTo>
                <a:lnTo>
                  <a:pt x="890" y="897"/>
                </a:lnTo>
                <a:lnTo>
                  <a:pt x="890" y="887"/>
                </a:lnTo>
                <a:lnTo>
                  <a:pt x="876" y="887"/>
                </a:lnTo>
                <a:lnTo>
                  <a:pt x="876" y="869"/>
                </a:lnTo>
                <a:lnTo>
                  <a:pt x="868" y="869"/>
                </a:lnTo>
                <a:lnTo>
                  <a:pt x="868" y="845"/>
                </a:lnTo>
                <a:lnTo>
                  <a:pt x="836" y="845"/>
                </a:lnTo>
                <a:lnTo>
                  <a:pt x="836" y="821"/>
                </a:lnTo>
                <a:lnTo>
                  <a:pt x="818" y="821"/>
                </a:lnTo>
                <a:lnTo>
                  <a:pt x="818" y="805"/>
                </a:lnTo>
                <a:lnTo>
                  <a:pt x="810" y="805"/>
                </a:lnTo>
                <a:lnTo>
                  <a:pt x="810" y="793"/>
                </a:lnTo>
                <a:lnTo>
                  <a:pt x="798" y="793"/>
                </a:lnTo>
                <a:lnTo>
                  <a:pt x="798" y="771"/>
                </a:lnTo>
                <a:lnTo>
                  <a:pt x="792" y="771"/>
                </a:lnTo>
                <a:lnTo>
                  <a:pt x="792" y="755"/>
                </a:lnTo>
                <a:lnTo>
                  <a:pt x="786" y="755"/>
                </a:lnTo>
                <a:lnTo>
                  <a:pt x="786" y="741"/>
                </a:lnTo>
                <a:lnTo>
                  <a:pt x="772" y="741"/>
                </a:lnTo>
                <a:lnTo>
                  <a:pt x="772" y="735"/>
                </a:lnTo>
                <a:lnTo>
                  <a:pt x="754" y="735"/>
                </a:lnTo>
                <a:lnTo>
                  <a:pt x="754" y="709"/>
                </a:lnTo>
                <a:lnTo>
                  <a:pt x="744" y="709"/>
                </a:lnTo>
                <a:lnTo>
                  <a:pt x="744" y="695"/>
                </a:lnTo>
                <a:lnTo>
                  <a:pt x="740" y="695"/>
                </a:lnTo>
                <a:lnTo>
                  <a:pt x="740" y="681"/>
                </a:lnTo>
                <a:lnTo>
                  <a:pt x="728" y="681"/>
                </a:lnTo>
                <a:lnTo>
                  <a:pt x="728" y="667"/>
                </a:lnTo>
                <a:lnTo>
                  <a:pt x="722" y="667"/>
                </a:lnTo>
                <a:lnTo>
                  <a:pt x="722" y="649"/>
                </a:lnTo>
                <a:lnTo>
                  <a:pt x="718" y="649"/>
                </a:lnTo>
                <a:lnTo>
                  <a:pt x="718" y="633"/>
                </a:lnTo>
                <a:lnTo>
                  <a:pt x="682" y="633"/>
                </a:lnTo>
                <a:lnTo>
                  <a:pt x="682" y="615"/>
                </a:lnTo>
                <a:lnTo>
                  <a:pt x="678" y="615"/>
                </a:lnTo>
                <a:lnTo>
                  <a:pt x="678" y="603"/>
                </a:lnTo>
                <a:lnTo>
                  <a:pt x="660" y="603"/>
                </a:lnTo>
                <a:lnTo>
                  <a:pt x="660" y="591"/>
                </a:lnTo>
                <a:lnTo>
                  <a:pt x="649" y="591"/>
                </a:lnTo>
                <a:lnTo>
                  <a:pt x="649" y="567"/>
                </a:lnTo>
                <a:lnTo>
                  <a:pt x="613" y="567"/>
                </a:lnTo>
                <a:lnTo>
                  <a:pt x="613" y="559"/>
                </a:lnTo>
                <a:lnTo>
                  <a:pt x="605" y="559"/>
                </a:lnTo>
                <a:lnTo>
                  <a:pt x="605" y="551"/>
                </a:lnTo>
                <a:lnTo>
                  <a:pt x="589" y="551"/>
                </a:lnTo>
                <a:lnTo>
                  <a:pt x="589" y="545"/>
                </a:lnTo>
                <a:lnTo>
                  <a:pt x="567" y="545"/>
                </a:lnTo>
                <a:lnTo>
                  <a:pt x="567" y="527"/>
                </a:lnTo>
                <a:lnTo>
                  <a:pt x="541" y="527"/>
                </a:lnTo>
                <a:lnTo>
                  <a:pt x="541" y="519"/>
                </a:lnTo>
                <a:lnTo>
                  <a:pt x="525" y="519"/>
                </a:lnTo>
                <a:lnTo>
                  <a:pt x="525" y="503"/>
                </a:lnTo>
                <a:lnTo>
                  <a:pt x="507" y="503"/>
                </a:lnTo>
                <a:lnTo>
                  <a:pt x="507" y="489"/>
                </a:lnTo>
                <a:lnTo>
                  <a:pt x="493" y="489"/>
                </a:lnTo>
                <a:lnTo>
                  <a:pt x="493" y="461"/>
                </a:lnTo>
                <a:lnTo>
                  <a:pt x="457" y="461"/>
                </a:lnTo>
                <a:lnTo>
                  <a:pt x="457" y="451"/>
                </a:lnTo>
                <a:lnTo>
                  <a:pt x="443" y="451"/>
                </a:lnTo>
                <a:lnTo>
                  <a:pt x="443" y="433"/>
                </a:lnTo>
                <a:lnTo>
                  <a:pt x="435" y="433"/>
                </a:lnTo>
                <a:lnTo>
                  <a:pt x="435" y="423"/>
                </a:lnTo>
                <a:lnTo>
                  <a:pt x="427" y="423"/>
                </a:lnTo>
                <a:lnTo>
                  <a:pt x="427" y="415"/>
                </a:lnTo>
                <a:lnTo>
                  <a:pt x="419" y="415"/>
                </a:lnTo>
                <a:lnTo>
                  <a:pt x="419" y="403"/>
                </a:lnTo>
                <a:lnTo>
                  <a:pt x="405" y="403"/>
                </a:lnTo>
                <a:lnTo>
                  <a:pt x="405" y="395"/>
                </a:lnTo>
                <a:lnTo>
                  <a:pt x="393" y="395"/>
                </a:lnTo>
                <a:lnTo>
                  <a:pt x="393" y="385"/>
                </a:lnTo>
                <a:lnTo>
                  <a:pt x="381" y="385"/>
                </a:lnTo>
                <a:lnTo>
                  <a:pt x="381" y="373"/>
                </a:lnTo>
                <a:lnTo>
                  <a:pt x="367" y="373"/>
                </a:lnTo>
                <a:lnTo>
                  <a:pt x="367" y="361"/>
                </a:lnTo>
                <a:lnTo>
                  <a:pt x="351" y="361"/>
                </a:lnTo>
                <a:lnTo>
                  <a:pt x="351" y="349"/>
                </a:lnTo>
                <a:lnTo>
                  <a:pt x="339" y="349"/>
                </a:lnTo>
                <a:lnTo>
                  <a:pt x="339" y="331"/>
                </a:lnTo>
                <a:lnTo>
                  <a:pt x="307" y="331"/>
                </a:lnTo>
                <a:lnTo>
                  <a:pt x="307" y="317"/>
                </a:lnTo>
                <a:lnTo>
                  <a:pt x="301" y="317"/>
                </a:lnTo>
                <a:lnTo>
                  <a:pt x="301" y="309"/>
                </a:lnTo>
                <a:lnTo>
                  <a:pt x="291" y="309"/>
                </a:lnTo>
                <a:lnTo>
                  <a:pt x="291" y="284"/>
                </a:lnTo>
                <a:lnTo>
                  <a:pt x="281" y="284"/>
                </a:lnTo>
                <a:lnTo>
                  <a:pt x="281" y="266"/>
                </a:lnTo>
                <a:lnTo>
                  <a:pt x="263" y="266"/>
                </a:lnTo>
                <a:lnTo>
                  <a:pt x="263" y="256"/>
                </a:lnTo>
                <a:lnTo>
                  <a:pt x="237" y="256"/>
                </a:lnTo>
                <a:lnTo>
                  <a:pt x="237" y="234"/>
                </a:lnTo>
                <a:lnTo>
                  <a:pt x="211" y="234"/>
                </a:lnTo>
                <a:lnTo>
                  <a:pt x="211" y="216"/>
                </a:lnTo>
                <a:lnTo>
                  <a:pt x="181" y="216"/>
                </a:lnTo>
                <a:lnTo>
                  <a:pt x="181" y="204"/>
                </a:lnTo>
                <a:lnTo>
                  <a:pt x="169" y="204"/>
                </a:lnTo>
                <a:lnTo>
                  <a:pt x="169" y="190"/>
                </a:lnTo>
                <a:lnTo>
                  <a:pt x="159" y="190"/>
                </a:lnTo>
                <a:lnTo>
                  <a:pt x="159" y="174"/>
                </a:lnTo>
                <a:lnTo>
                  <a:pt x="149" y="174"/>
                </a:lnTo>
                <a:lnTo>
                  <a:pt x="149" y="158"/>
                </a:lnTo>
                <a:lnTo>
                  <a:pt x="143" y="158"/>
                </a:lnTo>
                <a:lnTo>
                  <a:pt x="143" y="134"/>
                </a:lnTo>
                <a:lnTo>
                  <a:pt x="129" y="134"/>
                </a:lnTo>
                <a:lnTo>
                  <a:pt x="129" y="128"/>
                </a:lnTo>
                <a:lnTo>
                  <a:pt x="121" y="128"/>
                </a:lnTo>
                <a:lnTo>
                  <a:pt x="121" y="102"/>
                </a:lnTo>
                <a:lnTo>
                  <a:pt x="107" y="102"/>
                </a:lnTo>
                <a:lnTo>
                  <a:pt x="107" y="86"/>
                </a:lnTo>
                <a:lnTo>
                  <a:pt x="96" y="86"/>
                </a:lnTo>
                <a:lnTo>
                  <a:pt x="96" y="70"/>
                </a:lnTo>
                <a:lnTo>
                  <a:pt x="80" y="70"/>
                </a:lnTo>
                <a:lnTo>
                  <a:pt x="80" y="52"/>
                </a:lnTo>
                <a:lnTo>
                  <a:pt x="66" y="52"/>
                </a:lnTo>
                <a:lnTo>
                  <a:pt x="66" y="36"/>
                </a:lnTo>
                <a:lnTo>
                  <a:pt x="42" y="36"/>
                </a:lnTo>
                <a:lnTo>
                  <a:pt x="42" y="16"/>
                </a:lnTo>
                <a:lnTo>
                  <a:pt x="24" y="16"/>
                </a:lnTo>
                <a:lnTo>
                  <a:pt x="24" y="12"/>
                </a:lnTo>
                <a:lnTo>
                  <a:pt x="10" y="12"/>
                </a:lnTo>
                <a:lnTo>
                  <a:pt x="10" y="0"/>
                </a:lnTo>
                <a:lnTo>
                  <a:pt x="0" y="0"/>
                </a:lnTo>
              </a:path>
            </a:pathLst>
          </a:cu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6" name="Oval 113">
            <a:extLst>
              <a:ext uri="{FF2B5EF4-FFF2-40B4-BE49-F238E27FC236}">
                <a16:creationId xmlns:a16="http://schemas.microsoft.com/office/drawing/2014/main" id="{1C5B6BD1-1340-4F77-8137-4293E5703496}"/>
              </a:ext>
            </a:extLst>
          </p:cNvPr>
          <p:cNvSpPr>
            <a:spLocks noChangeArrowheads="1"/>
          </p:cNvSpPr>
          <p:nvPr/>
        </p:nvSpPr>
        <p:spPr bwMode="auto">
          <a:xfrm>
            <a:off x="5500194" y="3144582"/>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7" name="Oval 114">
            <a:extLst>
              <a:ext uri="{FF2B5EF4-FFF2-40B4-BE49-F238E27FC236}">
                <a16:creationId xmlns:a16="http://schemas.microsoft.com/office/drawing/2014/main" id="{C8D2D1AE-4D84-46A9-B9A8-63ABB2803A21}"/>
              </a:ext>
            </a:extLst>
          </p:cNvPr>
          <p:cNvSpPr>
            <a:spLocks noChangeArrowheads="1"/>
          </p:cNvSpPr>
          <p:nvPr/>
        </p:nvSpPr>
        <p:spPr bwMode="auto">
          <a:xfrm>
            <a:off x="5249156" y="3144582"/>
            <a:ext cx="56592"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8" name="Oval 115">
            <a:extLst>
              <a:ext uri="{FF2B5EF4-FFF2-40B4-BE49-F238E27FC236}">
                <a16:creationId xmlns:a16="http://schemas.microsoft.com/office/drawing/2014/main" id="{855AD151-1B1F-42FE-BED5-738A453D1A5C}"/>
              </a:ext>
            </a:extLst>
          </p:cNvPr>
          <p:cNvSpPr>
            <a:spLocks noChangeArrowheads="1"/>
          </p:cNvSpPr>
          <p:nvPr/>
        </p:nvSpPr>
        <p:spPr bwMode="auto">
          <a:xfrm>
            <a:off x="5176603" y="304255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9" name="Oval 116">
            <a:extLst>
              <a:ext uri="{FF2B5EF4-FFF2-40B4-BE49-F238E27FC236}">
                <a16:creationId xmlns:a16="http://schemas.microsoft.com/office/drawing/2014/main" id="{BED9F834-F1F4-493B-A817-82DD79AED1F1}"/>
              </a:ext>
            </a:extLst>
          </p:cNvPr>
          <p:cNvSpPr>
            <a:spLocks noChangeArrowheads="1"/>
          </p:cNvSpPr>
          <p:nvPr/>
        </p:nvSpPr>
        <p:spPr bwMode="auto">
          <a:xfrm>
            <a:off x="5141777" y="304255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0" name="Oval 117">
            <a:extLst>
              <a:ext uri="{FF2B5EF4-FFF2-40B4-BE49-F238E27FC236}">
                <a16:creationId xmlns:a16="http://schemas.microsoft.com/office/drawing/2014/main" id="{C6FE9795-0D56-4255-BF1E-1014F7D9D441}"/>
              </a:ext>
            </a:extLst>
          </p:cNvPr>
          <p:cNvSpPr>
            <a:spLocks noChangeArrowheads="1"/>
          </p:cNvSpPr>
          <p:nvPr/>
        </p:nvSpPr>
        <p:spPr bwMode="auto">
          <a:xfrm>
            <a:off x="5118560" y="297259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1" name="Oval 118">
            <a:extLst>
              <a:ext uri="{FF2B5EF4-FFF2-40B4-BE49-F238E27FC236}">
                <a16:creationId xmlns:a16="http://schemas.microsoft.com/office/drawing/2014/main" id="{93EE0B5D-17DB-4BEF-8813-47E9B6B5DB34}"/>
              </a:ext>
            </a:extLst>
          </p:cNvPr>
          <p:cNvSpPr>
            <a:spLocks noChangeArrowheads="1"/>
          </p:cNvSpPr>
          <p:nvPr/>
        </p:nvSpPr>
        <p:spPr bwMode="auto">
          <a:xfrm>
            <a:off x="5034397" y="297259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2" name="Oval 119">
            <a:extLst>
              <a:ext uri="{FF2B5EF4-FFF2-40B4-BE49-F238E27FC236}">
                <a16:creationId xmlns:a16="http://schemas.microsoft.com/office/drawing/2014/main" id="{7DF34C0F-04C0-466C-9FEF-6C69D785F6CE}"/>
              </a:ext>
            </a:extLst>
          </p:cNvPr>
          <p:cNvSpPr>
            <a:spLocks noChangeArrowheads="1"/>
          </p:cNvSpPr>
          <p:nvPr/>
        </p:nvSpPr>
        <p:spPr bwMode="auto">
          <a:xfrm>
            <a:off x="5008277" y="297259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3" name="Oval 120">
            <a:extLst>
              <a:ext uri="{FF2B5EF4-FFF2-40B4-BE49-F238E27FC236}">
                <a16:creationId xmlns:a16="http://schemas.microsoft.com/office/drawing/2014/main" id="{97373E98-972F-4C76-8D47-3334770B253C}"/>
              </a:ext>
            </a:extLst>
          </p:cNvPr>
          <p:cNvSpPr>
            <a:spLocks noChangeArrowheads="1"/>
          </p:cNvSpPr>
          <p:nvPr/>
        </p:nvSpPr>
        <p:spPr bwMode="auto">
          <a:xfrm>
            <a:off x="4938625" y="2925959"/>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4" name="Oval 121">
            <a:extLst>
              <a:ext uri="{FF2B5EF4-FFF2-40B4-BE49-F238E27FC236}">
                <a16:creationId xmlns:a16="http://schemas.microsoft.com/office/drawing/2014/main" id="{D2ADD623-72A8-434B-8CD6-C662228E9D4D}"/>
              </a:ext>
            </a:extLst>
          </p:cNvPr>
          <p:cNvSpPr>
            <a:spLocks noChangeArrowheads="1"/>
          </p:cNvSpPr>
          <p:nvPr/>
        </p:nvSpPr>
        <p:spPr bwMode="auto">
          <a:xfrm>
            <a:off x="4839952" y="2826849"/>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5" name="Oval 122">
            <a:extLst>
              <a:ext uri="{FF2B5EF4-FFF2-40B4-BE49-F238E27FC236}">
                <a16:creationId xmlns:a16="http://schemas.microsoft.com/office/drawing/2014/main" id="{6E0A5F00-2698-475B-B1AC-2E837F9608EC}"/>
              </a:ext>
            </a:extLst>
          </p:cNvPr>
          <p:cNvSpPr>
            <a:spLocks noChangeArrowheads="1"/>
          </p:cNvSpPr>
          <p:nvPr/>
        </p:nvSpPr>
        <p:spPr bwMode="auto">
          <a:xfrm>
            <a:off x="4776104"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6" name="Oval 123">
            <a:extLst>
              <a:ext uri="{FF2B5EF4-FFF2-40B4-BE49-F238E27FC236}">
                <a16:creationId xmlns:a16="http://schemas.microsoft.com/office/drawing/2014/main" id="{083E232A-71D7-4F3C-ACDD-07FF58BDAB92}"/>
              </a:ext>
            </a:extLst>
          </p:cNvPr>
          <p:cNvSpPr>
            <a:spLocks noChangeArrowheads="1"/>
          </p:cNvSpPr>
          <p:nvPr/>
        </p:nvSpPr>
        <p:spPr bwMode="auto">
          <a:xfrm>
            <a:off x="4761593" y="2791870"/>
            <a:ext cx="60945"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7" name="Oval 124">
            <a:extLst>
              <a:ext uri="{FF2B5EF4-FFF2-40B4-BE49-F238E27FC236}">
                <a16:creationId xmlns:a16="http://schemas.microsoft.com/office/drawing/2014/main" id="{AF00EFF9-7310-4AE0-9261-DF41A1BF658C}"/>
              </a:ext>
            </a:extLst>
          </p:cNvPr>
          <p:cNvSpPr>
            <a:spLocks noChangeArrowheads="1"/>
          </p:cNvSpPr>
          <p:nvPr/>
        </p:nvSpPr>
        <p:spPr bwMode="auto">
          <a:xfrm>
            <a:off x="4741278"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8" name="Oval 125">
            <a:extLst>
              <a:ext uri="{FF2B5EF4-FFF2-40B4-BE49-F238E27FC236}">
                <a16:creationId xmlns:a16="http://schemas.microsoft.com/office/drawing/2014/main" id="{B0D402FA-C236-435E-B7A5-12829EC616A3}"/>
              </a:ext>
            </a:extLst>
          </p:cNvPr>
          <p:cNvSpPr>
            <a:spLocks noChangeArrowheads="1"/>
          </p:cNvSpPr>
          <p:nvPr/>
        </p:nvSpPr>
        <p:spPr bwMode="auto">
          <a:xfrm>
            <a:off x="4694844"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9" name="Oval 126">
            <a:extLst>
              <a:ext uri="{FF2B5EF4-FFF2-40B4-BE49-F238E27FC236}">
                <a16:creationId xmlns:a16="http://schemas.microsoft.com/office/drawing/2014/main" id="{9769F204-2098-495E-BC53-F6460F13A1A3}"/>
              </a:ext>
            </a:extLst>
          </p:cNvPr>
          <p:cNvSpPr>
            <a:spLocks noChangeArrowheads="1"/>
          </p:cNvSpPr>
          <p:nvPr/>
        </p:nvSpPr>
        <p:spPr bwMode="auto">
          <a:xfrm>
            <a:off x="4689039"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0" name="Oval 127">
            <a:extLst>
              <a:ext uri="{FF2B5EF4-FFF2-40B4-BE49-F238E27FC236}">
                <a16:creationId xmlns:a16="http://schemas.microsoft.com/office/drawing/2014/main" id="{59A3352F-6C12-450D-84F7-AB6DB4432CD1}"/>
              </a:ext>
            </a:extLst>
          </p:cNvPr>
          <p:cNvSpPr>
            <a:spLocks noChangeArrowheads="1"/>
          </p:cNvSpPr>
          <p:nvPr/>
        </p:nvSpPr>
        <p:spPr bwMode="auto">
          <a:xfrm>
            <a:off x="4660018"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1" name="Oval 128">
            <a:extLst>
              <a:ext uri="{FF2B5EF4-FFF2-40B4-BE49-F238E27FC236}">
                <a16:creationId xmlns:a16="http://schemas.microsoft.com/office/drawing/2014/main" id="{EBD8C486-C16F-4116-969A-34C693B9DC61}"/>
              </a:ext>
            </a:extLst>
          </p:cNvPr>
          <p:cNvSpPr>
            <a:spLocks noChangeArrowheads="1"/>
          </p:cNvSpPr>
          <p:nvPr/>
        </p:nvSpPr>
        <p:spPr bwMode="auto">
          <a:xfrm>
            <a:off x="4625192"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2" name="Oval 129">
            <a:extLst>
              <a:ext uri="{FF2B5EF4-FFF2-40B4-BE49-F238E27FC236}">
                <a16:creationId xmlns:a16="http://schemas.microsoft.com/office/drawing/2014/main" id="{B3FBE1C7-F0E3-4739-804E-68CAE8CBE7DD}"/>
              </a:ext>
            </a:extLst>
          </p:cNvPr>
          <p:cNvSpPr>
            <a:spLocks noChangeArrowheads="1"/>
          </p:cNvSpPr>
          <p:nvPr/>
        </p:nvSpPr>
        <p:spPr bwMode="auto">
          <a:xfrm>
            <a:off x="4607779"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3" name="Oval 130">
            <a:extLst>
              <a:ext uri="{FF2B5EF4-FFF2-40B4-BE49-F238E27FC236}">
                <a16:creationId xmlns:a16="http://schemas.microsoft.com/office/drawing/2014/main" id="{FCBE8388-356D-4187-8C5A-A18C9706695B}"/>
              </a:ext>
            </a:extLst>
          </p:cNvPr>
          <p:cNvSpPr>
            <a:spLocks noChangeArrowheads="1"/>
          </p:cNvSpPr>
          <p:nvPr/>
        </p:nvSpPr>
        <p:spPr bwMode="auto">
          <a:xfrm>
            <a:off x="4590365" y="2791870"/>
            <a:ext cx="60945"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4" name="Oval 131">
            <a:extLst>
              <a:ext uri="{FF2B5EF4-FFF2-40B4-BE49-F238E27FC236}">
                <a16:creationId xmlns:a16="http://schemas.microsoft.com/office/drawing/2014/main" id="{966AD604-B5C1-4C2B-B22C-60CE29BD16FB}"/>
              </a:ext>
            </a:extLst>
          </p:cNvPr>
          <p:cNvSpPr>
            <a:spLocks noChangeArrowheads="1"/>
          </p:cNvSpPr>
          <p:nvPr/>
        </p:nvSpPr>
        <p:spPr bwMode="auto">
          <a:xfrm>
            <a:off x="4570050"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5" name="Oval 132">
            <a:extLst>
              <a:ext uri="{FF2B5EF4-FFF2-40B4-BE49-F238E27FC236}">
                <a16:creationId xmlns:a16="http://schemas.microsoft.com/office/drawing/2014/main" id="{0B7C96A3-C932-40D9-BC19-2B3AF9BC919A}"/>
              </a:ext>
            </a:extLst>
          </p:cNvPr>
          <p:cNvSpPr>
            <a:spLocks noChangeArrowheads="1"/>
          </p:cNvSpPr>
          <p:nvPr/>
        </p:nvSpPr>
        <p:spPr bwMode="auto">
          <a:xfrm>
            <a:off x="4529420"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6" name="Oval 133">
            <a:extLst>
              <a:ext uri="{FF2B5EF4-FFF2-40B4-BE49-F238E27FC236}">
                <a16:creationId xmlns:a16="http://schemas.microsoft.com/office/drawing/2014/main" id="{9E93F00E-16EB-4CAB-A69E-9675A84F7649}"/>
              </a:ext>
            </a:extLst>
          </p:cNvPr>
          <p:cNvSpPr>
            <a:spLocks noChangeArrowheads="1"/>
          </p:cNvSpPr>
          <p:nvPr/>
        </p:nvSpPr>
        <p:spPr bwMode="auto">
          <a:xfrm>
            <a:off x="4491692" y="279187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7" name="Oval 134">
            <a:extLst>
              <a:ext uri="{FF2B5EF4-FFF2-40B4-BE49-F238E27FC236}">
                <a16:creationId xmlns:a16="http://schemas.microsoft.com/office/drawing/2014/main" id="{C61D738C-2D4F-4183-82D4-3F83D052EB70}"/>
              </a:ext>
            </a:extLst>
          </p:cNvPr>
          <p:cNvSpPr>
            <a:spLocks noChangeArrowheads="1"/>
          </p:cNvSpPr>
          <p:nvPr/>
        </p:nvSpPr>
        <p:spPr bwMode="auto">
          <a:xfrm>
            <a:off x="4472826" y="2794785"/>
            <a:ext cx="59494"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8" name="Oval 135">
            <a:extLst>
              <a:ext uri="{FF2B5EF4-FFF2-40B4-BE49-F238E27FC236}">
                <a16:creationId xmlns:a16="http://schemas.microsoft.com/office/drawing/2014/main" id="{395E5431-3981-4BA5-BE8F-8751568F1327}"/>
              </a:ext>
            </a:extLst>
          </p:cNvPr>
          <p:cNvSpPr>
            <a:spLocks noChangeArrowheads="1"/>
          </p:cNvSpPr>
          <p:nvPr/>
        </p:nvSpPr>
        <p:spPr bwMode="auto">
          <a:xfrm>
            <a:off x="4449609" y="2794785"/>
            <a:ext cx="56592"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9" name="Oval 136">
            <a:extLst>
              <a:ext uri="{FF2B5EF4-FFF2-40B4-BE49-F238E27FC236}">
                <a16:creationId xmlns:a16="http://schemas.microsoft.com/office/drawing/2014/main" id="{6BA8ACAB-38A0-462D-82AC-0E47D5A1216C}"/>
              </a:ext>
            </a:extLst>
          </p:cNvPr>
          <p:cNvSpPr>
            <a:spLocks noChangeArrowheads="1"/>
          </p:cNvSpPr>
          <p:nvPr/>
        </p:nvSpPr>
        <p:spPr bwMode="auto">
          <a:xfrm>
            <a:off x="4432197" y="2759805"/>
            <a:ext cx="59494"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0" name="Oval 137">
            <a:extLst>
              <a:ext uri="{FF2B5EF4-FFF2-40B4-BE49-F238E27FC236}">
                <a16:creationId xmlns:a16="http://schemas.microsoft.com/office/drawing/2014/main" id="{0B05B298-F60E-4029-8497-9F693B8A1885}"/>
              </a:ext>
            </a:extLst>
          </p:cNvPr>
          <p:cNvSpPr>
            <a:spLocks noChangeArrowheads="1"/>
          </p:cNvSpPr>
          <p:nvPr/>
        </p:nvSpPr>
        <p:spPr bwMode="auto">
          <a:xfrm>
            <a:off x="4423490" y="2759805"/>
            <a:ext cx="56592"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1" name="Oval 138">
            <a:extLst>
              <a:ext uri="{FF2B5EF4-FFF2-40B4-BE49-F238E27FC236}">
                <a16:creationId xmlns:a16="http://schemas.microsoft.com/office/drawing/2014/main" id="{83C7BD97-36F6-470B-ADCC-CF8568A234FA}"/>
              </a:ext>
            </a:extLst>
          </p:cNvPr>
          <p:cNvSpPr>
            <a:spLocks noChangeArrowheads="1"/>
          </p:cNvSpPr>
          <p:nvPr/>
        </p:nvSpPr>
        <p:spPr bwMode="auto">
          <a:xfrm>
            <a:off x="4411882" y="2759805"/>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2" name="Oval 139">
            <a:extLst>
              <a:ext uri="{FF2B5EF4-FFF2-40B4-BE49-F238E27FC236}">
                <a16:creationId xmlns:a16="http://schemas.microsoft.com/office/drawing/2014/main" id="{D3BCCC64-B9CF-4A76-8655-B9811DDB9F2A}"/>
              </a:ext>
            </a:extLst>
          </p:cNvPr>
          <p:cNvSpPr>
            <a:spLocks noChangeArrowheads="1"/>
          </p:cNvSpPr>
          <p:nvPr/>
        </p:nvSpPr>
        <p:spPr bwMode="auto">
          <a:xfrm>
            <a:off x="4382860" y="2753976"/>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3" name="Oval 140">
            <a:extLst>
              <a:ext uri="{FF2B5EF4-FFF2-40B4-BE49-F238E27FC236}">
                <a16:creationId xmlns:a16="http://schemas.microsoft.com/office/drawing/2014/main" id="{DF7FDDF7-B264-45EC-8DD4-959D6F282352}"/>
              </a:ext>
            </a:extLst>
          </p:cNvPr>
          <p:cNvSpPr>
            <a:spLocks noChangeArrowheads="1"/>
          </p:cNvSpPr>
          <p:nvPr/>
        </p:nvSpPr>
        <p:spPr bwMode="auto">
          <a:xfrm>
            <a:off x="4365447" y="2753976"/>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4" name="Oval 141">
            <a:extLst>
              <a:ext uri="{FF2B5EF4-FFF2-40B4-BE49-F238E27FC236}">
                <a16:creationId xmlns:a16="http://schemas.microsoft.com/office/drawing/2014/main" id="{C24F1AC8-FCC7-4D88-A27F-E78441AF6E26}"/>
              </a:ext>
            </a:extLst>
          </p:cNvPr>
          <p:cNvSpPr>
            <a:spLocks noChangeArrowheads="1"/>
          </p:cNvSpPr>
          <p:nvPr/>
        </p:nvSpPr>
        <p:spPr bwMode="auto">
          <a:xfrm>
            <a:off x="4345132" y="2753976"/>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5" name="Oval 142">
            <a:extLst>
              <a:ext uri="{FF2B5EF4-FFF2-40B4-BE49-F238E27FC236}">
                <a16:creationId xmlns:a16="http://schemas.microsoft.com/office/drawing/2014/main" id="{649A3796-1D21-451B-A6C8-F9FF28819D45}"/>
              </a:ext>
            </a:extLst>
          </p:cNvPr>
          <p:cNvSpPr>
            <a:spLocks noChangeArrowheads="1"/>
          </p:cNvSpPr>
          <p:nvPr/>
        </p:nvSpPr>
        <p:spPr bwMode="auto">
          <a:xfrm>
            <a:off x="4313208" y="2737943"/>
            <a:ext cx="58043" cy="56842"/>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6" name="Oval 143">
            <a:extLst>
              <a:ext uri="{FF2B5EF4-FFF2-40B4-BE49-F238E27FC236}">
                <a16:creationId xmlns:a16="http://schemas.microsoft.com/office/drawing/2014/main" id="{0CD0AC3D-8551-451D-8F40-3EF4D531545C}"/>
              </a:ext>
            </a:extLst>
          </p:cNvPr>
          <p:cNvSpPr>
            <a:spLocks noChangeArrowheads="1"/>
          </p:cNvSpPr>
          <p:nvPr/>
        </p:nvSpPr>
        <p:spPr bwMode="auto">
          <a:xfrm>
            <a:off x="4266774" y="2737943"/>
            <a:ext cx="58043" cy="56842"/>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7" name="Oval 144">
            <a:extLst>
              <a:ext uri="{FF2B5EF4-FFF2-40B4-BE49-F238E27FC236}">
                <a16:creationId xmlns:a16="http://schemas.microsoft.com/office/drawing/2014/main" id="{5B989157-294F-496E-9EF3-9012456C7093}"/>
              </a:ext>
            </a:extLst>
          </p:cNvPr>
          <p:cNvSpPr>
            <a:spLocks noChangeArrowheads="1"/>
          </p:cNvSpPr>
          <p:nvPr/>
        </p:nvSpPr>
        <p:spPr bwMode="auto">
          <a:xfrm>
            <a:off x="4249361" y="2737943"/>
            <a:ext cx="58043" cy="56842"/>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8" name="Oval 145">
            <a:extLst>
              <a:ext uri="{FF2B5EF4-FFF2-40B4-BE49-F238E27FC236}">
                <a16:creationId xmlns:a16="http://schemas.microsoft.com/office/drawing/2014/main" id="{347FE674-1492-40DA-9C58-7721137C4044}"/>
              </a:ext>
            </a:extLst>
          </p:cNvPr>
          <p:cNvSpPr>
            <a:spLocks noChangeArrowheads="1"/>
          </p:cNvSpPr>
          <p:nvPr/>
        </p:nvSpPr>
        <p:spPr bwMode="auto">
          <a:xfrm>
            <a:off x="4229046" y="2739401"/>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9" name="Oval 146">
            <a:extLst>
              <a:ext uri="{FF2B5EF4-FFF2-40B4-BE49-F238E27FC236}">
                <a16:creationId xmlns:a16="http://schemas.microsoft.com/office/drawing/2014/main" id="{27F1A103-10E1-45B0-AD48-5F456E4461FE}"/>
              </a:ext>
            </a:extLst>
          </p:cNvPr>
          <p:cNvSpPr>
            <a:spLocks noChangeArrowheads="1"/>
          </p:cNvSpPr>
          <p:nvPr/>
        </p:nvSpPr>
        <p:spPr bwMode="auto">
          <a:xfrm>
            <a:off x="4208730" y="2739401"/>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0" name="Oval 147">
            <a:extLst>
              <a:ext uri="{FF2B5EF4-FFF2-40B4-BE49-F238E27FC236}">
                <a16:creationId xmlns:a16="http://schemas.microsoft.com/office/drawing/2014/main" id="{222B4611-1F65-4D3E-8581-7C868474690C}"/>
              </a:ext>
            </a:extLst>
          </p:cNvPr>
          <p:cNvSpPr>
            <a:spLocks noChangeArrowheads="1"/>
          </p:cNvSpPr>
          <p:nvPr/>
        </p:nvSpPr>
        <p:spPr bwMode="auto">
          <a:xfrm>
            <a:off x="4176807" y="2739401"/>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1" name="Oval 148">
            <a:extLst>
              <a:ext uri="{FF2B5EF4-FFF2-40B4-BE49-F238E27FC236}">
                <a16:creationId xmlns:a16="http://schemas.microsoft.com/office/drawing/2014/main" id="{84BA9026-7574-46BA-8013-3677CEB4132C}"/>
              </a:ext>
            </a:extLst>
          </p:cNvPr>
          <p:cNvSpPr>
            <a:spLocks noChangeArrowheads="1"/>
          </p:cNvSpPr>
          <p:nvPr/>
        </p:nvSpPr>
        <p:spPr bwMode="auto">
          <a:xfrm>
            <a:off x="4144883" y="2729198"/>
            <a:ext cx="58043" cy="56842"/>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2" name="Oval 149">
            <a:extLst>
              <a:ext uri="{FF2B5EF4-FFF2-40B4-BE49-F238E27FC236}">
                <a16:creationId xmlns:a16="http://schemas.microsoft.com/office/drawing/2014/main" id="{28DC5C86-25FD-49AE-9DE7-889E32EA7CB0}"/>
              </a:ext>
            </a:extLst>
          </p:cNvPr>
          <p:cNvSpPr>
            <a:spLocks noChangeArrowheads="1"/>
          </p:cNvSpPr>
          <p:nvPr/>
        </p:nvSpPr>
        <p:spPr bwMode="auto">
          <a:xfrm>
            <a:off x="4136176" y="2729198"/>
            <a:ext cx="58043" cy="56842"/>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3" name="Oval 150">
            <a:extLst>
              <a:ext uri="{FF2B5EF4-FFF2-40B4-BE49-F238E27FC236}">
                <a16:creationId xmlns:a16="http://schemas.microsoft.com/office/drawing/2014/main" id="{E5F264F6-E8A0-492D-A60B-AF9343221C4C}"/>
              </a:ext>
            </a:extLst>
          </p:cNvPr>
          <p:cNvSpPr>
            <a:spLocks noChangeArrowheads="1"/>
          </p:cNvSpPr>
          <p:nvPr/>
        </p:nvSpPr>
        <p:spPr bwMode="auto">
          <a:xfrm>
            <a:off x="4022992" y="2708792"/>
            <a:ext cx="58043" cy="59757"/>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4" name="Oval 151">
            <a:extLst>
              <a:ext uri="{FF2B5EF4-FFF2-40B4-BE49-F238E27FC236}">
                <a16:creationId xmlns:a16="http://schemas.microsoft.com/office/drawing/2014/main" id="{AD40DECA-E20C-4BFD-9D62-1D88E52AB528}"/>
              </a:ext>
            </a:extLst>
          </p:cNvPr>
          <p:cNvSpPr>
            <a:spLocks noChangeArrowheads="1"/>
          </p:cNvSpPr>
          <p:nvPr/>
        </p:nvSpPr>
        <p:spPr bwMode="auto">
          <a:xfrm>
            <a:off x="3848862" y="264757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5" name="Oval 152">
            <a:extLst>
              <a:ext uri="{FF2B5EF4-FFF2-40B4-BE49-F238E27FC236}">
                <a16:creationId xmlns:a16="http://schemas.microsoft.com/office/drawing/2014/main" id="{CCD4B752-8F2D-431E-B61E-A15659548C06}"/>
              </a:ext>
            </a:extLst>
          </p:cNvPr>
          <p:cNvSpPr>
            <a:spLocks noChangeArrowheads="1"/>
          </p:cNvSpPr>
          <p:nvPr/>
        </p:nvSpPr>
        <p:spPr bwMode="auto">
          <a:xfrm>
            <a:off x="3822743" y="262425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6" name="Oval 153">
            <a:extLst>
              <a:ext uri="{FF2B5EF4-FFF2-40B4-BE49-F238E27FC236}">
                <a16:creationId xmlns:a16="http://schemas.microsoft.com/office/drawing/2014/main" id="{41D82AE2-BB18-4178-9F12-7A3ECBE04102}"/>
              </a:ext>
            </a:extLst>
          </p:cNvPr>
          <p:cNvSpPr>
            <a:spLocks noChangeArrowheads="1"/>
          </p:cNvSpPr>
          <p:nvPr/>
        </p:nvSpPr>
        <p:spPr bwMode="auto">
          <a:xfrm>
            <a:off x="3677634" y="2586363"/>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7" name="Oval 154">
            <a:extLst>
              <a:ext uri="{FF2B5EF4-FFF2-40B4-BE49-F238E27FC236}">
                <a16:creationId xmlns:a16="http://schemas.microsoft.com/office/drawing/2014/main" id="{216CF27D-7FCC-4C9C-AEE9-2320121C0CEF}"/>
              </a:ext>
            </a:extLst>
          </p:cNvPr>
          <p:cNvSpPr>
            <a:spLocks noChangeArrowheads="1"/>
          </p:cNvSpPr>
          <p:nvPr/>
        </p:nvSpPr>
        <p:spPr bwMode="auto">
          <a:xfrm>
            <a:off x="3644259" y="2571789"/>
            <a:ext cx="56592"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8" name="Oval 155">
            <a:extLst>
              <a:ext uri="{FF2B5EF4-FFF2-40B4-BE49-F238E27FC236}">
                <a16:creationId xmlns:a16="http://schemas.microsoft.com/office/drawing/2014/main" id="{AF28CC11-AF87-4D08-A882-C02B1C32567E}"/>
              </a:ext>
            </a:extLst>
          </p:cNvPr>
          <p:cNvSpPr>
            <a:spLocks noChangeArrowheads="1"/>
          </p:cNvSpPr>
          <p:nvPr/>
        </p:nvSpPr>
        <p:spPr bwMode="auto">
          <a:xfrm>
            <a:off x="3629748" y="2554299"/>
            <a:ext cx="56592"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9" name="Oval 156">
            <a:extLst>
              <a:ext uri="{FF2B5EF4-FFF2-40B4-BE49-F238E27FC236}">
                <a16:creationId xmlns:a16="http://schemas.microsoft.com/office/drawing/2014/main" id="{CDBF7D85-D0FF-4C2B-AF21-768BD275C287}"/>
              </a:ext>
            </a:extLst>
          </p:cNvPr>
          <p:cNvSpPr>
            <a:spLocks noChangeArrowheads="1"/>
          </p:cNvSpPr>
          <p:nvPr/>
        </p:nvSpPr>
        <p:spPr bwMode="auto">
          <a:xfrm>
            <a:off x="3444011" y="2539724"/>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0" name="Oval 157">
            <a:extLst>
              <a:ext uri="{FF2B5EF4-FFF2-40B4-BE49-F238E27FC236}">
                <a16:creationId xmlns:a16="http://schemas.microsoft.com/office/drawing/2014/main" id="{415B4ABD-627C-49FD-8B29-124FCBF23BC2}"/>
              </a:ext>
            </a:extLst>
          </p:cNvPr>
          <p:cNvSpPr>
            <a:spLocks noChangeArrowheads="1"/>
          </p:cNvSpPr>
          <p:nvPr/>
        </p:nvSpPr>
        <p:spPr bwMode="auto">
          <a:xfrm>
            <a:off x="3429500" y="2530979"/>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1" name="Oval 158">
            <a:extLst>
              <a:ext uri="{FF2B5EF4-FFF2-40B4-BE49-F238E27FC236}">
                <a16:creationId xmlns:a16="http://schemas.microsoft.com/office/drawing/2014/main" id="{064ACEEA-0E2E-4507-BC67-2D7A2FC88820}"/>
              </a:ext>
            </a:extLst>
          </p:cNvPr>
          <p:cNvSpPr>
            <a:spLocks noChangeArrowheads="1"/>
          </p:cNvSpPr>
          <p:nvPr/>
        </p:nvSpPr>
        <p:spPr bwMode="auto">
          <a:xfrm>
            <a:off x="3145088" y="2472679"/>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2" name="Oval 159">
            <a:extLst>
              <a:ext uri="{FF2B5EF4-FFF2-40B4-BE49-F238E27FC236}">
                <a16:creationId xmlns:a16="http://schemas.microsoft.com/office/drawing/2014/main" id="{E32EC6A7-C2CE-4ED6-82D0-0D7919C6BC4C}"/>
              </a:ext>
            </a:extLst>
          </p:cNvPr>
          <p:cNvSpPr>
            <a:spLocks noChangeArrowheads="1"/>
          </p:cNvSpPr>
          <p:nvPr/>
        </p:nvSpPr>
        <p:spPr bwMode="auto">
          <a:xfrm>
            <a:off x="3098653" y="2472679"/>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3" name="Oval 160">
            <a:extLst>
              <a:ext uri="{FF2B5EF4-FFF2-40B4-BE49-F238E27FC236}">
                <a16:creationId xmlns:a16="http://schemas.microsoft.com/office/drawing/2014/main" id="{443C1EAF-D838-4D87-8973-C3AC81F9C2F7}"/>
              </a:ext>
            </a:extLst>
          </p:cNvPr>
          <p:cNvSpPr>
            <a:spLocks noChangeArrowheads="1"/>
          </p:cNvSpPr>
          <p:nvPr/>
        </p:nvSpPr>
        <p:spPr bwMode="auto">
          <a:xfrm>
            <a:off x="3092849" y="2472679"/>
            <a:ext cx="60945"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4" name="Oval 161">
            <a:extLst>
              <a:ext uri="{FF2B5EF4-FFF2-40B4-BE49-F238E27FC236}">
                <a16:creationId xmlns:a16="http://schemas.microsoft.com/office/drawing/2014/main" id="{67A0389A-F559-4889-A995-3E1920F5568C}"/>
              </a:ext>
            </a:extLst>
          </p:cNvPr>
          <p:cNvSpPr>
            <a:spLocks noChangeArrowheads="1"/>
          </p:cNvSpPr>
          <p:nvPr/>
        </p:nvSpPr>
        <p:spPr bwMode="auto">
          <a:xfrm>
            <a:off x="3060925" y="2472679"/>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5" name="Oval 162">
            <a:extLst>
              <a:ext uri="{FF2B5EF4-FFF2-40B4-BE49-F238E27FC236}">
                <a16:creationId xmlns:a16="http://schemas.microsoft.com/office/drawing/2014/main" id="{3CF34031-ED44-47DA-9149-CDA41A753412}"/>
              </a:ext>
            </a:extLst>
          </p:cNvPr>
          <p:cNvSpPr>
            <a:spLocks noChangeArrowheads="1"/>
          </p:cNvSpPr>
          <p:nvPr/>
        </p:nvSpPr>
        <p:spPr bwMode="auto">
          <a:xfrm>
            <a:off x="3046414" y="2458104"/>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6" name="Oval 163">
            <a:extLst>
              <a:ext uri="{FF2B5EF4-FFF2-40B4-BE49-F238E27FC236}">
                <a16:creationId xmlns:a16="http://schemas.microsoft.com/office/drawing/2014/main" id="{218115B4-433F-4C9F-8FFF-A3F97284C9E3}"/>
              </a:ext>
            </a:extLst>
          </p:cNvPr>
          <p:cNvSpPr>
            <a:spLocks noChangeArrowheads="1"/>
          </p:cNvSpPr>
          <p:nvPr/>
        </p:nvSpPr>
        <p:spPr bwMode="auto">
          <a:xfrm>
            <a:off x="3029001" y="2440614"/>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7" name="Oval 164">
            <a:extLst>
              <a:ext uri="{FF2B5EF4-FFF2-40B4-BE49-F238E27FC236}">
                <a16:creationId xmlns:a16="http://schemas.microsoft.com/office/drawing/2014/main" id="{3A7795A5-6BD2-4984-BC85-779C744BF185}"/>
              </a:ext>
            </a:extLst>
          </p:cNvPr>
          <p:cNvSpPr>
            <a:spLocks noChangeArrowheads="1"/>
          </p:cNvSpPr>
          <p:nvPr/>
        </p:nvSpPr>
        <p:spPr bwMode="auto">
          <a:xfrm>
            <a:off x="2915816" y="2440614"/>
            <a:ext cx="60945"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8" name="Oval 165">
            <a:extLst>
              <a:ext uri="{FF2B5EF4-FFF2-40B4-BE49-F238E27FC236}">
                <a16:creationId xmlns:a16="http://schemas.microsoft.com/office/drawing/2014/main" id="{D08A9300-B7B0-410C-8757-AD7C4851722A}"/>
              </a:ext>
            </a:extLst>
          </p:cNvPr>
          <p:cNvSpPr>
            <a:spLocks noChangeArrowheads="1"/>
          </p:cNvSpPr>
          <p:nvPr/>
        </p:nvSpPr>
        <p:spPr bwMode="auto">
          <a:xfrm>
            <a:off x="3058023" y="2472679"/>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9" name="Oval 166">
            <a:extLst>
              <a:ext uri="{FF2B5EF4-FFF2-40B4-BE49-F238E27FC236}">
                <a16:creationId xmlns:a16="http://schemas.microsoft.com/office/drawing/2014/main" id="{7C12C1D6-5985-475F-BF00-121405402FD0}"/>
              </a:ext>
            </a:extLst>
          </p:cNvPr>
          <p:cNvSpPr>
            <a:spLocks noChangeArrowheads="1"/>
          </p:cNvSpPr>
          <p:nvPr/>
        </p:nvSpPr>
        <p:spPr bwMode="auto">
          <a:xfrm>
            <a:off x="4810930" y="2826849"/>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0" name="Oval 167">
            <a:extLst>
              <a:ext uri="{FF2B5EF4-FFF2-40B4-BE49-F238E27FC236}">
                <a16:creationId xmlns:a16="http://schemas.microsoft.com/office/drawing/2014/main" id="{AAF8803A-FC2F-4AE8-AEED-FC7D6D6096B1}"/>
              </a:ext>
            </a:extLst>
          </p:cNvPr>
          <p:cNvSpPr>
            <a:spLocks noChangeArrowheads="1"/>
          </p:cNvSpPr>
          <p:nvPr/>
        </p:nvSpPr>
        <p:spPr bwMode="auto">
          <a:xfrm>
            <a:off x="4996669" y="297259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1" name="Oval 168">
            <a:extLst>
              <a:ext uri="{FF2B5EF4-FFF2-40B4-BE49-F238E27FC236}">
                <a16:creationId xmlns:a16="http://schemas.microsoft.com/office/drawing/2014/main" id="{8740749C-5A57-4625-8FF4-5CE7699C49DE}"/>
              </a:ext>
            </a:extLst>
          </p:cNvPr>
          <p:cNvSpPr>
            <a:spLocks noChangeArrowheads="1"/>
          </p:cNvSpPr>
          <p:nvPr/>
        </p:nvSpPr>
        <p:spPr bwMode="auto">
          <a:xfrm>
            <a:off x="4973450" y="2925959"/>
            <a:ext cx="60945"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2" name="Oval 169">
            <a:extLst>
              <a:ext uri="{FF2B5EF4-FFF2-40B4-BE49-F238E27FC236}">
                <a16:creationId xmlns:a16="http://schemas.microsoft.com/office/drawing/2014/main" id="{121413F1-EB31-4F46-B911-5305A774D05E}"/>
              </a:ext>
            </a:extLst>
          </p:cNvPr>
          <p:cNvSpPr>
            <a:spLocks noChangeArrowheads="1"/>
          </p:cNvSpPr>
          <p:nvPr/>
        </p:nvSpPr>
        <p:spPr bwMode="auto">
          <a:xfrm>
            <a:off x="2513866" y="2329845"/>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3" name="Oval 170">
            <a:extLst>
              <a:ext uri="{FF2B5EF4-FFF2-40B4-BE49-F238E27FC236}">
                <a16:creationId xmlns:a16="http://schemas.microsoft.com/office/drawing/2014/main" id="{7FB3CE43-7346-488E-ACBD-C3D9B410BDAB}"/>
              </a:ext>
            </a:extLst>
          </p:cNvPr>
          <p:cNvSpPr>
            <a:spLocks noChangeArrowheads="1"/>
          </p:cNvSpPr>
          <p:nvPr/>
        </p:nvSpPr>
        <p:spPr bwMode="auto">
          <a:xfrm>
            <a:off x="2383269" y="2280290"/>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4" name="Oval 171">
            <a:extLst>
              <a:ext uri="{FF2B5EF4-FFF2-40B4-BE49-F238E27FC236}">
                <a16:creationId xmlns:a16="http://schemas.microsoft.com/office/drawing/2014/main" id="{81124955-7766-4A20-BEEA-E9A4A8AFB7B8}"/>
              </a:ext>
            </a:extLst>
          </p:cNvPr>
          <p:cNvSpPr>
            <a:spLocks noChangeArrowheads="1"/>
          </p:cNvSpPr>
          <p:nvPr/>
        </p:nvSpPr>
        <p:spPr bwMode="auto">
          <a:xfrm>
            <a:off x="2362954" y="2259885"/>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5" name="Oval 172">
            <a:extLst>
              <a:ext uri="{FF2B5EF4-FFF2-40B4-BE49-F238E27FC236}">
                <a16:creationId xmlns:a16="http://schemas.microsoft.com/office/drawing/2014/main" id="{886A1DA4-167A-42D8-A719-E71B0559FB11}"/>
              </a:ext>
            </a:extLst>
          </p:cNvPr>
          <p:cNvSpPr>
            <a:spLocks noChangeArrowheads="1"/>
          </p:cNvSpPr>
          <p:nvPr/>
        </p:nvSpPr>
        <p:spPr bwMode="auto">
          <a:xfrm>
            <a:off x="2183020" y="2038347"/>
            <a:ext cx="60945"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6" name="Oval 173">
            <a:extLst>
              <a:ext uri="{FF2B5EF4-FFF2-40B4-BE49-F238E27FC236}">
                <a16:creationId xmlns:a16="http://schemas.microsoft.com/office/drawing/2014/main" id="{334F8B5E-F401-4595-A924-C09DC67996CF}"/>
              </a:ext>
            </a:extLst>
          </p:cNvPr>
          <p:cNvSpPr>
            <a:spLocks noChangeArrowheads="1"/>
          </p:cNvSpPr>
          <p:nvPr/>
        </p:nvSpPr>
        <p:spPr bwMode="auto">
          <a:xfrm>
            <a:off x="2153998" y="2000451"/>
            <a:ext cx="60945"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7" name="Oval 174">
            <a:extLst>
              <a:ext uri="{FF2B5EF4-FFF2-40B4-BE49-F238E27FC236}">
                <a16:creationId xmlns:a16="http://schemas.microsoft.com/office/drawing/2014/main" id="{7023158D-435D-4CBB-863D-2BEFDB376860}"/>
              </a:ext>
            </a:extLst>
          </p:cNvPr>
          <p:cNvSpPr>
            <a:spLocks noChangeArrowheads="1"/>
          </p:cNvSpPr>
          <p:nvPr/>
        </p:nvSpPr>
        <p:spPr bwMode="auto">
          <a:xfrm>
            <a:off x="2139487" y="1959642"/>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8" name="Oval 175">
            <a:extLst>
              <a:ext uri="{FF2B5EF4-FFF2-40B4-BE49-F238E27FC236}">
                <a16:creationId xmlns:a16="http://schemas.microsoft.com/office/drawing/2014/main" id="{92AA1BB2-2D37-4B89-8259-23548A09162F}"/>
              </a:ext>
            </a:extLst>
          </p:cNvPr>
          <p:cNvSpPr>
            <a:spLocks noChangeArrowheads="1"/>
          </p:cNvSpPr>
          <p:nvPr/>
        </p:nvSpPr>
        <p:spPr bwMode="auto">
          <a:xfrm>
            <a:off x="2124976" y="193923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9" name="Oval 176">
            <a:extLst>
              <a:ext uri="{FF2B5EF4-FFF2-40B4-BE49-F238E27FC236}">
                <a16:creationId xmlns:a16="http://schemas.microsoft.com/office/drawing/2014/main" id="{549D424E-BC1A-46CE-B323-859E2649CA40}"/>
              </a:ext>
            </a:extLst>
          </p:cNvPr>
          <p:cNvSpPr>
            <a:spLocks noChangeArrowheads="1"/>
          </p:cNvSpPr>
          <p:nvPr/>
        </p:nvSpPr>
        <p:spPr bwMode="auto">
          <a:xfrm>
            <a:off x="2119172" y="1913003"/>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0" name="Oval 177">
            <a:extLst>
              <a:ext uri="{FF2B5EF4-FFF2-40B4-BE49-F238E27FC236}">
                <a16:creationId xmlns:a16="http://schemas.microsoft.com/office/drawing/2014/main" id="{16CB20D7-240A-45B5-B73D-579EE00F9C58}"/>
              </a:ext>
            </a:extLst>
          </p:cNvPr>
          <p:cNvSpPr>
            <a:spLocks noChangeArrowheads="1"/>
          </p:cNvSpPr>
          <p:nvPr/>
        </p:nvSpPr>
        <p:spPr bwMode="auto">
          <a:xfrm>
            <a:off x="2113367" y="1889683"/>
            <a:ext cx="60945"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1" name="Oval 178">
            <a:extLst>
              <a:ext uri="{FF2B5EF4-FFF2-40B4-BE49-F238E27FC236}">
                <a16:creationId xmlns:a16="http://schemas.microsoft.com/office/drawing/2014/main" id="{6927988A-BF60-43DD-BCEB-F4DDEA879FC3}"/>
              </a:ext>
            </a:extLst>
          </p:cNvPr>
          <p:cNvSpPr>
            <a:spLocks noChangeArrowheads="1"/>
          </p:cNvSpPr>
          <p:nvPr/>
        </p:nvSpPr>
        <p:spPr bwMode="auto">
          <a:xfrm>
            <a:off x="2045166" y="1845957"/>
            <a:ext cx="56592"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2" name="Oval 179">
            <a:extLst>
              <a:ext uri="{FF2B5EF4-FFF2-40B4-BE49-F238E27FC236}">
                <a16:creationId xmlns:a16="http://schemas.microsoft.com/office/drawing/2014/main" id="{32379EF2-DF60-4C0D-9163-FA70A8A73406}"/>
              </a:ext>
            </a:extLst>
          </p:cNvPr>
          <p:cNvSpPr>
            <a:spLocks noChangeArrowheads="1"/>
          </p:cNvSpPr>
          <p:nvPr/>
        </p:nvSpPr>
        <p:spPr bwMode="auto">
          <a:xfrm>
            <a:off x="2027753" y="1828469"/>
            <a:ext cx="56592"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3" name="Oval 180">
            <a:extLst>
              <a:ext uri="{FF2B5EF4-FFF2-40B4-BE49-F238E27FC236}">
                <a16:creationId xmlns:a16="http://schemas.microsoft.com/office/drawing/2014/main" id="{40EEED67-73EE-49E0-95DD-61D635B87D06}"/>
              </a:ext>
            </a:extLst>
          </p:cNvPr>
          <p:cNvSpPr>
            <a:spLocks noChangeArrowheads="1"/>
          </p:cNvSpPr>
          <p:nvPr/>
        </p:nvSpPr>
        <p:spPr bwMode="auto">
          <a:xfrm>
            <a:off x="1992928" y="1793489"/>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4" name="Oval 181">
            <a:extLst>
              <a:ext uri="{FF2B5EF4-FFF2-40B4-BE49-F238E27FC236}">
                <a16:creationId xmlns:a16="http://schemas.microsoft.com/office/drawing/2014/main" id="{0C12486E-65CC-4338-9D84-DC31D3390918}"/>
              </a:ext>
            </a:extLst>
          </p:cNvPr>
          <p:cNvSpPr>
            <a:spLocks noChangeArrowheads="1"/>
          </p:cNvSpPr>
          <p:nvPr/>
        </p:nvSpPr>
        <p:spPr bwMode="auto">
          <a:xfrm>
            <a:off x="1975515" y="1793489"/>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5" name="Oval 182">
            <a:extLst>
              <a:ext uri="{FF2B5EF4-FFF2-40B4-BE49-F238E27FC236}">
                <a16:creationId xmlns:a16="http://schemas.microsoft.com/office/drawing/2014/main" id="{933CE00C-C67A-4584-8798-CC85AB91D9E9}"/>
              </a:ext>
            </a:extLst>
          </p:cNvPr>
          <p:cNvSpPr>
            <a:spLocks noChangeArrowheads="1"/>
          </p:cNvSpPr>
          <p:nvPr/>
        </p:nvSpPr>
        <p:spPr bwMode="auto">
          <a:xfrm>
            <a:off x="1961004" y="1781829"/>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6" name="Oval 183">
            <a:extLst>
              <a:ext uri="{FF2B5EF4-FFF2-40B4-BE49-F238E27FC236}">
                <a16:creationId xmlns:a16="http://schemas.microsoft.com/office/drawing/2014/main" id="{3FCAE1A4-40F7-42D5-91F1-19F639A9741E}"/>
              </a:ext>
            </a:extLst>
          </p:cNvPr>
          <p:cNvSpPr>
            <a:spLocks noChangeArrowheads="1"/>
          </p:cNvSpPr>
          <p:nvPr/>
        </p:nvSpPr>
        <p:spPr bwMode="auto">
          <a:xfrm>
            <a:off x="1955200" y="177016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7" name="Oval 184">
            <a:extLst>
              <a:ext uri="{FF2B5EF4-FFF2-40B4-BE49-F238E27FC236}">
                <a16:creationId xmlns:a16="http://schemas.microsoft.com/office/drawing/2014/main" id="{0C5112CB-9CC9-42C2-A072-2FCCAC23954A}"/>
              </a:ext>
            </a:extLst>
          </p:cNvPr>
          <p:cNvSpPr>
            <a:spLocks noChangeArrowheads="1"/>
          </p:cNvSpPr>
          <p:nvPr/>
        </p:nvSpPr>
        <p:spPr bwMode="auto">
          <a:xfrm>
            <a:off x="1914570" y="1761423"/>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8" name="Oval 185">
            <a:extLst>
              <a:ext uri="{FF2B5EF4-FFF2-40B4-BE49-F238E27FC236}">
                <a16:creationId xmlns:a16="http://schemas.microsoft.com/office/drawing/2014/main" id="{0F074D2A-04EB-4156-A986-C41F2464140F}"/>
              </a:ext>
            </a:extLst>
          </p:cNvPr>
          <p:cNvSpPr>
            <a:spLocks noChangeArrowheads="1"/>
          </p:cNvSpPr>
          <p:nvPr/>
        </p:nvSpPr>
        <p:spPr bwMode="auto">
          <a:xfrm>
            <a:off x="1879744" y="173518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9" name="Oval 186">
            <a:extLst>
              <a:ext uri="{FF2B5EF4-FFF2-40B4-BE49-F238E27FC236}">
                <a16:creationId xmlns:a16="http://schemas.microsoft.com/office/drawing/2014/main" id="{D660840A-3F32-4C0B-BC46-46D988051508}"/>
              </a:ext>
            </a:extLst>
          </p:cNvPr>
          <p:cNvSpPr>
            <a:spLocks noChangeArrowheads="1"/>
          </p:cNvSpPr>
          <p:nvPr/>
        </p:nvSpPr>
        <p:spPr bwMode="auto">
          <a:xfrm>
            <a:off x="1850722" y="1720614"/>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0" name="Oval 187">
            <a:extLst>
              <a:ext uri="{FF2B5EF4-FFF2-40B4-BE49-F238E27FC236}">
                <a16:creationId xmlns:a16="http://schemas.microsoft.com/office/drawing/2014/main" id="{977E6F6F-5A4C-4669-BFC6-AE27DD94D25E}"/>
              </a:ext>
            </a:extLst>
          </p:cNvPr>
          <p:cNvSpPr>
            <a:spLocks noChangeArrowheads="1"/>
          </p:cNvSpPr>
          <p:nvPr/>
        </p:nvSpPr>
        <p:spPr bwMode="auto">
          <a:xfrm>
            <a:off x="1702712" y="1583610"/>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1" name="Oval 188">
            <a:extLst>
              <a:ext uri="{FF2B5EF4-FFF2-40B4-BE49-F238E27FC236}">
                <a16:creationId xmlns:a16="http://schemas.microsoft.com/office/drawing/2014/main" id="{A3C05FF6-B125-444D-B179-3AFEBFAEEE55}"/>
              </a:ext>
            </a:extLst>
          </p:cNvPr>
          <p:cNvSpPr>
            <a:spLocks noChangeArrowheads="1"/>
          </p:cNvSpPr>
          <p:nvPr/>
        </p:nvSpPr>
        <p:spPr bwMode="auto">
          <a:xfrm>
            <a:off x="1708516" y="1598184"/>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2" name="Oval 189">
            <a:extLst>
              <a:ext uri="{FF2B5EF4-FFF2-40B4-BE49-F238E27FC236}">
                <a16:creationId xmlns:a16="http://schemas.microsoft.com/office/drawing/2014/main" id="{29840972-A0EC-4154-B19D-4BD84968C802}"/>
              </a:ext>
            </a:extLst>
          </p:cNvPr>
          <p:cNvSpPr>
            <a:spLocks noChangeArrowheads="1"/>
          </p:cNvSpPr>
          <p:nvPr/>
        </p:nvSpPr>
        <p:spPr bwMode="auto">
          <a:xfrm>
            <a:off x="1664984" y="1542800"/>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3" name="Oval 190">
            <a:extLst>
              <a:ext uri="{FF2B5EF4-FFF2-40B4-BE49-F238E27FC236}">
                <a16:creationId xmlns:a16="http://schemas.microsoft.com/office/drawing/2014/main" id="{AE5C6E83-5A5F-43C3-B75D-11B86A41107A}"/>
              </a:ext>
            </a:extLst>
          </p:cNvPr>
          <p:cNvSpPr>
            <a:spLocks noChangeArrowheads="1"/>
          </p:cNvSpPr>
          <p:nvPr/>
        </p:nvSpPr>
        <p:spPr bwMode="auto">
          <a:xfrm>
            <a:off x="1644668" y="1528226"/>
            <a:ext cx="60945"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4" name="Oval 191">
            <a:extLst>
              <a:ext uri="{FF2B5EF4-FFF2-40B4-BE49-F238E27FC236}">
                <a16:creationId xmlns:a16="http://schemas.microsoft.com/office/drawing/2014/main" id="{A949FD4F-722F-44C5-85DF-8195225A4E7E}"/>
              </a:ext>
            </a:extLst>
          </p:cNvPr>
          <p:cNvSpPr>
            <a:spLocks noChangeArrowheads="1"/>
          </p:cNvSpPr>
          <p:nvPr/>
        </p:nvSpPr>
        <p:spPr bwMode="auto">
          <a:xfrm>
            <a:off x="1598234" y="1493246"/>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5" name="Oval 192">
            <a:extLst>
              <a:ext uri="{FF2B5EF4-FFF2-40B4-BE49-F238E27FC236}">
                <a16:creationId xmlns:a16="http://schemas.microsoft.com/office/drawing/2014/main" id="{88735E21-2D90-4EAB-B1D4-54D01073B3B4}"/>
              </a:ext>
            </a:extLst>
          </p:cNvPr>
          <p:cNvSpPr>
            <a:spLocks noChangeArrowheads="1"/>
          </p:cNvSpPr>
          <p:nvPr/>
        </p:nvSpPr>
        <p:spPr bwMode="auto">
          <a:xfrm>
            <a:off x="1583723" y="1475756"/>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6" name="Oval 193">
            <a:extLst>
              <a:ext uri="{FF2B5EF4-FFF2-40B4-BE49-F238E27FC236}">
                <a16:creationId xmlns:a16="http://schemas.microsoft.com/office/drawing/2014/main" id="{8AD36799-0DBF-4641-8DDD-F75024F2FB46}"/>
              </a:ext>
            </a:extLst>
          </p:cNvPr>
          <p:cNvSpPr>
            <a:spLocks noChangeArrowheads="1"/>
          </p:cNvSpPr>
          <p:nvPr/>
        </p:nvSpPr>
        <p:spPr bwMode="auto">
          <a:xfrm>
            <a:off x="1505365" y="1418913"/>
            <a:ext cx="58043" cy="56842"/>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7" name="Oval 194">
            <a:extLst>
              <a:ext uri="{FF2B5EF4-FFF2-40B4-BE49-F238E27FC236}">
                <a16:creationId xmlns:a16="http://schemas.microsoft.com/office/drawing/2014/main" id="{677F6B93-3F1A-4A06-861F-9398E48F43C8}"/>
              </a:ext>
            </a:extLst>
          </p:cNvPr>
          <p:cNvSpPr>
            <a:spLocks noChangeArrowheads="1"/>
          </p:cNvSpPr>
          <p:nvPr/>
        </p:nvSpPr>
        <p:spPr bwMode="auto">
          <a:xfrm>
            <a:off x="1476343" y="1354785"/>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8" name="Oval 195">
            <a:extLst>
              <a:ext uri="{FF2B5EF4-FFF2-40B4-BE49-F238E27FC236}">
                <a16:creationId xmlns:a16="http://schemas.microsoft.com/office/drawing/2014/main" id="{B112917B-D47D-454A-AD2C-F9F28673E8D2}"/>
              </a:ext>
            </a:extLst>
          </p:cNvPr>
          <p:cNvSpPr>
            <a:spLocks noChangeArrowheads="1"/>
          </p:cNvSpPr>
          <p:nvPr/>
        </p:nvSpPr>
        <p:spPr bwMode="auto">
          <a:xfrm>
            <a:off x="1444419" y="1337294"/>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9" name="Oval 196">
            <a:extLst>
              <a:ext uri="{FF2B5EF4-FFF2-40B4-BE49-F238E27FC236}">
                <a16:creationId xmlns:a16="http://schemas.microsoft.com/office/drawing/2014/main" id="{963B26BE-6ABF-402F-B83C-207103F16F96}"/>
              </a:ext>
            </a:extLst>
          </p:cNvPr>
          <p:cNvSpPr>
            <a:spLocks noChangeArrowheads="1"/>
          </p:cNvSpPr>
          <p:nvPr/>
        </p:nvSpPr>
        <p:spPr bwMode="auto">
          <a:xfrm>
            <a:off x="1438615" y="1337294"/>
            <a:ext cx="60945"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0" name="Oval 197">
            <a:extLst>
              <a:ext uri="{FF2B5EF4-FFF2-40B4-BE49-F238E27FC236}">
                <a16:creationId xmlns:a16="http://schemas.microsoft.com/office/drawing/2014/main" id="{92CCAFE8-62BB-41F1-91D1-9DD1F0F7FF43}"/>
              </a:ext>
            </a:extLst>
          </p:cNvPr>
          <p:cNvSpPr>
            <a:spLocks noChangeArrowheads="1"/>
          </p:cNvSpPr>
          <p:nvPr/>
        </p:nvSpPr>
        <p:spPr bwMode="auto">
          <a:xfrm>
            <a:off x="1339941" y="1281909"/>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1" name="Oval 198">
            <a:extLst>
              <a:ext uri="{FF2B5EF4-FFF2-40B4-BE49-F238E27FC236}">
                <a16:creationId xmlns:a16="http://schemas.microsoft.com/office/drawing/2014/main" id="{979278B2-2D4F-4C23-8711-4E8FA81A4245}"/>
              </a:ext>
            </a:extLst>
          </p:cNvPr>
          <p:cNvSpPr>
            <a:spLocks noChangeArrowheads="1"/>
          </p:cNvSpPr>
          <p:nvPr/>
        </p:nvSpPr>
        <p:spPr bwMode="auto">
          <a:xfrm>
            <a:off x="1322528" y="1264419"/>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2" name="Oval 199">
            <a:extLst>
              <a:ext uri="{FF2B5EF4-FFF2-40B4-BE49-F238E27FC236}">
                <a16:creationId xmlns:a16="http://schemas.microsoft.com/office/drawing/2014/main" id="{D0480785-1FE5-479D-A0B2-7BE5B8200BF0}"/>
              </a:ext>
            </a:extLst>
          </p:cNvPr>
          <p:cNvSpPr>
            <a:spLocks noChangeArrowheads="1"/>
          </p:cNvSpPr>
          <p:nvPr/>
        </p:nvSpPr>
        <p:spPr bwMode="auto">
          <a:xfrm>
            <a:off x="1313822" y="1244015"/>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3" name="Oval 200">
            <a:extLst>
              <a:ext uri="{FF2B5EF4-FFF2-40B4-BE49-F238E27FC236}">
                <a16:creationId xmlns:a16="http://schemas.microsoft.com/office/drawing/2014/main" id="{26F408D3-F853-4CDE-826A-BBD13CC52811}"/>
              </a:ext>
            </a:extLst>
          </p:cNvPr>
          <p:cNvSpPr>
            <a:spLocks noChangeArrowheads="1"/>
          </p:cNvSpPr>
          <p:nvPr/>
        </p:nvSpPr>
        <p:spPr bwMode="auto">
          <a:xfrm>
            <a:off x="1293507" y="1197375"/>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4" name="Oval 201">
            <a:extLst>
              <a:ext uri="{FF2B5EF4-FFF2-40B4-BE49-F238E27FC236}">
                <a16:creationId xmlns:a16="http://schemas.microsoft.com/office/drawing/2014/main" id="{390D4370-A0CE-45A8-9568-CC83150AB6CE}"/>
              </a:ext>
            </a:extLst>
          </p:cNvPr>
          <p:cNvSpPr>
            <a:spLocks noChangeArrowheads="1"/>
          </p:cNvSpPr>
          <p:nvPr/>
        </p:nvSpPr>
        <p:spPr bwMode="auto">
          <a:xfrm>
            <a:off x="1278996" y="1162395"/>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5" name="Oval 202">
            <a:extLst>
              <a:ext uri="{FF2B5EF4-FFF2-40B4-BE49-F238E27FC236}">
                <a16:creationId xmlns:a16="http://schemas.microsoft.com/office/drawing/2014/main" id="{C10921C4-2888-44E9-8A02-6ABC953841E9}"/>
              </a:ext>
            </a:extLst>
          </p:cNvPr>
          <p:cNvSpPr>
            <a:spLocks noChangeArrowheads="1"/>
          </p:cNvSpPr>
          <p:nvPr/>
        </p:nvSpPr>
        <p:spPr bwMode="auto">
          <a:xfrm>
            <a:off x="1258681" y="1153650"/>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6" name="Oval 203">
            <a:extLst>
              <a:ext uri="{FF2B5EF4-FFF2-40B4-BE49-F238E27FC236}">
                <a16:creationId xmlns:a16="http://schemas.microsoft.com/office/drawing/2014/main" id="{DA76B693-97F5-4E76-B244-DE4A41BF10D0}"/>
              </a:ext>
            </a:extLst>
          </p:cNvPr>
          <p:cNvSpPr>
            <a:spLocks noChangeArrowheads="1"/>
          </p:cNvSpPr>
          <p:nvPr/>
        </p:nvSpPr>
        <p:spPr bwMode="auto">
          <a:xfrm>
            <a:off x="1234011" y="1092435"/>
            <a:ext cx="56592"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7" name="Oval 204">
            <a:extLst>
              <a:ext uri="{FF2B5EF4-FFF2-40B4-BE49-F238E27FC236}">
                <a16:creationId xmlns:a16="http://schemas.microsoft.com/office/drawing/2014/main" id="{C443932C-F3DF-4B1E-A1EE-6DCDC3C53CF0}"/>
              </a:ext>
            </a:extLst>
          </p:cNvPr>
          <p:cNvSpPr>
            <a:spLocks noChangeArrowheads="1"/>
          </p:cNvSpPr>
          <p:nvPr/>
        </p:nvSpPr>
        <p:spPr bwMode="auto">
          <a:xfrm>
            <a:off x="1196283" y="1069116"/>
            <a:ext cx="56592"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8" name="Oval 206">
            <a:extLst>
              <a:ext uri="{FF2B5EF4-FFF2-40B4-BE49-F238E27FC236}">
                <a16:creationId xmlns:a16="http://schemas.microsoft.com/office/drawing/2014/main" id="{EC2CC2D1-6DF5-41D2-B781-A371701E7E3F}"/>
              </a:ext>
            </a:extLst>
          </p:cNvPr>
          <p:cNvSpPr>
            <a:spLocks noChangeArrowheads="1"/>
          </p:cNvSpPr>
          <p:nvPr/>
        </p:nvSpPr>
        <p:spPr bwMode="auto">
          <a:xfrm>
            <a:off x="1193380" y="1039967"/>
            <a:ext cx="56592"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9" name="Oval 207">
            <a:extLst>
              <a:ext uri="{FF2B5EF4-FFF2-40B4-BE49-F238E27FC236}">
                <a16:creationId xmlns:a16="http://schemas.microsoft.com/office/drawing/2014/main" id="{D6021999-E8A3-4CA8-AD2E-E95E14E8BF17}"/>
              </a:ext>
            </a:extLst>
          </p:cNvPr>
          <p:cNvSpPr>
            <a:spLocks noChangeArrowheads="1"/>
          </p:cNvSpPr>
          <p:nvPr/>
        </p:nvSpPr>
        <p:spPr bwMode="auto">
          <a:xfrm>
            <a:off x="1175968" y="1039967"/>
            <a:ext cx="58043" cy="61215"/>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0" name="Oval 208">
            <a:extLst>
              <a:ext uri="{FF2B5EF4-FFF2-40B4-BE49-F238E27FC236}">
                <a16:creationId xmlns:a16="http://schemas.microsoft.com/office/drawing/2014/main" id="{5CE8E14E-1DFA-4846-BC61-D4619B584F27}"/>
              </a:ext>
            </a:extLst>
          </p:cNvPr>
          <p:cNvSpPr>
            <a:spLocks noChangeArrowheads="1"/>
          </p:cNvSpPr>
          <p:nvPr/>
        </p:nvSpPr>
        <p:spPr bwMode="auto">
          <a:xfrm>
            <a:off x="1123729" y="990411"/>
            <a:ext cx="60945"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1" name="Oval 209">
            <a:extLst>
              <a:ext uri="{FF2B5EF4-FFF2-40B4-BE49-F238E27FC236}">
                <a16:creationId xmlns:a16="http://schemas.microsoft.com/office/drawing/2014/main" id="{46E38FCE-5113-4FDE-BA55-9CB5D476F464}"/>
              </a:ext>
            </a:extLst>
          </p:cNvPr>
          <p:cNvSpPr>
            <a:spLocks noChangeArrowheads="1"/>
          </p:cNvSpPr>
          <p:nvPr/>
        </p:nvSpPr>
        <p:spPr bwMode="auto">
          <a:xfrm>
            <a:off x="1871037" y="1735188"/>
            <a:ext cx="58043" cy="5830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2" name="Freeform 210">
            <a:extLst>
              <a:ext uri="{FF2B5EF4-FFF2-40B4-BE49-F238E27FC236}">
                <a16:creationId xmlns:a16="http://schemas.microsoft.com/office/drawing/2014/main" id="{7CA3EA6C-5B03-4B0F-9766-EF4195252365}"/>
              </a:ext>
            </a:extLst>
          </p:cNvPr>
          <p:cNvSpPr>
            <a:spLocks/>
          </p:cNvSpPr>
          <p:nvPr/>
        </p:nvSpPr>
        <p:spPr bwMode="auto">
          <a:xfrm>
            <a:off x="1106316" y="996241"/>
            <a:ext cx="4504160" cy="2573928"/>
          </a:xfrm>
          <a:custGeom>
            <a:avLst/>
            <a:gdLst>
              <a:gd name="T0" fmla="*/ 0 w 3104"/>
              <a:gd name="T1" fmla="*/ 0 h 1766"/>
              <a:gd name="T2" fmla="*/ 0 w 3104"/>
              <a:gd name="T3" fmla="*/ 1766 h 1766"/>
              <a:gd name="T4" fmla="*/ 3104 w 3104"/>
              <a:gd name="T5" fmla="*/ 1766 h 1766"/>
            </a:gdLst>
            <a:ahLst/>
            <a:cxnLst>
              <a:cxn ang="0">
                <a:pos x="T0" y="T1"/>
              </a:cxn>
              <a:cxn ang="0">
                <a:pos x="T2" y="T3"/>
              </a:cxn>
              <a:cxn ang="0">
                <a:pos x="T4" y="T5"/>
              </a:cxn>
            </a:cxnLst>
            <a:rect l="0" t="0" r="r" b="b"/>
            <a:pathLst>
              <a:path w="3104" h="1766">
                <a:moveTo>
                  <a:pt x="0" y="0"/>
                </a:moveTo>
                <a:lnTo>
                  <a:pt x="0" y="1766"/>
                </a:lnTo>
                <a:lnTo>
                  <a:pt x="3104" y="1766"/>
                </a:lnTo>
              </a:path>
            </a:pathLst>
          </a:custGeom>
          <a:noFill/>
          <a:ln w="19050" cap="sq">
            <a:solidFill>
              <a:srgbClr val="000000"/>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3" name="Line 211">
            <a:extLst>
              <a:ext uri="{FF2B5EF4-FFF2-40B4-BE49-F238E27FC236}">
                <a16:creationId xmlns:a16="http://schemas.microsoft.com/office/drawing/2014/main" id="{B48309AC-FCC0-4C1A-BF60-8F24860D48FE}"/>
              </a:ext>
            </a:extLst>
          </p:cNvPr>
          <p:cNvSpPr>
            <a:spLocks noChangeShapeType="1"/>
          </p:cNvSpPr>
          <p:nvPr/>
        </p:nvSpPr>
        <p:spPr bwMode="auto">
          <a:xfrm>
            <a:off x="1062784" y="996241"/>
            <a:ext cx="43532"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4" name="Line 212">
            <a:extLst>
              <a:ext uri="{FF2B5EF4-FFF2-40B4-BE49-F238E27FC236}">
                <a16:creationId xmlns:a16="http://schemas.microsoft.com/office/drawing/2014/main" id="{313C7169-55E5-4871-99E8-F9BA8F85F4C5}"/>
              </a:ext>
            </a:extLst>
          </p:cNvPr>
          <p:cNvSpPr>
            <a:spLocks noChangeShapeType="1"/>
          </p:cNvSpPr>
          <p:nvPr/>
        </p:nvSpPr>
        <p:spPr bwMode="auto">
          <a:xfrm>
            <a:off x="1062784" y="1510735"/>
            <a:ext cx="43532"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5" name="Line 213">
            <a:extLst>
              <a:ext uri="{FF2B5EF4-FFF2-40B4-BE49-F238E27FC236}">
                <a16:creationId xmlns:a16="http://schemas.microsoft.com/office/drawing/2014/main" id="{95A8DC63-438A-4607-A300-9FBC7E3142BE}"/>
              </a:ext>
            </a:extLst>
          </p:cNvPr>
          <p:cNvSpPr>
            <a:spLocks noChangeShapeType="1"/>
          </p:cNvSpPr>
          <p:nvPr/>
        </p:nvSpPr>
        <p:spPr bwMode="auto">
          <a:xfrm>
            <a:off x="1062784" y="2026686"/>
            <a:ext cx="43532"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6" name="Line 214">
            <a:extLst>
              <a:ext uri="{FF2B5EF4-FFF2-40B4-BE49-F238E27FC236}">
                <a16:creationId xmlns:a16="http://schemas.microsoft.com/office/drawing/2014/main" id="{39121229-9A4C-4385-B596-A3ACEB25A952}"/>
              </a:ext>
            </a:extLst>
          </p:cNvPr>
          <p:cNvSpPr>
            <a:spLocks noChangeShapeType="1"/>
          </p:cNvSpPr>
          <p:nvPr/>
        </p:nvSpPr>
        <p:spPr bwMode="auto">
          <a:xfrm>
            <a:off x="1062784" y="2542638"/>
            <a:ext cx="43532"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7" name="Line 215">
            <a:extLst>
              <a:ext uri="{FF2B5EF4-FFF2-40B4-BE49-F238E27FC236}">
                <a16:creationId xmlns:a16="http://schemas.microsoft.com/office/drawing/2014/main" id="{7F9100CE-B57B-4CB2-9CAE-10E15AE94D25}"/>
              </a:ext>
            </a:extLst>
          </p:cNvPr>
          <p:cNvSpPr>
            <a:spLocks noChangeShapeType="1"/>
          </p:cNvSpPr>
          <p:nvPr/>
        </p:nvSpPr>
        <p:spPr bwMode="auto">
          <a:xfrm>
            <a:off x="1062784" y="3054218"/>
            <a:ext cx="43532"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8" name="Line 216">
            <a:extLst>
              <a:ext uri="{FF2B5EF4-FFF2-40B4-BE49-F238E27FC236}">
                <a16:creationId xmlns:a16="http://schemas.microsoft.com/office/drawing/2014/main" id="{B6DAD109-1488-42B7-80B7-F8FFB2134972}"/>
              </a:ext>
            </a:extLst>
          </p:cNvPr>
          <p:cNvSpPr>
            <a:spLocks noChangeShapeType="1"/>
          </p:cNvSpPr>
          <p:nvPr/>
        </p:nvSpPr>
        <p:spPr bwMode="auto">
          <a:xfrm>
            <a:off x="1062784" y="3570169"/>
            <a:ext cx="43532"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9" name="Line 217">
            <a:extLst>
              <a:ext uri="{FF2B5EF4-FFF2-40B4-BE49-F238E27FC236}">
                <a16:creationId xmlns:a16="http://schemas.microsoft.com/office/drawing/2014/main" id="{59488A71-98EF-4F5F-A22C-9554D5EAC0C1}"/>
              </a:ext>
            </a:extLst>
          </p:cNvPr>
          <p:cNvSpPr>
            <a:spLocks noChangeShapeType="1"/>
          </p:cNvSpPr>
          <p:nvPr/>
        </p:nvSpPr>
        <p:spPr bwMode="auto">
          <a:xfrm>
            <a:off x="1106315"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0" name="Line 218">
            <a:extLst>
              <a:ext uri="{FF2B5EF4-FFF2-40B4-BE49-F238E27FC236}">
                <a16:creationId xmlns:a16="http://schemas.microsoft.com/office/drawing/2014/main" id="{EA83ED32-BCFE-44A7-A1A0-B162D03C2323}"/>
              </a:ext>
            </a:extLst>
          </p:cNvPr>
          <p:cNvSpPr>
            <a:spLocks noChangeShapeType="1"/>
          </p:cNvSpPr>
          <p:nvPr/>
        </p:nvSpPr>
        <p:spPr bwMode="auto">
          <a:xfrm>
            <a:off x="1458929"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1" name="Line 219">
            <a:extLst>
              <a:ext uri="{FF2B5EF4-FFF2-40B4-BE49-F238E27FC236}">
                <a16:creationId xmlns:a16="http://schemas.microsoft.com/office/drawing/2014/main" id="{6FE7E28C-53C3-41F5-8A21-D2765E7E1DB9}"/>
              </a:ext>
            </a:extLst>
          </p:cNvPr>
          <p:cNvSpPr>
            <a:spLocks noChangeShapeType="1"/>
          </p:cNvSpPr>
          <p:nvPr/>
        </p:nvSpPr>
        <p:spPr bwMode="auto">
          <a:xfrm>
            <a:off x="1815895"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2" name="Line 220">
            <a:extLst>
              <a:ext uri="{FF2B5EF4-FFF2-40B4-BE49-F238E27FC236}">
                <a16:creationId xmlns:a16="http://schemas.microsoft.com/office/drawing/2014/main" id="{6CB87F6C-0D69-4C29-BAB4-70FC06602B73}"/>
              </a:ext>
            </a:extLst>
          </p:cNvPr>
          <p:cNvSpPr>
            <a:spLocks noChangeShapeType="1"/>
          </p:cNvSpPr>
          <p:nvPr/>
        </p:nvSpPr>
        <p:spPr bwMode="auto">
          <a:xfrm>
            <a:off x="2168508"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3" name="Line 221">
            <a:extLst>
              <a:ext uri="{FF2B5EF4-FFF2-40B4-BE49-F238E27FC236}">
                <a16:creationId xmlns:a16="http://schemas.microsoft.com/office/drawing/2014/main" id="{4A195472-C207-48A4-B8C2-1D4251C38A77}"/>
              </a:ext>
            </a:extLst>
          </p:cNvPr>
          <p:cNvSpPr>
            <a:spLocks noChangeShapeType="1"/>
          </p:cNvSpPr>
          <p:nvPr/>
        </p:nvSpPr>
        <p:spPr bwMode="auto">
          <a:xfrm>
            <a:off x="2525474"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4" name="Line 222">
            <a:extLst>
              <a:ext uri="{FF2B5EF4-FFF2-40B4-BE49-F238E27FC236}">
                <a16:creationId xmlns:a16="http://schemas.microsoft.com/office/drawing/2014/main" id="{D020172A-E37E-451E-A764-C6ED81A9FC45}"/>
              </a:ext>
            </a:extLst>
          </p:cNvPr>
          <p:cNvSpPr>
            <a:spLocks noChangeShapeType="1"/>
          </p:cNvSpPr>
          <p:nvPr/>
        </p:nvSpPr>
        <p:spPr bwMode="auto">
          <a:xfrm>
            <a:off x="2878087"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5" name="Line 223">
            <a:extLst>
              <a:ext uri="{FF2B5EF4-FFF2-40B4-BE49-F238E27FC236}">
                <a16:creationId xmlns:a16="http://schemas.microsoft.com/office/drawing/2014/main" id="{6D235D0B-9802-4195-9013-9D39319FA1EF}"/>
              </a:ext>
            </a:extLst>
          </p:cNvPr>
          <p:cNvSpPr>
            <a:spLocks noChangeShapeType="1"/>
          </p:cNvSpPr>
          <p:nvPr/>
        </p:nvSpPr>
        <p:spPr bwMode="auto">
          <a:xfrm>
            <a:off x="3235054"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6" name="Line 224">
            <a:extLst>
              <a:ext uri="{FF2B5EF4-FFF2-40B4-BE49-F238E27FC236}">
                <a16:creationId xmlns:a16="http://schemas.microsoft.com/office/drawing/2014/main" id="{E4EB70CE-C9D7-44E9-8A24-EA08242499EF}"/>
              </a:ext>
            </a:extLst>
          </p:cNvPr>
          <p:cNvSpPr>
            <a:spLocks noChangeShapeType="1"/>
          </p:cNvSpPr>
          <p:nvPr/>
        </p:nvSpPr>
        <p:spPr bwMode="auto">
          <a:xfrm>
            <a:off x="3589118"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7" name="Line 225">
            <a:extLst>
              <a:ext uri="{FF2B5EF4-FFF2-40B4-BE49-F238E27FC236}">
                <a16:creationId xmlns:a16="http://schemas.microsoft.com/office/drawing/2014/main" id="{2EB7F8BB-94B1-466F-A0E5-D39705A4BEF1}"/>
              </a:ext>
            </a:extLst>
          </p:cNvPr>
          <p:cNvSpPr>
            <a:spLocks noChangeShapeType="1"/>
          </p:cNvSpPr>
          <p:nvPr/>
        </p:nvSpPr>
        <p:spPr bwMode="auto">
          <a:xfrm>
            <a:off x="3944632"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8" name="Line 226">
            <a:extLst>
              <a:ext uri="{FF2B5EF4-FFF2-40B4-BE49-F238E27FC236}">
                <a16:creationId xmlns:a16="http://schemas.microsoft.com/office/drawing/2014/main" id="{94D2405D-28A3-4D40-B64F-AB82CF71A17A}"/>
              </a:ext>
            </a:extLst>
          </p:cNvPr>
          <p:cNvSpPr>
            <a:spLocks noChangeShapeType="1"/>
          </p:cNvSpPr>
          <p:nvPr/>
        </p:nvSpPr>
        <p:spPr bwMode="auto">
          <a:xfrm>
            <a:off x="4298697"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9" name="Line 227">
            <a:extLst>
              <a:ext uri="{FF2B5EF4-FFF2-40B4-BE49-F238E27FC236}">
                <a16:creationId xmlns:a16="http://schemas.microsoft.com/office/drawing/2014/main" id="{40A3A449-69FD-4BFB-850E-977751FF42F6}"/>
              </a:ext>
            </a:extLst>
          </p:cNvPr>
          <p:cNvSpPr>
            <a:spLocks noChangeShapeType="1"/>
          </p:cNvSpPr>
          <p:nvPr/>
        </p:nvSpPr>
        <p:spPr bwMode="auto">
          <a:xfrm>
            <a:off x="4654212"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00" name="Line 228">
            <a:extLst>
              <a:ext uri="{FF2B5EF4-FFF2-40B4-BE49-F238E27FC236}">
                <a16:creationId xmlns:a16="http://schemas.microsoft.com/office/drawing/2014/main" id="{BEF12881-E522-4FA6-B7ED-6C9A8488665C}"/>
              </a:ext>
            </a:extLst>
          </p:cNvPr>
          <p:cNvSpPr>
            <a:spLocks noChangeShapeType="1"/>
          </p:cNvSpPr>
          <p:nvPr/>
        </p:nvSpPr>
        <p:spPr bwMode="auto">
          <a:xfrm>
            <a:off x="5008276"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01" name="Line 229">
            <a:extLst>
              <a:ext uri="{FF2B5EF4-FFF2-40B4-BE49-F238E27FC236}">
                <a16:creationId xmlns:a16="http://schemas.microsoft.com/office/drawing/2014/main" id="{AFD32DEC-7B37-4946-9F21-386D772645B9}"/>
              </a:ext>
            </a:extLst>
          </p:cNvPr>
          <p:cNvSpPr>
            <a:spLocks noChangeShapeType="1"/>
          </p:cNvSpPr>
          <p:nvPr/>
        </p:nvSpPr>
        <p:spPr bwMode="auto">
          <a:xfrm>
            <a:off x="5363791" y="3570170"/>
            <a:ext cx="0" cy="43725"/>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1" name="TextBox 310">
            <a:extLst>
              <a:ext uri="{FF2B5EF4-FFF2-40B4-BE49-F238E27FC236}">
                <a16:creationId xmlns:a16="http://schemas.microsoft.com/office/drawing/2014/main" id="{AD867E4B-1B42-4AC2-8E76-46B664984E97}"/>
              </a:ext>
            </a:extLst>
          </p:cNvPr>
          <p:cNvSpPr txBox="1"/>
          <p:nvPr/>
        </p:nvSpPr>
        <p:spPr>
          <a:xfrm>
            <a:off x="1034504"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a:t>
            </a:r>
          </a:p>
        </p:txBody>
      </p:sp>
      <p:sp>
        <p:nvSpPr>
          <p:cNvPr id="312" name="TextBox 311">
            <a:extLst>
              <a:ext uri="{FF2B5EF4-FFF2-40B4-BE49-F238E27FC236}">
                <a16:creationId xmlns:a16="http://schemas.microsoft.com/office/drawing/2014/main" id="{989AFB9E-E7B7-4494-B9C2-356BD3D9A86C}"/>
              </a:ext>
            </a:extLst>
          </p:cNvPr>
          <p:cNvSpPr txBox="1"/>
          <p:nvPr/>
        </p:nvSpPr>
        <p:spPr>
          <a:xfrm>
            <a:off x="382905" y="4042678"/>
            <a:ext cx="551897" cy="148645"/>
          </a:xfrm>
          <a:prstGeom prst="rect">
            <a:avLst/>
          </a:prstGeom>
          <a:noFill/>
        </p:spPr>
        <p:txBody>
          <a:bodyPr wrap="none" lIns="0" tIns="0" rIns="0" bIns="0" rtlCol="0" anchor="ctr">
            <a:noAutofit/>
          </a:body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Ixazomib-Rd</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3" name="TextBox 312">
            <a:extLst>
              <a:ext uri="{FF2B5EF4-FFF2-40B4-BE49-F238E27FC236}">
                <a16:creationId xmlns:a16="http://schemas.microsoft.com/office/drawing/2014/main" id="{AB05F32F-1E10-44A2-BC58-FB9525795C18}"/>
              </a:ext>
            </a:extLst>
          </p:cNvPr>
          <p:cNvSpPr txBox="1"/>
          <p:nvPr/>
        </p:nvSpPr>
        <p:spPr>
          <a:xfrm>
            <a:off x="-407808" y="3912122"/>
            <a:ext cx="1342610" cy="148645"/>
          </a:xfrm>
          <a:prstGeom prst="rect">
            <a:avLst/>
          </a:prstGeom>
          <a:noFill/>
        </p:spPr>
        <p:txBody>
          <a:bodyPr wrap="none" lIns="0" tIns="0" rIns="0" bIns="0" rtlCol="0" anchor="ctr">
            <a:noAutofit/>
          </a:body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rPr>
              <a:t>Patients at risk, n</a:t>
            </a:r>
            <a:endParaRPr kumimoji="0" lang="x-none" sz="3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4" name="TextBox 313">
            <a:extLst>
              <a:ext uri="{FF2B5EF4-FFF2-40B4-BE49-F238E27FC236}">
                <a16:creationId xmlns:a16="http://schemas.microsoft.com/office/drawing/2014/main" id="{10D709DB-6924-4060-9303-58A84D412CB6}"/>
              </a:ext>
            </a:extLst>
          </p:cNvPr>
          <p:cNvSpPr txBox="1"/>
          <p:nvPr/>
        </p:nvSpPr>
        <p:spPr>
          <a:xfrm>
            <a:off x="434065" y="4175340"/>
            <a:ext cx="500738" cy="148645"/>
          </a:xfrm>
          <a:prstGeom prst="rect">
            <a:avLst/>
          </a:prstGeom>
          <a:noFill/>
        </p:spPr>
        <p:txBody>
          <a:bodyPr wrap="none" lIns="0" tIns="0" rIns="0" bIns="0" rtlCol="0" anchor="ctr">
            <a:noAutofit/>
          </a:body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lacebo</a:t>
            </a: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d</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5" name="TextBox 314">
            <a:extLst>
              <a:ext uri="{FF2B5EF4-FFF2-40B4-BE49-F238E27FC236}">
                <a16:creationId xmlns:a16="http://schemas.microsoft.com/office/drawing/2014/main" id="{7D8595E2-EA99-4B88-A78C-40D5FF5183FC}"/>
              </a:ext>
            </a:extLst>
          </p:cNvPr>
          <p:cNvSpPr txBox="1"/>
          <p:nvPr/>
        </p:nvSpPr>
        <p:spPr>
          <a:xfrm>
            <a:off x="2409919" y="3805776"/>
            <a:ext cx="1897476"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Time from </a:t>
            </a: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a:t>
            </a: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ndomization</a:t>
            </a: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months</a:t>
            </a:r>
            <a:endPar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6" name="TextBox 315">
            <a:extLst>
              <a:ext uri="{FF2B5EF4-FFF2-40B4-BE49-F238E27FC236}">
                <a16:creationId xmlns:a16="http://schemas.microsoft.com/office/drawing/2014/main" id="{F4C54FDB-B0FE-47B7-945D-456350FB6B60}"/>
              </a:ext>
            </a:extLst>
          </p:cNvPr>
          <p:cNvSpPr txBox="1"/>
          <p:nvPr/>
        </p:nvSpPr>
        <p:spPr>
          <a:xfrm rot="16200000">
            <a:off x="-277550" y="2212044"/>
            <a:ext cx="1981724" cy="14232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robability of P</a:t>
            </a: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FS</a:t>
            </a:r>
            <a:endPar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7" name="TextBox 316">
            <a:extLst>
              <a:ext uri="{FF2B5EF4-FFF2-40B4-BE49-F238E27FC236}">
                <a16:creationId xmlns:a16="http://schemas.microsoft.com/office/drawing/2014/main" id="{B686F810-230E-46BF-9353-06411F6A3E48}"/>
              </a:ext>
            </a:extLst>
          </p:cNvPr>
          <p:cNvSpPr txBox="1"/>
          <p:nvPr/>
        </p:nvSpPr>
        <p:spPr>
          <a:xfrm>
            <a:off x="835557" y="3494531"/>
            <a:ext cx="193685" cy="148644"/>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0</a:t>
            </a:r>
          </a:p>
        </p:txBody>
      </p:sp>
      <p:sp>
        <p:nvSpPr>
          <p:cNvPr id="318" name="TextBox 317">
            <a:extLst>
              <a:ext uri="{FF2B5EF4-FFF2-40B4-BE49-F238E27FC236}">
                <a16:creationId xmlns:a16="http://schemas.microsoft.com/office/drawing/2014/main" id="{E288911C-1005-4004-8701-155FD37371B0}"/>
              </a:ext>
            </a:extLst>
          </p:cNvPr>
          <p:cNvSpPr txBox="1"/>
          <p:nvPr/>
        </p:nvSpPr>
        <p:spPr>
          <a:xfrm>
            <a:off x="835557" y="2979726"/>
            <a:ext cx="193685" cy="148644"/>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2</a:t>
            </a:r>
          </a:p>
        </p:txBody>
      </p:sp>
      <p:sp>
        <p:nvSpPr>
          <p:cNvPr id="319" name="TextBox 318">
            <a:extLst>
              <a:ext uri="{FF2B5EF4-FFF2-40B4-BE49-F238E27FC236}">
                <a16:creationId xmlns:a16="http://schemas.microsoft.com/office/drawing/2014/main" id="{2EB54B53-771C-4D77-A6F0-E79329DD1195}"/>
              </a:ext>
            </a:extLst>
          </p:cNvPr>
          <p:cNvSpPr txBox="1"/>
          <p:nvPr/>
        </p:nvSpPr>
        <p:spPr>
          <a:xfrm>
            <a:off x="835557" y="2464920"/>
            <a:ext cx="193685" cy="148644"/>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4</a:t>
            </a:r>
          </a:p>
        </p:txBody>
      </p:sp>
      <p:sp>
        <p:nvSpPr>
          <p:cNvPr id="320" name="TextBox 319">
            <a:extLst>
              <a:ext uri="{FF2B5EF4-FFF2-40B4-BE49-F238E27FC236}">
                <a16:creationId xmlns:a16="http://schemas.microsoft.com/office/drawing/2014/main" id="{DC3DE272-DFF9-44D4-9C05-DD81CC5F9AE4}"/>
              </a:ext>
            </a:extLst>
          </p:cNvPr>
          <p:cNvSpPr txBox="1"/>
          <p:nvPr/>
        </p:nvSpPr>
        <p:spPr>
          <a:xfrm>
            <a:off x="835557" y="1950114"/>
            <a:ext cx="193685" cy="148644"/>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6</a:t>
            </a:r>
          </a:p>
        </p:txBody>
      </p:sp>
      <p:sp>
        <p:nvSpPr>
          <p:cNvPr id="321" name="TextBox 320">
            <a:extLst>
              <a:ext uri="{FF2B5EF4-FFF2-40B4-BE49-F238E27FC236}">
                <a16:creationId xmlns:a16="http://schemas.microsoft.com/office/drawing/2014/main" id="{4E24F569-15CE-420D-80AC-DB6F6FB800B3}"/>
              </a:ext>
            </a:extLst>
          </p:cNvPr>
          <p:cNvSpPr txBox="1"/>
          <p:nvPr/>
        </p:nvSpPr>
        <p:spPr>
          <a:xfrm>
            <a:off x="835557" y="1435308"/>
            <a:ext cx="193685" cy="148644"/>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8</a:t>
            </a:r>
          </a:p>
        </p:txBody>
      </p:sp>
      <p:sp>
        <p:nvSpPr>
          <p:cNvPr id="322" name="TextBox 321">
            <a:extLst>
              <a:ext uri="{FF2B5EF4-FFF2-40B4-BE49-F238E27FC236}">
                <a16:creationId xmlns:a16="http://schemas.microsoft.com/office/drawing/2014/main" id="{0EE255AE-2FA0-4070-AA47-DB8A075CF18A}"/>
              </a:ext>
            </a:extLst>
          </p:cNvPr>
          <p:cNvSpPr txBox="1"/>
          <p:nvPr/>
        </p:nvSpPr>
        <p:spPr>
          <a:xfrm>
            <a:off x="835557" y="920502"/>
            <a:ext cx="193685" cy="148644"/>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a:t>
            </a:r>
          </a:p>
        </p:txBody>
      </p:sp>
      <p:sp>
        <p:nvSpPr>
          <p:cNvPr id="323" name="TextBox 322">
            <a:extLst>
              <a:ext uri="{FF2B5EF4-FFF2-40B4-BE49-F238E27FC236}">
                <a16:creationId xmlns:a16="http://schemas.microsoft.com/office/drawing/2014/main" id="{2D75BBBC-D4CF-47FC-8805-F127DFA3EAD5}"/>
              </a:ext>
            </a:extLst>
          </p:cNvPr>
          <p:cNvSpPr txBox="1"/>
          <p:nvPr/>
        </p:nvSpPr>
        <p:spPr>
          <a:xfrm>
            <a:off x="1522061" y="3377940"/>
            <a:ext cx="551897" cy="148644"/>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lacebo</a:t>
            </a: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d</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4" name="TextBox 323">
            <a:extLst>
              <a:ext uri="{FF2B5EF4-FFF2-40B4-BE49-F238E27FC236}">
                <a16:creationId xmlns:a16="http://schemas.microsoft.com/office/drawing/2014/main" id="{7F137EB3-1F4B-4DF2-9FD1-36A996645ABE}"/>
              </a:ext>
            </a:extLst>
          </p:cNvPr>
          <p:cNvSpPr txBox="1"/>
          <p:nvPr/>
        </p:nvSpPr>
        <p:spPr>
          <a:xfrm>
            <a:off x="1522879" y="3260353"/>
            <a:ext cx="500738" cy="148644"/>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Ixazomib-Rd</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5" name="TextBox 324">
            <a:extLst>
              <a:ext uri="{FF2B5EF4-FFF2-40B4-BE49-F238E27FC236}">
                <a16:creationId xmlns:a16="http://schemas.microsoft.com/office/drawing/2014/main" id="{9271F713-4391-4F7A-BA27-65AA1356353A}"/>
              </a:ext>
            </a:extLst>
          </p:cNvPr>
          <p:cNvSpPr txBox="1"/>
          <p:nvPr/>
        </p:nvSpPr>
        <p:spPr>
          <a:xfrm>
            <a:off x="2470566" y="3377940"/>
            <a:ext cx="551897" cy="148644"/>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Censored</a:t>
            </a:r>
          </a:p>
        </p:txBody>
      </p:sp>
      <p:sp>
        <p:nvSpPr>
          <p:cNvPr id="326" name="TextBox 325">
            <a:extLst>
              <a:ext uri="{FF2B5EF4-FFF2-40B4-BE49-F238E27FC236}">
                <a16:creationId xmlns:a16="http://schemas.microsoft.com/office/drawing/2014/main" id="{387FDBBB-11A6-4FC8-A49D-02C0AE1B83F0}"/>
              </a:ext>
            </a:extLst>
          </p:cNvPr>
          <p:cNvSpPr txBox="1"/>
          <p:nvPr/>
        </p:nvSpPr>
        <p:spPr>
          <a:xfrm>
            <a:off x="2471386" y="3260353"/>
            <a:ext cx="500738" cy="148644"/>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Censored</a:t>
            </a:r>
          </a:p>
        </p:txBody>
      </p:sp>
      <p:cxnSp>
        <p:nvCxnSpPr>
          <p:cNvPr id="327" name="Straight Connector 326">
            <a:extLst>
              <a:ext uri="{FF2B5EF4-FFF2-40B4-BE49-F238E27FC236}">
                <a16:creationId xmlns:a16="http://schemas.microsoft.com/office/drawing/2014/main" id="{CAEE3805-A915-4EED-951A-36526B81EA9B}"/>
              </a:ext>
            </a:extLst>
          </p:cNvPr>
          <p:cNvCxnSpPr/>
          <p:nvPr/>
        </p:nvCxnSpPr>
        <p:spPr>
          <a:xfrm>
            <a:off x="1199677" y="3452263"/>
            <a:ext cx="277458" cy="0"/>
          </a:xfrm>
          <a:prstGeom prst="line">
            <a:avLst/>
          </a:prstGeom>
          <a:noFill/>
          <a:ln w="19050" cap="flat" cmpd="sng" algn="ctr">
            <a:solidFill>
              <a:srgbClr val="808284"/>
            </a:solidFill>
            <a:prstDash val="solid"/>
            <a:miter lim="800000"/>
          </a:ln>
          <a:effectLst/>
        </p:spPr>
      </p:cxnSp>
      <p:sp>
        <p:nvSpPr>
          <p:cNvPr id="328" name="Oval 59">
            <a:extLst>
              <a:ext uri="{FF2B5EF4-FFF2-40B4-BE49-F238E27FC236}">
                <a16:creationId xmlns:a16="http://schemas.microsoft.com/office/drawing/2014/main" id="{F96C8D92-BC27-4A40-988D-F5685CDC30C0}"/>
              </a:ext>
            </a:extLst>
          </p:cNvPr>
          <p:cNvSpPr>
            <a:spLocks noChangeArrowheads="1"/>
          </p:cNvSpPr>
          <p:nvPr/>
        </p:nvSpPr>
        <p:spPr bwMode="auto">
          <a:xfrm>
            <a:off x="2348467" y="3422873"/>
            <a:ext cx="55059" cy="5878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cxnSp>
        <p:nvCxnSpPr>
          <p:cNvPr id="329" name="Straight Connector 328">
            <a:extLst>
              <a:ext uri="{FF2B5EF4-FFF2-40B4-BE49-F238E27FC236}">
                <a16:creationId xmlns:a16="http://schemas.microsoft.com/office/drawing/2014/main" id="{5F2F575A-19CB-43E8-BF3B-F3425FA4E959}"/>
              </a:ext>
            </a:extLst>
          </p:cNvPr>
          <p:cNvCxnSpPr/>
          <p:nvPr/>
        </p:nvCxnSpPr>
        <p:spPr>
          <a:xfrm>
            <a:off x="1199677" y="3334675"/>
            <a:ext cx="277458" cy="0"/>
          </a:xfrm>
          <a:prstGeom prst="line">
            <a:avLst/>
          </a:prstGeom>
          <a:noFill/>
          <a:ln w="19050" cap="flat" cmpd="sng" algn="ctr">
            <a:solidFill>
              <a:schemeClr val="accent1"/>
            </a:solidFill>
            <a:prstDash val="solid"/>
            <a:miter lim="800000"/>
          </a:ln>
          <a:effectLst/>
        </p:spPr>
      </p:cxnSp>
      <p:sp>
        <p:nvSpPr>
          <p:cNvPr id="330" name="Oval 59">
            <a:extLst>
              <a:ext uri="{FF2B5EF4-FFF2-40B4-BE49-F238E27FC236}">
                <a16:creationId xmlns:a16="http://schemas.microsoft.com/office/drawing/2014/main" id="{0639BCCB-1D53-4FD2-9E02-6DD0862FF8C4}"/>
              </a:ext>
            </a:extLst>
          </p:cNvPr>
          <p:cNvSpPr>
            <a:spLocks noChangeArrowheads="1"/>
          </p:cNvSpPr>
          <p:nvPr/>
        </p:nvSpPr>
        <p:spPr bwMode="auto">
          <a:xfrm>
            <a:off x="2348467" y="3305283"/>
            <a:ext cx="55059" cy="5878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1" name="TextBox 330">
            <a:extLst>
              <a:ext uri="{FF2B5EF4-FFF2-40B4-BE49-F238E27FC236}">
                <a16:creationId xmlns:a16="http://schemas.microsoft.com/office/drawing/2014/main" id="{FD2F9D2B-6667-4CAE-B2BD-B7BAAAFB73AC}"/>
              </a:ext>
            </a:extLst>
          </p:cNvPr>
          <p:cNvSpPr txBox="1"/>
          <p:nvPr/>
        </p:nvSpPr>
        <p:spPr>
          <a:xfrm>
            <a:off x="1389476"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2" name="TextBox 331">
            <a:extLst>
              <a:ext uri="{FF2B5EF4-FFF2-40B4-BE49-F238E27FC236}">
                <a16:creationId xmlns:a16="http://schemas.microsoft.com/office/drawing/2014/main" id="{56908B34-81C8-42E6-BF03-ED9855A9395E}"/>
              </a:ext>
            </a:extLst>
          </p:cNvPr>
          <p:cNvSpPr txBox="1"/>
          <p:nvPr/>
        </p:nvSpPr>
        <p:spPr>
          <a:xfrm>
            <a:off x="1744447"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2</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3" name="TextBox 332">
            <a:extLst>
              <a:ext uri="{FF2B5EF4-FFF2-40B4-BE49-F238E27FC236}">
                <a16:creationId xmlns:a16="http://schemas.microsoft.com/office/drawing/2014/main" id="{22F68781-6EE8-49C5-9DC9-66B15976D4EC}"/>
              </a:ext>
            </a:extLst>
          </p:cNvPr>
          <p:cNvSpPr txBox="1"/>
          <p:nvPr/>
        </p:nvSpPr>
        <p:spPr>
          <a:xfrm>
            <a:off x="2099417"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8</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4" name="TextBox 333">
            <a:extLst>
              <a:ext uri="{FF2B5EF4-FFF2-40B4-BE49-F238E27FC236}">
                <a16:creationId xmlns:a16="http://schemas.microsoft.com/office/drawing/2014/main" id="{A699F639-6084-465E-9BFD-568C6AFCBC8E}"/>
              </a:ext>
            </a:extLst>
          </p:cNvPr>
          <p:cNvSpPr txBox="1"/>
          <p:nvPr/>
        </p:nvSpPr>
        <p:spPr>
          <a:xfrm>
            <a:off x="2454389"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5" name="TextBox 334">
            <a:extLst>
              <a:ext uri="{FF2B5EF4-FFF2-40B4-BE49-F238E27FC236}">
                <a16:creationId xmlns:a16="http://schemas.microsoft.com/office/drawing/2014/main" id="{511750EB-23EB-41CB-8E9F-0192D8DDA772}"/>
              </a:ext>
            </a:extLst>
          </p:cNvPr>
          <p:cNvSpPr txBox="1"/>
          <p:nvPr/>
        </p:nvSpPr>
        <p:spPr>
          <a:xfrm>
            <a:off x="2809360"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0</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6" name="TextBox 335">
            <a:extLst>
              <a:ext uri="{FF2B5EF4-FFF2-40B4-BE49-F238E27FC236}">
                <a16:creationId xmlns:a16="http://schemas.microsoft.com/office/drawing/2014/main" id="{15857558-55D4-4EA4-8633-B3479D3C8711}"/>
              </a:ext>
            </a:extLst>
          </p:cNvPr>
          <p:cNvSpPr txBox="1"/>
          <p:nvPr/>
        </p:nvSpPr>
        <p:spPr>
          <a:xfrm>
            <a:off x="3164330"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7" name="TextBox 336">
            <a:extLst>
              <a:ext uri="{FF2B5EF4-FFF2-40B4-BE49-F238E27FC236}">
                <a16:creationId xmlns:a16="http://schemas.microsoft.com/office/drawing/2014/main" id="{25EB75F7-F8A3-4B1F-AC00-DC67C2323522}"/>
              </a:ext>
            </a:extLst>
          </p:cNvPr>
          <p:cNvSpPr txBox="1"/>
          <p:nvPr/>
        </p:nvSpPr>
        <p:spPr>
          <a:xfrm>
            <a:off x="3519299"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42</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8" name="TextBox 337">
            <a:extLst>
              <a:ext uri="{FF2B5EF4-FFF2-40B4-BE49-F238E27FC236}">
                <a16:creationId xmlns:a16="http://schemas.microsoft.com/office/drawing/2014/main" id="{5BC36C4A-1CED-47EB-A12F-24CFD7B36787}"/>
              </a:ext>
            </a:extLst>
          </p:cNvPr>
          <p:cNvSpPr txBox="1"/>
          <p:nvPr/>
        </p:nvSpPr>
        <p:spPr>
          <a:xfrm>
            <a:off x="3874271"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48</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9" name="TextBox 338">
            <a:extLst>
              <a:ext uri="{FF2B5EF4-FFF2-40B4-BE49-F238E27FC236}">
                <a16:creationId xmlns:a16="http://schemas.microsoft.com/office/drawing/2014/main" id="{3D0C75A9-8116-4B7C-912B-1FD191E345D4}"/>
              </a:ext>
            </a:extLst>
          </p:cNvPr>
          <p:cNvSpPr txBox="1"/>
          <p:nvPr/>
        </p:nvSpPr>
        <p:spPr>
          <a:xfrm>
            <a:off x="4229242"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5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0" name="TextBox 339">
            <a:extLst>
              <a:ext uri="{FF2B5EF4-FFF2-40B4-BE49-F238E27FC236}">
                <a16:creationId xmlns:a16="http://schemas.microsoft.com/office/drawing/2014/main" id="{9F99701D-3808-4458-9974-0C8138E19187}"/>
              </a:ext>
            </a:extLst>
          </p:cNvPr>
          <p:cNvSpPr txBox="1"/>
          <p:nvPr/>
        </p:nvSpPr>
        <p:spPr>
          <a:xfrm>
            <a:off x="4584212"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0</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1" name="TextBox 340">
            <a:extLst>
              <a:ext uri="{FF2B5EF4-FFF2-40B4-BE49-F238E27FC236}">
                <a16:creationId xmlns:a16="http://schemas.microsoft.com/office/drawing/2014/main" id="{AD6AB612-A39A-4049-BA40-EB80E52B80BE}"/>
              </a:ext>
            </a:extLst>
          </p:cNvPr>
          <p:cNvSpPr txBox="1"/>
          <p:nvPr/>
        </p:nvSpPr>
        <p:spPr>
          <a:xfrm>
            <a:off x="4939184"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2" name="TextBox 341">
            <a:extLst>
              <a:ext uri="{FF2B5EF4-FFF2-40B4-BE49-F238E27FC236}">
                <a16:creationId xmlns:a16="http://schemas.microsoft.com/office/drawing/2014/main" id="{07BC9FEC-317B-42E3-A9CA-B3994791841E}"/>
              </a:ext>
            </a:extLst>
          </p:cNvPr>
          <p:cNvSpPr txBox="1"/>
          <p:nvPr/>
        </p:nvSpPr>
        <p:spPr>
          <a:xfrm>
            <a:off x="5294156" y="3624813"/>
            <a:ext cx="1438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72</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3" name="TextBox 342">
            <a:extLst>
              <a:ext uri="{FF2B5EF4-FFF2-40B4-BE49-F238E27FC236}">
                <a16:creationId xmlns:a16="http://schemas.microsoft.com/office/drawing/2014/main" id="{E5EE18EF-E026-4510-8099-6788C340A699}"/>
              </a:ext>
            </a:extLst>
          </p:cNvPr>
          <p:cNvSpPr txBox="1"/>
          <p:nvPr/>
        </p:nvSpPr>
        <p:spPr>
          <a:xfrm>
            <a:off x="993704"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1</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4" name="TextBox 343">
            <a:extLst>
              <a:ext uri="{FF2B5EF4-FFF2-40B4-BE49-F238E27FC236}">
                <a16:creationId xmlns:a16="http://schemas.microsoft.com/office/drawing/2014/main" id="{8ACE5C83-B381-43DA-97EC-9EEFE9C91280}"/>
              </a:ext>
            </a:extLst>
          </p:cNvPr>
          <p:cNvSpPr txBox="1"/>
          <p:nvPr/>
        </p:nvSpPr>
        <p:spPr>
          <a:xfrm>
            <a:off x="1348676"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61</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5" name="TextBox 344">
            <a:extLst>
              <a:ext uri="{FF2B5EF4-FFF2-40B4-BE49-F238E27FC236}">
                <a16:creationId xmlns:a16="http://schemas.microsoft.com/office/drawing/2014/main" id="{23ACD8E3-8A90-4CB0-BAA3-CBD09B2F92DC}"/>
              </a:ext>
            </a:extLst>
          </p:cNvPr>
          <p:cNvSpPr txBox="1"/>
          <p:nvPr/>
        </p:nvSpPr>
        <p:spPr>
          <a:xfrm>
            <a:off x="1703647"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20</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6" name="TextBox 345">
            <a:extLst>
              <a:ext uri="{FF2B5EF4-FFF2-40B4-BE49-F238E27FC236}">
                <a16:creationId xmlns:a16="http://schemas.microsoft.com/office/drawing/2014/main" id="{4C94E571-7144-428F-9284-1A7D6B2BA54E}"/>
              </a:ext>
            </a:extLst>
          </p:cNvPr>
          <p:cNvSpPr txBox="1"/>
          <p:nvPr/>
        </p:nvSpPr>
        <p:spPr>
          <a:xfrm>
            <a:off x="2058617"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87</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7" name="TextBox 346">
            <a:extLst>
              <a:ext uri="{FF2B5EF4-FFF2-40B4-BE49-F238E27FC236}">
                <a16:creationId xmlns:a16="http://schemas.microsoft.com/office/drawing/2014/main" id="{D83D654A-01F9-44C0-8CEA-62BBBE13DF2A}"/>
              </a:ext>
            </a:extLst>
          </p:cNvPr>
          <p:cNvSpPr txBox="1"/>
          <p:nvPr/>
        </p:nvSpPr>
        <p:spPr>
          <a:xfrm>
            <a:off x="2413589"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47</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8" name="TextBox 347">
            <a:extLst>
              <a:ext uri="{FF2B5EF4-FFF2-40B4-BE49-F238E27FC236}">
                <a16:creationId xmlns:a16="http://schemas.microsoft.com/office/drawing/2014/main" id="{431C3E76-3C31-476B-8981-6DD902CE9093}"/>
              </a:ext>
            </a:extLst>
          </p:cNvPr>
          <p:cNvSpPr txBox="1"/>
          <p:nvPr/>
        </p:nvSpPr>
        <p:spPr>
          <a:xfrm>
            <a:off x="2768560"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20</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9" name="TextBox 348">
            <a:extLst>
              <a:ext uri="{FF2B5EF4-FFF2-40B4-BE49-F238E27FC236}">
                <a16:creationId xmlns:a16="http://schemas.microsoft.com/office/drawing/2014/main" id="{C890D8E1-7174-40CA-97BE-27BEF9D7E4A1}"/>
              </a:ext>
            </a:extLst>
          </p:cNvPr>
          <p:cNvSpPr txBox="1"/>
          <p:nvPr/>
        </p:nvSpPr>
        <p:spPr>
          <a:xfrm>
            <a:off x="3123530"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7</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0" name="TextBox 349">
            <a:extLst>
              <a:ext uri="{FF2B5EF4-FFF2-40B4-BE49-F238E27FC236}">
                <a16:creationId xmlns:a16="http://schemas.microsoft.com/office/drawing/2014/main" id="{0F4F6393-1EEB-4D71-BD16-B1A211449632}"/>
              </a:ext>
            </a:extLst>
          </p:cNvPr>
          <p:cNvSpPr txBox="1"/>
          <p:nvPr/>
        </p:nvSpPr>
        <p:spPr>
          <a:xfrm>
            <a:off x="3478501"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96</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1" name="TextBox 350">
            <a:extLst>
              <a:ext uri="{FF2B5EF4-FFF2-40B4-BE49-F238E27FC236}">
                <a16:creationId xmlns:a16="http://schemas.microsoft.com/office/drawing/2014/main" id="{012C7C8B-C438-4B07-8056-3C3280C54A64}"/>
              </a:ext>
            </a:extLst>
          </p:cNvPr>
          <p:cNvSpPr txBox="1"/>
          <p:nvPr/>
        </p:nvSpPr>
        <p:spPr>
          <a:xfrm>
            <a:off x="3833471"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81</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2" name="TextBox 351">
            <a:extLst>
              <a:ext uri="{FF2B5EF4-FFF2-40B4-BE49-F238E27FC236}">
                <a16:creationId xmlns:a16="http://schemas.microsoft.com/office/drawing/2014/main" id="{9581C7F5-C260-4B43-B0AA-6100A3AB33CB}"/>
              </a:ext>
            </a:extLst>
          </p:cNvPr>
          <p:cNvSpPr txBox="1"/>
          <p:nvPr/>
        </p:nvSpPr>
        <p:spPr>
          <a:xfrm>
            <a:off x="4188443"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4</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3" name="TextBox 352">
            <a:extLst>
              <a:ext uri="{FF2B5EF4-FFF2-40B4-BE49-F238E27FC236}">
                <a16:creationId xmlns:a16="http://schemas.microsoft.com/office/drawing/2014/main" id="{8FC19603-8882-4D69-866C-471B0A3850CC}"/>
              </a:ext>
            </a:extLst>
          </p:cNvPr>
          <p:cNvSpPr txBox="1"/>
          <p:nvPr/>
        </p:nvSpPr>
        <p:spPr>
          <a:xfrm>
            <a:off x="4543414"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8</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4" name="TextBox 353">
            <a:extLst>
              <a:ext uri="{FF2B5EF4-FFF2-40B4-BE49-F238E27FC236}">
                <a16:creationId xmlns:a16="http://schemas.microsoft.com/office/drawing/2014/main" id="{D368ADD1-1849-4DEC-A12A-EE8F8A20B6D9}"/>
              </a:ext>
            </a:extLst>
          </p:cNvPr>
          <p:cNvSpPr txBox="1"/>
          <p:nvPr/>
        </p:nvSpPr>
        <p:spPr>
          <a:xfrm>
            <a:off x="4898384"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5" name="TextBox 354">
            <a:extLst>
              <a:ext uri="{FF2B5EF4-FFF2-40B4-BE49-F238E27FC236}">
                <a16:creationId xmlns:a16="http://schemas.microsoft.com/office/drawing/2014/main" id="{793EAB82-6B3D-409A-AF77-EDF5ACF445CE}"/>
              </a:ext>
            </a:extLst>
          </p:cNvPr>
          <p:cNvSpPr txBox="1"/>
          <p:nvPr/>
        </p:nvSpPr>
        <p:spPr>
          <a:xfrm>
            <a:off x="5253358" y="4042677"/>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6" name="TextBox 355">
            <a:extLst>
              <a:ext uri="{FF2B5EF4-FFF2-40B4-BE49-F238E27FC236}">
                <a16:creationId xmlns:a16="http://schemas.microsoft.com/office/drawing/2014/main" id="{A56F0240-693C-4190-B8DE-9C7E0379756B}"/>
              </a:ext>
            </a:extLst>
          </p:cNvPr>
          <p:cNvSpPr txBox="1"/>
          <p:nvPr/>
        </p:nvSpPr>
        <p:spPr>
          <a:xfrm>
            <a:off x="993704"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4</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7" name="TextBox 356">
            <a:extLst>
              <a:ext uri="{FF2B5EF4-FFF2-40B4-BE49-F238E27FC236}">
                <a16:creationId xmlns:a16="http://schemas.microsoft.com/office/drawing/2014/main" id="{BEBE8299-E652-4FA0-91F6-F6493F7FA414}"/>
              </a:ext>
            </a:extLst>
          </p:cNvPr>
          <p:cNvSpPr txBox="1"/>
          <p:nvPr/>
        </p:nvSpPr>
        <p:spPr>
          <a:xfrm>
            <a:off x="1348676"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73</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8" name="TextBox 357">
            <a:extLst>
              <a:ext uri="{FF2B5EF4-FFF2-40B4-BE49-F238E27FC236}">
                <a16:creationId xmlns:a16="http://schemas.microsoft.com/office/drawing/2014/main" id="{D6626F99-BD7E-4F9C-AF1E-5ED4770B1BF3}"/>
              </a:ext>
            </a:extLst>
          </p:cNvPr>
          <p:cNvSpPr txBox="1"/>
          <p:nvPr/>
        </p:nvSpPr>
        <p:spPr>
          <a:xfrm>
            <a:off x="1703647"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25</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9" name="TextBox 358">
            <a:extLst>
              <a:ext uri="{FF2B5EF4-FFF2-40B4-BE49-F238E27FC236}">
                <a16:creationId xmlns:a16="http://schemas.microsoft.com/office/drawing/2014/main" id="{0F47F4D0-0341-4607-BB09-B5960B3647A3}"/>
              </a:ext>
            </a:extLst>
          </p:cNvPr>
          <p:cNvSpPr txBox="1"/>
          <p:nvPr/>
        </p:nvSpPr>
        <p:spPr>
          <a:xfrm>
            <a:off x="2058617"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74</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0" name="TextBox 359">
            <a:extLst>
              <a:ext uri="{FF2B5EF4-FFF2-40B4-BE49-F238E27FC236}">
                <a16:creationId xmlns:a16="http://schemas.microsoft.com/office/drawing/2014/main" id="{738DDE31-8D7F-4D32-8DAE-92CD801BA6D6}"/>
              </a:ext>
            </a:extLst>
          </p:cNvPr>
          <p:cNvSpPr txBox="1"/>
          <p:nvPr/>
        </p:nvSpPr>
        <p:spPr>
          <a:xfrm>
            <a:off x="2413589"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32</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1" name="TextBox 360">
            <a:extLst>
              <a:ext uri="{FF2B5EF4-FFF2-40B4-BE49-F238E27FC236}">
                <a16:creationId xmlns:a16="http://schemas.microsoft.com/office/drawing/2014/main" id="{3440DBA1-F58B-4A86-BB4B-E9534CF0446B}"/>
              </a:ext>
            </a:extLst>
          </p:cNvPr>
          <p:cNvSpPr txBox="1"/>
          <p:nvPr/>
        </p:nvSpPr>
        <p:spPr>
          <a:xfrm>
            <a:off x="2768560"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21</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2" name="TextBox 361">
            <a:extLst>
              <a:ext uri="{FF2B5EF4-FFF2-40B4-BE49-F238E27FC236}">
                <a16:creationId xmlns:a16="http://schemas.microsoft.com/office/drawing/2014/main" id="{94E66E64-C590-4D75-B83A-734D819769C5}"/>
              </a:ext>
            </a:extLst>
          </p:cNvPr>
          <p:cNvSpPr txBox="1"/>
          <p:nvPr/>
        </p:nvSpPr>
        <p:spPr>
          <a:xfrm>
            <a:off x="3123530"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6</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3" name="TextBox 362">
            <a:extLst>
              <a:ext uri="{FF2B5EF4-FFF2-40B4-BE49-F238E27FC236}">
                <a16:creationId xmlns:a16="http://schemas.microsoft.com/office/drawing/2014/main" id="{0BEED1EC-340F-403B-8707-DED861260747}"/>
              </a:ext>
            </a:extLst>
          </p:cNvPr>
          <p:cNvSpPr txBox="1"/>
          <p:nvPr/>
        </p:nvSpPr>
        <p:spPr>
          <a:xfrm>
            <a:off x="3478501"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98</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4" name="TextBox 363">
            <a:extLst>
              <a:ext uri="{FF2B5EF4-FFF2-40B4-BE49-F238E27FC236}">
                <a16:creationId xmlns:a16="http://schemas.microsoft.com/office/drawing/2014/main" id="{0E8D9652-0F5F-4408-919F-487541496B32}"/>
              </a:ext>
            </a:extLst>
          </p:cNvPr>
          <p:cNvSpPr txBox="1"/>
          <p:nvPr/>
        </p:nvSpPr>
        <p:spPr>
          <a:xfrm>
            <a:off x="3833471"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82</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5" name="TextBox 364">
            <a:extLst>
              <a:ext uri="{FF2B5EF4-FFF2-40B4-BE49-F238E27FC236}">
                <a16:creationId xmlns:a16="http://schemas.microsoft.com/office/drawing/2014/main" id="{E26D56A0-8F09-4141-8E85-E616EC859F45}"/>
              </a:ext>
            </a:extLst>
          </p:cNvPr>
          <p:cNvSpPr txBox="1"/>
          <p:nvPr/>
        </p:nvSpPr>
        <p:spPr>
          <a:xfrm>
            <a:off x="4188443"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3</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6" name="TextBox 365">
            <a:extLst>
              <a:ext uri="{FF2B5EF4-FFF2-40B4-BE49-F238E27FC236}">
                <a16:creationId xmlns:a16="http://schemas.microsoft.com/office/drawing/2014/main" id="{91F6D5B8-0119-42D7-9F12-9BB37FB46718}"/>
              </a:ext>
            </a:extLst>
          </p:cNvPr>
          <p:cNvSpPr txBox="1"/>
          <p:nvPr/>
        </p:nvSpPr>
        <p:spPr>
          <a:xfrm>
            <a:off x="4543414"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7" name="TextBox 366">
            <a:extLst>
              <a:ext uri="{FF2B5EF4-FFF2-40B4-BE49-F238E27FC236}">
                <a16:creationId xmlns:a16="http://schemas.microsoft.com/office/drawing/2014/main" id="{A9323C28-A98B-4E38-8032-72F56839CF01}"/>
              </a:ext>
            </a:extLst>
          </p:cNvPr>
          <p:cNvSpPr txBox="1"/>
          <p:nvPr/>
        </p:nvSpPr>
        <p:spPr>
          <a:xfrm>
            <a:off x="4898384"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6</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8" name="TextBox 367">
            <a:extLst>
              <a:ext uri="{FF2B5EF4-FFF2-40B4-BE49-F238E27FC236}">
                <a16:creationId xmlns:a16="http://schemas.microsoft.com/office/drawing/2014/main" id="{696AC6CA-AEE9-43F0-9054-680B11C81029}"/>
              </a:ext>
            </a:extLst>
          </p:cNvPr>
          <p:cNvSpPr txBox="1"/>
          <p:nvPr/>
        </p:nvSpPr>
        <p:spPr>
          <a:xfrm>
            <a:off x="5253358" y="4175340"/>
            <a:ext cx="225435" cy="14864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a:t>
            </a:r>
            <a:endParaRPr kumimoji="0" lang="x-none" sz="825"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9" name="TextBox 368">
            <a:extLst>
              <a:ext uri="{FF2B5EF4-FFF2-40B4-BE49-F238E27FC236}">
                <a16:creationId xmlns:a16="http://schemas.microsoft.com/office/drawing/2014/main" id="{3B29579B-4778-49D8-9470-7EAD6B0FABDF}"/>
              </a:ext>
            </a:extLst>
          </p:cNvPr>
          <p:cNvSpPr txBox="1"/>
          <p:nvPr/>
        </p:nvSpPr>
        <p:spPr>
          <a:xfrm>
            <a:off x="4469799" y="972572"/>
            <a:ext cx="516552" cy="241740"/>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a:t>
            </a: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tients</a:t>
            </a: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n</a:t>
            </a:r>
            <a:endPar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0" name="TextBox 369">
            <a:extLst>
              <a:ext uri="{FF2B5EF4-FFF2-40B4-BE49-F238E27FC236}">
                <a16:creationId xmlns:a16="http://schemas.microsoft.com/office/drawing/2014/main" id="{5E99F291-E583-4D42-85B0-6B84D595300B}"/>
              </a:ext>
            </a:extLst>
          </p:cNvPr>
          <p:cNvSpPr txBox="1"/>
          <p:nvPr/>
        </p:nvSpPr>
        <p:spPr>
          <a:xfrm>
            <a:off x="5232364" y="1072469"/>
            <a:ext cx="394502" cy="141843"/>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Events</a:t>
            </a: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n</a:t>
            </a:r>
            <a:endPar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1" name="TextBox 370">
            <a:extLst>
              <a:ext uri="{FF2B5EF4-FFF2-40B4-BE49-F238E27FC236}">
                <a16:creationId xmlns:a16="http://schemas.microsoft.com/office/drawing/2014/main" id="{E5195B44-C0D1-4527-9030-F54823D77257}"/>
              </a:ext>
            </a:extLst>
          </p:cNvPr>
          <p:cNvSpPr txBox="1"/>
          <p:nvPr/>
        </p:nvSpPr>
        <p:spPr>
          <a:xfrm>
            <a:off x="4530825" y="1301147"/>
            <a:ext cx="394502" cy="141843"/>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1</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2" name="TextBox 371">
            <a:extLst>
              <a:ext uri="{FF2B5EF4-FFF2-40B4-BE49-F238E27FC236}">
                <a16:creationId xmlns:a16="http://schemas.microsoft.com/office/drawing/2014/main" id="{64268529-50A0-47B3-B9C2-8735718CE2A8}"/>
              </a:ext>
            </a:extLst>
          </p:cNvPr>
          <p:cNvSpPr txBox="1"/>
          <p:nvPr/>
        </p:nvSpPr>
        <p:spPr>
          <a:xfrm>
            <a:off x="5213893" y="1311736"/>
            <a:ext cx="394502" cy="141843"/>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69</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3" name="TextBox 372">
            <a:extLst>
              <a:ext uri="{FF2B5EF4-FFF2-40B4-BE49-F238E27FC236}">
                <a16:creationId xmlns:a16="http://schemas.microsoft.com/office/drawing/2014/main" id="{A505E714-BEA9-417B-A786-4F3841283889}"/>
              </a:ext>
            </a:extLst>
          </p:cNvPr>
          <p:cNvSpPr txBox="1"/>
          <p:nvPr/>
        </p:nvSpPr>
        <p:spPr>
          <a:xfrm>
            <a:off x="3713346" y="1301147"/>
            <a:ext cx="394502" cy="141843"/>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Ixazomib-Rd</a:t>
            </a:r>
            <a:endPar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4" name="TextBox 373">
            <a:extLst>
              <a:ext uri="{FF2B5EF4-FFF2-40B4-BE49-F238E27FC236}">
                <a16:creationId xmlns:a16="http://schemas.microsoft.com/office/drawing/2014/main" id="{C035EDF8-E500-49FD-9E75-B312D5470F8C}"/>
              </a:ext>
            </a:extLst>
          </p:cNvPr>
          <p:cNvSpPr txBox="1"/>
          <p:nvPr/>
        </p:nvSpPr>
        <p:spPr>
          <a:xfrm>
            <a:off x="4530825" y="1427431"/>
            <a:ext cx="394502" cy="141843"/>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5" name="TextBox 374">
            <a:extLst>
              <a:ext uri="{FF2B5EF4-FFF2-40B4-BE49-F238E27FC236}">
                <a16:creationId xmlns:a16="http://schemas.microsoft.com/office/drawing/2014/main" id="{4917B484-FE2D-4FB5-B24B-070170A3F83C}"/>
              </a:ext>
            </a:extLst>
          </p:cNvPr>
          <p:cNvSpPr txBox="1"/>
          <p:nvPr/>
        </p:nvSpPr>
        <p:spPr>
          <a:xfrm>
            <a:off x="5217085" y="1430960"/>
            <a:ext cx="394502" cy="141843"/>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09</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6" name="TextBox 375">
            <a:extLst>
              <a:ext uri="{FF2B5EF4-FFF2-40B4-BE49-F238E27FC236}">
                <a16:creationId xmlns:a16="http://schemas.microsoft.com/office/drawing/2014/main" id="{0A9CD818-3FE9-40A4-B917-449BDDA7B783}"/>
              </a:ext>
            </a:extLst>
          </p:cNvPr>
          <p:cNvSpPr txBox="1"/>
          <p:nvPr/>
        </p:nvSpPr>
        <p:spPr>
          <a:xfrm>
            <a:off x="3713346" y="1427431"/>
            <a:ext cx="598367" cy="141843"/>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lacebo</a:t>
            </a:r>
            <a:r>
              <a:rPr kumimoji="0" lang="en-US"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d</a:t>
            </a:r>
            <a:endPar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7" name="TextBox 376">
            <a:extLst>
              <a:ext uri="{FF2B5EF4-FFF2-40B4-BE49-F238E27FC236}">
                <a16:creationId xmlns:a16="http://schemas.microsoft.com/office/drawing/2014/main" id="{F8D8D1E4-A963-43FA-8DD6-9165CF0BF85B}"/>
              </a:ext>
            </a:extLst>
          </p:cNvPr>
          <p:cNvSpPr txBox="1"/>
          <p:nvPr/>
        </p:nvSpPr>
        <p:spPr>
          <a:xfrm>
            <a:off x="3713346" y="1731605"/>
            <a:ext cx="2000332" cy="141841"/>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HR (95% CI): 0.</a:t>
            </a: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830</a:t>
            </a: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0.</a:t>
            </a: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76</a:t>
            </a: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t>
            </a: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18</a:t>
            </a: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t>
            </a:r>
          </a:p>
        </p:txBody>
      </p:sp>
      <p:sp>
        <p:nvSpPr>
          <p:cNvPr id="378" name="TextBox 377">
            <a:extLst>
              <a:ext uri="{FF2B5EF4-FFF2-40B4-BE49-F238E27FC236}">
                <a16:creationId xmlns:a16="http://schemas.microsoft.com/office/drawing/2014/main" id="{8511CAB8-E80F-4B0E-851A-B7B8957EAF4B}"/>
              </a:ext>
            </a:extLst>
          </p:cNvPr>
          <p:cNvSpPr txBox="1"/>
          <p:nvPr/>
        </p:nvSpPr>
        <p:spPr>
          <a:xfrm>
            <a:off x="3713346" y="1865983"/>
            <a:ext cx="2000332" cy="141843"/>
          </a:xfrm>
          <a:prstGeom prst="rect">
            <a:avLst/>
          </a:prstGeom>
          <a:solidFill>
            <a:srgbClr val="ED7D31"/>
          </a:solid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Log-rank test </a:t>
            </a:r>
            <a:r>
              <a:rPr kumimoji="0" lang="en-GB" sz="105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a:t>
            </a:r>
            <a:r>
              <a:rPr kumimoji="0" lang="en-GB"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value</a:t>
            </a: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0</a:t>
            </a: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73</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8" name="TextBox 307">
            <a:extLst>
              <a:ext uri="{FF2B5EF4-FFF2-40B4-BE49-F238E27FC236}">
                <a16:creationId xmlns:a16="http://schemas.microsoft.com/office/drawing/2014/main" id="{48597F30-C4F5-4E94-AEFE-540776AE3431}"/>
              </a:ext>
            </a:extLst>
          </p:cNvPr>
          <p:cNvSpPr txBox="1"/>
          <p:nvPr/>
        </p:nvSpPr>
        <p:spPr>
          <a:xfrm>
            <a:off x="2406113" y="1653050"/>
            <a:ext cx="1106999" cy="442749"/>
          </a:xfrm>
          <a:prstGeom prst="rect">
            <a:avLst/>
          </a:prstGeom>
          <a:noFill/>
        </p:spPr>
        <p:txBody>
          <a:bodyPr wrap="non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edian</a:t>
            </a: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en-US"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FS</a:t>
            </a:r>
            <a:r>
              <a:rPr kumimoji="0" lang="en-GB" sz="105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br>
              <a:rPr kumimoji="0" lang="en-GB" sz="105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b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3 </a:t>
            </a: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o</a:t>
            </a: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nths</a:t>
            </a:r>
            <a:endPar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9" name="TextBox 308">
            <a:extLst>
              <a:ext uri="{FF2B5EF4-FFF2-40B4-BE49-F238E27FC236}">
                <a16:creationId xmlns:a16="http://schemas.microsoft.com/office/drawing/2014/main" id="{E1872020-B103-4A5A-BB24-5C98D44BB8DA}"/>
              </a:ext>
            </a:extLst>
          </p:cNvPr>
          <p:cNvSpPr txBox="1"/>
          <p:nvPr/>
        </p:nvSpPr>
        <p:spPr>
          <a:xfrm>
            <a:off x="1428920" y="2284433"/>
            <a:ext cx="1106999" cy="442749"/>
          </a:xfrm>
          <a:prstGeom prst="rect">
            <a:avLst/>
          </a:prstGeom>
          <a:noFill/>
        </p:spPr>
        <p:txBody>
          <a:bodyPr wrap="non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edian</a:t>
            </a: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en-US"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FS</a:t>
            </a:r>
            <a:r>
              <a:rPr kumimoji="0" lang="en-GB" sz="105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br>
              <a:rPr kumimoji="0" lang="en-GB" sz="105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b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1.8 </a:t>
            </a:r>
            <a:r>
              <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o</a:t>
            </a:r>
            <a:r>
              <a:rPr kumimoji="0" lang="en-GB"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nths</a:t>
            </a:r>
            <a:endParaRPr kumimoji="0" lang="x-none" sz="105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pic>
        <p:nvPicPr>
          <p:cNvPr id="302" name="Picture 301" descr="Qr code&#10;&#10;Description automatically generated">
            <a:extLst>
              <a:ext uri="{FF2B5EF4-FFF2-40B4-BE49-F238E27FC236}">
                <a16:creationId xmlns:a16="http://schemas.microsoft.com/office/drawing/2014/main" id="{A2468C77-9AA1-4F6B-B2D1-F4672072B6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63467" y="75609"/>
            <a:ext cx="763198" cy="763198"/>
          </a:xfrm>
          <a:prstGeom prst="rect">
            <a:avLst/>
          </a:prstGeom>
        </p:spPr>
      </p:pic>
    </p:spTree>
    <p:extLst>
      <p:ext uri="{BB962C8B-B14F-4D97-AF65-F5344CB8AC3E}">
        <p14:creationId xmlns:p14="http://schemas.microsoft.com/office/powerpoint/2010/main" val="302609678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805" y="47869"/>
            <a:ext cx="8229600" cy="721757"/>
          </a:xfrm>
        </p:spPr>
        <p:txBody>
          <a:bodyPr anchor="t"/>
          <a:lstStyle/>
          <a:p>
            <a:r>
              <a:rPr lang="en-US" sz="3000" b="1" noProof="0">
                <a:solidFill>
                  <a:srgbClr val="000090"/>
                </a:solidFill>
                <a:latin typeface="Calibri Light" panose="020F0302020204030204" pitchFamily="34" charset="0"/>
                <a:cs typeface="Calibri Light" panose="020F0302020204030204" pitchFamily="34" charset="0"/>
              </a:rPr>
              <a:t>Longer TTP With Ixazomib-Rd vs Placebo-Rd</a:t>
            </a:r>
          </a:p>
        </p:txBody>
      </p:sp>
      <p:sp>
        <p:nvSpPr>
          <p:cNvPr id="323" name="TextBox 322">
            <a:extLst>
              <a:ext uri="{FF2B5EF4-FFF2-40B4-BE49-F238E27FC236}">
                <a16:creationId xmlns:a16="http://schemas.microsoft.com/office/drawing/2014/main" id="{E21EDA94-3060-2740-8156-38CF05588B34}"/>
              </a:ext>
            </a:extLst>
          </p:cNvPr>
          <p:cNvSpPr txBox="1"/>
          <p:nvPr/>
        </p:nvSpPr>
        <p:spPr>
          <a:xfrm>
            <a:off x="92864" y="4045378"/>
            <a:ext cx="1697599" cy="153776"/>
          </a:xfrm>
          <a:prstGeom prst="rect">
            <a:avLst/>
          </a:prstGeom>
          <a:noFill/>
        </p:spPr>
        <p:txBody>
          <a:bodyPr wrap="none" lIns="0" tIns="0" rIns="0" bIns="0" rtlCol="0" anchor="ctr">
            <a:noAutofit/>
          </a:body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rPr>
              <a:t>Patients at risk, n</a:t>
            </a:r>
            <a:endParaRPr kumimoji="0" lang="x-none" sz="675"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 name="Freeform 7">
            <a:extLst>
              <a:ext uri="{FF2B5EF4-FFF2-40B4-BE49-F238E27FC236}">
                <a16:creationId xmlns:a16="http://schemas.microsoft.com/office/drawing/2014/main" id="{4515BA01-5919-8F4A-88C0-C256C1DE9990}"/>
              </a:ext>
            </a:extLst>
          </p:cNvPr>
          <p:cNvSpPr/>
          <p:nvPr/>
        </p:nvSpPr>
        <p:spPr>
          <a:xfrm>
            <a:off x="2093186" y="2335150"/>
            <a:ext cx="57499" cy="25950"/>
          </a:xfrm>
          <a:custGeom>
            <a:avLst/>
            <a:gdLst>
              <a:gd name="connsiteX0" fmla="*/ 9498 w 9498"/>
              <a:gd name="connsiteY0" fmla="*/ 0 h 9503"/>
              <a:gd name="connsiteX1" fmla="*/ 0 w 9498"/>
              <a:gd name="connsiteY1" fmla="*/ 0 h 9503"/>
            </a:gdLst>
            <a:ahLst/>
            <a:cxnLst>
              <a:cxn ang="0">
                <a:pos x="connsiteX0" y="connsiteY0"/>
              </a:cxn>
              <a:cxn ang="0">
                <a:pos x="connsiteX1" y="connsiteY1"/>
              </a:cxn>
            </a:cxnLst>
            <a:rect l="l" t="t" r="r" b="b"/>
            <a:pathLst>
              <a:path w="9498" h="9503">
                <a:moveTo>
                  <a:pt x="9498" y="0"/>
                </a:moveTo>
                <a:lnTo>
                  <a:pt x="0" y="0"/>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 name="Freeform 8">
            <a:extLst>
              <a:ext uri="{FF2B5EF4-FFF2-40B4-BE49-F238E27FC236}">
                <a16:creationId xmlns:a16="http://schemas.microsoft.com/office/drawing/2014/main" id="{A8A538E7-1E68-424B-9F88-4AAB74535D20}"/>
              </a:ext>
            </a:extLst>
          </p:cNvPr>
          <p:cNvSpPr/>
          <p:nvPr/>
        </p:nvSpPr>
        <p:spPr>
          <a:xfrm>
            <a:off x="2093185" y="1003239"/>
            <a:ext cx="5442356" cy="2663821"/>
          </a:xfrm>
          <a:custGeom>
            <a:avLst/>
            <a:gdLst>
              <a:gd name="connsiteX0" fmla="*/ 0 w 1759563"/>
              <a:gd name="connsiteY0" fmla="*/ 0 h 975487"/>
              <a:gd name="connsiteX1" fmla="*/ 0 w 1759563"/>
              <a:gd name="connsiteY1" fmla="*/ 975488 h 975487"/>
              <a:gd name="connsiteX2" fmla="*/ 1759564 w 1759563"/>
              <a:gd name="connsiteY2" fmla="*/ 975488 h 975487"/>
            </a:gdLst>
            <a:ahLst/>
            <a:cxnLst>
              <a:cxn ang="0">
                <a:pos x="connsiteX0" y="connsiteY0"/>
              </a:cxn>
              <a:cxn ang="0">
                <a:pos x="connsiteX1" y="connsiteY1"/>
              </a:cxn>
              <a:cxn ang="0">
                <a:pos x="connsiteX2" y="connsiteY2"/>
              </a:cxn>
            </a:cxnLst>
            <a:rect l="l" t="t" r="r" b="b"/>
            <a:pathLst>
              <a:path w="1759563" h="975487">
                <a:moveTo>
                  <a:pt x="0" y="0"/>
                </a:moveTo>
                <a:lnTo>
                  <a:pt x="0" y="975488"/>
                </a:lnTo>
                <a:lnTo>
                  <a:pt x="1759564" y="975488"/>
                </a:lnTo>
              </a:path>
            </a:pathLst>
          </a:custGeom>
          <a:noFill/>
          <a:ln w="19050" cap="sq">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 name="Freeform 9">
            <a:extLst>
              <a:ext uri="{FF2B5EF4-FFF2-40B4-BE49-F238E27FC236}">
                <a16:creationId xmlns:a16="http://schemas.microsoft.com/office/drawing/2014/main" id="{5D6FA7B5-67A8-AD4C-883F-290C785A1443}"/>
              </a:ext>
            </a:extLst>
          </p:cNvPr>
          <p:cNvSpPr/>
          <p:nvPr/>
        </p:nvSpPr>
        <p:spPr>
          <a:xfrm>
            <a:off x="2045174" y="1003238"/>
            <a:ext cx="57499" cy="25950"/>
          </a:xfrm>
          <a:custGeom>
            <a:avLst/>
            <a:gdLst>
              <a:gd name="connsiteX0" fmla="*/ 0 w 27640"/>
              <a:gd name="connsiteY0" fmla="*/ 0 h 9503"/>
              <a:gd name="connsiteX1" fmla="*/ 27640 w 27640"/>
              <a:gd name="connsiteY1" fmla="*/ 0 h 9503"/>
            </a:gdLst>
            <a:ahLst/>
            <a:cxnLst>
              <a:cxn ang="0">
                <a:pos x="connsiteX0" y="connsiteY0"/>
              </a:cxn>
              <a:cxn ang="0">
                <a:pos x="connsiteX1" y="connsiteY1"/>
              </a:cxn>
            </a:cxnLst>
            <a:rect l="l" t="t" r="r" b="b"/>
            <a:pathLst>
              <a:path w="27640" h="9503">
                <a:moveTo>
                  <a:pt x="0" y="0"/>
                </a:moveTo>
                <a:lnTo>
                  <a:pt x="27640" y="0"/>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 name="Freeform 10">
            <a:extLst>
              <a:ext uri="{FF2B5EF4-FFF2-40B4-BE49-F238E27FC236}">
                <a16:creationId xmlns:a16="http://schemas.microsoft.com/office/drawing/2014/main" id="{D66A1EC4-7C09-5C4E-BFA6-F08B4BD58485}"/>
              </a:ext>
            </a:extLst>
          </p:cNvPr>
          <p:cNvSpPr/>
          <p:nvPr/>
        </p:nvSpPr>
        <p:spPr>
          <a:xfrm>
            <a:off x="2045174" y="1536055"/>
            <a:ext cx="57499" cy="25950"/>
          </a:xfrm>
          <a:custGeom>
            <a:avLst/>
            <a:gdLst>
              <a:gd name="connsiteX0" fmla="*/ 0 w 27640"/>
              <a:gd name="connsiteY0" fmla="*/ 0 h 9503"/>
              <a:gd name="connsiteX1" fmla="*/ 27640 w 27640"/>
              <a:gd name="connsiteY1" fmla="*/ 0 h 9503"/>
            </a:gdLst>
            <a:ahLst/>
            <a:cxnLst>
              <a:cxn ang="0">
                <a:pos x="connsiteX0" y="connsiteY0"/>
              </a:cxn>
              <a:cxn ang="0">
                <a:pos x="connsiteX1" y="connsiteY1"/>
              </a:cxn>
            </a:cxnLst>
            <a:rect l="l" t="t" r="r" b="b"/>
            <a:pathLst>
              <a:path w="27640" h="9503">
                <a:moveTo>
                  <a:pt x="0" y="0"/>
                </a:moveTo>
                <a:lnTo>
                  <a:pt x="27640" y="0"/>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 name="Freeform 11">
            <a:extLst>
              <a:ext uri="{FF2B5EF4-FFF2-40B4-BE49-F238E27FC236}">
                <a16:creationId xmlns:a16="http://schemas.microsoft.com/office/drawing/2014/main" id="{79754AF8-B468-1C43-84BA-2BADD945EFBE}"/>
              </a:ext>
            </a:extLst>
          </p:cNvPr>
          <p:cNvSpPr/>
          <p:nvPr/>
        </p:nvSpPr>
        <p:spPr>
          <a:xfrm>
            <a:off x="2045174" y="2068611"/>
            <a:ext cx="57499" cy="25950"/>
          </a:xfrm>
          <a:custGeom>
            <a:avLst/>
            <a:gdLst>
              <a:gd name="connsiteX0" fmla="*/ 0 w 27640"/>
              <a:gd name="connsiteY0" fmla="*/ 0 h 9503"/>
              <a:gd name="connsiteX1" fmla="*/ 27640 w 27640"/>
              <a:gd name="connsiteY1" fmla="*/ 0 h 9503"/>
            </a:gdLst>
            <a:ahLst/>
            <a:cxnLst>
              <a:cxn ang="0">
                <a:pos x="connsiteX0" y="connsiteY0"/>
              </a:cxn>
              <a:cxn ang="0">
                <a:pos x="connsiteX1" y="connsiteY1"/>
              </a:cxn>
            </a:cxnLst>
            <a:rect l="l" t="t" r="r" b="b"/>
            <a:pathLst>
              <a:path w="27640" h="9503">
                <a:moveTo>
                  <a:pt x="0" y="0"/>
                </a:moveTo>
                <a:lnTo>
                  <a:pt x="27640" y="0"/>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 name="Freeform 12">
            <a:extLst>
              <a:ext uri="{FF2B5EF4-FFF2-40B4-BE49-F238E27FC236}">
                <a16:creationId xmlns:a16="http://schemas.microsoft.com/office/drawing/2014/main" id="{658F860C-381E-014B-BD73-BABAC718A246}"/>
              </a:ext>
            </a:extLst>
          </p:cNvPr>
          <p:cNvSpPr/>
          <p:nvPr/>
        </p:nvSpPr>
        <p:spPr>
          <a:xfrm>
            <a:off x="2045174" y="2601430"/>
            <a:ext cx="57499" cy="25950"/>
          </a:xfrm>
          <a:custGeom>
            <a:avLst/>
            <a:gdLst>
              <a:gd name="connsiteX0" fmla="*/ 0 w 27640"/>
              <a:gd name="connsiteY0" fmla="*/ 0 h 9503"/>
              <a:gd name="connsiteX1" fmla="*/ 27640 w 27640"/>
              <a:gd name="connsiteY1" fmla="*/ 0 h 9503"/>
            </a:gdLst>
            <a:ahLst/>
            <a:cxnLst>
              <a:cxn ang="0">
                <a:pos x="connsiteX0" y="connsiteY0"/>
              </a:cxn>
              <a:cxn ang="0">
                <a:pos x="connsiteX1" y="connsiteY1"/>
              </a:cxn>
            </a:cxnLst>
            <a:rect l="l" t="t" r="r" b="b"/>
            <a:pathLst>
              <a:path w="27640" h="9503">
                <a:moveTo>
                  <a:pt x="0" y="0"/>
                </a:moveTo>
                <a:lnTo>
                  <a:pt x="27640" y="0"/>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 name="Freeform 13">
            <a:extLst>
              <a:ext uri="{FF2B5EF4-FFF2-40B4-BE49-F238E27FC236}">
                <a16:creationId xmlns:a16="http://schemas.microsoft.com/office/drawing/2014/main" id="{3C2294DA-76E5-7143-BD53-551456EC05DB}"/>
              </a:ext>
            </a:extLst>
          </p:cNvPr>
          <p:cNvSpPr/>
          <p:nvPr/>
        </p:nvSpPr>
        <p:spPr>
          <a:xfrm>
            <a:off x="2045174" y="3134244"/>
            <a:ext cx="57499" cy="25950"/>
          </a:xfrm>
          <a:custGeom>
            <a:avLst/>
            <a:gdLst>
              <a:gd name="connsiteX0" fmla="*/ 0 w 27640"/>
              <a:gd name="connsiteY0" fmla="*/ 0 h 9503"/>
              <a:gd name="connsiteX1" fmla="*/ 27640 w 27640"/>
              <a:gd name="connsiteY1" fmla="*/ 0 h 9503"/>
            </a:gdLst>
            <a:ahLst/>
            <a:cxnLst>
              <a:cxn ang="0">
                <a:pos x="connsiteX0" y="connsiteY0"/>
              </a:cxn>
              <a:cxn ang="0">
                <a:pos x="connsiteX1" y="connsiteY1"/>
              </a:cxn>
            </a:cxnLst>
            <a:rect l="l" t="t" r="r" b="b"/>
            <a:pathLst>
              <a:path w="27640" h="9503">
                <a:moveTo>
                  <a:pt x="0" y="0"/>
                </a:moveTo>
                <a:lnTo>
                  <a:pt x="27640" y="0"/>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 name="Freeform 14">
            <a:extLst>
              <a:ext uri="{FF2B5EF4-FFF2-40B4-BE49-F238E27FC236}">
                <a16:creationId xmlns:a16="http://schemas.microsoft.com/office/drawing/2014/main" id="{E1E4E41B-FD18-0240-B9A7-6D08B7D526C8}"/>
              </a:ext>
            </a:extLst>
          </p:cNvPr>
          <p:cNvSpPr/>
          <p:nvPr/>
        </p:nvSpPr>
        <p:spPr>
          <a:xfrm>
            <a:off x="2037943" y="3667062"/>
            <a:ext cx="57499" cy="25950"/>
          </a:xfrm>
          <a:custGeom>
            <a:avLst/>
            <a:gdLst>
              <a:gd name="connsiteX0" fmla="*/ 0 w 27640"/>
              <a:gd name="connsiteY0" fmla="*/ 0 h 9503"/>
              <a:gd name="connsiteX1" fmla="*/ 27640 w 27640"/>
              <a:gd name="connsiteY1" fmla="*/ 0 h 9503"/>
            </a:gdLst>
            <a:ahLst/>
            <a:cxnLst>
              <a:cxn ang="0">
                <a:pos x="connsiteX0" y="connsiteY0"/>
              </a:cxn>
              <a:cxn ang="0">
                <a:pos x="connsiteX1" y="connsiteY1"/>
              </a:cxn>
            </a:cxnLst>
            <a:rect l="l" t="t" r="r" b="b"/>
            <a:pathLst>
              <a:path w="27640" h="9503">
                <a:moveTo>
                  <a:pt x="0" y="0"/>
                </a:moveTo>
                <a:lnTo>
                  <a:pt x="27640" y="0"/>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 name="Freeform 15">
            <a:extLst>
              <a:ext uri="{FF2B5EF4-FFF2-40B4-BE49-F238E27FC236}">
                <a16:creationId xmlns:a16="http://schemas.microsoft.com/office/drawing/2014/main" id="{B7E3734F-FB09-6C44-979E-D31F65580849}"/>
              </a:ext>
            </a:extLst>
          </p:cNvPr>
          <p:cNvSpPr/>
          <p:nvPr/>
        </p:nvSpPr>
        <p:spPr>
          <a:xfrm>
            <a:off x="2093186"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 name="Freeform 16">
            <a:extLst>
              <a:ext uri="{FF2B5EF4-FFF2-40B4-BE49-F238E27FC236}">
                <a16:creationId xmlns:a16="http://schemas.microsoft.com/office/drawing/2014/main" id="{F7B68558-25E4-C144-992E-741972F83FBA}"/>
              </a:ext>
            </a:extLst>
          </p:cNvPr>
          <p:cNvSpPr/>
          <p:nvPr/>
        </p:nvSpPr>
        <p:spPr>
          <a:xfrm>
            <a:off x="2528575"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 name="Freeform 17">
            <a:extLst>
              <a:ext uri="{FF2B5EF4-FFF2-40B4-BE49-F238E27FC236}">
                <a16:creationId xmlns:a16="http://schemas.microsoft.com/office/drawing/2014/main" id="{E3BE176D-B0BA-6B4A-8308-D9D93D78D115}"/>
              </a:ext>
            </a:extLst>
          </p:cNvPr>
          <p:cNvSpPr/>
          <p:nvPr/>
        </p:nvSpPr>
        <p:spPr>
          <a:xfrm>
            <a:off x="2963963"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 name="Freeform 18">
            <a:extLst>
              <a:ext uri="{FF2B5EF4-FFF2-40B4-BE49-F238E27FC236}">
                <a16:creationId xmlns:a16="http://schemas.microsoft.com/office/drawing/2014/main" id="{F90ACDAE-5C99-D643-815D-F1E77772EC2E}"/>
              </a:ext>
            </a:extLst>
          </p:cNvPr>
          <p:cNvSpPr/>
          <p:nvPr/>
        </p:nvSpPr>
        <p:spPr>
          <a:xfrm>
            <a:off x="3399351"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 name="Freeform 19">
            <a:extLst>
              <a:ext uri="{FF2B5EF4-FFF2-40B4-BE49-F238E27FC236}">
                <a16:creationId xmlns:a16="http://schemas.microsoft.com/office/drawing/2014/main" id="{F3227CB1-D230-9B42-87B3-447CEEA9424D}"/>
              </a:ext>
            </a:extLst>
          </p:cNvPr>
          <p:cNvSpPr/>
          <p:nvPr/>
        </p:nvSpPr>
        <p:spPr>
          <a:xfrm>
            <a:off x="3834740"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 name="Freeform 20">
            <a:extLst>
              <a:ext uri="{FF2B5EF4-FFF2-40B4-BE49-F238E27FC236}">
                <a16:creationId xmlns:a16="http://schemas.microsoft.com/office/drawing/2014/main" id="{4C36E4FF-2DC5-734A-8D25-991E89A6E6E0}"/>
              </a:ext>
            </a:extLst>
          </p:cNvPr>
          <p:cNvSpPr/>
          <p:nvPr/>
        </p:nvSpPr>
        <p:spPr>
          <a:xfrm>
            <a:off x="4270129"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 name="Freeform 21">
            <a:extLst>
              <a:ext uri="{FF2B5EF4-FFF2-40B4-BE49-F238E27FC236}">
                <a16:creationId xmlns:a16="http://schemas.microsoft.com/office/drawing/2014/main" id="{DC9B2DF3-6845-C045-A196-1AA3F3964D21}"/>
              </a:ext>
            </a:extLst>
          </p:cNvPr>
          <p:cNvSpPr/>
          <p:nvPr/>
        </p:nvSpPr>
        <p:spPr>
          <a:xfrm>
            <a:off x="4705520"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 name="Freeform 22">
            <a:extLst>
              <a:ext uri="{FF2B5EF4-FFF2-40B4-BE49-F238E27FC236}">
                <a16:creationId xmlns:a16="http://schemas.microsoft.com/office/drawing/2014/main" id="{8D937091-5D51-6C4E-8F62-CC50EA7E69E4}"/>
              </a:ext>
            </a:extLst>
          </p:cNvPr>
          <p:cNvSpPr/>
          <p:nvPr/>
        </p:nvSpPr>
        <p:spPr>
          <a:xfrm>
            <a:off x="5140909"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 name="Freeform 23">
            <a:extLst>
              <a:ext uri="{FF2B5EF4-FFF2-40B4-BE49-F238E27FC236}">
                <a16:creationId xmlns:a16="http://schemas.microsoft.com/office/drawing/2014/main" id="{AAD8B47C-C932-8548-9F06-BA0A577E3427}"/>
              </a:ext>
            </a:extLst>
          </p:cNvPr>
          <p:cNvSpPr/>
          <p:nvPr/>
        </p:nvSpPr>
        <p:spPr>
          <a:xfrm>
            <a:off x="5576297"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 name="Freeform 24">
            <a:extLst>
              <a:ext uri="{FF2B5EF4-FFF2-40B4-BE49-F238E27FC236}">
                <a16:creationId xmlns:a16="http://schemas.microsoft.com/office/drawing/2014/main" id="{237CBE3F-C001-6740-99D6-B53E7061E363}"/>
              </a:ext>
            </a:extLst>
          </p:cNvPr>
          <p:cNvSpPr/>
          <p:nvPr/>
        </p:nvSpPr>
        <p:spPr>
          <a:xfrm>
            <a:off x="6011685"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 name="Freeform 25">
            <a:extLst>
              <a:ext uri="{FF2B5EF4-FFF2-40B4-BE49-F238E27FC236}">
                <a16:creationId xmlns:a16="http://schemas.microsoft.com/office/drawing/2014/main" id="{FC870D1E-81AD-FE49-B8A7-E246F50C2694}"/>
              </a:ext>
            </a:extLst>
          </p:cNvPr>
          <p:cNvSpPr/>
          <p:nvPr/>
        </p:nvSpPr>
        <p:spPr>
          <a:xfrm>
            <a:off x="6447074"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 name="Freeform 26">
            <a:extLst>
              <a:ext uri="{FF2B5EF4-FFF2-40B4-BE49-F238E27FC236}">
                <a16:creationId xmlns:a16="http://schemas.microsoft.com/office/drawing/2014/main" id="{E66050BC-B13F-634C-B41C-8F0D7FCCB42B}"/>
              </a:ext>
            </a:extLst>
          </p:cNvPr>
          <p:cNvSpPr/>
          <p:nvPr/>
        </p:nvSpPr>
        <p:spPr>
          <a:xfrm>
            <a:off x="6882463"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 name="Freeform 27">
            <a:extLst>
              <a:ext uri="{FF2B5EF4-FFF2-40B4-BE49-F238E27FC236}">
                <a16:creationId xmlns:a16="http://schemas.microsoft.com/office/drawing/2014/main" id="{EF8EB6DC-AC5F-C144-8300-3C823133D116}"/>
              </a:ext>
            </a:extLst>
          </p:cNvPr>
          <p:cNvSpPr/>
          <p:nvPr/>
        </p:nvSpPr>
        <p:spPr>
          <a:xfrm>
            <a:off x="7317851" y="3667062"/>
            <a:ext cx="29377" cy="46558"/>
          </a:xfrm>
          <a:custGeom>
            <a:avLst/>
            <a:gdLst>
              <a:gd name="connsiteX0" fmla="*/ 0 w 9498"/>
              <a:gd name="connsiteY0" fmla="*/ 0 h 27656"/>
              <a:gd name="connsiteX1" fmla="*/ 0 w 9498"/>
              <a:gd name="connsiteY1" fmla="*/ 27657 h 27656"/>
            </a:gdLst>
            <a:ahLst/>
            <a:cxnLst>
              <a:cxn ang="0">
                <a:pos x="connsiteX0" y="connsiteY0"/>
              </a:cxn>
              <a:cxn ang="0">
                <a:pos x="connsiteX1" y="connsiteY1"/>
              </a:cxn>
            </a:cxnLst>
            <a:rect l="l" t="t" r="r" b="b"/>
            <a:pathLst>
              <a:path w="9498" h="27656">
                <a:moveTo>
                  <a:pt x="0" y="0"/>
                </a:moveTo>
                <a:lnTo>
                  <a:pt x="0" y="27657"/>
                </a:lnTo>
              </a:path>
            </a:pathLst>
          </a:custGeom>
          <a:ln w="19050" cap="flat">
            <a:solidFill>
              <a:schemeClr val="accent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cxnSp>
        <p:nvCxnSpPr>
          <p:cNvPr id="29" name="Straight Connector 28">
            <a:extLst>
              <a:ext uri="{FF2B5EF4-FFF2-40B4-BE49-F238E27FC236}">
                <a16:creationId xmlns:a16="http://schemas.microsoft.com/office/drawing/2014/main" id="{EE1C3D1D-566D-1345-A8D8-230B8EF1A236}"/>
              </a:ext>
            </a:extLst>
          </p:cNvPr>
          <p:cNvCxnSpPr>
            <a:stCxn id="8" idx="1"/>
          </p:cNvCxnSpPr>
          <p:nvPr/>
        </p:nvCxnSpPr>
        <p:spPr>
          <a:xfrm>
            <a:off x="2093185" y="2335151"/>
            <a:ext cx="5410646" cy="1705"/>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0" name="Freeform 29">
            <a:extLst>
              <a:ext uri="{FF2B5EF4-FFF2-40B4-BE49-F238E27FC236}">
                <a16:creationId xmlns:a16="http://schemas.microsoft.com/office/drawing/2014/main" id="{29F5889B-9F29-D44B-BED8-D515546ADAF7}"/>
              </a:ext>
            </a:extLst>
          </p:cNvPr>
          <p:cNvSpPr/>
          <p:nvPr/>
        </p:nvSpPr>
        <p:spPr>
          <a:xfrm>
            <a:off x="2093186" y="1003239"/>
            <a:ext cx="5297519" cy="1621027"/>
          </a:xfrm>
          <a:custGeom>
            <a:avLst/>
            <a:gdLst>
              <a:gd name="connsiteX0" fmla="*/ 1712737 w 1712736"/>
              <a:gd name="connsiteY0" fmla="*/ 593618 h 593618"/>
              <a:gd name="connsiteX1" fmla="*/ 1541482 w 1712736"/>
              <a:gd name="connsiteY1" fmla="*/ 593618 h 593618"/>
              <a:gd name="connsiteX2" fmla="*/ 1541482 w 1712736"/>
              <a:gd name="connsiteY2" fmla="*/ 555982 h 593618"/>
              <a:gd name="connsiteX3" fmla="*/ 1319412 w 1712736"/>
              <a:gd name="connsiteY3" fmla="*/ 555982 h 593618"/>
              <a:gd name="connsiteX4" fmla="*/ 1319412 w 1712736"/>
              <a:gd name="connsiteY4" fmla="*/ 546288 h 593618"/>
              <a:gd name="connsiteX5" fmla="*/ 1300035 w 1712736"/>
              <a:gd name="connsiteY5" fmla="*/ 546288 h 593618"/>
              <a:gd name="connsiteX6" fmla="*/ 1300035 w 1712736"/>
              <a:gd name="connsiteY6" fmla="*/ 539255 h 593618"/>
              <a:gd name="connsiteX7" fmla="*/ 1278094 w 1712736"/>
              <a:gd name="connsiteY7" fmla="*/ 539255 h 593618"/>
              <a:gd name="connsiteX8" fmla="*/ 1278094 w 1712736"/>
              <a:gd name="connsiteY8" fmla="*/ 530892 h 593618"/>
              <a:gd name="connsiteX9" fmla="*/ 1272775 w 1712736"/>
              <a:gd name="connsiteY9" fmla="*/ 530892 h 593618"/>
              <a:gd name="connsiteX10" fmla="*/ 1272775 w 1712736"/>
              <a:gd name="connsiteY10" fmla="*/ 524049 h 593618"/>
              <a:gd name="connsiteX11" fmla="*/ 1232027 w 1712736"/>
              <a:gd name="connsiteY11" fmla="*/ 524049 h 593618"/>
              <a:gd name="connsiteX12" fmla="*/ 1232027 w 1712736"/>
              <a:gd name="connsiteY12" fmla="*/ 517586 h 593618"/>
              <a:gd name="connsiteX13" fmla="*/ 1183681 w 1712736"/>
              <a:gd name="connsiteY13" fmla="*/ 517586 h 593618"/>
              <a:gd name="connsiteX14" fmla="*/ 1183681 w 1712736"/>
              <a:gd name="connsiteY14" fmla="*/ 511789 h 593618"/>
              <a:gd name="connsiteX15" fmla="*/ 1164304 w 1712736"/>
              <a:gd name="connsiteY15" fmla="*/ 511789 h 593618"/>
              <a:gd name="connsiteX16" fmla="*/ 1164304 w 1712736"/>
              <a:gd name="connsiteY16" fmla="*/ 506182 h 593618"/>
              <a:gd name="connsiteX17" fmla="*/ 1156041 w 1712736"/>
              <a:gd name="connsiteY17" fmla="*/ 506182 h 593618"/>
              <a:gd name="connsiteX18" fmla="*/ 1156041 w 1712736"/>
              <a:gd name="connsiteY18" fmla="*/ 499339 h 593618"/>
              <a:gd name="connsiteX19" fmla="*/ 1111778 w 1712736"/>
              <a:gd name="connsiteY19" fmla="*/ 499339 h 593618"/>
              <a:gd name="connsiteX20" fmla="*/ 1111778 w 1712736"/>
              <a:gd name="connsiteY20" fmla="*/ 493351 h 593618"/>
              <a:gd name="connsiteX21" fmla="*/ 1072740 w 1712736"/>
              <a:gd name="connsiteY21" fmla="*/ 493351 h 593618"/>
              <a:gd name="connsiteX22" fmla="*/ 1072740 w 1712736"/>
              <a:gd name="connsiteY22" fmla="*/ 487744 h 593618"/>
              <a:gd name="connsiteX23" fmla="*/ 1037501 w 1712736"/>
              <a:gd name="connsiteY23" fmla="*/ 487744 h 593618"/>
              <a:gd name="connsiteX24" fmla="*/ 1037501 w 1712736"/>
              <a:gd name="connsiteY24" fmla="*/ 481756 h 593618"/>
              <a:gd name="connsiteX25" fmla="*/ 1024869 w 1712736"/>
              <a:gd name="connsiteY25" fmla="*/ 481756 h 593618"/>
              <a:gd name="connsiteX26" fmla="*/ 1024869 w 1712736"/>
              <a:gd name="connsiteY26" fmla="*/ 476624 h 593618"/>
              <a:gd name="connsiteX27" fmla="*/ 1020404 w 1712736"/>
              <a:gd name="connsiteY27" fmla="*/ 476624 h 593618"/>
              <a:gd name="connsiteX28" fmla="*/ 1020404 w 1712736"/>
              <a:gd name="connsiteY28" fmla="*/ 470922 h 593618"/>
              <a:gd name="connsiteX29" fmla="*/ 1004067 w 1712736"/>
              <a:gd name="connsiteY29" fmla="*/ 470922 h 593618"/>
              <a:gd name="connsiteX30" fmla="*/ 1004067 w 1712736"/>
              <a:gd name="connsiteY30" fmla="*/ 464649 h 593618"/>
              <a:gd name="connsiteX31" fmla="*/ 973198 w 1712736"/>
              <a:gd name="connsiteY31" fmla="*/ 464649 h 593618"/>
              <a:gd name="connsiteX32" fmla="*/ 973198 w 1712736"/>
              <a:gd name="connsiteY32" fmla="*/ 460372 h 593618"/>
              <a:gd name="connsiteX33" fmla="*/ 968734 w 1712736"/>
              <a:gd name="connsiteY33" fmla="*/ 460372 h 593618"/>
              <a:gd name="connsiteX34" fmla="*/ 968734 w 1712736"/>
              <a:gd name="connsiteY34" fmla="*/ 454005 h 593618"/>
              <a:gd name="connsiteX35" fmla="*/ 960185 w 1712736"/>
              <a:gd name="connsiteY35" fmla="*/ 454005 h 593618"/>
              <a:gd name="connsiteX36" fmla="*/ 960185 w 1712736"/>
              <a:gd name="connsiteY36" fmla="*/ 449538 h 593618"/>
              <a:gd name="connsiteX37" fmla="*/ 896546 w 1712736"/>
              <a:gd name="connsiteY37" fmla="*/ 449538 h 593618"/>
              <a:gd name="connsiteX38" fmla="*/ 896546 w 1712736"/>
              <a:gd name="connsiteY38" fmla="*/ 444026 h 593618"/>
              <a:gd name="connsiteX39" fmla="*/ 867007 w 1712736"/>
              <a:gd name="connsiteY39" fmla="*/ 444026 h 593618"/>
              <a:gd name="connsiteX40" fmla="*/ 867007 w 1712736"/>
              <a:gd name="connsiteY40" fmla="*/ 435092 h 593618"/>
              <a:gd name="connsiteX41" fmla="*/ 864157 w 1712736"/>
              <a:gd name="connsiteY41" fmla="*/ 435092 h 593618"/>
              <a:gd name="connsiteX42" fmla="*/ 864157 w 1712736"/>
              <a:gd name="connsiteY42" fmla="*/ 428629 h 593618"/>
              <a:gd name="connsiteX43" fmla="*/ 752647 w 1712736"/>
              <a:gd name="connsiteY43" fmla="*/ 428629 h 593618"/>
              <a:gd name="connsiteX44" fmla="*/ 752647 w 1712736"/>
              <a:gd name="connsiteY44" fmla="*/ 424352 h 593618"/>
              <a:gd name="connsiteX45" fmla="*/ 749892 w 1712736"/>
              <a:gd name="connsiteY45" fmla="*/ 424352 h 593618"/>
              <a:gd name="connsiteX46" fmla="*/ 749892 w 1712736"/>
              <a:gd name="connsiteY46" fmla="*/ 419315 h 593618"/>
              <a:gd name="connsiteX47" fmla="*/ 690908 w 1712736"/>
              <a:gd name="connsiteY47" fmla="*/ 419315 h 593618"/>
              <a:gd name="connsiteX48" fmla="*/ 690908 w 1712736"/>
              <a:gd name="connsiteY48" fmla="*/ 415039 h 593618"/>
              <a:gd name="connsiteX49" fmla="*/ 680460 w 1712736"/>
              <a:gd name="connsiteY49" fmla="*/ 415039 h 593618"/>
              <a:gd name="connsiteX50" fmla="*/ 680460 w 1712736"/>
              <a:gd name="connsiteY50" fmla="*/ 406010 h 593618"/>
              <a:gd name="connsiteX51" fmla="*/ 669347 w 1712736"/>
              <a:gd name="connsiteY51" fmla="*/ 406010 h 593618"/>
              <a:gd name="connsiteX52" fmla="*/ 669347 w 1712736"/>
              <a:gd name="connsiteY52" fmla="*/ 400878 h 593618"/>
              <a:gd name="connsiteX53" fmla="*/ 668492 w 1712736"/>
              <a:gd name="connsiteY53" fmla="*/ 400878 h 593618"/>
              <a:gd name="connsiteX54" fmla="*/ 668492 w 1712736"/>
              <a:gd name="connsiteY54" fmla="*/ 396696 h 593618"/>
              <a:gd name="connsiteX55" fmla="*/ 656144 w 1712736"/>
              <a:gd name="connsiteY55" fmla="*/ 396696 h 593618"/>
              <a:gd name="connsiteX56" fmla="*/ 656144 w 1712736"/>
              <a:gd name="connsiteY56" fmla="*/ 391944 h 593618"/>
              <a:gd name="connsiteX57" fmla="*/ 654149 w 1712736"/>
              <a:gd name="connsiteY57" fmla="*/ 391944 h 593618"/>
              <a:gd name="connsiteX58" fmla="*/ 654149 w 1712736"/>
              <a:gd name="connsiteY58" fmla="*/ 383010 h 593618"/>
              <a:gd name="connsiteX59" fmla="*/ 630498 w 1712736"/>
              <a:gd name="connsiteY59" fmla="*/ 383010 h 593618"/>
              <a:gd name="connsiteX60" fmla="*/ 630498 w 1712736"/>
              <a:gd name="connsiteY60" fmla="*/ 373506 h 593618"/>
              <a:gd name="connsiteX61" fmla="*/ 617011 w 1712736"/>
              <a:gd name="connsiteY61" fmla="*/ 373506 h 593618"/>
              <a:gd name="connsiteX62" fmla="*/ 617011 w 1712736"/>
              <a:gd name="connsiteY62" fmla="*/ 364192 h 593618"/>
              <a:gd name="connsiteX63" fmla="*/ 600104 w 1712736"/>
              <a:gd name="connsiteY63" fmla="*/ 364192 h 593618"/>
              <a:gd name="connsiteX64" fmla="*/ 600104 w 1712736"/>
              <a:gd name="connsiteY64" fmla="*/ 355639 h 593618"/>
              <a:gd name="connsiteX65" fmla="*/ 579777 w 1712736"/>
              <a:gd name="connsiteY65" fmla="*/ 355639 h 593618"/>
              <a:gd name="connsiteX66" fmla="*/ 579777 w 1712736"/>
              <a:gd name="connsiteY66" fmla="*/ 347275 h 593618"/>
              <a:gd name="connsiteX67" fmla="*/ 578448 w 1712736"/>
              <a:gd name="connsiteY67" fmla="*/ 347275 h 593618"/>
              <a:gd name="connsiteX68" fmla="*/ 578448 w 1712736"/>
              <a:gd name="connsiteY68" fmla="*/ 342333 h 593618"/>
              <a:gd name="connsiteX69" fmla="*/ 569329 w 1712736"/>
              <a:gd name="connsiteY69" fmla="*/ 342333 h 593618"/>
              <a:gd name="connsiteX70" fmla="*/ 569329 w 1712736"/>
              <a:gd name="connsiteY70" fmla="*/ 337961 h 593618"/>
              <a:gd name="connsiteX71" fmla="*/ 558121 w 1712736"/>
              <a:gd name="connsiteY71" fmla="*/ 337961 h 593618"/>
              <a:gd name="connsiteX72" fmla="*/ 558121 w 1712736"/>
              <a:gd name="connsiteY72" fmla="*/ 330358 h 593618"/>
              <a:gd name="connsiteX73" fmla="*/ 552517 w 1712736"/>
              <a:gd name="connsiteY73" fmla="*/ 330358 h 593618"/>
              <a:gd name="connsiteX74" fmla="*/ 552517 w 1712736"/>
              <a:gd name="connsiteY74" fmla="*/ 325321 h 593618"/>
              <a:gd name="connsiteX75" fmla="*/ 528107 w 1712736"/>
              <a:gd name="connsiteY75" fmla="*/ 325321 h 593618"/>
              <a:gd name="connsiteX76" fmla="*/ 528107 w 1712736"/>
              <a:gd name="connsiteY76" fmla="*/ 320569 h 593618"/>
              <a:gd name="connsiteX77" fmla="*/ 519368 w 1712736"/>
              <a:gd name="connsiteY77" fmla="*/ 320569 h 593618"/>
              <a:gd name="connsiteX78" fmla="*/ 519368 w 1712736"/>
              <a:gd name="connsiteY78" fmla="*/ 312586 h 593618"/>
              <a:gd name="connsiteX79" fmla="*/ 512339 w 1712736"/>
              <a:gd name="connsiteY79" fmla="*/ 312586 h 593618"/>
              <a:gd name="connsiteX80" fmla="*/ 512339 w 1712736"/>
              <a:gd name="connsiteY80" fmla="*/ 308214 h 593618"/>
              <a:gd name="connsiteX81" fmla="*/ 506165 w 1712736"/>
              <a:gd name="connsiteY81" fmla="*/ 308214 h 593618"/>
              <a:gd name="connsiteX82" fmla="*/ 506165 w 1712736"/>
              <a:gd name="connsiteY82" fmla="*/ 299755 h 593618"/>
              <a:gd name="connsiteX83" fmla="*/ 496477 w 1712736"/>
              <a:gd name="connsiteY83" fmla="*/ 299755 h 593618"/>
              <a:gd name="connsiteX84" fmla="*/ 496477 w 1712736"/>
              <a:gd name="connsiteY84" fmla="*/ 295479 h 593618"/>
              <a:gd name="connsiteX85" fmla="*/ 493343 w 1712736"/>
              <a:gd name="connsiteY85" fmla="*/ 295479 h 593618"/>
              <a:gd name="connsiteX86" fmla="*/ 493343 w 1712736"/>
              <a:gd name="connsiteY86" fmla="*/ 290632 h 593618"/>
              <a:gd name="connsiteX87" fmla="*/ 480615 w 1712736"/>
              <a:gd name="connsiteY87" fmla="*/ 290632 h 593618"/>
              <a:gd name="connsiteX88" fmla="*/ 480615 w 1712736"/>
              <a:gd name="connsiteY88" fmla="*/ 275520 h 593618"/>
              <a:gd name="connsiteX89" fmla="*/ 465703 w 1712736"/>
              <a:gd name="connsiteY89" fmla="*/ 275520 h 593618"/>
              <a:gd name="connsiteX90" fmla="*/ 465703 w 1712736"/>
              <a:gd name="connsiteY90" fmla="*/ 266491 h 593618"/>
              <a:gd name="connsiteX91" fmla="*/ 455349 w 1712736"/>
              <a:gd name="connsiteY91" fmla="*/ 266491 h 593618"/>
              <a:gd name="connsiteX92" fmla="*/ 455349 w 1712736"/>
              <a:gd name="connsiteY92" fmla="*/ 258698 h 593618"/>
              <a:gd name="connsiteX93" fmla="*/ 448796 w 1712736"/>
              <a:gd name="connsiteY93" fmla="*/ 258698 h 593618"/>
              <a:gd name="connsiteX94" fmla="*/ 448796 w 1712736"/>
              <a:gd name="connsiteY94" fmla="*/ 250145 h 593618"/>
              <a:gd name="connsiteX95" fmla="*/ 444806 w 1712736"/>
              <a:gd name="connsiteY95" fmla="*/ 250145 h 593618"/>
              <a:gd name="connsiteX96" fmla="*/ 444806 w 1712736"/>
              <a:gd name="connsiteY96" fmla="*/ 247293 h 593618"/>
              <a:gd name="connsiteX97" fmla="*/ 432458 w 1712736"/>
              <a:gd name="connsiteY97" fmla="*/ 247293 h 593618"/>
              <a:gd name="connsiteX98" fmla="*/ 432458 w 1712736"/>
              <a:gd name="connsiteY98" fmla="*/ 238265 h 593618"/>
              <a:gd name="connsiteX99" fmla="*/ 429989 w 1712736"/>
              <a:gd name="connsiteY99" fmla="*/ 238265 h 593618"/>
              <a:gd name="connsiteX100" fmla="*/ 429989 w 1712736"/>
              <a:gd name="connsiteY100" fmla="*/ 235223 h 593618"/>
              <a:gd name="connsiteX101" fmla="*/ 423150 w 1712736"/>
              <a:gd name="connsiteY101" fmla="*/ 235223 h 593618"/>
              <a:gd name="connsiteX102" fmla="*/ 423150 w 1712736"/>
              <a:gd name="connsiteY102" fmla="*/ 218021 h 593618"/>
              <a:gd name="connsiteX103" fmla="*/ 415836 w 1712736"/>
              <a:gd name="connsiteY103" fmla="*/ 218021 h 593618"/>
              <a:gd name="connsiteX104" fmla="*/ 415836 w 1712736"/>
              <a:gd name="connsiteY104" fmla="*/ 210323 h 593618"/>
              <a:gd name="connsiteX105" fmla="*/ 413082 w 1712736"/>
              <a:gd name="connsiteY105" fmla="*/ 210323 h 593618"/>
              <a:gd name="connsiteX106" fmla="*/ 413082 w 1712736"/>
              <a:gd name="connsiteY106" fmla="*/ 200534 h 593618"/>
              <a:gd name="connsiteX107" fmla="*/ 405293 w 1712736"/>
              <a:gd name="connsiteY107" fmla="*/ 200534 h 593618"/>
              <a:gd name="connsiteX108" fmla="*/ 405293 w 1712736"/>
              <a:gd name="connsiteY108" fmla="*/ 198728 h 593618"/>
              <a:gd name="connsiteX109" fmla="*/ 390951 w 1712736"/>
              <a:gd name="connsiteY109" fmla="*/ 198728 h 593618"/>
              <a:gd name="connsiteX110" fmla="*/ 390951 w 1712736"/>
              <a:gd name="connsiteY110" fmla="*/ 193596 h 593618"/>
              <a:gd name="connsiteX111" fmla="*/ 385917 w 1712736"/>
              <a:gd name="connsiteY111" fmla="*/ 193596 h 593618"/>
              <a:gd name="connsiteX112" fmla="*/ 385917 w 1712736"/>
              <a:gd name="connsiteY112" fmla="*/ 190840 h 593618"/>
              <a:gd name="connsiteX113" fmla="*/ 379838 w 1712736"/>
              <a:gd name="connsiteY113" fmla="*/ 190840 h 593618"/>
              <a:gd name="connsiteX114" fmla="*/ 379838 w 1712736"/>
              <a:gd name="connsiteY114" fmla="*/ 186658 h 593618"/>
              <a:gd name="connsiteX115" fmla="*/ 370055 w 1712736"/>
              <a:gd name="connsiteY115" fmla="*/ 186658 h 593618"/>
              <a:gd name="connsiteX116" fmla="*/ 370055 w 1712736"/>
              <a:gd name="connsiteY116" fmla="*/ 181621 h 593618"/>
              <a:gd name="connsiteX117" fmla="*/ 349443 w 1712736"/>
              <a:gd name="connsiteY117" fmla="*/ 181621 h 593618"/>
              <a:gd name="connsiteX118" fmla="*/ 349443 w 1712736"/>
              <a:gd name="connsiteY118" fmla="*/ 174208 h 593618"/>
              <a:gd name="connsiteX119" fmla="*/ 341560 w 1712736"/>
              <a:gd name="connsiteY119" fmla="*/ 174208 h 593618"/>
              <a:gd name="connsiteX120" fmla="*/ 341560 w 1712736"/>
              <a:gd name="connsiteY120" fmla="*/ 171072 h 593618"/>
              <a:gd name="connsiteX121" fmla="*/ 306606 w 1712736"/>
              <a:gd name="connsiteY121" fmla="*/ 171072 h 593618"/>
              <a:gd name="connsiteX122" fmla="*/ 306606 w 1712736"/>
              <a:gd name="connsiteY122" fmla="*/ 166510 h 593618"/>
              <a:gd name="connsiteX123" fmla="*/ 284760 w 1712736"/>
              <a:gd name="connsiteY123" fmla="*/ 166510 h 593618"/>
              <a:gd name="connsiteX124" fmla="*/ 284760 w 1712736"/>
              <a:gd name="connsiteY124" fmla="*/ 158621 h 593618"/>
              <a:gd name="connsiteX125" fmla="*/ 280200 w 1712736"/>
              <a:gd name="connsiteY125" fmla="*/ 158621 h 593618"/>
              <a:gd name="connsiteX126" fmla="*/ 280200 w 1712736"/>
              <a:gd name="connsiteY126" fmla="*/ 150923 h 593618"/>
              <a:gd name="connsiteX127" fmla="*/ 269847 w 1712736"/>
              <a:gd name="connsiteY127" fmla="*/ 150923 h 593618"/>
              <a:gd name="connsiteX128" fmla="*/ 269847 w 1712736"/>
              <a:gd name="connsiteY128" fmla="*/ 140754 h 593618"/>
              <a:gd name="connsiteX129" fmla="*/ 255600 w 1712736"/>
              <a:gd name="connsiteY129" fmla="*/ 140754 h 593618"/>
              <a:gd name="connsiteX130" fmla="*/ 255600 w 1712736"/>
              <a:gd name="connsiteY130" fmla="*/ 136287 h 593618"/>
              <a:gd name="connsiteX131" fmla="*/ 251515 w 1712736"/>
              <a:gd name="connsiteY131" fmla="*/ 136287 h 593618"/>
              <a:gd name="connsiteX132" fmla="*/ 251515 w 1712736"/>
              <a:gd name="connsiteY132" fmla="*/ 133056 h 593618"/>
              <a:gd name="connsiteX133" fmla="*/ 243537 w 1712736"/>
              <a:gd name="connsiteY133" fmla="*/ 133056 h 593618"/>
              <a:gd name="connsiteX134" fmla="*/ 243537 w 1712736"/>
              <a:gd name="connsiteY134" fmla="*/ 122221 h 593618"/>
              <a:gd name="connsiteX135" fmla="*/ 228340 w 1712736"/>
              <a:gd name="connsiteY135" fmla="*/ 122221 h 593618"/>
              <a:gd name="connsiteX136" fmla="*/ 228340 w 1712736"/>
              <a:gd name="connsiteY136" fmla="*/ 116139 h 593618"/>
              <a:gd name="connsiteX137" fmla="*/ 222831 w 1712736"/>
              <a:gd name="connsiteY137" fmla="*/ 116139 h 593618"/>
              <a:gd name="connsiteX138" fmla="*/ 222831 w 1712736"/>
              <a:gd name="connsiteY138" fmla="*/ 111862 h 593618"/>
              <a:gd name="connsiteX139" fmla="*/ 197375 w 1712736"/>
              <a:gd name="connsiteY139" fmla="*/ 111862 h 593618"/>
              <a:gd name="connsiteX140" fmla="*/ 197375 w 1712736"/>
              <a:gd name="connsiteY140" fmla="*/ 107300 h 593618"/>
              <a:gd name="connsiteX141" fmla="*/ 192056 w 1712736"/>
              <a:gd name="connsiteY141" fmla="*/ 107300 h 593618"/>
              <a:gd name="connsiteX142" fmla="*/ 192056 w 1712736"/>
              <a:gd name="connsiteY142" fmla="*/ 99982 h 593618"/>
              <a:gd name="connsiteX143" fmla="*/ 178473 w 1712736"/>
              <a:gd name="connsiteY143" fmla="*/ 99982 h 593618"/>
              <a:gd name="connsiteX144" fmla="*/ 178473 w 1712736"/>
              <a:gd name="connsiteY144" fmla="*/ 93899 h 593618"/>
              <a:gd name="connsiteX145" fmla="*/ 174579 w 1712736"/>
              <a:gd name="connsiteY145" fmla="*/ 93899 h 593618"/>
              <a:gd name="connsiteX146" fmla="*/ 174579 w 1712736"/>
              <a:gd name="connsiteY146" fmla="*/ 90193 h 593618"/>
              <a:gd name="connsiteX147" fmla="*/ 172489 w 1712736"/>
              <a:gd name="connsiteY147" fmla="*/ 90193 h 593618"/>
              <a:gd name="connsiteX148" fmla="*/ 172489 w 1712736"/>
              <a:gd name="connsiteY148" fmla="*/ 86676 h 593618"/>
              <a:gd name="connsiteX149" fmla="*/ 155203 w 1712736"/>
              <a:gd name="connsiteY149" fmla="*/ 86676 h 593618"/>
              <a:gd name="connsiteX150" fmla="*/ 155203 w 1712736"/>
              <a:gd name="connsiteY150" fmla="*/ 83350 h 593618"/>
              <a:gd name="connsiteX151" fmla="*/ 153303 w 1712736"/>
              <a:gd name="connsiteY151" fmla="*/ 83350 h 593618"/>
              <a:gd name="connsiteX152" fmla="*/ 153303 w 1712736"/>
              <a:gd name="connsiteY152" fmla="*/ 72610 h 593618"/>
              <a:gd name="connsiteX153" fmla="*/ 141525 w 1712736"/>
              <a:gd name="connsiteY153" fmla="*/ 72610 h 593618"/>
              <a:gd name="connsiteX154" fmla="*/ 141525 w 1712736"/>
              <a:gd name="connsiteY154" fmla="*/ 69474 h 593618"/>
              <a:gd name="connsiteX155" fmla="*/ 134686 w 1712736"/>
              <a:gd name="connsiteY155" fmla="*/ 69474 h 593618"/>
              <a:gd name="connsiteX156" fmla="*/ 134686 w 1712736"/>
              <a:gd name="connsiteY156" fmla="*/ 62726 h 593618"/>
              <a:gd name="connsiteX157" fmla="*/ 130982 w 1712736"/>
              <a:gd name="connsiteY157" fmla="*/ 62726 h 593618"/>
              <a:gd name="connsiteX158" fmla="*/ 130982 w 1712736"/>
              <a:gd name="connsiteY158" fmla="*/ 58259 h 593618"/>
              <a:gd name="connsiteX159" fmla="*/ 118349 w 1712736"/>
              <a:gd name="connsiteY159" fmla="*/ 58259 h 593618"/>
              <a:gd name="connsiteX160" fmla="*/ 118349 w 1712736"/>
              <a:gd name="connsiteY160" fmla="*/ 55693 h 593618"/>
              <a:gd name="connsiteX161" fmla="*/ 114835 w 1712736"/>
              <a:gd name="connsiteY161" fmla="*/ 55693 h 593618"/>
              <a:gd name="connsiteX162" fmla="*/ 114835 w 1712736"/>
              <a:gd name="connsiteY162" fmla="*/ 48090 h 593618"/>
              <a:gd name="connsiteX163" fmla="*/ 106286 w 1712736"/>
              <a:gd name="connsiteY163" fmla="*/ 48090 h 593618"/>
              <a:gd name="connsiteX164" fmla="*/ 106286 w 1712736"/>
              <a:gd name="connsiteY164" fmla="*/ 42103 h 593618"/>
              <a:gd name="connsiteX165" fmla="*/ 100017 w 1712736"/>
              <a:gd name="connsiteY165" fmla="*/ 42103 h 593618"/>
              <a:gd name="connsiteX166" fmla="*/ 100017 w 1712736"/>
              <a:gd name="connsiteY166" fmla="*/ 38111 h 593618"/>
              <a:gd name="connsiteX167" fmla="*/ 95458 w 1712736"/>
              <a:gd name="connsiteY167" fmla="*/ 38111 h 593618"/>
              <a:gd name="connsiteX168" fmla="*/ 95458 w 1712736"/>
              <a:gd name="connsiteY168" fmla="*/ 34499 h 593618"/>
              <a:gd name="connsiteX169" fmla="*/ 81401 w 1712736"/>
              <a:gd name="connsiteY169" fmla="*/ 34499 h 593618"/>
              <a:gd name="connsiteX170" fmla="*/ 81401 w 1712736"/>
              <a:gd name="connsiteY170" fmla="*/ 31458 h 593618"/>
              <a:gd name="connsiteX171" fmla="*/ 76936 w 1712736"/>
              <a:gd name="connsiteY171" fmla="*/ 31458 h 593618"/>
              <a:gd name="connsiteX172" fmla="*/ 76936 w 1712736"/>
              <a:gd name="connsiteY172" fmla="*/ 24995 h 593618"/>
              <a:gd name="connsiteX173" fmla="*/ 68863 w 1712736"/>
              <a:gd name="connsiteY173" fmla="*/ 24995 h 593618"/>
              <a:gd name="connsiteX174" fmla="*/ 68863 w 1712736"/>
              <a:gd name="connsiteY174" fmla="*/ 20909 h 593618"/>
              <a:gd name="connsiteX175" fmla="*/ 66488 w 1712736"/>
              <a:gd name="connsiteY175" fmla="*/ 20909 h 593618"/>
              <a:gd name="connsiteX176" fmla="*/ 66488 w 1712736"/>
              <a:gd name="connsiteY176" fmla="*/ 11405 h 593618"/>
              <a:gd name="connsiteX177" fmla="*/ 53665 w 1712736"/>
              <a:gd name="connsiteY177" fmla="*/ 11405 h 593618"/>
              <a:gd name="connsiteX178" fmla="*/ 53665 w 1712736"/>
              <a:gd name="connsiteY178" fmla="*/ 9124 h 593618"/>
              <a:gd name="connsiteX179" fmla="*/ 44072 w 1712736"/>
              <a:gd name="connsiteY179" fmla="*/ 9124 h 593618"/>
              <a:gd name="connsiteX180" fmla="*/ 44072 w 1712736"/>
              <a:gd name="connsiteY180" fmla="*/ 3326 h 593618"/>
              <a:gd name="connsiteX181" fmla="*/ 22226 w 1712736"/>
              <a:gd name="connsiteY181" fmla="*/ 3326 h 593618"/>
              <a:gd name="connsiteX182" fmla="*/ 22226 w 1712736"/>
              <a:gd name="connsiteY182" fmla="*/ 0 h 593618"/>
              <a:gd name="connsiteX183" fmla="*/ 0 w 1712736"/>
              <a:gd name="connsiteY183" fmla="*/ 0 h 59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1712736" h="593618">
                <a:moveTo>
                  <a:pt x="1712737" y="593618"/>
                </a:moveTo>
                <a:lnTo>
                  <a:pt x="1541482" y="593618"/>
                </a:lnTo>
                <a:lnTo>
                  <a:pt x="1541482" y="555982"/>
                </a:lnTo>
                <a:lnTo>
                  <a:pt x="1319412" y="555982"/>
                </a:lnTo>
                <a:lnTo>
                  <a:pt x="1319412" y="546288"/>
                </a:lnTo>
                <a:lnTo>
                  <a:pt x="1300035" y="546288"/>
                </a:lnTo>
                <a:lnTo>
                  <a:pt x="1300035" y="539255"/>
                </a:lnTo>
                <a:lnTo>
                  <a:pt x="1278094" y="539255"/>
                </a:lnTo>
                <a:lnTo>
                  <a:pt x="1278094" y="530892"/>
                </a:lnTo>
                <a:lnTo>
                  <a:pt x="1272775" y="530892"/>
                </a:lnTo>
                <a:lnTo>
                  <a:pt x="1272775" y="524049"/>
                </a:lnTo>
                <a:lnTo>
                  <a:pt x="1232027" y="524049"/>
                </a:lnTo>
                <a:lnTo>
                  <a:pt x="1232027" y="517586"/>
                </a:lnTo>
                <a:lnTo>
                  <a:pt x="1183681" y="517586"/>
                </a:lnTo>
                <a:lnTo>
                  <a:pt x="1183681" y="511789"/>
                </a:lnTo>
                <a:lnTo>
                  <a:pt x="1164304" y="511789"/>
                </a:lnTo>
                <a:lnTo>
                  <a:pt x="1164304" y="506182"/>
                </a:lnTo>
                <a:lnTo>
                  <a:pt x="1156041" y="506182"/>
                </a:lnTo>
                <a:lnTo>
                  <a:pt x="1156041" y="499339"/>
                </a:lnTo>
                <a:lnTo>
                  <a:pt x="1111778" y="499339"/>
                </a:lnTo>
                <a:lnTo>
                  <a:pt x="1111778" y="493351"/>
                </a:lnTo>
                <a:lnTo>
                  <a:pt x="1072740" y="493351"/>
                </a:lnTo>
                <a:lnTo>
                  <a:pt x="1072740" y="487744"/>
                </a:lnTo>
                <a:lnTo>
                  <a:pt x="1037501" y="487744"/>
                </a:lnTo>
                <a:lnTo>
                  <a:pt x="1037501" y="481756"/>
                </a:lnTo>
                <a:lnTo>
                  <a:pt x="1024869" y="481756"/>
                </a:lnTo>
                <a:lnTo>
                  <a:pt x="1024869" y="476624"/>
                </a:lnTo>
                <a:lnTo>
                  <a:pt x="1020404" y="476624"/>
                </a:lnTo>
                <a:lnTo>
                  <a:pt x="1020404" y="470922"/>
                </a:lnTo>
                <a:lnTo>
                  <a:pt x="1004067" y="470922"/>
                </a:lnTo>
                <a:lnTo>
                  <a:pt x="1004067" y="464649"/>
                </a:lnTo>
                <a:lnTo>
                  <a:pt x="973198" y="464649"/>
                </a:lnTo>
                <a:lnTo>
                  <a:pt x="973198" y="460372"/>
                </a:lnTo>
                <a:lnTo>
                  <a:pt x="968734" y="460372"/>
                </a:lnTo>
                <a:lnTo>
                  <a:pt x="968734" y="454005"/>
                </a:lnTo>
                <a:lnTo>
                  <a:pt x="960185" y="454005"/>
                </a:lnTo>
                <a:lnTo>
                  <a:pt x="960185" y="449538"/>
                </a:lnTo>
                <a:lnTo>
                  <a:pt x="896546" y="449538"/>
                </a:lnTo>
                <a:lnTo>
                  <a:pt x="896546" y="444026"/>
                </a:lnTo>
                <a:lnTo>
                  <a:pt x="867007" y="444026"/>
                </a:lnTo>
                <a:lnTo>
                  <a:pt x="867007" y="435092"/>
                </a:lnTo>
                <a:lnTo>
                  <a:pt x="864157" y="435092"/>
                </a:lnTo>
                <a:lnTo>
                  <a:pt x="864157" y="428629"/>
                </a:lnTo>
                <a:lnTo>
                  <a:pt x="752647" y="428629"/>
                </a:lnTo>
                <a:lnTo>
                  <a:pt x="752647" y="424352"/>
                </a:lnTo>
                <a:lnTo>
                  <a:pt x="749892" y="424352"/>
                </a:lnTo>
                <a:lnTo>
                  <a:pt x="749892" y="419315"/>
                </a:lnTo>
                <a:lnTo>
                  <a:pt x="690908" y="419315"/>
                </a:lnTo>
                <a:lnTo>
                  <a:pt x="690908" y="415039"/>
                </a:lnTo>
                <a:lnTo>
                  <a:pt x="680460" y="415039"/>
                </a:lnTo>
                <a:lnTo>
                  <a:pt x="680460" y="406010"/>
                </a:lnTo>
                <a:lnTo>
                  <a:pt x="669347" y="406010"/>
                </a:lnTo>
                <a:lnTo>
                  <a:pt x="669347" y="400878"/>
                </a:lnTo>
                <a:lnTo>
                  <a:pt x="668492" y="400878"/>
                </a:lnTo>
                <a:lnTo>
                  <a:pt x="668492" y="396696"/>
                </a:lnTo>
                <a:lnTo>
                  <a:pt x="656144" y="396696"/>
                </a:lnTo>
                <a:lnTo>
                  <a:pt x="656144" y="391944"/>
                </a:lnTo>
                <a:lnTo>
                  <a:pt x="654149" y="391944"/>
                </a:lnTo>
                <a:lnTo>
                  <a:pt x="654149" y="383010"/>
                </a:lnTo>
                <a:lnTo>
                  <a:pt x="630498" y="383010"/>
                </a:lnTo>
                <a:lnTo>
                  <a:pt x="630498" y="373506"/>
                </a:lnTo>
                <a:lnTo>
                  <a:pt x="617011" y="373506"/>
                </a:lnTo>
                <a:lnTo>
                  <a:pt x="617011" y="364192"/>
                </a:lnTo>
                <a:lnTo>
                  <a:pt x="600104" y="364192"/>
                </a:lnTo>
                <a:lnTo>
                  <a:pt x="600104" y="355639"/>
                </a:lnTo>
                <a:lnTo>
                  <a:pt x="579777" y="355639"/>
                </a:lnTo>
                <a:lnTo>
                  <a:pt x="579777" y="347275"/>
                </a:lnTo>
                <a:lnTo>
                  <a:pt x="578448" y="347275"/>
                </a:lnTo>
                <a:lnTo>
                  <a:pt x="578448" y="342333"/>
                </a:lnTo>
                <a:lnTo>
                  <a:pt x="569329" y="342333"/>
                </a:lnTo>
                <a:lnTo>
                  <a:pt x="569329" y="337961"/>
                </a:lnTo>
                <a:lnTo>
                  <a:pt x="558121" y="337961"/>
                </a:lnTo>
                <a:lnTo>
                  <a:pt x="558121" y="330358"/>
                </a:lnTo>
                <a:lnTo>
                  <a:pt x="552517" y="330358"/>
                </a:lnTo>
                <a:lnTo>
                  <a:pt x="552517" y="325321"/>
                </a:lnTo>
                <a:lnTo>
                  <a:pt x="528107" y="325321"/>
                </a:lnTo>
                <a:lnTo>
                  <a:pt x="528107" y="320569"/>
                </a:lnTo>
                <a:lnTo>
                  <a:pt x="519368" y="320569"/>
                </a:lnTo>
                <a:lnTo>
                  <a:pt x="519368" y="312586"/>
                </a:lnTo>
                <a:lnTo>
                  <a:pt x="512339" y="312586"/>
                </a:lnTo>
                <a:lnTo>
                  <a:pt x="512339" y="308214"/>
                </a:lnTo>
                <a:lnTo>
                  <a:pt x="506165" y="308214"/>
                </a:lnTo>
                <a:lnTo>
                  <a:pt x="506165" y="299755"/>
                </a:lnTo>
                <a:lnTo>
                  <a:pt x="496477" y="299755"/>
                </a:lnTo>
                <a:lnTo>
                  <a:pt x="496477" y="295479"/>
                </a:lnTo>
                <a:lnTo>
                  <a:pt x="493343" y="295479"/>
                </a:lnTo>
                <a:lnTo>
                  <a:pt x="493343" y="290632"/>
                </a:lnTo>
                <a:lnTo>
                  <a:pt x="480615" y="290632"/>
                </a:lnTo>
                <a:lnTo>
                  <a:pt x="480615" y="275520"/>
                </a:lnTo>
                <a:lnTo>
                  <a:pt x="465703" y="275520"/>
                </a:lnTo>
                <a:lnTo>
                  <a:pt x="465703" y="266491"/>
                </a:lnTo>
                <a:lnTo>
                  <a:pt x="455349" y="266491"/>
                </a:lnTo>
                <a:lnTo>
                  <a:pt x="455349" y="258698"/>
                </a:lnTo>
                <a:lnTo>
                  <a:pt x="448796" y="258698"/>
                </a:lnTo>
                <a:lnTo>
                  <a:pt x="448796" y="250145"/>
                </a:lnTo>
                <a:lnTo>
                  <a:pt x="444806" y="250145"/>
                </a:lnTo>
                <a:lnTo>
                  <a:pt x="444806" y="247293"/>
                </a:lnTo>
                <a:lnTo>
                  <a:pt x="432458" y="247293"/>
                </a:lnTo>
                <a:lnTo>
                  <a:pt x="432458" y="238265"/>
                </a:lnTo>
                <a:lnTo>
                  <a:pt x="429989" y="238265"/>
                </a:lnTo>
                <a:lnTo>
                  <a:pt x="429989" y="235223"/>
                </a:lnTo>
                <a:lnTo>
                  <a:pt x="423150" y="235223"/>
                </a:lnTo>
                <a:lnTo>
                  <a:pt x="423150" y="218021"/>
                </a:lnTo>
                <a:lnTo>
                  <a:pt x="415836" y="218021"/>
                </a:lnTo>
                <a:lnTo>
                  <a:pt x="415836" y="210323"/>
                </a:lnTo>
                <a:lnTo>
                  <a:pt x="413082" y="210323"/>
                </a:lnTo>
                <a:lnTo>
                  <a:pt x="413082" y="200534"/>
                </a:lnTo>
                <a:lnTo>
                  <a:pt x="405293" y="200534"/>
                </a:lnTo>
                <a:lnTo>
                  <a:pt x="405293" y="198728"/>
                </a:lnTo>
                <a:lnTo>
                  <a:pt x="390951" y="198728"/>
                </a:lnTo>
                <a:lnTo>
                  <a:pt x="390951" y="193596"/>
                </a:lnTo>
                <a:lnTo>
                  <a:pt x="385917" y="193596"/>
                </a:lnTo>
                <a:lnTo>
                  <a:pt x="385917" y="190840"/>
                </a:lnTo>
                <a:lnTo>
                  <a:pt x="379838" y="190840"/>
                </a:lnTo>
                <a:lnTo>
                  <a:pt x="379838" y="186658"/>
                </a:lnTo>
                <a:lnTo>
                  <a:pt x="370055" y="186658"/>
                </a:lnTo>
                <a:lnTo>
                  <a:pt x="370055" y="181621"/>
                </a:lnTo>
                <a:lnTo>
                  <a:pt x="349443" y="181621"/>
                </a:lnTo>
                <a:lnTo>
                  <a:pt x="349443" y="174208"/>
                </a:lnTo>
                <a:lnTo>
                  <a:pt x="341560" y="174208"/>
                </a:lnTo>
                <a:lnTo>
                  <a:pt x="341560" y="171072"/>
                </a:lnTo>
                <a:lnTo>
                  <a:pt x="306606" y="171072"/>
                </a:lnTo>
                <a:lnTo>
                  <a:pt x="306606" y="166510"/>
                </a:lnTo>
                <a:lnTo>
                  <a:pt x="284760" y="166510"/>
                </a:lnTo>
                <a:lnTo>
                  <a:pt x="284760" y="158621"/>
                </a:lnTo>
                <a:lnTo>
                  <a:pt x="280200" y="158621"/>
                </a:lnTo>
                <a:lnTo>
                  <a:pt x="280200" y="150923"/>
                </a:lnTo>
                <a:lnTo>
                  <a:pt x="269847" y="150923"/>
                </a:lnTo>
                <a:lnTo>
                  <a:pt x="269847" y="140754"/>
                </a:lnTo>
                <a:lnTo>
                  <a:pt x="255600" y="140754"/>
                </a:lnTo>
                <a:lnTo>
                  <a:pt x="255600" y="136287"/>
                </a:lnTo>
                <a:lnTo>
                  <a:pt x="251515" y="136287"/>
                </a:lnTo>
                <a:lnTo>
                  <a:pt x="251515" y="133056"/>
                </a:lnTo>
                <a:lnTo>
                  <a:pt x="243537" y="133056"/>
                </a:lnTo>
                <a:lnTo>
                  <a:pt x="243537" y="122221"/>
                </a:lnTo>
                <a:lnTo>
                  <a:pt x="228340" y="122221"/>
                </a:lnTo>
                <a:lnTo>
                  <a:pt x="228340" y="116139"/>
                </a:lnTo>
                <a:lnTo>
                  <a:pt x="222831" y="116139"/>
                </a:lnTo>
                <a:lnTo>
                  <a:pt x="222831" y="111862"/>
                </a:lnTo>
                <a:lnTo>
                  <a:pt x="197375" y="111862"/>
                </a:lnTo>
                <a:lnTo>
                  <a:pt x="197375" y="107300"/>
                </a:lnTo>
                <a:lnTo>
                  <a:pt x="192056" y="107300"/>
                </a:lnTo>
                <a:lnTo>
                  <a:pt x="192056" y="99982"/>
                </a:lnTo>
                <a:lnTo>
                  <a:pt x="178473" y="99982"/>
                </a:lnTo>
                <a:lnTo>
                  <a:pt x="178473" y="93899"/>
                </a:lnTo>
                <a:lnTo>
                  <a:pt x="174579" y="93899"/>
                </a:lnTo>
                <a:lnTo>
                  <a:pt x="174579" y="90193"/>
                </a:lnTo>
                <a:lnTo>
                  <a:pt x="172489" y="90193"/>
                </a:lnTo>
                <a:lnTo>
                  <a:pt x="172489" y="86676"/>
                </a:lnTo>
                <a:lnTo>
                  <a:pt x="155203" y="86676"/>
                </a:lnTo>
                <a:lnTo>
                  <a:pt x="155203" y="83350"/>
                </a:lnTo>
                <a:lnTo>
                  <a:pt x="153303" y="83350"/>
                </a:lnTo>
                <a:lnTo>
                  <a:pt x="153303" y="72610"/>
                </a:lnTo>
                <a:lnTo>
                  <a:pt x="141525" y="72610"/>
                </a:lnTo>
                <a:lnTo>
                  <a:pt x="141525" y="69474"/>
                </a:lnTo>
                <a:lnTo>
                  <a:pt x="134686" y="69474"/>
                </a:lnTo>
                <a:lnTo>
                  <a:pt x="134686" y="62726"/>
                </a:lnTo>
                <a:lnTo>
                  <a:pt x="130982" y="62726"/>
                </a:lnTo>
                <a:lnTo>
                  <a:pt x="130982" y="58259"/>
                </a:lnTo>
                <a:lnTo>
                  <a:pt x="118349" y="58259"/>
                </a:lnTo>
                <a:lnTo>
                  <a:pt x="118349" y="55693"/>
                </a:lnTo>
                <a:lnTo>
                  <a:pt x="114835" y="55693"/>
                </a:lnTo>
                <a:lnTo>
                  <a:pt x="114835" y="48090"/>
                </a:lnTo>
                <a:lnTo>
                  <a:pt x="106286" y="48090"/>
                </a:lnTo>
                <a:lnTo>
                  <a:pt x="106286" y="42103"/>
                </a:lnTo>
                <a:lnTo>
                  <a:pt x="100017" y="42103"/>
                </a:lnTo>
                <a:lnTo>
                  <a:pt x="100017" y="38111"/>
                </a:lnTo>
                <a:lnTo>
                  <a:pt x="95458" y="38111"/>
                </a:lnTo>
                <a:lnTo>
                  <a:pt x="95458" y="34499"/>
                </a:lnTo>
                <a:lnTo>
                  <a:pt x="81401" y="34499"/>
                </a:lnTo>
                <a:lnTo>
                  <a:pt x="81401" y="31458"/>
                </a:lnTo>
                <a:lnTo>
                  <a:pt x="76936" y="31458"/>
                </a:lnTo>
                <a:lnTo>
                  <a:pt x="76936" y="24995"/>
                </a:lnTo>
                <a:lnTo>
                  <a:pt x="68863" y="24995"/>
                </a:lnTo>
                <a:lnTo>
                  <a:pt x="68863" y="20909"/>
                </a:lnTo>
                <a:lnTo>
                  <a:pt x="66488" y="20909"/>
                </a:lnTo>
                <a:lnTo>
                  <a:pt x="66488" y="11405"/>
                </a:lnTo>
                <a:lnTo>
                  <a:pt x="53665" y="11405"/>
                </a:lnTo>
                <a:lnTo>
                  <a:pt x="53665" y="9124"/>
                </a:lnTo>
                <a:lnTo>
                  <a:pt x="44072" y="9124"/>
                </a:lnTo>
                <a:lnTo>
                  <a:pt x="44072" y="3326"/>
                </a:lnTo>
                <a:lnTo>
                  <a:pt x="22226" y="3326"/>
                </a:lnTo>
                <a:lnTo>
                  <a:pt x="22226" y="0"/>
                </a:lnTo>
                <a:lnTo>
                  <a:pt x="0" y="0"/>
                </a:lnTo>
              </a:path>
            </a:pathLst>
          </a:custGeom>
          <a:noFill/>
          <a:ln w="19050" cap="flat">
            <a:solidFill>
              <a:srgbClr val="E6000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 name="Freeform 30">
            <a:extLst>
              <a:ext uri="{FF2B5EF4-FFF2-40B4-BE49-F238E27FC236}">
                <a16:creationId xmlns:a16="http://schemas.microsoft.com/office/drawing/2014/main" id="{EC74AA29-74CC-A249-8A6E-1B708026563F}"/>
              </a:ext>
            </a:extLst>
          </p:cNvPr>
          <p:cNvSpPr/>
          <p:nvPr/>
        </p:nvSpPr>
        <p:spPr>
          <a:xfrm>
            <a:off x="2453660" y="113066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7114" cap="flat">
            <a:solidFill>
              <a:srgbClr val="E6000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 name="Freeform 31">
            <a:extLst>
              <a:ext uri="{FF2B5EF4-FFF2-40B4-BE49-F238E27FC236}">
                <a16:creationId xmlns:a16="http://schemas.microsoft.com/office/drawing/2014/main" id="{D46E69F6-C86E-2C46-A4B4-EE1AD2A9AF27}"/>
              </a:ext>
            </a:extLst>
          </p:cNvPr>
          <p:cNvSpPr/>
          <p:nvPr/>
        </p:nvSpPr>
        <p:spPr>
          <a:xfrm>
            <a:off x="2435150" y="113066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7114" cap="flat">
            <a:solidFill>
              <a:srgbClr val="E60004"/>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 name="Freeform 32">
            <a:extLst>
              <a:ext uri="{FF2B5EF4-FFF2-40B4-BE49-F238E27FC236}">
                <a16:creationId xmlns:a16="http://schemas.microsoft.com/office/drawing/2014/main" id="{B8AA2C5A-A6B5-7A45-8AFD-6A71544974EF}"/>
              </a:ext>
            </a:extLst>
          </p:cNvPr>
          <p:cNvSpPr/>
          <p:nvPr/>
        </p:nvSpPr>
        <p:spPr>
          <a:xfrm>
            <a:off x="7354866"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 name="Freeform 33">
            <a:extLst>
              <a:ext uri="{FF2B5EF4-FFF2-40B4-BE49-F238E27FC236}">
                <a16:creationId xmlns:a16="http://schemas.microsoft.com/office/drawing/2014/main" id="{B71061CC-9383-5A48-808B-F1420733C36D}"/>
              </a:ext>
            </a:extLst>
          </p:cNvPr>
          <p:cNvSpPr/>
          <p:nvPr/>
        </p:nvSpPr>
        <p:spPr>
          <a:xfrm>
            <a:off x="7261443"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 name="Freeform 34">
            <a:extLst>
              <a:ext uri="{FF2B5EF4-FFF2-40B4-BE49-F238E27FC236}">
                <a16:creationId xmlns:a16="http://schemas.microsoft.com/office/drawing/2014/main" id="{F4A3B9CF-8A42-A343-9B02-08B1F61C9E45}"/>
              </a:ext>
            </a:extLst>
          </p:cNvPr>
          <p:cNvSpPr/>
          <p:nvPr/>
        </p:nvSpPr>
        <p:spPr>
          <a:xfrm>
            <a:off x="7126010"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 name="Freeform 35">
            <a:extLst>
              <a:ext uri="{FF2B5EF4-FFF2-40B4-BE49-F238E27FC236}">
                <a16:creationId xmlns:a16="http://schemas.microsoft.com/office/drawing/2014/main" id="{A26C06A4-2085-C14D-B7F7-D911D5BF077F}"/>
              </a:ext>
            </a:extLst>
          </p:cNvPr>
          <p:cNvSpPr/>
          <p:nvPr/>
        </p:nvSpPr>
        <p:spPr>
          <a:xfrm>
            <a:off x="7091636"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 name="Freeform 36">
            <a:extLst>
              <a:ext uri="{FF2B5EF4-FFF2-40B4-BE49-F238E27FC236}">
                <a16:creationId xmlns:a16="http://schemas.microsoft.com/office/drawing/2014/main" id="{1A30D401-4C9C-E945-BD89-77A9668937C0}"/>
              </a:ext>
            </a:extLst>
          </p:cNvPr>
          <p:cNvSpPr/>
          <p:nvPr/>
        </p:nvSpPr>
        <p:spPr>
          <a:xfrm>
            <a:off x="7073715"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8" name="Freeform 37">
            <a:extLst>
              <a:ext uri="{FF2B5EF4-FFF2-40B4-BE49-F238E27FC236}">
                <a16:creationId xmlns:a16="http://schemas.microsoft.com/office/drawing/2014/main" id="{AE86A153-A0D2-8342-B46C-392FADD42A6E}"/>
              </a:ext>
            </a:extLst>
          </p:cNvPr>
          <p:cNvSpPr/>
          <p:nvPr/>
        </p:nvSpPr>
        <p:spPr>
          <a:xfrm>
            <a:off x="7032585"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 name="Freeform 38">
            <a:extLst>
              <a:ext uri="{FF2B5EF4-FFF2-40B4-BE49-F238E27FC236}">
                <a16:creationId xmlns:a16="http://schemas.microsoft.com/office/drawing/2014/main" id="{054C3B1A-DD69-6F47-B44E-4589D4048872}"/>
              </a:ext>
            </a:extLst>
          </p:cNvPr>
          <p:cNvSpPr/>
          <p:nvPr/>
        </p:nvSpPr>
        <p:spPr>
          <a:xfrm>
            <a:off x="6996747"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 name="Freeform 39">
            <a:extLst>
              <a:ext uri="{FF2B5EF4-FFF2-40B4-BE49-F238E27FC236}">
                <a16:creationId xmlns:a16="http://schemas.microsoft.com/office/drawing/2014/main" id="{2277AF7F-4190-8C42-813F-B3079503DF39}"/>
              </a:ext>
            </a:extLst>
          </p:cNvPr>
          <p:cNvSpPr/>
          <p:nvPr/>
        </p:nvSpPr>
        <p:spPr>
          <a:xfrm>
            <a:off x="6921831"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1" name="Freeform 40">
            <a:extLst>
              <a:ext uri="{FF2B5EF4-FFF2-40B4-BE49-F238E27FC236}">
                <a16:creationId xmlns:a16="http://schemas.microsoft.com/office/drawing/2014/main" id="{36072D1F-8230-824D-81A4-06C60F8AC488}"/>
              </a:ext>
            </a:extLst>
          </p:cNvPr>
          <p:cNvSpPr/>
          <p:nvPr/>
        </p:nvSpPr>
        <p:spPr>
          <a:xfrm>
            <a:off x="6925062"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2" name="Freeform 41">
            <a:extLst>
              <a:ext uri="{FF2B5EF4-FFF2-40B4-BE49-F238E27FC236}">
                <a16:creationId xmlns:a16="http://schemas.microsoft.com/office/drawing/2014/main" id="{F0BF229B-F220-BC40-95B8-592B66025005}"/>
              </a:ext>
            </a:extLst>
          </p:cNvPr>
          <p:cNvSpPr/>
          <p:nvPr/>
        </p:nvSpPr>
        <p:spPr>
          <a:xfrm>
            <a:off x="6867773" y="259260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3" name="Freeform 42">
            <a:extLst>
              <a:ext uri="{FF2B5EF4-FFF2-40B4-BE49-F238E27FC236}">
                <a16:creationId xmlns:a16="http://schemas.microsoft.com/office/drawing/2014/main" id="{917B0ECE-2C03-4746-8242-4AB3537489DA}"/>
              </a:ext>
            </a:extLst>
          </p:cNvPr>
          <p:cNvSpPr/>
          <p:nvPr/>
        </p:nvSpPr>
        <p:spPr>
          <a:xfrm>
            <a:off x="6777287"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4" name="Freeform 43">
            <a:extLst>
              <a:ext uri="{FF2B5EF4-FFF2-40B4-BE49-F238E27FC236}">
                <a16:creationId xmlns:a16="http://schemas.microsoft.com/office/drawing/2014/main" id="{A82C081F-0898-8A49-A08A-97F3E22CDD25}"/>
              </a:ext>
            </a:extLst>
          </p:cNvPr>
          <p:cNvSpPr/>
          <p:nvPr/>
        </p:nvSpPr>
        <p:spPr>
          <a:xfrm>
            <a:off x="6749673"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5" name="Freeform 44">
            <a:extLst>
              <a:ext uri="{FF2B5EF4-FFF2-40B4-BE49-F238E27FC236}">
                <a16:creationId xmlns:a16="http://schemas.microsoft.com/office/drawing/2014/main" id="{952B7062-FEBA-C64B-BBD5-6371F9C747B0}"/>
              </a:ext>
            </a:extLst>
          </p:cNvPr>
          <p:cNvSpPr/>
          <p:nvPr/>
        </p:nvSpPr>
        <p:spPr>
          <a:xfrm>
            <a:off x="6731457"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6" name="Freeform 45">
            <a:extLst>
              <a:ext uri="{FF2B5EF4-FFF2-40B4-BE49-F238E27FC236}">
                <a16:creationId xmlns:a16="http://schemas.microsoft.com/office/drawing/2014/main" id="{162A9909-B2F9-C949-B1F3-2666348FE289}"/>
              </a:ext>
            </a:extLst>
          </p:cNvPr>
          <p:cNvSpPr/>
          <p:nvPr/>
        </p:nvSpPr>
        <p:spPr>
          <a:xfrm>
            <a:off x="6713831"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 name="Freeform 46">
            <a:extLst>
              <a:ext uri="{FF2B5EF4-FFF2-40B4-BE49-F238E27FC236}">
                <a16:creationId xmlns:a16="http://schemas.microsoft.com/office/drawing/2014/main" id="{FF039B4F-1292-754C-A642-5CEC0E020655}"/>
              </a:ext>
            </a:extLst>
          </p:cNvPr>
          <p:cNvSpPr/>
          <p:nvPr/>
        </p:nvSpPr>
        <p:spPr>
          <a:xfrm>
            <a:off x="6651252"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 name="Freeform 47">
            <a:extLst>
              <a:ext uri="{FF2B5EF4-FFF2-40B4-BE49-F238E27FC236}">
                <a16:creationId xmlns:a16="http://schemas.microsoft.com/office/drawing/2014/main" id="{D2497B9D-0082-6347-A493-CD791792FC24}"/>
              </a:ext>
            </a:extLst>
          </p:cNvPr>
          <p:cNvSpPr/>
          <p:nvPr/>
        </p:nvSpPr>
        <p:spPr>
          <a:xfrm>
            <a:off x="6633332"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9" name="Freeform 48">
            <a:extLst>
              <a:ext uri="{FF2B5EF4-FFF2-40B4-BE49-F238E27FC236}">
                <a16:creationId xmlns:a16="http://schemas.microsoft.com/office/drawing/2014/main" id="{23565E67-9783-4B46-8B55-54BB12AEBF34}"/>
              </a:ext>
            </a:extLst>
          </p:cNvPr>
          <p:cNvSpPr/>
          <p:nvPr/>
        </p:nvSpPr>
        <p:spPr>
          <a:xfrm>
            <a:off x="6464700"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0" name="Freeform 49">
            <a:extLst>
              <a:ext uri="{FF2B5EF4-FFF2-40B4-BE49-F238E27FC236}">
                <a16:creationId xmlns:a16="http://schemas.microsoft.com/office/drawing/2014/main" id="{0F07DA24-FB5A-7C49-AFB5-BE64518E4EEA}"/>
              </a:ext>
            </a:extLst>
          </p:cNvPr>
          <p:cNvSpPr/>
          <p:nvPr/>
        </p:nvSpPr>
        <p:spPr>
          <a:xfrm>
            <a:off x="6428859"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1" name="Freeform 50">
            <a:extLst>
              <a:ext uri="{FF2B5EF4-FFF2-40B4-BE49-F238E27FC236}">
                <a16:creationId xmlns:a16="http://schemas.microsoft.com/office/drawing/2014/main" id="{C55C0FD6-75BB-6E43-8F34-16FEFE5ADCA0}"/>
              </a:ext>
            </a:extLst>
          </p:cNvPr>
          <p:cNvSpPr/>
          <p:nvPr/>
        </p:nvSpPr>
        <p:spPr>
          <a:xfrm>
            <a:off x="6413583"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2" name="Freeform 51">
            <a:extLst>
              <a:ext uri="{FF2B5EF4-FFF2-40B4-BE49-F238E27FC236}">
                <a16:creationId xmlns:a16="http://schemas.microsoft.com/office/drawing/2014/main" id="{AAAA2762-ED80-FE42-922E-98A34961E26E}"/>
              </a:ext>
            </a:extLst>
          </p:cNvPr>
          <p:cNvSpPr/>
          <p:nvPr/>
        </p:nvSpPr>
        <p:spPr>
          <a:xfrm>
            <a:off x="6400950"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3" name="Freeform 52">
            <a:extLst>
              <a:ext uri="{FF2B5EF4-FFF2-40B4-BE49-F238E27FC236}">
                <a16:creationId xmlns:a16="http://schemas.microsoft.com/office/drawing/2014/main" id="{1735E71A-E35E-4542-939D-DAEBED6FCDB0}"/>
              </a:ext>
            </a:extLst>
          </p:cNvPr>
          <p:cNvSpPr/>
          <p:nvPr/>
        </p:nvSpPr>
        <p:spPr>
          <a:xfrm>
            <a:off x="6389490"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 name="Freeform 53">
            <a:extLst>
              <a:ext uri="{FF2B5EF4-FFF2-40B4-BE49-F238E27FC236}">
                <a16:creationId xmlns:a16="http://schemas.microsoft.com/office/drawing/2014/main" id="{7E36EF5D-EEB9-D943-8B2A-BA5CE6FB0FA8}"/>
              </a:ext>
            </a:extLst>
          </p:cNvPr>
          <p:cNvSpPr/>
          <p:nvPr/>
        </p:nvSpPr>
        <p:spPr>
          <a:xfrm>
            <a:off x="6377448"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 name="Freeform 54">
            <a:extLst>
              <a:ext uri="{FF2B5EF4-FFF2-40B4-BE49-F238E27FC236}">
                <a16:creationId xmlns:a16="http://schemas.microsoft.com/office/drawing/2014/main" id="{66AA028F-9B29-CD4F-807D-3C5E1C2BE457}"/>
              </a:ext>
            </a:extLst>
          </p:cNvPr>
          <p:cNvSpPr/>
          <p:nvPr/>
        </p:nvSpPr>
        <p:spPr>
          <a:xfrm>
            <a:off x="6363051"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 name="Freeform 55">
            <a:extLst>
              <a:ext uri="{FF2B5EF4-FFF2-40B4-BE49-F238E27FC236}">
                <a16:creationId xmlns:a16="http://schemas.microsoft.com/office/drawing/2014/main" id="{5EB37F78-45A8-8A45-A6D6-1444C4CBC537}"/>
              </a:ext>
            </a:extLst>
          </p:cNvPr>
          <p:cNvSpPr/>
          <p:nvPr/>
        </p:nvSpPr>
        <p:spPr>
          <a:xfrm>
            <a:off x="6335728" y="2489311"/>
            <a:ext cx="72271" cy="63842"/>
          </a:xfrm>
          <a:custGeom>
            <a:avLst/>
            <a:gdLst>
              <a:gd name="connsiteX0" fmla="*/ 23366 w 23366"/>
              <a:gd name="connsiteY0" fmla="*/ 11784 h 23379"/>
              <a:gd name="connsiteX1" fmla="*/ 11778 w 23366"/>
              <a:gd name="connsiteY1" fmla="*/ 0 h 23379"/>
              <a:gd name="connsiteX2" fmla="*/ 0 w 23366"/>
              <a:gd name="connsiteY2" fmla="*/ 11595 h 23379"/>
              <a:gd name="connsiteX3" fmla="*/ 11588 w 23366"/>
              <a:gd name="connsiteY3" fmla="*/ 23379 h 23379"/>
              <a:gd name="connsiteX4" fmla="*/ 11778 w 23366"/>
              <a:gd name="connsiteY4" fmla="*/ 23379 h 23379"/>
              <a:gd name="connsiteX5" fmla="*/ 23366 w 23366"/>
              <a:gd name="connsiteY5" fmla="*/ 11784 h 23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66" h="23379">
                <a:moveTo>
                  <a:pt x="23366" y="11784"/>
                </a:moveTo>
                <a:cubicBezTo>
                  <a:pt x="23414" y="5328"/>
                  <a:pt x="18228" y="53"/>
                  <a:pt x="11778" y="0"/>
                </a:cubicBezTo>
                <a:cubicBezTo>
                  <a:pt x="5329" y="-52"/>
                  <a:pt x="57" y="5139"/>
                  <a:pt x="0" y="11595"/>
                </a:cubicBezTo>
                <a:cubicBezTo>
                  <a:pt x="-47" y="18051"/>
                  <a:pt x="5139" y="23327"/>
                  <a:pt x="11588" y="23379"/>
                </a:cubicBezTo>
                <a:cubicBezTo>
                  <a:pt x="11655" y="23380"/>
                  <a:pt x="11712" y="23380"/>
                  <a:pt x="11778" y="23379"/>
                </a:cubicBezTo>
                <a:cubicBezTo>
                  <a:pt x="18180" y="23379"/>
                  <a:pt x="23366" y="18188"/>
                  <a:pt x="23366" y="11784"/>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 name="Freeform 56">
            <a:extLst>
              <a:ext uri="{FF2B5EF4-FFF2-40B4-BE49-F238E27FC236}">
                <a16:creationId xmlns:a16="http://schemas.microsoft.com/office/drawing/2014/main" id="{EC896256-4B92-8947-9CB8-42C6FF05DE89}"/>
              </a:ext>
            </a:extLst>
          </p:cNvPr>
          <p:cNvSpPr/>
          <p:nvPr/>
        </p:nvSpPr>
        <p:spPr>
          <a:xfrm>
            <a:off x="6282258"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 name="Freeform 57">
            <a:extLst>
              <a:ext uri="{FF2B5EF4-FFF2-40B4-BE49-F238E27FC236}">
                <a16:creationId xmlns:a16="http://schemas.microsoft.com/office/drawing/2014/main" id="{43E1E910-37D6-D843-BAFD-A9996806C9FB}"/>
              </a:ext>
            </a:extLst>
          </p:cNvPr>
          <p:cNvSpPr/>
          <p:nvPr/>
        </p:nvSpPr>
        <p:spPr>
          <a:xfrm>
            <a:off x="6273153"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 name="Freeform 58">
            <a:extLst>
              <a:ext uri="{FF2B5EF4-FFF2-40B4-BE49-F238E27FC236}">
                <a16:creationId xmlns:a16="http://schemas.microsoft.com/office/drawing/2014/main" id="{A2C1EAD7-032B-B34B-A94E-8D6DCCEF780C}"/>
              </a:ext>
            </a:extLst>
          </p:cNvPr>
          <p:cNvSpPr/>
          <p:nvPr/>
        </p:nvSpPr>
        <p:spPr>
          <a:xfrm>
            <a:off x="6264339"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0" name="Freeform 59">
            <a:extLst>
              <a:ext uri="{FF2B5EF4-FFF2-40B4-BE49-F238E27FC236}">
                <a16:creationId xmlns:a16="http://schemas.microsoft.com/office/drawing/2014/main" id="{01DA6551-33D2-6042-9EED-ACE8AC624EED}"/>
              </a:ext>
            </a:extLst>
          </p:cNvPr>
          <p:cNvSpPr/>
          <p:nvPr/>
        </p:nvSpPr>
        <p:spPr>
          <a:xfrm>
            <a:off x="6237311"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1" name="Freeform 60">
            <a:extLst>
              <a:ext uri="{FF2B5EF4-FFF2-40B4-BE49-F238E27FC236}">
                <a16:creationId xmlns:a16="http://schemas.microsoft.com/office/drawing/2014/main" id="{3A1216A4-F219-0F4C-BB52-66018365A379}"/>
              </a:ext>
            </a:extLst>
          </p:cNvPr>
          <p:cNvSpPr/>
          <p:nvPr/>
        </p:nvSpPr>
        <p:spPr>
          <a:xfrm>
            <a:off x="6197061"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2" name="Freeform 61">
            <a:extLst>
              <a:ext uri="{FF2B5EF4-FFF2-40B4-BE49-F238E27FC236}">
                <a16:creationId xmlns:a16="http://schemas.microsoft.com/office/drawing/2014/main" id="{BE03EA48-5A30-CA45-931C-06E949C53BAD}"/>
              </a:ext>
            </a:extLst>
          </p:cNvPr>
          <p:cNvSpPr/>
          <p:nvPr/>
        </p:nvSpPr>
        <p:spPr>
          <a:xfrm>
            <a:off x="6174149" y="248983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3" name="Freeform 62">
            <a:extLst>
              <a:ext uri="{FF2B5EF4-FFF2-40B4-BE49-F238E27FC236}">
                <a16:creationId xmlns:a16="http://schemas.microsoft.com/office/drawing/2014/main" id="{8DB2F0D3-7FD6-4946-8C14-D249ED9B60E3}"/>
              </a:ext>
            </a:extLst>
          </p:cNvPr>
          <p:cNvSpPr/>
          <p:nvPr/>
        </p:nvSpPr>
        <p:spPr>
          <a:xfrm>
            <a:off x="6129786" y="246335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4" name="Freeform 63">
            <a:extLst>
              <a:ext uri="{FF2B5EF4-FFF2-40B4-BE49-F238E27FC236}">
                <a16:creationId xmlns:a16="http://schemas.microsoft.com/office/drawing/2014/main" id="{251A58DA-13F1-1649-B775-23E66BF2A295}"/>
              </a:ext>
            </a:extLst>
          </p:cNvPr>
          <p:cNvSpPr/>
          <p:nvPr/>
        </p:nvSpPr>
        <p:spPr>
          <a:xfrm>
            <a:off x="6079255" y="2462839"/>
            <a:ext cx="72271" cy="63842"/>
          </a:xfrm>
          <a:custGeom>
            <a:avLst/>
            <a:gdLst>
              <a:gd name="connsiteX0" fmla="*/ 23366 w 23366"/>
              <a:gd name="connsiteY0" fmla="*/ 11784 h 23379"/>
              <a:gd name="connsiteX1" fmla="*/ 11778 w 23366"/>
              <a:gd name="connsiteY1" fmla="*/ 0 h 23379"/>
              <a:gd name="connsiteX2" fmla="*/ 0 w 23366"/>
              <a:gd name="connsiteY2" fmla="*/ 11595 h 23379"/>
              <a:gd name="connsiteX3" fmla="*/ 11588 w 23366"/>
              <a:gd name="connsiteY3" fmla="*/ 23379 h 23379"/>
              <a:gd name="connsiteX4" fmla="*/ 11778 w 23366"/>
              <a:gd name="connsiteY4" fmla="*/ 23379 h 23379"/>
              <a:gd name="connsiteX5" fmla="*/ 23366 w 23366"/>
              <a:gd name="connsiteY5" fmla="*/ 11784 h 23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66" h="23379">
                <a:moveTo>
                  <a:pt x="23366" y="11784"/>
                </a:moveTo>
                <a:cubicBezTo>
                  <a:pt x="23414" y="5328"/>
                  <a:pt x="18228" y="53"/>
                  <a:pt x="11778" y="0"/>
                </a:cubicBezTo>
                <a:cubicBezTo>
                  <a:pt x="5329" y="-52"/>
                  <a:pt x="57" y="5139"/>
                  <a:pt x="0" y="11595"/>
                </a:cubicBezTo>
                <a:cubicBezTo>
                  <a:pt x="-47" y="18051"/>
                  <a:pt x="5139" y="23327"/>
                  <a:pt x="11588" y="23379"/>
                </a:cubicBezTo>
                <a:cubicBezTo>
                  <a:pt x="11655" y="23380"/>
                  <a:pt x="11712" y="23380"/>
                  <a:pt x="11778" y="23379"/>
                </a:cubicBezTo>
                <a:cubicBezTo>
                  <a:pt x="18180" y="23379"/>
                  <a:pt x="23366" y="18188"/>
                  <a:pt x="23366" y="11784"/>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5" name="Freeform 64">
            <a:extLst>
              <a:ext uri="{FF2B5EF4-FFF2-40B4-BE49-F238E27FC236}">
                <a16:creationId xmlns:a16="http://schemas.microsoft.com/office/drawing/2014/main" id="{5151FB02-9096-A447-AD31-B3B9DB16B404}"/>
              </a:ext>
            </a:extLst>
          </p:cNvPr>
          <p:cNvSpPr/>
          <p:nvPr/>
        </p:nvSpPr>
        <p:spPr>
          <a:xfrm>
            <a:off x="6038124" y="2444153"/>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6" name="Freeform 65">
            <a:extLst>
              <a:ext uri="{FF2B5EF4-FFF2-40B4-BE49-F238E27FC236}">
                <a16:creationId xmlns:a16="http://schemas.microsoft.com/office/drawing/2014/main" id="{301DEE31-2BA9-E04F-A052-D46F694021D8}"/>
              </a:ext>
            </a:extLst>
          </p:cNvPr>
          <p:cNvSpPr/>
          <p:nvPr/>
        </p:nvSpPr>
        <p:spPr>
          <a:xfrm>
            <a:off x="6025785" y="2444153"/>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7" name="Freeform 66">
            <a:extLst>
              <a:ext uri="{FF2B5EF4-FFF2-40B4-BE49-F238E27FC236}">
                <a16:creationId xmlns:a16="http://schemas.microsoft.com/office/drawing/2014/main" id="{9FA14026-11A1-1747-B4F8-D941D9A6A3B2}"/>
              </a:ext>
            </a:extLst>
          </p:cNvPr>
          <p:cNvSpPr/>
          <p:nvPr/>
        </p:nvSpPr>
        <p:spPr>
          <a:xfrm>
            <a:off x="6011685" y="2444153"/>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8" name="Freeform 67">
            <a:extLst>
              <a:ext uri="{FF2B5EF4-FFF2-40B4-BE49-F238E27FC236}">
                <a16:creationId xmlns:a16="http://schemas.microsoft.com/office/drawing/2014/main" id="{04FF8B5A-F380-DB4E-92BB-111CA74DDFAD}"/>
              </a:ext>
            </a:extLst>
          </p:cNvPr>
          <p:cNvSpPr/>
          <p:nvPr/>
        </p:nvSpPr>
        <p:spPr>
          <a:xfrm>
            <a:off x="6002282" y="2421313"/>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9" name="Freeform 68">
            <a:extLst>
              <a:ext uri="{FF2B5EF4-FFF2-40B4-BE49-F238E27FC236}">
                <a16:creationId xmlns:a16="http://schemas.microsoft.com/office/drawing/2014/main" id="{9BB5668B-B527-CC4B-900D-8E041FE98141}"/>
              </a:ext>
            </a:extLst>
          </p:cNvPr>
          <p:cNvSpPr/>
          <p:nvPr/>
        </p:nvSpPr>
        <p:spPr>
          <a:xfrm>
            <a:off x="5994057" y="240262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0" name="Freeform 69">
            <a:extLst>
              <a:ext uri="{FF2B5EF4-FFF2-40B4-BE49-F238E27FC236}">
                <a16:creationId xmlns:a16="http://schemas.microsoft.com/office/drawing/2014/main" id="{AD7F7D31-543E-B847-813F-4A0762C4225D}"/>
              </a:ext>
            </a:extLst>
          </p:cNvPr>
          <p:cNvSpPr/>
          <p:nvPr/>
        </p:nvSpPr>
        <p:spPr>
          <a:xfrm>
            <a:off x="5942058" y="240262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1" name="Freeform 70">
            <a:extLst>
              <a:ext uri="{FF2B5EF4-FFF2-40B4-BE49-F238E27FC236}">
                <a16:creationId xmlns:a16="http://schemas.microsoft.com/office/drawing/2014/main" id="{A2A2F0F5-E395-0E47-B574-123FB11423E7}"/>
              </a:ext>
            </a:extLst>
          </p:cNvPr>
          <p:cNvSpPr/>
          <p:nvPr/>
        </p:nvSpPr>
        <p:spPr>
          <a:xfrm>
            <a:off x="5930892" y="240262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2" name="Freeform 71">
            <a:extLst>
              <a:ext uri="{FF2B5EF4-FFF2-40B4-BE49-F238E27FC236}">
                <a16:creationId xmlns:a16="http://schemas.microsoft.com/office/drawing/2014/main" id="{4C749C9F-6C3F-AE40-93F4-54A61D8D25F2}"/>
              </a:ext>
            </a:extLst>
          </p:cNvPr>
          <p:cNvSpPr/>
          <p:nvPr/>
        </p:nvSpPr>
        <p:spPr>
          <a:xfrm>
            <a:off x="5922081" y="240262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3" name="Freeform 72">
            <a:extLst>
              <a:ext uri="{FF2B5EF4-FFF2-40B4-BE49-F238E27FC236}">
                <a16:creationId xmlns:a16="http://schemas.microsoft.com/office/drawing/2014/main" id="{00D22DF2-5CB0-104F-973A-8E725F5F0C53}"/>
              </a:ext>
            </a:extLst>
          </p:cNvPr>
          <p:cNvSpPr/>
          <p:nvPr/>
        </p:nvSpPr>
        <p:spPr>
          <a:xfrm>
            <a:off x="5895054" y="240262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4" name="Freeform 73">
            <a:extLst>
              <a:ext uri="{FF2B5EF4-FFF2-40B4-BE49-F238E27FC236}">
                <a16:creationId xmlns:a16="http://schemas.microsoft.com/office/drawing/2014/main" id="{7E681B32-9B21-8243-8DFE-795AB45EC0CD}"/>
              </a:ext>
            </a:extLst>
          </p:cNvPr>
          <p:cNvSpPr/>
          <p:nvPr/>
        </p:nvSpPr>
        <p:spPr>
          <a:xfrm>
            <a:off x="5861853" y="238498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5" name="Freeform 74">
            <a:extLst>
              <a:ext uri="{FF2B5EF4-FFF2-40B4-BE49-F238E27FC236}">
                <a16:creationId xmlns:a16="http://schemas.microsoft.com/office/drawing/2014/main" id="{C9022690-89A7-A74C-AA19-42392752DC77}"/>
              </a:ext>
            </a:extLst>
          </p:cNvPr>
          <p:cNvSpPr/>
          <p:nvPr/>
        </p:nvSpPr>
        <p:spPr>
          <a:xfrm>
            <a:off x="5837178" y="238498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6" name="Freeform 75">
            <a:extLst>
              <a:ext uri="{FF2B5EF4-FFF2-40B4-BE49-F238E27FC236}">
                <a16:creationId xmlns:a16="http://schemas.microsoft.com/office/drawing/2014/main" id="{9E75D31E-FC47-CF4D-B795-D62ED685BFED}"/>
              </a:ext>
            </a:extLst>
          </p:cNvPr>
          <p:cNvSpPr/>
          <p:nvPr/>
        </p:nvSpPr>
        <p:spPr>
          <a:xfrm>
            <a:off x="5691753" y="2369147"/>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7" name="Freeform 76">
            <a:extLst>
              <a:ext uri="{FF2B5EF4-FFF2-40B4-BE49-F238E27FC236}">
                <a16:creationId xmlns:a16="http://schemas.microsoft.com/office/drawing/2014/main" id="{591FB8CC-BB28-D848-A0FE-10565DD6C5E5}"/>
              </a:ext>
            </a:extLst>
          </p:cNvPr>
          <p:cNvSpPr/>
          <p:nvPr/>
        </p:nvSpPr>
        <p:spPr>
          <a:xfrm>
            <a:off x="5662377" y="2369147"/>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8" name="Freeform 77">
            <a:extLst>
              <a:ext uri="{FF2B5EF4-FFF2-40B4-BE49-F238E27FC236}">
                <a16:creationId xmlns:a16="http://schemas.microsoft.com/office/drawing/2014/main" id="{73F555E6-50A0-E647-92F6-4D7FA0AA6C44}"/>
              </a:ext>
            </a:extLst>
          </p:cNvPr>
          <p:cNvSpPr/>
          <p:nvPr/>
        </p:nvSpPr>
        <p:spPr>
          <a:xfrm>
            <a:off x="5549268" y="233515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9" name="Freeform 78">
            <a:extLst>
              <a:ext uri="{FF2B5EF4-FFF2-40B4-BE49-F238E27FC236}">
                <a16:creationId xmlns:a16="http://schemas.microsoft.com/office/drawing/2014/main" id="{2934D456-6085-E444-827D-5C37659DE4AF}"/>
              </a:ext>
            </a:extLst>
          </p:cNvPr>
          <p:cNvSpPr/>
          <p:nvPr/>
        </p:nvSpPr>
        <p:spPr>
          <a:xfrm>
            <a:off x="5524590" y="233515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0" name="Freeform 79">
            <a:extLst>
              <a:ext uri="{FF2B5EF4-FFF2-40B4-BE49-F238E27FC236}">
                <a16:creationId xmlns:a16="http://schemas.microsoft.com/office/drawing/2014/main" id="{E959B527-22CD-A24D-9731-9ACF825423CB}"/>
              </a:ext>
            </a:extLst>
          </p:cNvPr>
          <p:cNvSpPr/>
          <p:nvPr/>
        </p:nvSpPr>
        <p:spPr>
          <a:xfrm>
            <a:off x="5462600" y="2318801"/>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1" name="Freeform 80">
            <a:extLst>
              <a:ext uri="{FF2B5EF4-FFF2-40B4-BE49-F238E27FC236}">
                <a16:creationId xmlns:a16="http://schemas.microsoft.com/office/drawing/2014/main" id="{0A2716C6-9B1B-204A-B2F7-9418368890A3}"/>
              </a:ext>
            </a:extLst>
          </p:cNvPr>
          <p:cNvSpPr/>
          <p:nvPr/>
        </p:nvSpPr>
        <p:spPr>
          <a:xfrm>
            <a:off x="5278692" y="2303487"/>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2" name="Freeform 81">
            <a:extLst>
              <a:ext uri="{FF2B5EF4-FFF2-40B4-BE49-F238E27FC236}">
                <a16:creationId xmlns:a16="http://schemas.microsoft.com/office/drawing/2014/main" id="{81395E25-2B48-574A-93AA-B03933181063}"/>
              </a:ext>
            </a:extLst>
          </p:cNvPr>
          <p:cNvSpPr/>
          <p:nvPr/>
        </p:nvSpPr>
        <p:spPr>
          <a:xfrm>
            <a:off x="5259009" y="2287137"/>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3" name="Freeform 82">
            <a:extLst>
              <a:ext uri="{FF2B5EF4-FFF2-40B4-BE49-F238E27FC236}">
                <a16:creationId xmlns:a16="http://schemas.microsoft.com/office/drawing/2014/main" id="{D2153248-CB4C-9343-A3F5-75544AA476B7}"/>
              </a:ext>
            </a:extLst>
          </p:cNvPr>
          <p:cNvSpPr/>
          <p:nvPr/>
        </p:nvSpPr>
        <p:spPr>
          <a:xfrm>
            <a:off x="5238737" y="2287137"/>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4" name="Freeform 83">
            <a:extLst>
              <a:ext uri="{FF2B5EF4-FFF2-40B4-BE49-F238E27FC236}">
                <a16:creationId xmlns:a16="http://schemas.microsoft.com/office/drawing/2014/main" id="{F144B4A5-253D-0346-A48E-166C7EDCD7E1}"/>
              </a:ext>
            </a:extLst>
          </p:cNvPr>
          <p:cNvSpPr/>
          <p:nvPr/>
        </p:nvSpPr>
        <p:spPr>
          <a:xfrm>
            <a:off x="5227281" y="2287137"/>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5" name="Freeform 84">
            <a:extLst>
              <a:ext uri="{FF2B5EF4-FFF2-40B4-BE49-F238E27FC236}">
                <a16:creationId xmlns:a16="http://schemas.microsoft.com/office/drawing/2014/main" id="{EDB77A01-4400-4641-964D-F0FDB882739A}"/>
              </a:ext>
            </a:extLst>
          </p:cNvPr>
          <p:cNvSpPr/>
          <p:nvPr/>
        </p:nvSpPr>
        <p:spPr>
          <a:xfrm>
            <a:off x="5173812" y="2257549"/>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6" name="Freeform 85">
            <a:extLst>
              <a:ext uri="{FF2B5EF4-FFF2-40B4-BE49-F238E27FC236}">
                <a16:creationId xmlns:a16="http://schemas.microsoft.com/office/drawing/2014/main" id="{158929F2-2C16-7B45-AFEB-0980877D1C7C}"/>
              </a:ext>
            </a:extLst>
          </p:cNvPr>
          <p:cNvSpPr/>
          <p:nvPr/>
        </p:nvSpPr>
        <p:spPr>
          <a:xfrm>
            <a:off x="5137971" y="2240422"/>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7" name="Freeform 86">
            <a:extLst>
              <a:ext uri="{FF2B5EF4-FFF2-40B4-BE49-F238E27FC236}">
                <a16:creationId xmlns:a16="http://schemas.microsoft.com/office/drawing/2014/main" id="{A962A35F-7518-AA49-B3AE-F119E7E6D01F}"/>
              </a:ext>
            </a:extLst>
          </p:cNvPr>
          <p:cNvSpPr/>
          <p:nvPr/>
        </p:nvSpPr>
        <p:spPr>
          <a:xfrm>
            <a:off x="5119755" y="2240422"/>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8" name="Freeform 87">
            <a:extLst>
              <a:ext uri="{FF2B5EF4-FFF2-40B4-BE49-F238E27FC236}">
                <a16:creationId xmlns:a16="http://schemas.microsoft.com/office/drawing/2014/main" id="{CD608F17-B78C-C649-B8FC-3BA577DEC7F5}"/>
              </a:ext>
            </a:extLst>
          </p:cNvPr>
          <p:cNvSpPr/>
          <p:nvPr/>
        </p:nvSpPr>
        <p:spPr>
          <a:xfrm>
            <a:off x="5027209" y="2210862"/>
            <a:ext cx="71690" cy="63324"/>
          </a:xfrm>
          <a:custGeom>
            <a:avLst/>
            <a:gdLst>
              <a:gd name="connsiteX0" fmla="*/ 23177 w 23178"/>
              <a:gd name="connsiteY0" fmla="*/ 11775 h 23189"/>
              <a:gd name="connsiteX1" fmla="*/ 11770 w 23178"/>
              <a:gd name="connsiteY1" fmla="*/ 1 h 23189"/>
              <a:gd name="connsiteX2" fmla="*/ 1 w 23178"/>
              <a:gd name="connsiteY2" fmla="*/ 11414 h 23189"/>
              <a:gd name="connsiteX3" fmla="*/ 11409 w 23178"/>
              <a:gd name="connsiteY3" fmla="*/ 23188 h 23189"/>
              <a:gd name="connsiteX4" fmla="*/ 12064 w 23178"/>
              <a:gd name="connsiteY4" fmla="*/ 23180 h 23189"/>
              <a:gd name="connsiteX5" fmla="*/ 23177 w 23178"/>
              <a:gd name="connsiteY5" fmla="*/ 11775 h 2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78" h="23189">
                <a:moveTo>
                  <a:pt x="23177" y="11775"/>
                </a:moveTo>
                <a:cubicBezTo>
                  <a:pt x="23272" y="5372"/>
                  <a:pt x="18172" y="100"/>
                  <a:pt x="11770" y="1"/>
                </a:cubicBezTo>
                <a:cubicBezTo>
                  <a:pt x="5368" y="-98"/>
                  <a:pt x="106" y="5011"/>
                  <a:pt x="1" y="11414"/>
                </a:cubicBezTo>
                <a:cubicBezTo>
                  <a:pt x="-94" y="17817"/>
                  <a:pt x="5007" y="23089"/>
                  <a:pt x="11409" y="23188"/>
                </a:cubicBezTo>
                <a:cubicBezTo>
                  <a:pt x="11627" y="23191"/>
                  <a:pt x="11846" y="23188"/>
                  <a:pt x="12064" y="23180"/>
                </a:cubicBezTo>
                <a:cubicBezTo>
                  <a:pt x="18210" y="22929"/>
                  <a:pt x="23082" y="17924"/>
                  <a:pt x="23177" y="1177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9" name="Freeform 88">
            <a:extLst>
              <a:ext uri="{FF2B5EF4-FFF2-40B4-BE49-F238E27FC236}">
                <a16:creationId xmlns:a16="http://schemas.microsoft.com/office/drawing/2014/main" id="{661B0D69-B4CC-104B-B9DB-096039C924C8}"/>
              </a:ext>
            </a:extLst>
          </p:cNvPr>
          <p:cNvSpPr/>
          <p:nvPr/>
        </p:nvSpPr>
        <p:spPr>
          <a:xfrm>
            <a:off x="4943190" y="2199155"/>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0" name="Freeform 89">
            <a:extLst>
              <a:ext uri="{FF2B5EF4-FFF2-40B4-BE49-F238E27FC236}">
                <a16:creationId xmlns:a16="http://schemas.microsoft.com/office/drawing/2014/main" id="{85825928-5CFF-EB49-9E78-CF9A8D260E1B}"/>
              </a:ext>
            </a:extLst>
          </p:cNvPr>
          <p:cNvSpPr/>
          <p:nvPr/>
        </p:nvSpPr>
        <p:spPr>
          <a:xfrm>
            <a:off x="4896186" y="2199155"/>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1" name="Freeform 90">
            <a:extLst>
              <a:ext uri="{FF2B5EF4-FFF2-40B4-BE49-F238E27FC236}">
                <a16:creationId xmlns:a16="http://schemas.microsoft.com/office/drawing/2014/main" id="{A6CAF865-FA19-D641-8C46-17C344920A87}"/>
              </a:ext>
            </a:extLst>
          </p:cNvPr>
          <p:cNvSpPr/>
          <p:nvPr/>
        </p:nvSpPr>
        <p:spPr>
          <a:xfrm>
            <a:off x="4833315" y="2199155"/>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2" name="Freeform 91">
            <a:extLst>
              <a:ext uri="{FF2B5EF4-FFF2-40B4-BE49-F238E27FC236}">
                <a16:creationId xmlns:a16="http://schemas.microsoft.com/office/drawing/2014/main" id="{06A2DC4B-C8F5-CF4E-8432-9E5ED003B2ED}"/>
              </a:ext>
            </a:extLst>
          </p:cNvPr>
          <p:cNvSpPr/>
          <p:nvPr/>
        </p:nvSpPr>
        <p:spPr>
          <a:xfrm>
            <a:off x="4658805" y="214206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3" name="Freeform 92">
            <a:extLst>
              <a:ext uri="{FF2B5EF4-FFF2-40B4-BE49-F238E27FC236}">
                <a16:creationId xmlns:a16="http://schemas.microsoft.com/office/drawing/2014/main" id="{A9424EAF-227F-0647-974A-D6E7A202619C}"/>
              </a:ext>
            </a:extLst>
          </p:cNvPr>
          <p:cNvSpPr/>
          <p:nvPr/>
        </p:nvSpPr>
        <p:spPr>
          <a:xfrm>
            <a:off x="4597407" y="2142060"/>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4" name="Freeform 93">
            <a:extLst>
              <a:ext uri="{FF2B5EF4-FFF2-40B4-BE49-F238E27FC236}">
                <a16:creationId xmlns:a16="http://schemas.microsoft.com/office/drawing/2014/main" id="{2B85C7D7-1216-064C-80F0-DE098686CFE0}"/>
              </a:ext>
            </a:extLst>
          </p:cNvPr>
          <p:cNvSpPr/>
          <p:nvPr/>
        </p:nvSpPr>
        <p:spPr>
          <a:xfrm>
            <a:off x="4581543" y="2142060"/>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5" name="Freeform 94">
            <a:extLst>
              <a:ext uri="{FF2B5EF4-FFF2-40B4-BE49-F238E27FC236}">
                <a16:creationId xmlns:a16="http://schemas.microsoft.com/office/drawing/2014/main" id="{FD8DA0C9-29D7-AF4C-9F18-D4D9FF9567F1}"/>
              </a:ext>
            </a:extLst>
          </p:cNvPr>
          <p:cNvSpPr/>
          <p:nvPr/>
        </p:nvSpPr>
        <p:spPr>
          <a:xfrm>
            <a:off x="4566560" y="214206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6" name="Freeform 95">
            <a:extLst>
              <a:ext uri="{FF2B5EF4-FFF2-40B4-BE49-F238E27FC236}">
                <a16:creationId xmlns:a16="http://schemas.microsoft.com/office/drawing/2014/main" id="{91501492-8CE5-2E4B-B6CB-062BE166E85C}"/>
              </a:ext>
            </a:extLst>
          </p:cNvPr>
          <p:cNvSpPr/>
          <p:nvPr/>
        </p:nvSpPr>
        <p:spPr>
          <a:xfrm>
            <a:off x="4530719" y="214206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7" name="Freeform 96">
            <a:extLst>
              <a:ext uri="{FF2B5EF4-FFF2-40B4-BE49-F238E27FC236}">
                <a16:creationId xmlns:a16="http://schemas.microsoft.com/office/drawing/2014/main" id="{2C93E084-C2EF-0E46-AF6F-665BA3B87CCA}"/>
              </a:ext>
            </a:extLst>
          </p:cNvPr>
          <p:cNvSpPr/>
          <p:nvPr/>
        </p:nvSpPr>
        <p:spPr>
          <a:xfrm>
            <a:off x="4497813" y="214206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8" name="Freeform 97">
            <a:extLst>
              <a:ext uri="{FF2B5EF4-FFF2-40B4-BE49-F238E27FC236}">
                <a16:creationId xmlns:a16="http://schemas.microsoft.com/office/drawing/2014/main" id="{B43E7E44-61E6-0E4F-AAA1-ADE1588FDCC7}"/>
              </a:ext>
            </a:extLst>
          </p:cNvPr>
          <p:cNvSpPr/>
          <p:nvPr/>
        </p:nvSpPr>
        <p:spPr>
          <a:xfrm>
            <a:off x="4417022" y="2142060"/>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9" name="Freeform 98">
            <a:extLst>
              <a:ext uri="{FF2B5EF4-FFF2-40B4-BE49-F238E27FC236}">
                <a16:creationId xmlns:a16="http://schemas.microsoft.com/office/drawing/2014/main" id="{616BF313-9E6A-894E-BDE0-75CEBBB26666}"/>
              </a:ext>
            </a:extLst>
          </p:cNvPr>
          <p:cNvSpPr/>
          <p:nvPr/>
        </p:nvSpPr>
        <p:spPr>
          <a:xfrm>
            <a:off x="4376772" y="213038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0" name="Freeform 99">
            <a:extLst>
              <a:ext uri="{FF2B5EF4-FFF2-40B4-BE49-F238E27FC236}">
                <a16:creationId xmlns:a16="http://schemas.microsoft.com/office/drawing/2014/main" id="{F77BC679-4DD8-0949-9D8E-9783E0B25925}"/>
              </a:ext>
            </a:extLst>
          </p:cNvPr>
          <p:cNvSpPr/>
          <p:nvPr/>
        </p:nvSpPr>
        <p:spPr>
          <a:xfrm>
            <a:off x="4325361" y="2116625"/>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1" name="Freeform 100">
            <a:extLst>
              <a:ext uri="{FF2B5EF4-FFF2-40B4-BE49-F238E27FC236}">
                <a16:creationId xmlns:a16="http://schemas.microsoft.com/office/drawing/2014/main" id="{4E06293F-C981-1140-BCB5-B1539AB8867D}"/>
              </a:ext>
            </a:extLst>
          </p:cNvPr>
          <p:cNvSpPr/>
          <p:nvPr/>
        </p:nvSpPr>
        <p:spPr>
          <a:xfrm>
            <a:off x="4257497" y="2116625"/>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2" name="Freeform 101">
            <a:extLst>
              <a:ext uri="{FF2B5EF4-FFF2-40B4-BE49-F238E27FC236}">
                <a16:creationId xmlns:a16="http://schemas.microsoft.com/office/drawing/2014/main" id="{2656E9A9-3806-834E-B5CF-58A7A42DBBAB}"/>
              </a:ext>
            </a:extLst>
          </p:cNvPr>
          <p:cNvSpPr/>
          <p:nvPr/>
        </p:nvSpPr>
        <p:spPr>
          <a:xfrm>
            <a:off x="4221654" y="2116625"/>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3" name="Freeform 102">
            <a:extLst>
              <a:ext uri="{FF2B5EF4-FFF2-40B4-BE49-F238E27FC236}">
                <a16:creationId xmlns:a16="http://schemas.microsoft.com/office/drawing/2014/main" id="{BF6698D4-C3CD-8C47-8E53-33163BA31954}"/>
              </a:ext>
            </a:extLst>
          </p:cNvPr>
          <p:cNvSpPr/>
          <p:nvPr/>
        </p:nvSpPr>
        <p:spPr>
          <a:xfrm>
            <a:off x="4144979" y="2080290"/>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4" name="Freeform 103">
            <a:extLst>
              <a:ext uri="{FF2B5EF4-FFF2-40B4-BE49-F238E27FC236}">
                <a16:creationId xmlns:a16="http://schemas.microsoft.com/office/drawing/2014/main" id="{F516D568-198A-9B44-9EAC-16E3BD0CA42A}"/>
              </a:ext>
            </a:extLst>
          </p:cNvPr>
          <p:cNvSpPr/>
          <p:nvPr/>
        </p:nvSpPr>
        <p:spPr>
          <a:xfrm>
            <a:off x="4112369" y="205485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5" name="Freeform 104">
            <a:extLst>
              <a:ext uri="{FF2B5EF4-FFF2-40B4-BE49-F238E27FC236}">
                <a16:creationId xmlns:a16="http://schemas.microsoft.com/office/drawing/2014/main" id="{09E47E2F-30D1-6148-919A-287D906EE456}"/>
              </a:ext>
            </a:extLst>
          </p:cNvPr>
          <p:cNvSpPr/>
          <p:nvPr/>
        </p:nvSpPr>
        <p:spPr>
          <a:xfrm>
            <a:off x="3959892" y="196609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6" name="Freeform 105">
            <a:extLst>
              <a:ext uri="{FF2B5EF4-FFF2-40B4-BE49-F238E27FC236}">
                <a16:creationId xmlns:a16="http://schemas.microsoft.com/office/drawing/2014/main" id="{EA4B8712-CA2A-1746-AB0E-99DB2A8A7652}"/>
              </a:ext>
            </a:extLst>
          </p:cNvPr>
          <p:cNvSpPr/>
          <p:nvPr/>
        </p:nvSpPr>
        <p:spPr>
          <a:xfrm>
            <a:off x="3954606" y="1966099"/>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7" name="Freeform 106">
            <a:extLst>
              <a:ext uri="{FF2B5EF4-FFF2-40B4-BE49-F238E27FC236}">
                <a16:creationId xmlns:a16="http://schemas.microsoft.com/office/drawing/2014/main" id="{30D4219D-95A5-7C4F-A588-F63883FA0AD0}"/>
              </a:ext>
            </a:extLst>
          </p:cNvPr>
          <p:cNvSpPr/>
          <p:nvPr/>
        </p:nvSpPr>
        <p:spPr>
          <a:xfrm>
            <a:off x="3899669" y="194273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8" name="Freeform 107">
            <a:extLst>
              <a:ext uri="{FF2B5EF4-FFF2-40B4-BE49-F238E27FC236}">
                <a16:creationId xmlns:a16="http://schemas.microsoft.com/office/drawing/2014/main" id="{26EFF1C2-F206-3543-98BC-5FD905F1BE8B}"/>
              </a:ext>
            </a:extLst>
          </p:cNvPr>
          <p:cNvSpPr/>
          <p:nvPr/>
        </p:nvSpPr>
        <p:spPr>
          <a:xfrm>
            <a:off x="3877634" y="194273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9" name="Freeform 108">
            <a:extLst>
              <a:ext uri="{FF2B5EF4-FFF2-40B4-BE49-F238E27FC236}">
                <a16:creationId xmlns:a16="http://schemas.microsoft.com/office/drawing/2014/main" id="{542E847B-F91D-C441-93D5-AE3B527F5764}"/>
              </a:ext>
            </a:extLst>
          </p:cNvPr>
          <p:cNvSpPr/>
          <p:nvPr/>
        </p:nvSpPr>
        <p:spPr>
          <a:xfrm>
            <a:off x="3856188" y="194273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0" name="Freeform 109">
            <a:extLst>
              <a:ext uri="{FF2B5EF4-FFF2-40B4-BE49-F238E27FC236}">
                <a16:creationId xmlns:a16="http://schemas.microsoft.com/office/drawing/2014/main" id="{8BF57217-515D-9945-8614-F728765C72BD}"/>
              </a:ext>
            </a:extLst>
          </p:cNvPr>
          <p:cNvSpPr/>
          <p:nvPr/>
        </p:nvSpPr>
        <p:spPr>
          <a:xfrm>
            <a:off x="3847080" y="1919902"/>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1" name="Freeform 110">
            <a:extLst>
              <a:ext uri="{FF2B5EF4-FFF2-40B4-BE49-F238E27FC236}">
                <a16:creationId xmlns:a16="http://schemas.microsoft.com/office/drawing/2014/main" id="{F4907762-8754-DE45-9ADA-9FA66816A8DB}"/>
              </a:ext>
            </a:extLst>
          </p:cNvPr>
          <p:cNvSpPr/>
          <p:nvPr/>
        </p:nvSpPr>
        <p:spPr>
          <a:xfrm>
            <a:off x="3726630" y="1859948"/>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2" name="Freeform 111">
            <a:extLst>
              <a:ext uri="{FF2B5EF4-FFF2-40B4-BE49-F238E27FC236}">
                <a16:creationId xmlns:a16="http://schemas.microsoft.com/office/drawing/2014/main" id="{C50B6CD9-1A6C-5649-B349-1B3F709017AF}"/>
              </a:ext>
            </a:extLst>
          </p:cNvPr>
          <p:cNvSpPr/>
          <p:nvPr/>
        </p:nvSpPr>
        <p:spPr>
          <a:xfrm>
            <a:off x="3717521" y="1859430"/>
            <a:ext cx="72271" cy="63845"/>
          </a:xfrm>
          <a:custGeom>
            <a:avLst/>
            <a:gdLst>
              <a:gd name="connsiteX0" fmla="*/ 23366 w 23366"/>
              <a:gd name="connsiteY0" fmla="*/ 11785 h 23380"/>
              <a:gd name="connsiteX1" fmla="*/ 11778 w 23366"/>
              <a:gd name="connsiteY1" fmla="*/ 0 h 23380"/>
              <a:gd name="connsiteX2" fmla="*/ 0 w 23366"/>
              <a:gd name="connsiteY2" fmla="*/ 11595 h 23380"/>
              <a:gd name="connsiteX3" fmla="*/ 11588 w 23366"/>
              <a:gd name="connsiteY3" fmla="*/ 23380 h 23380"/>
              <a:gd name="connsiteX4" fmla="*/ 11683 w 23366"/>
              <a:gd name="connsiteY4" fmla="*/ 23380 h 23380"/>
              <a:gd name="connsiteX5" fmla="*/ 23366 w 23366"/>
              <a:gd name="connsiteY5" fmla="*/ 11880 h 23380"/>
              <a:gd name="connsiteX6" fmla="*/ 23366 w 23366"/>
              <a:gd name="connsiteY6" fmla="*/ 11785 h 2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66" h="23380">
                <a:moveTo>
                  <a:pt x="23366" y="11785"/>
                </a:moveTo>
                <a:cubicBezTo>
                  <a:pt x="23423" y="5329"/>
                  <a:pt x="18228" y="54"/>
                  <a:pt x="11778" y="0"/>
                </a:cubicBezTo>
                <a:cubicBezTo>
                  <a:pt x="5329" y="-52"/>
                  <a:pt x="57" y="5139"/>
                  <a:pt x="0" y="11595"/>
                </a:cubicBezTo>
                <a:cubicBezTo>
                  <a:pt x="-47" y="18051"/>
                  <a:pt x="5139" y="23327"/>
                  <a:pt x="11588" y="23380"/>
                </a:cubicBezTo>
                <a:cubicBezTo>
                  <a:pt x="11617" y="23380"/>
                  <a:pt x="11655" y="23380"/>
                  <a:pt x="11683" y="23380"/>
                </a:cubicBezTo>
                <a:cubicBezTo>
                  <a:pt x="18085" y="23432"/>
                  <a:pt x="23309" y="18284"/>
                  <a:pt x="23366" y="11880"/>
                </a:cubicBezTo>
                <a:cubicBezTo>
                  <a:pt x="23366" y="11849"/>
                  <a:pt x="23366" y="11817"/>
                  <a:pt x="23366" y="1178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3" name="Freeform 112">
            <a:extLst>
              <a:ext uri="{FF2B5EF4-FFF2-40B4-BE49-F238E27FC236}">
                <a16:creationId xmlns:a16="http://schemas.microsoft.com/office/drawing/2014/main" id="{627A0E06-9C08-D14E-B9DB-03252030B494}"/>
              </a:ext>
            </a:extLst>
          </p:cNvPr>
          <p:cNvSpPr/>
          <p:nvPr/>
        </p:nvSpPr>
        <p:spPr>
          <a:xfrm>
            <a:off x="3700187" y="1859948"/>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4" name="Freeform 113">
            <a:extLst>
              <a:ext uri="{FF2B5EF4-FFF2-40B4-BE49-F238E27FC236}">
                <a16:creationId xmlns:a16="http://schemas.microsoft.com/office/drawing/2014/main" id="{B4C9E64C-C691-AC49-B1AE-7C3CFCFBF2AC}"/>
              </a:ext>
            </a:extLst>
          </p:cNvPr>
          <p:cNvSpPr/>
          <p:nvPr/>
        </p:nvSpPr>
        <p:spPr>
          <a:xfrm>
            <a:off x="3668460" y="1846971"/>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5" name="Freeform 114">
            <a:extLst>
              <a:ext uri="{FF2B5EF4-FFF2-40B4-BE49-F238E27FC236}">
                <a16:creationId xmlns:a16="http://schemas.microsoft.com/office/drawing/2014/main" id="{E98D3317-35A9-DB44-AEE4-B1570A4FBDA3}"/>
              </a:ext>
            </a:extLst>
          </p:cNvPr>
          <p:cNvSpPr/>
          <p:nvPr/>
        </p:nvSpPr>
        <p:spPr>
          <a:xfrm>
            <a:off x="3646131" y="182179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6" name="Freeform 115">
            <a:extLst>
              <a:ext uri="{FF2B5EF4-FFF2-40B4-BE49-F238E27FC236}">
                <a16:creationId xmlns:a16="http://schemas.microsoft.com/office/drawing/2014/main" id="{3DA3A0DD-4330-5C46-AD9E-7518A07289AE}"/>
              </a:ext>
            </a:extLst>
          </p:cNvPr>
          <p:cNvSpPr/>
          <p:nvPr/>
        </p:nvSpPr>
        <p:spPr>
          <a:xfrm>
            <a:off x="3630854" y="1813233"/>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7" name="Freeform 116">
            <a:extLst>
              <a:ext uri="{FF2B5EF4-FFF2-40B4-BE49-F238E27FC236}">
                <a16:creationId xmlns:a16="http://schemas.microsoft.com/office/drawing/2014/main" id="{3D4CD8B6-DD84-B045-A5D7-804303EE1383}"/>
              </a:ext>
            </a:extLst>
          </p:cNvPr>
          <p:cNvSpPr/>
          <p:nvPr/>
        </p:nvSpPr>
        <p:spPr>
          <a:xfrm>
            <a:off x="3569748" y="1765222"/>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8" name="Freeform 117">
            <a:extLst>
              <a:ext uri="{FF2B5EF4-FFF2-40B4-BE49-F238E27FC236}">
                <a16:creationId xmlns:a16="http://schemas.microsoft.com/office/drawing/2014/main" id="{A5B76E8A-97F8-2D4E-B6D6-775DB740B8C5}"/>
              </a:ext>
            </a:extLst>
          </p:cNvPr>
          <p:cNvSpPr/>
          <p:nvPr/>
        </p:nvSpPr>
        <p:spPr>
          <a:xfrm>
            <a:off x="3510402" y="172395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9" name="Freeform 118">
            <a:extLst>
              <a:ext uri="{FF2B5EF4-FFF2-40B4-BE49-F238E27FC236}">
                <a16:creationId xmlns:a16="http://schemas.microsoft.com/office/drawing/2014/main" id="{E3BE2B5A-4A8F-F44D-A6B9-1ADA0140D62A}"/>
              </a:ext>
            </a:extLst>
          </p:cNvPr>
          <p:cNvSpPr/>
          <p:nvPr/>
        </p:nvSpPr>
        <p:spPr>
          <a:xfrm>
            <a:off x="3452232" y="167801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0" name="Freeform 119">
            <a:extLst>
              <a:ext uri="{FF2B5EF4-FFF2-40B4-BE49-F238E27FC236}">
                <a16:creationId xmlns:a16="http://schemas.microsoft.com/office/drawing/2014/main" id="{9C9D4B3C-EF06-9948-B410-D1762CD24FDE}"/>
              </a:ext>
            </a:extLst>
          </p:cNvPr>
          <p:cNvSpPr/>
          <p:nvPr/>
        </p:nvSpPr>
        <p:spPr>
          <a:xfrm>
            <a:off x="3433137" y="165466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1" name="Freeform 120">
            <a:extLst>
              <a:ext uri="{FF2B5EF4-FFF2-40B4-BE49-F238E27FC236}">
                <a16:creationId xmlns:a16="http://schemas.microsoft.com/office/drawing/2014/main" id="{D0DA7F06-B3B9-4141-ABB7-A286865D155C}"/>
              </a:ext>
            </a:extLst>
          </p:cNvPr>
          <p:cNvSpPr/>
          <p:nvPr/>
        </p:nvSpPr>
        <p:spPr>
          <a:xfrm>
            <a:off x="3406992" y="1646875"/>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2" name="Freeform 121">
            <a:extLst>
              <a:ext uri="{FF2B5EF4-FFF2-40B4-BE49-F238E27FC236}">
                <a16:creationId xmlns:a16="http://schemas.microsoft.com/office/drawing/2014/main" id="{BC478435-BF09-AE4C-8074-5076A7C972BC}"/>
              </a:ext>
            </a:extLst>
          </p:cNvPr>
          <p:cNvSpPr/>
          <p:nvPr/>
        </p:nvSpPr>
        <p:spPr>
          <a:xfrm>
            <a:off x="3387308" y="162221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3" name="Freeform 122">
            <a:extLst>
              <a:ext uri="{FF2B5EF4-FFF2-40B4-BE49-F238E27FC236}">
                <a16:creationId xmlns:a16="http://schemas.microsoft.com/office/drawing/2014/main" id="{0FA39011-3D28-B14B-A565-61F9EB6FE5C8}"/>
              </a:ext>
            </a:extLst>
          </p:cNvPr>
          <p:cNvSpPr/>
          <p:nvPr/>
        </p:nvSpPr>
        <p:spPr>
          <a:xfrm>
            <a:off x="3343532" y="156667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4" name="Freeform 123">
            <a:extLst>
              <a:ext uri="{FF2B5EF4-FFF2-40B4-BE49-F238E27FC236}">
                <a16:creationId xmlns:a16="http://schemas.microsoft.com/office/drawing/2014/main" id="{A64AAD00-9D64-F244-A181-DE562107BA12}"/>
              </a:ext>
            </a:extLst>
          </p:cNvPr>
          <p:cNvSpPr/>
          <p:nvPr/>
        </p:nvSpPr>
        <p:spPr>
          <a:xfrm>
            <a:off x="3322968" y="1519184"/>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5" name="Freeform 124">
            <a:extLst>
              <a:ext uri="{FF2B5EF4-FFF2-40B4-BE49-F238E27FC236}">
                <a16:creationId xmlns:a16="http://schemas.microsoft.com/office/drawing/2014/main" id="{47B0485E-020C-4040-A4AB-CDDCF67148CC}"/>
              </a:ext>
            </a:extLst>
          </p:cNvPr>
          <p:cNvSpPr/>
          <p:nvPr/>
        </p:nvSpPr>
        <p:spPr>
          <a:xfrm>
            <a:off x="3243939" y="1492712"/>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66" y="23138"/>
                  <a:pt x="23125" y="17977"/>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6" name="Freeform 125">
            <a:extLst>
              <a:ext uri="{FF2B5EF4-FFF2-40B4-BE49-F238E27FC236}">
                <a16:creationId xmlns:a16="http://schemas.microsoft.com/office/drawing/2014/main" id="{696621C6-60D9-9A42-83F4-9D6C317005FC}"/>
              </a:ext>
            </a:extLst>
          </p:cNvPr>
          <p:cNvSpPr/>
          <p:nvPr/>
        </p:nvSpPr>
        <p:spPr>
          <a:xfrm>
            <a:off x="3212213" y="1481293"/>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7" name="Freeform 126">
            <a:extLst>
              <a:ext uri="{FF2B5EF4-FFF2-40B4-BE49-F238E27FC236}">
                <a16:creationId xmlns:a16="http://schemas.microsoft.com/office/drawing/2014/main" id="{430030D6-3AB6-A040-8C43-273D5FA97D14}"/>
              </a:ext>
            </a:extLst>
          </p:cNvPr>
          <p:cNvSpPr/>
          <p:nvPr/>
        </p:nvSpPr>
        <p:spPr>
          <a:xfrm>
            <a:off x="3161682" y="146753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8" name="Freeform 127">
            <a:extLst>
              <a:ext uri="{FF2B5EF4-FFF2-40B4-BE49-F238E27FC236}">
                <a16:creationId xmlns:a16="http://schemas.microsoft.com/office/drawing/2014/main" id="{A44F873C-B273-FA42-B954-A733EA318235}"/>
              </a:ext>
            </a:extLst>
          </p:cNvPr>
          <p:cNvSpPr/>
          <p:nvPr/>
        </p:nvSpPr>
        <p:spPr>
          <a:xfrm>
            <a:off x="3149636" y="146753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9" name="Freeform 128">
            <a:extLst>
              <a:ext uri="{FF2B5EF4-FFF2-40B4-BE49-F238E27FC236}">
                <a16:creationId xmlns:a16="http://schemas.microsoft.com/office/drawing/2014/main" id="{AEB0C3FF-1405-534B-A4D4-18E5E7FABC79}"/>
              </a:ext>
            </a:extLst>
          </p:cNvPr>
          <p:cNvSpPr/>
          <p:nvPr/>
        </p:nvSpPr>
        <p:spPr>
          <a:xfrm>
            <a:off x="3129953" y="1447294"/>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0" name="Freeform 129">
            <a:extLst>
              <a:ext uri="{FF2B5EF4-FFF2-40B4-BE49-F238E27FC236}">
                <a16:creationId xmlns:a16="http://schemas.microsoft.com/office/drawing/2014/main" id="{7FAF2438-CFAB-6E49-B690-232BE02CB70A}"/>
              </a:ext>
            </a:extLst>
          </p:cNvPr>
          <p:cNvSpPr/>
          <p:nvPr/>
        </p:nvSpPr>
        <p:spPr>
          <a:xfrm>
            <a:off x="3078834" y="1438732"/>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1" name="Freeform 130">
            <a:extLst>
              <a:ext uri="{FF2B5EF4-FFF2-40B4-BE49-F238E27FC236}">
                <a16:creationId xmlns:a16="http://schemas.microsoft.com/office/drawing/2014/main" id="{44EFEBD8-D130-0649-8F39-D7FBE90ECFF8}"/>
              </a:ext>
            </a:extLst>
          </p:cNvPr>
          <p:cNvSpPr/>
          <p:nvPr/>
        </p:nvSpPr>
        <p:spPr>
          <a:xfrm>
            <a:off x="3059738" y="1438732"/>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2" name="Freeform 131">
            <a:extLst>
              <a:ext uri="{FF2B5EF4-FFF2-40B4-BE49-F238E27FC236}">
                <a16:creationId xmlns:a16="http://schemas.microsoft.com/office/drawing/2014/main" id="{B1C596B5-CA04-D24D-9E66-740B13A3E861}"/>
              </a:ext>
            </a:extLst>
          </p:cNvPr>
          <p:cNvSpPr/>
          <p:nvPr/>
        </p:nvSpPr>
        <p:spPr>
          <a:xfrm>
            <a:off x="3014787" y="1438732"/>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3" name="Freeform 132">
            <a:extLst>
              <a:ext uri="{FF2B5EF4-FFF2-40B4-BE49-F238E27FC236}">
                <a16:creationId xmlns:a16="http://schemas.microsoft.com/office/drawing/2014/main" id="{CF091C6D-C98C-4D48-8589-AB73B21FCC54}"/>
              </a:ext>
            </a:extLst>
          </p:cNvPr>
          <p:cNvSpPr/>
          <p:nvPr/>
        </p:nvSpPr>
        <p:spPr>
          <a:xfrm>
            <a:off x="2996573" y="1426273"/>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4" name="Freeform 133">
            <a:extLst>
              <a:ext uri="{FF2B5EF4-FFF2-40B4-BE49-F238E27FC236}">
                <a16:creationId xmlns:a16="http://schemas.microsoft.com/office/drawing/2014/main" id="{5B98BC36-FEF8-1E47-91C8-8584E1860B55}"/>
              </a:ext>
            </a:extLst>
          </p:cNvPr>
          <p:cNvSpPr/>
          <p:nvPr/>
        </p:nvSpPr>
        <p:spPr>
          <a:xfrm>
            <a:off x="2943104" y="1426273"/>
            <a:ext cx="71680" cy="63326"/>
          </a:xfrm>
          <a:custGeom>
            <a:avLst/>
            <a:gdLst>
              <a:gd name="connsiteX0" fmla="*/ 23176 w 23175"/>
              <a:gd name="connsiteY0" fmla="*/ 11595 h 23190"/>
              <a:gd name="connsiteX1" fmla="*/ 11588 w 23175"/>
              <a:gd name="connsiteY1" fmla="*/ 0 h 23190"/>
              <a:gd name="connsiteX2" fmla="*/ 0 w 23175"/>
              <a:gd name="connsiteY2" fmla="*/ 11596 h 23190"/>
              <a:gd name="connsiteX3" fmla="*/ 11493 w 23175"/>
              <a:gd name="connsiteY3" fmla="*/ 23190 h 23190"/>
              <a:gd name="connsiteX4" fmla="*/ 23176 w 23175"/>
              <a:gd name="connsiteY4" fmla="*/ 11690 h 23190"/>
              <a:gd name="connsiteX5" fmla="*/ 23176 w 23175"/>
              <a:gd name="connsiteY5" fmla="*/ 11595 h 23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75" h="23190">
                <a:moveTo>
                  <a:pt x="23176" y="11595"/>
                </a:moveTo>
                <a:cubicBezTo>
                  <a:pt x="23176" y="5191"/>
                  <a:pt x="17987" y="0"/>
                  <a:pt x="11588" y="0"/>
                </a:cubicBezTo>
                <a:cubicBezTo>
                  <a:pt x="5188" y="1"/>
                  <a:pt x="0" y="5192"/>
                  <a:pt x="0" y="11596"/>
                </a:cubicBezTo>
                <a:cubicBezTo>
                  <a:pt x="0" y="17962"/>
                  <a:pt x="5131" y="23137"/>
                  <a:pt x="11493" y="23190"/>
                </a:cubicBezTo>
                <a:cubicBezTo>
                  <a:pt x="17893" y="23242"/>
                  <a:pt x="23123" y="18094"/>
                  <a:pt x="23176" y="11690"/>
                </a:cubicBezTo>
                <a:cubicBezTo>
                  <a:pt x="23176" y="11659"/>
                  <a:pt x="23176" y="11626"/>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5" name="Freeform 134">
            <a:extLst>
              <a:ext uri="{FF2B5EF4-FFF2-40B4-BE49-F238E27FC236}">
                <a16:creationId xmlns:a16="http://schemas.microsoft.com/office/drawing/2014/main" id="{393C93C8-8AC7-504B-948D-7A9F971FC222}"/>
              </a:ext>
            </a:extLst>
          </p:cNvPr>
          <p:cNvSpPr/>
          <p:nvPr/>
        </p:nvSpPr>
        <p:spPr>
          <a:xfrm>
            <a:off x="2898156" y="138370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6" name="Freeform 135">
            <a:extLst>
              <a:ext uri="{FF2B5EF4-FFF2-40B4-BE49-F238E27FC236}">
                <a16:creationId xmlns:a16="http://schemas.microsoft.com/office/drawing/2014/main" id="{B669DD42-9548-A14F-9048-F5B9B7C808AD}"/>
              </a:ext>
            </a:extLst>
          </p:cNvPr>
          <p:cNvSpPr/>
          <p:nvPr/>
        </p:nvSpPr>
        <p:spPr>
          <a:xfrm>
            <a:off x="2854968" y="1355939"/>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7" name="Freeform 136">
            <a:extLst>
              <a:ext uri="{FF2B5EF4-FFF2-40B4-BE49-F238E27FC236}">
                <a16:creationId xmlns:a16="http://schemas.microsoft.com/office/drawing/2014/main" id="{2426CBD0-C42B-014B-9E8A-58AE2F67DEA8}"/>
              </a:ext>
            </a:extLst>
          </p:cNvPr>
          <p:cNvSpPr/>
          <p:nvPr/>
        </p:nvSpPr>
        <p:spPr>
          <a:xfrm>
            <a:off x="2862021" y="135593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8" name="Freeform 137">
            <a:extLst>
              <a:ext uri="{FF2B5EF4-FFF2-40B4-BE49-F238E27FC236}">
                <a16:creationId xmlns:a16="http://schemas.microsoft.com/office/drawing/2014/main" id="{030D2D3A-ABB0-F24F-A8BC-8EE55911A836}"/>
              </a:ext>
            </a:extLst>
          </p:cNvPr>
          <p:cNvSpPr/>
          <p:nvPr/>
        </p:nvSpPr>
        <p:spPr>
          <a:xfrm>
            <a:off x="2839104" y="1343741"/>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9" name="Freeform 138">
            <a:extLst>
              <a:ext uri="{FF2B5EF4-FFF2-40B4-BE49-F238E27FC236}">
                <a16:creationId xmlns:a16="http://schemas.microsoft.com/office/drawing/2014/main" id="{6D7B5FD6-598F-D74B-847F-2547BD3E0D2E}"/>
              </a:ext>
            </a:extLst>
          </p:cNvPr>
          <p:cNvSpPr/>
          <p:nvPr/>
        </p:nvSpPr>
        <p:spPr>
          <a:xfrm>
            <a:off x="2815017" y="1334140"/>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0" name="Freeform 139">
            <a:extLst>
              <a:ext uri="{FF2B5EF4-FFF2-40B4-BE49-F238E27FC236}">
                <a16:creationId xmlns:a16="http://schemas.microsoft.com/office/drawing/2014/main" id="{67407771-5DEA-0842-8BF5-3BC92178C5DE}"/>
              </a:ext>
            </a:extLst>
          </p:cNvPr>
          <p:cNvSpPr/>
          <p:nvPr/>
        </p:nvSpPr>
        <p:spPr>
          <a:xfrm>
            <a:off x="2799446" y="1305331"/>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1" name="Freeform 140">
            <a:extLst>
              <a:ext uri="{FF2B5EF4-FFF2-40B4-BE49-F238E27FC236}">
                <a16:creationId xmlns:a16="http://schemas.microsoft.com/office/drawing/2014/main" id="{E8367187-CB0E-2445-9C64-0B34330C3267}"/>
              </a:ext>
            </a:extLst>
          </p:cNvPr>
          <p:cNvSpPr/>
          <p:nvPr/>
        </p:nvSpPr>
        <p:spPr>
          <a:xfrm>
            <a:off x="2746563" y="1288722"/>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2" name="Freeform 141">
            <a:extLst>
              <a:ext uri="{FF2B5EF4-FFF2-40B4-BE49-F238E27FC236}">
                <a16:creationId xmlns:a16="http://schemas.microsoft.com/office/drawing/2014/main" id="{002FA19F-0061-9A42-99CA-392B2BC31A61}"/>
              </a:ext>
            </a:extLst>
          </p:cNvPr>
          <p:cNvSpPr/>
          <p:nvPr/>
        </p:nvSpPr>
        <p:spPr>
          <a:xfrm>
            <a:off x="2738046" y="1276533"/>
            <a:ext cx="71683" cy="63326"/>
          </a:xfrm>
          <a:custGeom>
            <a:avLst/>
            <a:gdLst>
              <a:gd name="connsiteX0" fmla="*/ 23175 w 23176"/>
              <a:gd name="connsiteY0" fmla="*/ 11782 h 23190"/>
              <a:gd name="connsiteX1" fmla="*/ 11775 w 23176"/>
              <a:gd name="connsiteY1" fmla="*/ 2 h 23190"/>
              <a:gd name="connsiteX2" fmla="*/ 2 w 23176"/>
              <a:gd name="connsiteY2" fmla="*/ 11408 h 23190"/>
              <a:gd name="connsiteX3" fmla="*/ 11302 w 23176"/>
              <a:gd name="connsiteY3" fmla="*/ 23186 h 23190"/>
              <a:gd name="connsiteX4" fmla="*/ 23173 w 23176"/>
              <a:gd name="connsiteY4" fmla="*/ 11881 h 23190"/>
              <a:gd name="connsiteX5" fmla="*/ 23175 w 23176"/>
              <a:gd name="connsiteY5" fmla="*/ 11782 h 23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76" h="23190">
                <a:moveTo>
                  <a:pt x="23175" y="11782"/>
                </a:moveTo>
                <a:cubicBezTo>
                  <a:pt x="23277" y="5379"/>
                  <a:pt x="18174" y="105"/>
                  <a:pt x="11775" y="2"/>
                </a:cubicBezTo>
                <a:cubicBezTo>
                  <a:pt x="5376" y="-101"/>
                  <a:pt x="105" y="5005"/>
                  <a:pt x="2" y="11408"/>
                </a:cubicBezTo>
                <a:cubicBezTo>
                  <a:pt x="-101" y="17772"/>
                  <a:pt x="4943" y="23029"/>
                  <a:pt x="11302" y="23186"/>
                </a:cubicBezTo>
                <a:cubicBezTo>
                  <a:pt x="17700" y="23345"/>
                  <a:pt x="23014" y="18283"/>
                  <a:pt x="23173" y="11881"/>
                </a:cubicBezTo>
                <a:cubicBezTo>
                  <a:pt x="23174" y="11848"/>
                  <a:pt x="23174" y="11815"/>
                  <a:pt x="23175" y="11782"/>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3" name="Freeform 142">
            <a:extLst>
              <a:ext uri="{FF2B5EF4-FFF2-40B4-BE49-F238E27FC236}">
                <a16:creationId xmlns:a16="http://schemas.microsoft.com/office/drawing/2014/main" id="{94C4A846-B9DA-2342-B651-0B1AAB1E5B7A}"/>
              </a:ext>
            </a:extLst>
          </p:cNvPr>
          <p:cNvSpPr/>
          <p:nvPr/>
        </p:nvSpPr>
        <p:spPr>
          <a:xfrm>
            <a:off x="2730704" y="1276524"/>
            <a:ext cx="71683" cy="63324"/>
          </a:xfrm>
          <a:custGeom>
            <a:avLst/>
            <a:gdLst>
              <a:gd name="connsiteX0" fmla="*/ 23175 w 23176"/>
              <a:gd name="connsiteY0" fmla="*/ 11785 h 23189"/>
              <a:gd name="connsiteX1" fmla="*/ 11779 w 23176"/>
              <a:gd name="connsiteY1" fmla="*/ 2 h 23189"/>
              <a:gd name="connsiteX2" fmla="*/ 2 w 23176"/>
              <a:gd name="connsiteY2" fmla="*/ 11404 h 23189"/>
              <a:gd name="connsiteX3" fmla="*/ 11399 w 23176"/>
              <a:gd name="connsiteY3" fmla="*/ 23188 h 23189"/>
              <a:gd name="connsiteX4" fmla="*/ 11587 w 23176"/>
              <a:gd name="connsiteY4" fmla="*/ 23189 h 23189"/>
              <a:gd name="connsiteX5" fmla="*/ 23175 w 23176"/>
              <a:gd name="connsiteY5" fmla="*/ 11785 h 2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76" h="23189">
                <a:moveTo>
                  <a:pt x="23175" y="11785"/>
                </a:moveTo>
                <a:cubicBezTo>
                  <a:pt x="23279" y="5382"/>
                  <a:pt x="18178" y="106"/>
                  <a:pt x="11779" y="2"/>
                </a:cubicBezTo>
                <a:cubicBezTo>
                  <a:pt x="5380" y="-104"/>
                  <a:pt x="107" y="5002"/>
                  <a:pt x="2" y="11404"/>
                </a:cubicBezTo>
                <a:cubicBezTo>
                  <a:pt x="-103" y="17807"/>
                  <a:pt x="5000" y="23083"/>
                  <a:pt x="11399" y="23188"/>
                </a:cubicBezTo>
                <a:cubicBezTo>
                  <a:pt x="11461" y="23188"/>
                  <a:pt x="11524" y="23189"/>
                  <a:pt x="11587" y="23189"/>
                </a:cubicBezTo>
                <a:cubicBezTo>
                  <a:pt x="17913" y="23190"/>
                  <a:pt x="23071" y="18114"/>
                  <a:pt x="23175" y="1178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4" name="Freeform 143">
            <a:extLst>
              <a:ext uri="{FF2B5EF4-FFF2-40B4-BE49-F238E27FC236}">
                <a16:creationId xmlns:a16="http://schemas.microsoft.com/office/drawing/2014/main" id="{B93EF7CF-5019-8143-BBAD-BF1B2CDDDEDD}"/>
              </a:ext>
            </a:extLst>
          </p:cNvPr>
          <p:cNvSpPr/>
          <p:nvPr/>
        </p:nvSpPr>
        <p:spPr>
          <a:xfrm>
            <a:off x="2691920" y="1277043"/>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5" name="Freeform 144">
            <a:extLst>
              <a:ext uri="{FF2B5EF4-FFF2-40B4-BE49-F238E27FC236}">
                <a16:creationId xmlns:a16="http://schemas.microsoft.com/office/drawing/2014/main" id="{E9F5AC6C-6F15-6C4D-9F0B-16A028758DB9}"/>
              </a:ext>
            </a:extLst>
          </p:cNvPr>
          <p:cNvSpPr/>
          <p:nvPr/>
        </p:nvSpPr>
        <p:spPr>
          <a:xfrm>
            <a:off x="2609364" y="1244601"/>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6" name="Freeform 145">
            <a:extLst>
              <a:ext uri="{FF2B5EF4-FFF2-40B4-BE49-F238E27FC236}">
                <a16:creationId xmlns:a16="http://schemas.microsoft.com/office/drawing/2014/main" id="{EA9BCA20-3A06-0344-8833-78C8181ABF53}"/>
              </a:ext>
            </a:extLst>
          </p:cNvPr>
          <p:cNvSpPr/>
          <p:nvPr/>
        </p:nvSpPr>
        <p:spPr>
          <a:xfrm>
            <a:off x="2597319" y="1227992"/>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7" name="Freeform 146">
            <a:extLst>
              <a:ext uri="{FF2B5EF4-FFF2-40B4-BE49-F238E27FC236}">
                <a16:creationId xmlns:a16="http://schemas.microsoft.com/office/drawing/2014/main" id="{F6F9C47D-555B-E842-9527-0CA1E406E4F1}"/>
              </a:ext>
            </a:extLst>
          </p:cNvPr>
          <p:cNvSpPr/>
          <p:nvPr/>
        </p:nvSpPr>
        <p:spPr>
          <a:xfrm>
            <a:off x="2522405" y="1169857"/>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8" name="Freeform 147">
            <a:extLst>
              <a:ext uri="{FF2B5EF4-FFF2-40B4-BE49-F238E27FC236}">
                <a16:creationId xmlns:a16="http://schemas.microsoft.com/office/drawing/2014/main" id="{C30275E1-9BEB-DD4F-A9B3-AEA5EF221CF1}"/>
              </a:ext>
            </a:extLst>
          </p:cNvPr>
          <p:cNvSpPr/>
          <p:nvPr/>
        </p:nvSpPr>
        <p:spPr>
          <a:xfrm>
            <a:off x="2500079" y="1169857"/>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9" name="Freeform 148">
            <a:extLst>
              <a:ext uri="{FF2B5EF4-FFF2-40B4-BE49-F238E27FC236}">
                <a16:creationId xmlns:a16="http://schemas.microsoft.com/office/drawing/2014/main" id="{A0344040-E24F-8A42-9A88-C22F7C8D353F}"/>
              </a:ext>
            </a:extLst>
          </p:cNvPr>
          <p:cNvSpPr/>
          <p:nvPr/>
        </p:nvSpPr>
        <p:spPr>
          <a:xfrm>
            <a:off x="2480100" y="1161291"/>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0" name="Freeform 149">
            <a:extLst>
              <a:ext uri="{FF2B5EF4-FFF2-40B4-BE49-F238E27FC236}">
                <a16:creationId xmlns:a16="http://schemas.microsoft.com/office/drawing/2014/main" id="{FA30911D-74DD-6E4E-A58F-F3CCF559167D}"/>
              </a:ext>
            </a:extLst>
          </p:cNvPr>
          <p:cNvSpPr/>
          <p:nvPr/>
        </p:nvSpPr>
        <p:spPr>
          <a:xfrm>
            <a:off x="2489501" y="1161291"/>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1" name="Freeform 150">
            <a:extLst>
              <a:ext uri="{FF2B5EF4-FFF2-40B4-BE49-F238E27FC236}">
                <a16:creationId xmlns:a16="http://schemas.microsoft.com/office/drawing/2014/main" id="{C3B7F1FB-6BF0-6041-805B-C03CBFDE98B5}"/>
              </a:ext>
            </a:extLst>
          </p:cNvPr>
          <p:cNvSpPr/>
          <p:nvPr/>
        </p:nvSpPr>
        <p:spPr>
          <a:xfrm>
            <a:off x="2402540" y="110289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2" name="Freeform 151">
            <a:extLst>
              <a:ext uri="{FF2B5EF4-FFF2-40B4-BE49-F238E27FC236}">
                <a16:creationId xmlns:a16="http://schemas.microsoft.com/office/drawing/2014/main" id="{0C387CDA-DD0F-0048-8789-8B086DB50ED1}"/>
              </a:ext>
            </a:extLst>
          </p:cNvPr>
          <p:cNvSpPr/>
          <p:nvPr/>
        </p:nvSpPr>
        <p:spPr>
          <a:xfrm>
            <a:off x="2394609" y="110289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3" name="Freeform 152">
            <a:extLst>
              <a:ext uri="{FF2B5EF4-FFF2-40B4-BE49-F238E27FC236}">
                <a16:creationId xmlns:a16="http://schemas.microsoft.com/office/drawing/2014/main" id="{A0D0C5B0-3B43-AF42-B40D-DA4E3A7BCB7B}"/>
              </a:ext>
            </a:extLst>
          </p:cNvPr>
          <p:cNvSpPr/>
          <p:nvPr/>
        </p:nvSpPr>
        <p:spPr>
          <a:xfrm>
            <a:off x="2378159" y="1086548"/>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4" name="Freeform 153">
            <a:extLst>
              <a:ext uri="{FF2B5EF4-FFF2-40B4-BE49-F238E27FC236}">
                <a16:creationId xmlns:a16="http://schemas.microsoft.com/office/drawing/2014/main" id="{20E9524C-69E0-6B4F-B305-030C621492EF}"/>
              </a:ext>
            </a:extLst>
          </p:cNvPr>
          <p:cNvSpPr/>
          <p:nvPr/>
        </p:nvSpPr>
        <p:spPr>
          <a:xfrm>
            <a:off x="2355242" y="1075645"/>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5" name="Freeform 154">
            <a:extLst>
              <a:ext uri="{FF2B5EF4-FFF2-40B4-BE49-F238E27FC236}">
                <a16:creationId xmlns:a16="http://schemas.microsoft.com/office/drawing/2014/main" id="{799D5BD3-4456-0D4F-A72F-BAD93DB4C721}"/>
              </a:ext>
            </a:extLst>
          </p:cNvPr>
          <p:cNvSpPr/>
          <p:nvPr/>
        </p:nvSpPr>
        <p:spPr>
          <a:xfrm>
            <a:off x="2341142" y="106578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6" name="Freeform 155">
            <a:extLst>
              <a:ext uri="{FF2B5EF4-FFF2-40B4-BE49-F238E27FC236}">
                <a16:creationId xmlns:a16="http://schemas.microsoft.com/office/drawing/2014/main" id="{CDF772CD-9205-E445-B978-E3174182C82F}"/>
              </a:ext>
            </a:extLst>
          </p:cNvPr>
          <p:cNvSpPr/>
          <p:nvPr/>
        </p:nvSpPr>
        <p:spPr>
          <a:xfrm>
            <a:off x="2329095" y="106578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7" name="Freeform 156">
            <a:extLst>
              <a:ext uri="{FF2B5EF4-FFF2-40B4-BE49-F238E27FC236}">
                <a16:creationId xmlns:a16="http://schemas.microsoft.com/office/drawing/2014/main" id="{2420E5E0-595F-6747-8C7D-520E668BB08E}"/>
              </a:ext>
            </a:extLst>
          </p:cNvPr>
          <p:cNvSpPr/>
          <p:nvPr/>
        </p:nvSpPr>
        <p:spPr>
          <a:xfrm>
            <a:off x="2314110" y="106578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8" name="Freeform 157">
            <a:extLst>
              <a:ext uri="{FF2B5EF4-FFF2-40B4-BE49-F238E27FC236}">
                <a16:creationId xmlns:a16="http://schemas.microsoft.com/office/drawing/2014/main" id="{5FF86C66-B970-D549-8880-D866E5BFF665}"/>
              </a:ext>
            </a:extLst>
          </p:cNvPr>
          <p:cNvSpPr/>
          <p:nvPr/>
        </p:nvSpPr>
        <p:spPr>
          <a:xfrm>
            <a:off x="2300598" y="1057481"/>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66" y="23138"/>
                  <a:pt x="23125" y="17977"/>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9" name="Freeform 158">
            <a:extLst>
              <a:ext uri="{FF2B5EF4-FFF2-40B4-BE49-F238E27FC236}">
                <a16:creationId xmlns:a16="http://schemas.microsoft.com/office/drawing/2014/main" id="{AD687424-8849-6541-A20E-0E851183F05D}"/>
              </a:ext>
            </a:extLst>
          </p:cNvPr>
          <p:cNvSpPr/>
          <p:nvPr/>
        </p:nvSpPr>
        <p:spPr>
          <a:xfrm>
            <a:off x="2274747" y="1039832"/>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0" name="Freeform 159">
            <a:extLst>
              <a:ext uri="{FF2B5EF4-FFF2-40B4-BE49-F238E27FC236}">
                <a16:creationId xmlns:a16="http://schemas.microsoft.com/office/drawing/2014/main" id="{99F34178-BD3D-A748-8999-E179E273DD40}"/>
              </a:ext>
            </a:extLst>
          </p:cNvPr>
          <p:cNvSpPr/>
          <p:nvPr/>
        </p:nvSpPr>
        <p:spPr>
          <a:xfrm>
            <a:off x="2264756" y="1028672"/>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1" name="Freeform 160">
            <a:extLst>
              <a:ext uri="{FF2B5EF4-FFF2-40B4-BE49-F238E27FC236}">
                <a16:creationId xmlns:a16="http://schemas.microsoft.com/office/drawing/2014/main" id="{DA0C3268-3EC2-C248-A5AC-77155CBD3CFC}"/>
              </a:ext>
            </a:extLst>
          </p:cNvPr>
          <p:cNvSpPr/>
          <p:nvPr/>
        </p:nvSpPr>
        <p:spPr>
          <a:xfrm>
            <a:off x="2254181" y="100271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2" name="Freeform 161">
            <a:extLst>
              <a:ext uri="{FF2B5EF4-FFF2-40B4-BE49-F238E27FC236}">
                <a16:creationId xmlns:a16="http://schemas.microsoft.com/office/drawing/2014/main" id="{CAEEC1DD-CD2D-904B-B9CD-AEEB4D5CEC62}"/>
              </a:ext>
            </a:extLst>
          </p:cNvPr>
          <p:cNvSpPr/>
          <p:nvPr/>
        </p:nvSpPr>
        <p:spPr>
          <a:xfrm>
            <a:off x="2243016" y="100271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3" name="Freeform 162">
            <a:extLst>
              <a:ext uri="{FF2B5EF4-FFF2-40B4-BE49-F238E27FC236}">
                <a16:creationId xmlns:a16="http://schemas.microsoft.com/office/drawing/2014/main" id="{6388E06E-5944-6D4E-80FB-7D418D106F60}"/>
              </a:ext>
            </a:extLst>
          </p:cNvPr>
          <p:cNvSpPr/>
          <p:nvPr/>
        </p:nvSpPr>
        <p:spPr>
          <a:xfrm>
            <a:off x="2228913" y="100271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4" name="Freeform 163">
            <a:extLst>
              <a:ext uri="{FF2B5EF4-FFF2-40B4-BE49-F238E27FC236}">
                <a16:creationId xmlns:a16="http://schemas.microsoft.com/office/drawing/2014/main" id="{ED700303-C4F4-5549-8CDF-EECB80C5AC18}"/>
              </a:ext>
            </a:extLst>
          </p:cNvPr>
          <p:cNvSpPr/>
          <p:nvPr/>
        </p:nvSpPr>
        <p:spPr>
          <a:xfrm>
            <a:off x="2212167" y="99649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5" name="Freeform 164">
            <a:extLst>
              <a:ext uri="{FF2B5EF4-FFF2-40B4-BE49-F238E27FC236}">
                <a16:creationId xmlns:a16="http://schemas.microsoft.com/office/drawing/2014/main" id="{8863861B-8951-B947-8210-44C1E01BC7D2}"/>
              </a:ext>
            </a:extLst>
          </p:cNvPr>
          <p:cNvSpPr/>
          <p:nvPr/>
        </p:nvSpPr>
        <p:spPr>
          <a:xfrm>
            <a:off x="2195715" y="996490"/>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6" name="Freeform 165">
            <a:extLst>
              <a:ext uri="{FF2B5EF4-FFF2-40B4-BE49-F238E27FC236}">
                <a16:creationId xmlns:a16="http://schemas.microsoft.com/office/drawing/2014/main" id="{C8E169EA-40FD-9649-BEBB-B3E27700B5C8}"/>
              </a:ext>
            </a:extLst>
          </p:cNvPr>
          <p:cNvSpPr/>
          <p:nvPr/>
        </p:nvSpPr>
        <p:spPr>
          <a:xfrm>
            <a:off x="2180441" y="98065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7" name="Freeform 166">
            <a:extLst>
              <a:ext uri="{FF2B5EF4-FFF2-40B4-BE49-F238E27FC236}">
                <a16:creationId xmlns:a16="http://schemas.microsoft.com/office/drawing/2014/main" id="{2E549B29-E18A-3F41-BBFE-F5BD95629BE3}"/>
              </a:ext>
            </a:extLst>
          </p:cNvPr>
          <p:cNvSpPr/>
          <p:nvPr/>
        </p:nvSpPr>
        <p:spPr>
          <a:xfrm>
            <a:off x="2163695" y="98065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8" name="Freeform 167">
            <a:extLst>
              <a:ext uri="{FF2B5EF4-FFF2-40B4-BE49-F238E27FC236}">
                <a16:creationId xmlns:a16="http://schemas.microsoft.com/office/drawing/2014/main" id="{63DD6A7C-DF27-F140-BD0E-8801CB5C3E14}"/>
              </a:ext>
            </a:extLst>
          </p:cNvPr>
          <p:cNvSpPr/>
          <p:nvPr/>
        </p:nvSpPr>
        <p:spPr>
          <a:xfrm>
            <a:off x="2151062" y="98065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9" name="Freeform 168">
            <a:extLst>
              <a:ext uri="{FF2B5EF4-FFF2-40B4-BE49-F238E27FC236}">
                <a16:creationId xmlns:a16="http://schemas.microsoft.com/office/drawing/2014/main" id="{C962B55A-23B6-0147-8167-47EDB9DF69FE}"/>
              </a:ext>
            </a:extLst>
          </p:cNvPr>
          <p:cNvSpPr/>
          <p:nvPr/>
        </p:nvSpPr>
        <p:spPr>
          <a:xfrm>
            <a:off x="2140485" y="98065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0" name="Freeform 169">
            <a:extLst>
              <a:ext uri="{FF2B5EF4-FFF2-40B4-BE49-F238E27FC236}">
                <a16:creationId xmlns:a16="http://schemas.microsoft.com/office/drawing/2014/main" id="{6FE7FC6D-B250-424D-BFD4-FD3F5DC92A1C}"/>
              </a:ext>
            </a:extLst>
          </p:cNvPr>
          <p:cNvSpPr/>
          <p:nvPr/>
        </p:nvSpPr>
        <p:spPr>
          <a:xfrm>
            <a:off x="2133729" y="980659"/>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1" name="Freeform 170">
            <a:extLst>
              <a:ext uri="{FF2B5EF4-FFF2-40B4-BE49-F238E27FC236}">
                <a16:creationId xmlns:a16="http://schemas.microsoft.com/office/drawing/2014/main" id="{1DA84A29-4C42-9D4D-A297-F25B984DD76C}"/>
              </a:ext>
            </a:extLst>
          </p:cNvPr>
          <p:cNvSpPr/>
          <p:nvPr/>
        </p:nvSpPr>
        <p:spPr>
          <a:xfrm>
            <a:off x="2124032" y="97105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2" name="Freeform 171">
            <a:extLst>
              <a:ext uri="{FF2B5EF4-FFF2-40B4-BE49-F238E27FC236}">
                <a16:creationId xmlns:a16="http://schemas.microsoft.com/office/drawing/2014/main" id="{16BDCE3C-02BB-E046-96E3-0D505CE3CE2D}"/>
              </a:ext>
            </a:extLst>
          </p:cNvPr>
          <p:cNvSpPr/>
          <p:nvPr/>
        </p:nvSpPr>
        <p:spPr>
          <a:xfrm>
            <a:off x="2110520" y="97105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3" name="Freeform 172">
            <a:extLst>
              <a:ext uri="{FF2B5EF4-FFF2-40B4-BE49-F238E27FC236}">
                <a16:creationId xmlns:a16="http://schemas.microsoft.com/office/drawing/2014/main" id="{2494403E-D1DC-8049-8476-9C9B9894B71A}"/>
              </a:ext>
            </a:extLst>
          </p:cNvPr>
          <p:cNvSpPr/>
          <p:nvPr/>
        </p:nvSpPr>
        <p:spPr>
          <a:xfrm>
            <a:off x="2074679" y="971056"/>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4" name="Freeform 173">
            <a:extLst>
              <a:ext uri="{FF2B5EF4-FFF2-40B4-BE49-F238E27FC236}">
                <a16:creationId xmlns:a16="http://schemas.microsoft.com/office/drawing/2014/main" id="{0F9E9ED7-BBF9-1446-871D-9050C9FA3F00}"/>
              </a:ext>
            </a:extLst>
          </p:cNvPr>
          <p:cNvSpPr/>
          <p:nvPr/>
        </p:nvSpPr>
        <p:spPr>
          <a:xfrm>
            <a:off x="2093182" y="971056"/>
            <a:ext cx="57499"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5" name="Freeform 174">
            <a:extLst>
              <a:ext uri="{FF2B5EF4-FFF2-40B4-BE49-F238E27FC236}">
                <a16:creationId xmlns:a16="http://schemas.microsoft.com/office/drawing/2014/main" id="{2991EE3C-371B-234E-A26D-2A755BE8AA85}"/>
              </a:ext>
            </a:extLst>
          </p:cNvPr>
          <p:cNvSpPr/>
          <p:nvPr/>
        </p:nvSpPr>
        <p:spPr>
          <a:xfrm>
            <a:off x="2088774" y="971056"/>
            <a:ext cx="57499"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6" name="Freeform 175">
            <a:extLst>
              <a:ext uri="{FF2B5EF4-FFF2-40B4-BE49-F238E27FC236}">
                <a16:creationId xmlns:a16="http://schemas.microsoft.com/office/drawing/2014/main" id="{DA8B6783-64D3-8C4E-92A4-E1BB188A30F9}"/>
              </a:ext>
            </a:extLst>
          </p:cNvPr>
          <p:cNvSpPr/>
          <p:nvPr/>
        </p:nvSpPr>
        <p:spPr>
          <a:xfrm>
            <a:off x="6116565" y="2463358"/>
            <a:ext cx="71680"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7" name="Freeform 176">
            <a:extLst>
              <a:ext uri="{FF2B5EF4-FFF2-40B4-BE49-F238E27FC236}">
                <a16:creationId xmlns:a16="http://schemas.microsoft.com/office/drawing/2014/main" id="{9D5F84B3-1FD8-0545-97E4-6D5FBE5A1D77}"/>
              </a:ext>
            </a:extLst>
          </p:cNvPr>
          <p:cNvSpPr/>
          <p:nvPr/>
        </p:nvSpPr>
        <p:spPr>
          <a:xfrm>
            <a:off x="6093944" y="2463358"/>
            <a:ext cx="71680"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accent1"/>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2" name="TextBox 301">
            <a:extLst>
              <a:ext uri="{FF2B5EF4-FFF2-40B4-BE49-F238E27FC236}">
                <a16:creationId xmlns:a16="http://schemas.microsoft.com/office/drawing/2014/main" id="{62E555D3-C04A-A048-AB32-CB29C0F73369}"/>
              </a:ext>
            </a:extLst>
          </p:cNvPr>
          <p:cNvSpPr txBox="1"/>
          <p:nvPr/>
        </p:nvSpPr>
        <p:spPr>
          <a:xfrm>
            <a:off x="1763416" y="3589710"/>
            <a:ext cx="233233" cy="153775"/>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0</a:t>
            </a:r>
          </a:p>
        </p:txBody>
      </p:sp>
      <p:sp>
        <p:nvSpPr>
          <p:cNvPr id="303" name="TextBox 302">
            <a:extLst>
              <a:ext uri="{FF2B5EF4-FFF2-40B4-BE49-F238E27FC236}">
                <a16:creationId xmlns:a16="http://schemas.microsoft.com/office/drawing/2014/main" id="{753DFFD1-DE27-FA4E-950A-C4C75077E547}"/>
              </a:ext>
            </a:extLst>
          </p:cNvPr>
          <p:cNvSpPr txBox="1"/>
          <p:nvPr/>
        </p:nvSpPr>
        <p:spPr>
          <a:xfrm>
            <a:off x="1763416" y="3057132"/>
            <a:ext cx="233233" cy="153775"/>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2</a:t>
            </a:r>
          </a:p>
        </p:txBody>
      </p:sp>
      <p:sp>
        <p:nvSpPr>
          <p:cNvPr id="304" name="TextBox 303">
            <a:extLst>
              <a:ext uri="{FF2B5EF4-FFF2-40B4-BE49-F238E27FC236}">
                <a16:creationId xmlns:a16="http://schemas.microsoft.com/office/drawing/2014/main" id="{87F79DBF-E30A-4D46-AF0C-99549FDFE68F}"/>
              </a:ext>
            </a:extLst>
          </p:cNvPr>
          <p:cNvSpPr txBox="1"/>
          <p:nvPr/>
        </p:nvSpPr>
        <p:spPr>
          <a:xfrm>
            <a:off x="1763416" y="2524552"/>
            <a:ext cx="233233" cy="153775"/>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4</a:t>
            </a:r>
          </a:p>
        </p:txBody>
      </p:sp>
      <p:sp>
        <p:nvSpPr>
          <p:cNvPr id="305" name="TextBox 304">
            <a:extLst>
              <a:ext uri="{FF2B5EF4-FFF2-40B4-BE49-F238E27FC236}">
                <a16:creationId xmlns:a16="http://schemas.microsoft.com/office/drawing/2014/main" id="{6FD81D37-71C3-4A47-A78B-517728767F58}"/>
              </a:ext>
            </a:extLst>
          </p:cNvPr>
          <p:cNvSpPr txBox="1"/>
          <p:nvPr/>
        </p:nvSpPr>
        <p:spPr>
          <a:xfrm>
            <a:off x="1763416" y="1991974"/>
            <a:ext cx="233233" cy="153775"/>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6</a:t>
            </a:r>
          </a:p>
        </p:txBody>
      </p:sp>
      <p:sp>
        <p:nvSpPr>
          <p:cNvPr id="306" name="TextBox 305">
            <a:extLst>
              <a:ext uri="{FF2B5EF4-FFF2-40B4-BE49-F238E27FC236}">
                <a16:creationId xmlns:a16="http://schemas.microsoft.com/office/drawing/2014/main" id="{7C6A4BBE-053F-2A40-AE69-AF1414323A64}"/>
              </a:ext>
            </a:extLst>
          </p:cNvPr>
          <p:cNvSpPr txBox="1"/>
          <p:nvPr/>
        </p:nvSpPr>
        <p:spPr>
          <a:xfrm>
            <a:off x="1763416" y="1459394"/>
            <a:ext cx="233233" cy="153775"/>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8</a:t>
            </a:r>
          </a:p>
        </p:txBody>
      </p:sp>
      <p:sp>
        <p:nvSpPr>
          <p:cNvPr id="307" name="TextBox 306">
            <a:extLst>
              <a:ext uri="{FF2B5EF4-FFF2-40B4-BE49-F238E27FC236}">
                <a16:creationId xmlns:a16="http://schemas.microsoft.com/office/drawing/2014/main" id="{4F6C2840-86D2-5442-BBE0-818BD1BAE6D2}"/>
              </a:ext>
            </a:extLst>
          </p:cNvPr>
          <p:cNvSpPr txBox="1"/>
          <p:nvPr/>
        </p:nvSpPr>
        <p:spPr>
          <a:xfrm>
            <a:off x="1763416" y="926815"/>
            <a:ext cx="233233" cy="153775"/>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a:t>
            </a:r>
          </a:p>
        </p:txBody>
      </p:sp>
      <p:sp>
        <p:nvSpPr>
          <p:cNvPr id="308" name="TextBox 307">
            <a:extLst>
              <a:ext uri="{FF2B5EF4-FFF2-40B4-BE49-F238E27FC236}">
                <a16:creationId xmlns:a16="http://schemas.microsoft.com/office/drawing/2014/main" id="{E405F1DF-39CA-9547-B0B1-EDED208004F0}"/>
              </a:ext>
            </a:extLst>
          </p:cNvPr>
          <p:cNvSpPr txBox="1"/>
          <p:nvPr/>
        </p:nvSpPr>
        <p:spPr>
          <a:xfrm>
            <a:off x="3758542" y="3924348"/>
            <a:ext cx="2284922"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Time from </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a:t>
            </a: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ndomization</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months</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9" name="TextBox 308">
            <a:extLst>
              <a:ext uri="{FF2B5EF4-FFF2-40B4-BE49-F238E27FC236}">
                <a16:creationId xmlns:a16="http://schemas.microsoft.com/office/drawing/2014/main" id="{0207D9DA-5216-D441-BD56-F515D5CC328F}"/>
              </a:ext>
            </a:extLst>
          </p:cNvPr>
          <p:cNvSpPr txBox="1"/>
          <p:nvPr/>
        </p:nvSpPr>
        <p:spPr>
          <a:xfrm>
            <a:off x="2006860"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a:t>
            </a:r>
          </a:p>
        </p:txBody>
      </p:sp>
      <p:sp>
        <p:nvSpPr>
          <p:cNvPr id="310" name="TextBox 309">
            <a:extLst>
              <a:ext uri="{FF2B5EF4-FFF2-40B4-BE49-F238E27FC236}">
                <a16:creationId xmlns:a16="http://schemas.microsoft.com/office/drawing/2014/main" id="{F239C367-EE4E-294E-8E45-F35B2379E353}"/>
              </a:ext>
            </a:extLst>
          </p:cNvPr>
          <p:cNvSpPr txBox="1"/>
          <p:nvPr/>
        </p:nvSpPr>
        <p:spPr>
          <a:xfrm>
            <a:off x="2442568"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1" name="TextBox 310">
            <a:extLst>
              <a:ext uri="{FF2B5EF4-FFF2-40B4-BE49-F238E27FC236}">
                <a16:creationId xmlns:a16="http://schemas.microsoft.com/office/drawing/2014/main" id="{864E561F-27BD-5E48-AA81-A7DBDFA328C9}"/>
              </a:ext>
            </a:extLst>
          </p:cNvPr>
          <p:cNvSpPr txBox="1"/>
          <p:nvPr/>
        </p:nvSpPr>
        <p:spPr>
          <a:xfrm>
            <a:off x="2878274"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2</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2" name="TextBox 311">
            <a:extLst>
              <a:ext uri="{FF2B5EF4-FFF2-40B4-BE49-F238E27FC236}">
                <a16:creationId xmlns:a16="http://schemas.microsoft.com/office/drawing/2014/main" id="{A99ED133-020E-C54D-BF50-6BE7E949D0DB}"/>
              </a:ext>
            </a:extLst>
          </p:cNvPr>
          <p:cNvSpPr txBox="1"/>
          <p:nvPr/>
        </p:nvSpPr>
        <p:spPr>
          <a:xfrm>
            <a:off x="3313982"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8</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3" name="TextBox 312">
            <a:extLst>
              <a:ext uri="{FF2B5EF4-FFF2-40B4-BE49-F238E27FC236}">
                <a16:creationId xmlns:a16="http://schemas.microsoft.com/office/drawing/2014/main" id="{D372F9D8-FF63-E94A-872D-68893650CD1B}"/>
              </a:ext>
            </a:extLst>
          </p:cNvPr>
          <p:cNvSpPr txBox="1"/>
          <p:nvPr/>
        </p:nvSpPr>
        <p:spPr>
          <a:xfrm>
            <a:off x="3749690"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4</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4" name="TextBox 313">
            <a:extLst>
              <a:ext uri="{FF2B5EF4-FFF2-40B4-BE49-F238E27FC236}">
                <a16:creationId xmlns:a16="http://schemas.microsoft.com/office/drawing/2014/main" id="{11427D3C-2452-8B45-88D8-9FC47CB84EA3}"/>
              </a:ext>
            </a:extLst>
          </p:cNvPr>
          <p:cNvSpPr txBox="1"/>
          <p:nvPr/>
        </p:nvSpPr>
        <p:spPr>
          <a:xfrm>
            <a:off x="4185397"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0</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5" name="TextBox 314">
            <a:extLst>
              <a:ext uri="{FF2B5EF4-FFF2-40B4-BE49-F238E27FC236}">
                <a16:creationId xmlns:a16="http://schemas.microsoft.com/office/drawing/2014/main" id="{B8DD33E3-1536-3549-8B2F-A474D3D1F588}"/>
              </a:ext>
            </a:extLst>
          </p:cNvPr>
          <p:cNvSpPr txBox="1"/>
          <p:nvPr/>
        </p:nvSpPr>
        <p:spPr>
          <a:xfrm>
            <a:off x="4621105"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6</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6" name="TextBox 315">
            <a:extLst>
              <a:ext uri="{FF2B5EF4-FFF2-40B4-BE49-F238E27FC236}">
                <a16:creationId xmlns:a16="http://schemas.microsoft.com/office/drawing/2014/main" id="{30A9E433-2074-0A4A-89C3-4725C927F278}"/>
              </a:ext>
            </a:extLst>
          </p:cNvPr>
          <p:cNvSpPr txBox="1"/>
          <p:nvPr/>
        </p:nvSpPr>
        <p:spPr>
          <a:xfrm>
            <a:off x="5056813"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42</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7" name="TextBox 316">
            <a:extLst>
              <a:ext uri="{FF2B5EF4-FFF2-40B4-BE49-F238E27FC236}">
                <a16:creationId xmlns:a16="http://schemas.microsoft.com/office/drawing/2014/main" id="{DA954C3A-EF2C-7B41-80E6-22523527C9BC}"/>
              </a:ext>
            </a:extLst>
          </p:cNvPr>
          <p:cNvSpPr txBox="1"/>
          <p:nvPr/>
        </p:nvSpPr>
        <p:spPr>
          <a:xfrm>
            <a:off x="5492518"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48</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8" name="TextBox 317">
            <a:extLst>
              <a:ext uri="{FF2B5EF4-FFF2-40B4-BE49-F238E27FC236}">
                <a16:creationId xmlns:a16="http://schemas.microsoft.com/office/drawing/2014/main" id="{200B2461-2B7A-2240-8F9A-26FEA8C676AC}"/>
              </a:ext>
            </a:extLst>
          </p:cNvPr>
          <p:cNvSpPr txBox="1"/>
          <p:nvPr/>
        </p:nvSpPr>
        <p:spPr>
          <a:xfrm>
            <a:off x="5928226"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54</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9" name="TextBox 318">
            <a:extLst>
              <a:ext uri="{FF2B5EF4-FFF2-40B4-BE49-F238E27FC236}">
                <a16:creationId xmlns:a16="http://schemas.microsoft.com/office/drawing/2014/main" id="{FB4B8EE0-F796-DF4E-8E48-494ADAF06B53}"/>
              </a:ext>
            </a:extLst>
          </p:cNvPr>
          <p:cNvSpPr txBox="1"/>
          <p:nvPr/>
        </p:nvSpPr>
        <p:spPr>
          <a:xfrm>
            <a:off x="6363932"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0</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0" name="TextBox 319">
            <a:extLst>
              <a:ext uri="{FF2B5EF4-FFF2-40B4-BE49-F238E27FC236}">
                <a16:creationId xmlns:a16="http://schemas.microsoft.com/office/drawing/2014/main" id="{ED73B9BE-4B69-F641-B7B8-F8FBC5619382}"/>
              </a:ext>
            </a:extLst>
          </p:cNvPr>
          <p:cNvSpPr txBox="1"/>
          <p:nvPr/>
        </p:nvSpPr>
        <p:spPr>
          <a:xfrm>
            <a:off x="6799642"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6</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1" name="TextBox 320">
            <a:extLst>
              <a:ext uri="{FF2B5EF4-FFF2-40B4-BE49-F238E27FC236}">
                <a16:creationId xmlns:a16="http://schemas.microsoft.com/office/drawing/2014/main" id="{380D1F06-0A8A-A640-B2B3-76FC718B00B7}"/>
              </a:ext>
            </a:extLst>
          </p:cNvPr>
          <p:cNvSpPr txBox="1"/>
          <p:nvPr/>
        </p:nvSpPr>
        <p:spPr>
          <a:xfrm>
            <a:off x="7235348" y="3721682"/>
            <a:ext cx="180909"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72</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2" name="TextBox 321">
            <a:extLst>
              <a:ext uri="{FF2B5EF4-FFF2-40B4-BE49-F238E27FC236}">
                <a16:creationId xmlns:a16="http://schemas.microsoft.com/office/drawing/2014/main" id="{8D34A13B-0697-0F4E-80E3-F53B4B87E0D7}"/>
              </a:ext>
            </a:extLst>
          </p:cNvPr>
          <p:cNvSpPr txBox="1"/>
          <p:nvPr/>
        </p:nvSpPr>
        <p:spPr>
          <a:xfrm rot="16200000">
            <a:off x="536002" y="2244926"/>
            <a:ext cx="2050142" cy="17138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robability of </a:t>
            </a:r>
            <a:r>
              <a:rPr kumimoji="0" lang="en-US"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rogression</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4" name="TextBox 323">
            <a:extLst>
              <a:ext uri="{FF2B5EF4-FFF2-40B4-BE49-F238E27FC236}">
                <a16:creationId xmlns:a16="http://schemas.microsoft.com/office/drawing/2014/main" id="{FCB8AAD3-5C7C-5341-B61C-4AE52ABBCA10}"/>
              </a:ext>
            </a:extLst>
          </p:cNvPr>
          <p:cNvSpPr txBox="1"/>
          <p:nvPr/>
        </p:nvSpPr>
        <p:spPr>
          <a:xfrm>
            <a:off x="1945390"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1</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5" name="TextBox 324">
            <a:extLst>
              <a:ext uri="{FF2B5EF4-FFF2-40B4-BE49-F238E27FC236}">
                <a16:creationId xmlns:a16="http://schemas.microsoft.com/office/drawing/2014/main" id="{00B30B80-2588-C742-991C-76EA814A6DF4}"/>
              </a:ext>
            </a:extLst>
          </p:cNvPr>
          <p:cNvSpPr txBox="1"/>
          <p:nvPr/>
        </p:nvSpPr>
        <p:spPr>
          <a:xfrm>
            <a:off x="1945390"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6" name="TextBox 325">
            <a:extLst>
              <a:ext uri="{FF2B5EF4-FFF2-40B4-BE49-F238E27FC236}">
                <a16:creationId xmlns:a16="http://schemas.microsoft.com/office/drawing/2014/main" id="{6531E51D-55F6-CD4A-ABEA-D3B6B0FB5BF7}"/>
              </a:ext>
            </a:extLst>
          </p:cNvPr>
          <p:cNvSpPr txBox="1"/>
          <p:nvPr/>
        </p:nvSpPr>
        <p:spPr>
          <a:xfrm>
            <a:off x="2383404"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60</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7" name="TextBox 326">
            <a:extLst>
              <a:ext uri="{FF2B5EF4-FFF2-40B4-BE49-F238E27FC236}">
                <a16:creationId xmlns:a16="http://schemas.microsoft.com/office/drawing/2014/main" id="{07427E12-F6E8-C046-BA0D-2719964E49DB}"/>
              </a:ext>
            </a:extLst>
          </p:cNvPr>
          <p:cNvSpPr txBox="1"/>
          <p:nvPr/>
        </p:nvSpPr>
        <p:spPr>
          <a:xfrm>
            <a:off x="2821416"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18</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8" name="TextBox 327">
            <a:extLst>
              <a:ext uri="{FF2B5EF4-FFF2-40B4-BE49-F238E27FC236}">
                <a16:creationId xmlns:a16="http://schemas.microsoft.com/office/drawing/2014/main" id="{2EDEA2B0-105E-4844-B5EC-64F5CD1C1A33}"/>
              </a:ext>
            </a:extLst>
          </p:cNvPr>
          <p:cNvSpPr txBox="1"/>
          <p:nvPr/>
        </p:nvSpPr>
        <p:spPr>
          <a:xfrm>
            <a:off x="3259428"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87</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9" name="TextBox 328">
            <a:extLst>
              <a:ext uri="{FF2B5EF4-FFF2-40B4-BE49-F238E27FC236}">
                <a16:creationId xmlns:a16="http://schemas.microsoft.com/office/drawing/2014/main" id="{B115C67E-210E-6C48-949C-88B3E9CF72CB}"/>
              </a:ext>
            </a:extLst>
          </p:cNvPr>
          <p:cNvSpPr txBox="1"/>
          <p:nvPr/>
        </p:nvSpPr>
        <p:spPr>
          <a:xfrm>
            <a:off x="3697443"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47</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0" name="TextBox 329">
            <a:extLst>
              <a:ext uri="{FF2B5EF4-FFF2-40B4-BE49-F238E27FC236}">
                <a16:creationId xmlns:a16="http://schemas.microsoft.com/office/drawing/2014/main" id="{F130F7B8-5839-4E48-B530-4BA718BA3FDC}"/>
              </a:ext>
            </a:extLst>
          </p:cNvPr>
          <p:cNvSpPr txBox="1"/>
          <p:nvPr/>
        </p:nvSpPr>
        <p:spPr>
          <a:xfrm>
            <a:off x="4135454"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19</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1" name="TextBox 330">
            <a:extLst>
              <a:ext uri="{FF2B5EF4-FFF2-40B4-BE49-F238E27FC236}">
                <a16:creationId xmlns:a16="http://schemas.microsoft.com/office/drawing/2014/main" id="{54E9FFF1-3F2C-AC49-8A5B-6462EF218499}"/>
              </a:ext>
            </a:extLst>
          </p:cNvPr>
          <p:cNvSpPr txBox="1"/>
          <p:nvPr/>
        </p:nvSpPr>
        <p:spPr>
          <a:xfrm>
            <a:off x="4573468"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7</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2" name="TextBox 331">
            <a:extLst>
              <a:ext uri="{FF2B5EF4-FFF2-40B4-BE49-F238E27FC236}">
                <a16:creationId xmlns:a16="http://schemas.microsoft.com/office/drawing/2014/main" id="{5A1C014F-C6F2-CC42-921B-A514684A094D}"/>
              </a:ext>
            </a:extLst>
          </p:cNvPr>
          <p:cNvSpPr txBox="1"/>
          <p:nvPr/>
        </p:nvSpPr>
        <p:spPr>
          <a:xfrm>
            <a:off x="5011481"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9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3" name="TextBox 332">
            <a:extLst>
              <a:ext uri="{FF2B5EF4-FFF2-40B4-BE49-F238E27FC236}">
                <a16:creationId xmlns:a16="http://schemas.microsoft.com/office/drawing/2014/main" id="{6463787D-56F8-A24E-A4F1-63BB0B5C1451}"/>
              </a:ext>
            </a:extLst>
          </p:cNvPr>
          <p:cNvSpPr txBox="1"/>
          <p:nvPr/>
        </p:nvSpPr>
        <p:spPr>
          <a:xfrm>
            <a:off x="5449493"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80</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4" name="TextBox 333">
            <a:extLst>
              <a:ext uri="{FF2B5EF4-FFF2-40B4-BE49-F238E27FC236}">
                <a16:creationId xmlns:a16="http://schemas.microsoft.com/office/drawing/2014/main" id="{C1EA0B78-ED74-FE46-88D8-9F5DC53C3801}"/>
              </a:ext>
            </a:extLst>
          </p:cNvPr>
          <p:cNvSpPr txBox="1"/>
          <p:nvPr/>
        </p:nvSpPr>
        <p:spPr>
          <a:xfrm>
            <a:off x="5887507"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5" name="TextBox 334">
            <a:extLst>
              <a:ext uri="{FF2B5EF4-FFF2-40B4-BE49-F238E27FC236}">
                <a16:creationId xmlns:a16="http://schemas.microsoft.com/office/drawing/2014/main" id="{8DCE9150-CA67-1D47-A8ED-4E731ECA9864}"/>
              </a:ext>
            </a:extLst>
          </p:cNvPr>
          <p:cNvSpPr txBox="1"/>
          <p:nvPr/>
        </p:nvSpPr>
        <p:spPr>
          <a:xfrm>
            <a:off x="6325520"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8</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6" name="TextBox 335">
            <a:extLst>
              <a:ext uri="{FF2B5EF4-FFF2-40B4-BE49-F238E27FC236}">
                <a16:creationId xmlns:a16="http://schemas.microsoft.com/office/drawing/2014/main" id="{B769C9F8-9EFF-5E46-9B9A-8149869BA81B}"/>
              </a:ext>
            </a:extLst>
          </p:cNvPr>
          <p:cNvSpPr txBox="1"/>
          <p:nvPr/>
        </p:nvSpPr>
        <p:spPr>
          <a:xfrm>
            <a:off x="6763532"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7" name="TextBox 336">
            <a:extLst>
              <a:ext uri="{FF2B5EF4-FFF2-40B4-BE49-F238E27FC236}">
                <a16:creationId xmlns:a16="http://schemas.microsoft.com/office/drawing/2014/main" id="{2F4D9245-DEA1-F54C-A9BF-4B58FA321856}"/>
              </a:ext>
            </a:extLst>
          </p:cNvPr>
          <p:cNvSpPr txBox="1"/>
          <p:nvPr/>
        </p:nvSpPr>
        <p:spPr>
          <a:xfrm>
            <a:off x="2383404"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72</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8" name="TextBox 337">
            <a:extLst>
              <a:ext uri="{FF2B5EF4-FFF2-40B4-BE49-F238E27FC236}">
                <a16:creationId xmlns:a16="http://schemas.microsoft.com/office/drawing/2014/main" id="{8D9239B7-FA80-CF4C-A655-E6236DD3B7F2}"/>
              </a:ext>
            </a:extLst>
          </p:cNvPr>
          <p:cNvSpPr txBox="1"/>
          <p:nvPr/>
        </p:nvSpPr>
        <p:spPr>
          <a:xfrm>
            <a:off x="2821416"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2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9" name="TextBox 338">
            <a:extLst>
              <a:ext uri="{FF2B5EF4-FFF2-40B4-BE49-F238E27FC236}">
                <a16:creationId xmlns:a16="http://schemas.microsoft.com/office/drawing/2014/main" id="{94830D2B-FC9A-2F49-BD56-081ACAD7D644}"/>
              </a:ext>
            </a:extLst>
          </p:cNvPr>
          <p:cNvSpPr txBox="1"/>
          <p:nvPr/>
        </p:nvSpPr>
        <p:spPr>
          <a:xfrm>
            <a:off x="3259428"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7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0" name="TextBox 339">
            <a:extLst>
              <a:ext uri="{FF2B5EF4-FFF2-40B4-BE49-F238E27FC236}">
                <a16:creationId xmlns:a16="http://schemas.microsoft.com/office/drawing/2014/main" id="{F76D4905-FE12-AB43-A84E-8324A66A256D}"/>
              </a:ext>
            </a:extLst>
          </p:cNvPr>
          <p:cNvSpPr txBox="1"/>
          <p:nvPr/>
        </p:nvSpPr>
        <p:spPr>
          <a:xfrm>
            <a:off x="3697443"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32</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1" name="TextBox 340">
            <a:extLst>
              <a:ext uri="{FF2B5EF4-FFF2-40B4-BE49-F238E27FC236}">
                <a16:creationId xmlns:a16="http://schemas.microsoft.com/office/drawing/2014/main" id="{C2EB0379-B612-F04F-80A5-DB6A00478B62}"/>
              </a:ext>
            </a:extLst>
          </p:cNvPr>
          <p:cNvSpPr txBox="1"/>
          <p:nvPr/>
        </p:nvSpPr>
        <p:spPr>
          <a:xfrm>
            <a:off x="4135454"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21</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2" name="TextBox 341">
            <a:extLst>
              <a:ext uri="{FF2B5EF4-FFF2-40B4-BE49-F238E27FC236}">
                <a16:creationId xmlns:a16="http://schemas.microsoft.com/office/drawing/2014/main" id="{725A8547-CD4C-0647-88CE-32122F6C2324}"/>
              </a:ext>
            </a:extLst>
          </p:cNvPr>
          <p:cNvSpPr txBox="1"/>
          <p:nvPr/>
        </p:nvSpPr>
        <p:spPr>
          <a:xfrm>
            <a:off x="4573468"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3" name="TextBox 342">
            <a:extLst>
              <a:ext uri="{FF2B5EF4-FFF2-40B4-BE49-F238E27FC236}">
                <a16:creationId xmlns:a16="http://schemas.microsoft.com/office/drawing/2014/main" id="{C671272B-214D-FD40-AB4B-653F787E4CBB}"/>
              </a:ext>
            </a:extLst>
          </p:cNvPr>
          <p:cNvSpPr txBox="1"/>
          <p:nvPr/>
        </p:nvSpPr>
        <p:spPr>
          <a:xfrm>
            <a:off x="5011481"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97</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4" name="TextBox 343">
            <a:extLst>
              <a:ext uri="{FF2B5EF4-FFF2-40B4-BE49-F238E27FC236}">
                <a16:creationId xmlns:a16="http://schemas.microsoft.com/office/drawing/2014/main" id="{474D2283-F936-5449-96C5-F38523E62058}"/>
              </a:ext>
            </a:extLst>
          </p:cNvPr>
          <p:cNvSpPr txBox="1"/>
          <p:nvPr/>
        </p:nvSpPr>
        <p:spPr>
          <a:xfrm>
            <a:off x="5449493"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82</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5" name="TextBox 344">
            <a:extLst>
              <a:ext uri="{FF2B5EF4-FFF2-40B4-BE49-F238E27FC236}">
                <a16:creationId xmlns:a16="http://schemas.microsoft.com/office/drawing/2014/main" id="{6D767807-C97B-3F47-BC45-D33DA28A1035}"/>
              </a:ext>
            </a:extLst>
          </p:cNvPr>
          <p:cNvSpPr txBox="1"/>
          <p:nvPr/>
        </p:nvSpPr>
        <p:spPr>
          <a:xfrm>
            <a:off x="5887507"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3</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6" name="TextBox 345">
            <a:extLst>
              <a:ext uri="{FF2B5EF4-FFF2-40B4-BE49-F238E27FC236}">
                <a16:creationId xmlns:a16="http://schemas.microsoft.com/office/drawing/2014/main" id="{A7FC2667-A426-1B44-B837-196D8A62D571}"/>
              </a:ext>
            </a:extLst>
          </p:cNvPr>
          <p:cNvSpPr txBox="1"/>
          <p:nvPr/>
        </p:nvSpPr>
        <p:spPr>
          <a:xfrm>
            <a:off x="6325520"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7" name="TextBox 346">
            <a:extLst>
              <a:ext uri="{FF2B5EF4-FFF2-40B4-BE49-F238E27FC236}">
                <a16:creationId xmlns:a16="http://schemas.microsoft.com/office/drawing/2014/main" id="{09EDA4C9-F208-5F45-8B90-314F4713273E}"/>
              </a:ext>
            </a:extLst>
          </p:cNvPr>
          <p:cNvSpPr txBox="1"/>
          <p:nvPr/>
        </p:nvSpPr>
        <p:spPr>
          <a:xfrm>
            <a:off x="6763532"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8" name="TextBox 347">
            <a:extLst>
              <a:ext uri="{FF2B5EF4-FFF2-40B4-BE49-F238E27FC236}">
                <a16:creationId xmlns:a16="http://schemas.microsoft.com/office/drawing/2014/main" id="{69DC0315-C884-7245-8DA0-DE3D97B88C30}"/>
              </a:ext>
            </a:extLst>
          </p:cNvPr>
          <p:cNvSpPr txBox="1"/>
          <p:nvPr/>
        </p:nvSpPr>
        <p:spPr>
          <a:xfrm>
            <a:off x="1091344" y="4180441"/>
            <a:ext cx="697819" cy="153776"/>
          </a:xfrm>
          <a:prstGeom prst="rect">
            <a:avLst/>
          </a:prstGeom>
          <a:noFill/>
        </p:spPr>
        <p:txBody>
          <a:bodyPr wrap="none" lIns="0" tIns="0" rIns="0" bIns="0" rtlCol="0" anchor="ctr">
            <a:noAutofit/>
          </a:body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Ixazomib-Rd</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9" name="TextBox 348">
            <a:extLst>
              <a:ext uri="{FF2B5EF4-FFF2-40B4-BE49-F238E27FC236}">
                <a16:creationId xmlns:a16="http://schemas.microsoft.com/office/drawing/2014/main" id="{585C0211-DBD8-244A-B796-D0238D89256B}"/>
              </a:ext>
            </a:extLst>
          </p:cNvPr>
          <p:cNvSpPr txBox="1"/>
          <p:nvPr/>
        </p:nvSpPr>
        <p:spPr>
          <a:xfrm>
            <a:off x="1156031" y="4317685"/>
            <a:ext cx="633135" cy="153776"/>
          </a:xfrm>
          <a:prstGeom prst="rect">
            <a:avLst/>
          </a:prstGeom>
          <a:noFill/>
        </p:spPr>
        <p:txBody>
          <a:bodyPr wrap="none" lIns="0" tIns="0" rIns="0" bIns="0" rtlCol="0" anchor="ctr">
            <a:noAutofit/>
          </a:body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lacebo</a:t>
            </a: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d</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0" name="TextBox 349">
            <a:extLst>
              <a:ext uri="{FF2B5EF4-FFF2-40B4-BE49-F238E27FC236}">
                <a16:creationId xmlns:a16="http://schemas.microsoft.com/office/drawing/2014/main" id="{B1C9D3F9-6B44-B64E-992D-4A805B075D54}"/>
              </a:ext>
            </a:extLst>
          </p:cNvPr>
          <p:cNvSpPr txBox="1"/>
          <p:nvPr/>
        </p:nvSpPr>
        <p:spPr>
          <a:xfrm>
            <a:off x="7188830" y="4180442"/>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1" name="TextBox 350">
            <a:extLst>
              <a:ext uri="{FF2B5EF4-FFF2-40B4-BE49-F238E27FC236}">
                <a16:creationId xmlns:a16="http://schemas.microsoft.com/office/drawing/2014/main" id="{9139E54E-B585-DA49-B22B-3306C58F55C6}"/>
              </a:ext>
            </a:extLst>
          </p:cNvPr>
          <p:cNvSpPr txBox="1"/>
          <p:nvPr/>
        </p:nvSpPr>
        <p:spPr>
          <a:xfrm>
            <a:off x="7188831" y="4317686"/>
            <a:ext cx="285041" cy="153775"/>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2" name="TextBox 351">
            <a:extLst>
              <a:ext uri="{FF2B5EF4-FFF2-40B4-BE49-F238E27FC236}">
                <a16:creationId xmlns:a16="http://schemas.microsoft.com/office/drawing/2014/main" id="{91A8E04E-F0F3-644F-9021-3290B57BA5E4}"/>
              </a:ext>
            </a:extLst>
          </p:cNvPr>
          <p:cNvSpPr txBox="1"/>
          <p:nvPr/>
        </p:nvSpPr>
        <p:spPr>
          <a:xfrm>
            <a:off x="2596515" y="3484610"/>
            <a:ext cx="664588" cy="153775"/>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lacebo</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d</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3" name="TextBox 352">
            <a:extLst>
              <a:ext uri="{FF2B5EF4-FFF2-40B4-BE49-F238E27FC236}">
                <a16:creationId xmlns:a16="http://schemas.microsoft.com/office/drawing/2014/main" id="{6EA545D6-4B52-FE43-8F65-3DBB83B06FE0}"/>
              </a:ext>
            </a:extLst>
          </p:cNvPr>
          <p:cNvSpPr txBox="1"/>
          <p:nvPr/>
        </p:nvSpPr>
        <p:spPr>
          <a:xfrm>
            <a:off x="2597502" y="3362963"/>
            <a:ext cx="602983" cy="153775"/>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Ixazomib-Rd</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4" name="TextBox 353">
            <a:extLst>
              <a:ext uri="{FF2B5EF4-FFF2-40B4-BE49-F238E27FC236}">
                <a16:creationId xmlns:a16="http://schemas.microsoft.com/office/drawing/2014/main" id="{57A9F14E-AA7C-E44F-9253-3AB236BED53D}"/>
              </a:ext>
            </a:extLst>
          </p:cNvPr>
          <p:cNvSpPr txBox="1"/>
          <p:nvPr/>
        </p:nvSpPr>
        <p:spPr>
          <a:xfrm>
            <a:off x="3593516" y="3484610"/>
            <a:ext cx="664588" cy="153775"/>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Censored</a:t>
            </a:r>
          </a:p>
        </p:txBody>
      </p:sp>
      <p:sp>
        <p:nvSpPr>
          <p:cNvPr id="355" name="TextBox 354">
            <a:extLst>
              <a:ext uri="{FF2B5EF4-FFF2-40B4-BE49-F238E27FC236}">
                <a16:creationId xmlns:a16="http://schemas.microsoft.com/office/drawing/2014/main" id="{8639CFDA-7468-4B4B-A94D-993897DB440B}"/>
              </a:ext>
            </a:extLst>
          </p:cNvPr>
          <p:cNvSpPr txBox="1"/>
          <p:nvPr/>
        </p:nvSpPr>
        <p:spPr>
          <a:xfrm>
            <a:off x="3594505" y="3362963"/>
            <a:ext cx="602983" cy="153775"/>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Censored</a:t>
            </a:r>
          </a:p>
        </p:txBody>
      </p:sp>
      <p:grpSp>
        <p:nvGrpSpPr>
          <p:cNvPr id="381" name="Group 380">
            <a:extLst>
              <a:ext uri="{FF2B5EF4-FFF2-40B4-BE49-F238E27FC236}">
                <a16:creationId xmlns:a16="http://schemas.microsoft.com/office/drawing/2014/main" id="{168B1824-46D4-403F-B9A4-E664CFC8061C}"/>
              </a:ext>
            </a:extLst>
          </p:cNvPr>
          <p:cNvGrpSpPr/>
          <p:nvPr/>
        </p:nvGrpSpPr>
        <p:grpSpPr>
          <a:xfrm>
            <a:off x="2088778" y="971576"/>
            <a:ext cx="5467926" cy="2620325"/>
            <a:chOff x="1579504" y="971575"/>
            <a:chExt cx="4629402" cy="2620325"/>
          </a:xfrm>
        </p:grpSpPr>
        <p:sp>
          <p:nvSpPr>
            <p:cNvPr id="178" name="Freeform 177">
              <a:extLst>
                <a:ext uri="{FF2B5EF4-FFF2-40B4-BE49-F238E27FC236}">
                  <a16:creationId xmlns:a16="http://schemas.microsoft.com/office/drawing/2014/main" id="{C0010998-D5A7-794A-837E-2EACD21DCE9E}"/>
                </a:ext>
              </a:extLst>
            </p:cNvPr>
            <p:cNvSpPr/>
            <p:nvPr/>
          </p:nvSpPr>
          <p:spPr>
            <a:xfrm>
              <a:off x="1583239" y="1003238"/>
              <a:ext cx="4595321" cy="2150471"/>
            </a:xfrm>
            <a:custGeom>
              <a:avLst/>
              <a:gdLst>
                <a:gd name="connsiteX0" fmla="*/ 1754815 w 1754814"/>
                <a:gd name="connsiteY0" fmla="*/ 787499 h 787499"/>
                <a:gd name="connsiteX1" fmla="*/ 1639505 w 1754814"/>
                <a:gd name="connsiteY1" fmla="*/ 787499 h 787499"/>
                <a:gd name="connsiteX2" fmla="*/ 1639505 w 1754814"/>
                <a:gd name="connsiteY2" fmla="*/ 740550 h 787499"/>
                <a:gd name="connsiteX3" fmla="*/ 1605406 w 1754814"/>
                <a:gd name="connsiteY3" fmla="*/ 740550 h 787499"/>
                <a:gd name="connsiteX4" fmla="*/ 1605406 w 1754814"/>
                <a:gd name="connsiteY4" fmla="*/ 706811 h 787499"/>
                <a:gd name="connsiteX5" fmla="*/ 1548416 w 1754814"/>
                <a:gd name="connsiteY5" fmla="*/ 706811 h 787499"/>
                <a:gd name="connsiteX6" fmla="*/ 1548416 w 1754814"/>
                <a:gd name="connsiteY6" fmla="*/ 688658 h 787499"/>
                <a:gd name="connsiteX7" fmla="*/ 1524765 w 1754814"/>
                <a:gd name="connsiteY7" fmla="*/ 688658 h 787499"/>
                <a:gd name="connsiteX8" fmla="*/ 1524765 w 1754814"/>
                <a:gd name="connsiteY8" fmla="*/ 673927 h 787499"/>
                <a:gd name="connsiteX9" fmla="*/ 1509378 w 1754814"/>
                <a:gd name="connsiteY9" fmla="*/ 673927 h 787499"/>
                <a:gd name="connsiteX10" fmla="*/ 1509378 w 1754814"/>
                <a:gd name="connsiteY10" fmla="*/ 659101 h 787499"/>
                <a:gd name="connsiteX11" fmla="*/ 1490096 w 1754814"/>
                <a:gd name="connsiteY11" fmla="*/ 659101 h 787499"/>
                <a:gd name="connsiteX12" fmla="*/ 1490096 w 1754814"/>
                <a:gd name="connsiteY12" fmla="*/ 643419 h 787499"/>
                <a:gd name="connsiteX13" fmla="*/ 1333184 w 1754814"/>
                <a:gd name="connsiteY13" fmla="*/ 643419 h 787499"/>
                <a:gd name="connsiteX14" fmla="*/ 1333184 w 1754814"/>
                <a:gd name="connsiteY14" fmla="*/ 635816 h 787499"/>
                <a:gd name="connsiteX15" fmla="*/ 1329480 w 1754814"/>
                <a:gd name="connsiteY15" fmla="*/ 635816 h 787499"/>
                <a:gd name="connsiteX16" fmla="*/ 1329480 w 1754814"/>
                <a:gd name="connsiteY16" fmla="*/ 628308 h 787499"/>
                <a:gd name="connsiteX17" fmla="*/ 1315042 w 1754814"/>
                <a:gd name="connsiteY17" fmla="*/ 628308 h 787499"/>
                <a:gd name="connsiteX18" fmla="*/ 1315042 w 1754814"/>
                <a:gd name="connsiteY18" fmla="*/ 621750 h 787499"/>
                <a:gd name="connsiteX19" fmla="*/ 1285598 w 1754814"/>
                <a:gd name="connsiteY19" fmla="*/ 621750 h 787499"/>
                <a:gd name="connsiteX20" fmla="*/ 1285598 w 1754814"/>
                <a:gd name="connsiteY20" fmla="*/ 616903 h 787499"/>
                <a:gd name="connsiteX21" fmla="*/ 1221579 w 1754814"/>
                <a:gd name="connsiteY21" fmla="*/ 616903 h 787499"/>
                <a:gd name="connsiteX22" fmla="*/ 1221579 w 1754814"/>
                <a:gd name="connsiteY22" fmla="*/ 611771 h 787499"/>
                <a:gd name="connsiteX23" fmla="*/ 1209611 w 1754814"/>
                <a:gd name="connsiteY23" fmla="*/ 611771 h 787499"/>
                <a:gd name="connsiteX24" fmla="*/ 1209611 w 1754814"/>
                <a:gd name="connsiteY24" fmla="*/ 607969 h 787499"/>
                <a:gd name="connsiteX25" fmla="*/ 1204197 w 1754814"/>
                <a:gd name="connsiteY25" fmla="*/ 607969 h 787499"/>
                <a:gd name="connsiteX26" fmla="*/ 1204197 w 1754814"/>
                <a:gd name="connsiteY26" fmla="*/ 602932 h 787499"/>
                <a:gd name="connsiteX27" fmla="*/ 1130585 w 1754814"/>
                <a:gd name="connsiteY27" fmla="*/ 602932 h 787499"/>
                <a:gd name="connsiteX28" fmla="*/ 1130585 w 1754814"/>
                <a:gd name="connsiteY28" fmla="*/ 598180 h 787499"/>
                <a:gd name="connsiteX29" fmla="*/ 1124221 w 1754814"/>
                <a:gd name="connsiteY29" fmla="*/ 598180 h 787499"/>
                <a:gd name="connsiteX30" fmla="*/ 1124221 w 1754814"/>
                <a:gd name="connsiteY30" fmla="*/ 593903 h 787499"/>
                <a:gd name="connsiteX31" fmla="*/ 1106649 w 1754814"/>
                <a:gd name="connsiteY31" fmla="*/ 593903 h 787499"/>
                <a:gd name="connsiteX32" fmla="*/ 1106649 w 1754814"/>
                <a:gd name="connsiteY32" fmla="*/ 589341 h 787499"/>
                <a:gd name="connsiteX33" fmla="*/ 1098481 w 1754814"/>
                <a:gd name="connsiteY33" fmla="*/ 589341 h 787499"/>
                <a:gd name="connsiteX34" fmla="*/ 1098481 w 1754814"/>
                <a:gd name="connsiteY34" fmla="*/ 584304 h 787499"/>
                <a:gd name="connsiteX35" fmla="*/ 1088318 w 1754814"/>
                <a:gd name="connsiteY35" fmla="*/ 584304 h 787499"/>
                <a:gd name="connsiteX36" fmla="*/ 1088318 w 1754814"/>
                <a:gd name="connsiteY36" fmla="*/ 580218 h 787499"/>
                <a:gd name="connsiteX37" fmla="*/ 1046145 w 1754814"/>
                <a:gd name="connsiteY37" fmla="*/ 580218 h 787499"/>
                <a:gd name="connsiteX38" fmla="*/ 1046145 w 1754814"/>
                <a:gd name="connsiteY38" fmla="*/ 575181 h 787499"/>
                <a:gd name="connsiteX39" fmla="*/ 1040066 w 1754814"/>
                <a:gd name="connsiteY39" fmla="*/ 575181 h 787499"/>
                <a:gd name="connsiteX40" fmla="*/ 1040066 w 1754814"/>
                <a:gd name="connsiteY40" fmla="*/ 570619 h 787499"/>
                <a:gd name="connsiteX41" fmla="*/ 1027908 w 1754814"/>
                <a:gd name="connsiteY41" fmla="*/ 570619 h 787499"/>
                <a:gd name="connsiteX42" fmla="*/ 1027908 w 1754814"/>
                <a:gd name="connsiteY42" fmla="*/ 566437 h 787499"/>
                <a:gd name="connsiteX43" fmla="*/ 987920 w 1754814"/>
                <a:gd name="connsiteY43" fmla="*/ 566437 h 787499"/>
                <a:gd name="connsiteX44" fmla="*/ 987920 w 1754814"/>
                <a:gd name="connsiteY44" fmla="*/ 561400 h 787499"/>
                <a:gd name="connsiteX45" fmla="*/ 972913 w 1754814"/>
                <a:gd name="connsiteY45" fmla="*/ 561400 h 787499"/>
                <a:gd name="connsiteX46" fmla="*/ 972913 w 1754814"/>
                <a:gd name="connsiteY46" fmla="*/ 557598 h 787499"/>
                <a:gd name="connsiteX47" fmla="*/ 938434 w 1754814"/>
                <a:gd name="connsiteY47" fmla="*/ 557598 h 787499"/>
                <a:gd name="connsiteX48" fmla="*/ 938434 w 1754814"/>
                <a:gd name="connsiteY48" fmla="*/ 552561 h 787499"/>
                <a:gd name="connsiteX49" fmla="*/ 902150 w 1754814"/>
                <a:gd name="connsiteY49" fmla="*/ 552561 h 787499"/>
                <a:gd name="connsiteX50" fmla="*/ 902150 w 1754814"/>
                <a:gd name="connsiteY50" fmla="*/ 549710 h 787499"/>
                <a:gd name="connsiteX51" fmla="*/ 889708 w 1754814"/>
                <a:gd name="connsiteY51" fmla="*/ 549710 h 787499"/>
                <a:gd name="connsiteX52" fmla="*/ 889708 w 1754814"/>
                <a:gd name="connsiteY52" fmla="*/ 545528 h 787499"/>
                <a:gd name="connsiteX53" fmla="*/ 858553 w 1754814"/>
                <a:gd name="connsiteY53" fmla="*/ 545528 h 787499"/>
                <a:gd name="connsiteX54" fmla="*/ 858553 w 1754814"/>
                <a:gd name="connsiteY54" fmla="*/ 540871 h 787499"/>
                <a:gd name="connsiteX55" fmla="*/ 853234 w 1754814"/>
                <a:gd name="connsiteY55" fmla="*/ 540871 h 787499"/>
                <a:gd name="connsiteX56" fmla="*/ 853234 w 1754814"/>
                <a:gd name="connsiteY56" fmla="*/ 536214 h 787499"/>
                <a:gd name="connsiteX57" fmla="*/ 840221 w 1754814"/>
                <a:gd name="connsiteY57" fmla="*/ 536214 h 787499"/>
                <a:gd name="connsiteX58" fmla="*/ 840221 w 1754814"/>
                <a:gd name="connsiteY58" fmla="*/ 533173 h 787499"/>
                <a:gd name="connsiteX59" fmla="*/ 778292 w 1754814"/>
                <a:gd name="connsiteY59" fmla="*/ 533173 h 787499"/>
                <a:gd name="connsiteX60" fmla="*/ 778292 w 1754814"/>
                <a:gd name="connsiteY60" fmla="*/ 521293 h 787499"/>
                <a:gd name="connsiteX61" fmla="*/ 734315 w 1754814"/>
                <a:gd name="connsiteY61" fmla="*/ 521293 h 787499"/>
                <a:gd name="connsiteX62" fmla="*/ 734315 w 1754814"/>
                <a:gd name="connsiteY62" fmla="*/ 516066 h 787499"/>
                <a:gd name="connsiteX63" fmla="*/ 726242 w 1754814"/>
                <a:gd name="connsiteY63" fmla="*/ 516066 h 787499"/>
                <a:gd name="connsiteX64" fmla="*/ 726242 w 1754814"/>
                <a:gd name="connsiteY64" fmla="*/ 513025 h 787499"/>
                <a:gd name="connsiteX65" fmla="*/ 724912 w 1754814"/>
                <a:gd name="connsiteY65" fmla="*/ 513025 h 787499"/>
                <a:gd name="connsiteX66" fmla="*/ 724912 w 1754814"/>
                <a:gd name="connsiteY66" fmla="*/ 509223 h 787499"/>
                <a:gd name="connsiteX67" fmla="*/ 721587 w 1754814"/>
                <a:gd name="connsiteY67" fmla="*/ 509223 h 787499"/>
                <a:gd name="connsiteX68" fmla="*/ 721587 w 1754814"/>
                <a:gd name="connsiteY68" fmla="*/ 504471 h 787499"/>
                <a:gd name="connsiteX69" fmla="*/ 692902 w 1754814"/>
                <a:gd name="connsiteY69" fmla="*/ 504471 h 787499"/>
                <a:gd name="connsiteX70" fmla="*/ 692902 w 1754814"/>
                <a:gd name="connsiteY70" fmla="*/ 501335 h 787499"/>
                <a:gd name="connsiteX71" fmla="*/ 687868 w 1754814"/>
                <a:gd name="connsiteY71" fmla="*/ 501335 h 787499"/>
                <a:gd name="connsiteX72" fmla="*/ 687868 w 1754814"/>
                <a:gd name="connsiteY72" fmla="*/ 496298 h 787499"/>
                <a:gd name="connsiteX73" fmla="*/ 645696 w 1754814"/>
                <a:gd name="connsiteY73" fmla="*/ 496298 h 787499"/>
                <a:gd name="connsiteX74" fmla="*/ 645696 w 1754814"/>
                <a:gd name="connsiteY74" fmla="*/ 493826 h 787499"/>
                <a:gd name="connsiteX75" fmla="*/ 628979 w 1754814"/>
                <a:gd name="connsiteY75" fmla="*/ 493826 h 787499"/>
                <a:gd name="connsiteX76" fmla="*/ 628979 w 1754814"/>
                <a:gd name="connsiteY76" fmla="*/ 486033 h 787499"/>
                <a:gd name="connsiteX77" fmla="*/ 613212 w 1754814"/>
                <a:gd name="connsiteY77" fmla="*/ 486033 h 787499"/>
                <a:gd name="connsiteX78" fmla="*/ 613212 w 1754814"/>
                <a:gd name="connsiteY78" fmla="*/ 481756 h 787499"/>
                <a:gd name="connsiteX79" fmla="*/ 610172 w 1754814"/>
                <a:gd name="connsiteY79" fmla="*/ 481756 h 787499"/>
                <a:gd name="connsiteX80" fmla="*/ 610172 w 1754814"/>
                <a:gd name="connsiteY80" fmla="*/ 477480 h 787499"/>
                <a:gd name="connsiteX81" fmla="*/ 582532 w 1754814"/>
                <a:gd name="connsiteY81" fmla="*/ 477480 h 787499"/>
                <a:gd name="connsiteX82" fmla="*/ 582532 w 1754814"/>
                <a:gd name="connsiteY82" fmla="*/ 473868 h 787499"/>
                <a:gd name="connsiteX83" fmla="*/ 565625 w 1754814"/>
                <a:gd name="connsiteY83" fmla="*/ 473868 h 787499"/>
                <a:gd name="connsiteX84" fmla="*/ 565625 w 1754814"/>
                <a:gd name="connsiteY84" fmla="*/ 466455 h 787499"/>
                <a:gd name="connsiteX85" fmla="*/ 561066 w 1754814"/>
                <a:gd name="connsiteY85" fmla="*/ 466455 h 787499"/>
                <a:gd name="connsiteX86" fmla="*/ 561066 w 1754814"/>
                <a:gd name="connsiteY86" fmla="*/ 461893 h 787499"/>
                <a:gd name="connsiteX87" fmla="*/ 552802 w 1754814"/>
                <a:gd name="connsiteY87" fmla="*/ 461893 h 787499"/>
                <a:gd name="connsiteX88" fmla="*/ 552802 w 1754814"/>
                <a:gd name="connsiteY88" fmla="*/ 454005 h 787499"/>
                <a:gd name="connsiteX89" fmla="*/ 512054 w 1754814"/>
                <a:gd name="connsiteY89" fmla="*/ 454005 h 787499"/>
                <a:gd name="connsiteX90" fmla="*/ 512054 w 1754814"/>
                <a:gd name="connsiteY90" fmla="*/ 446782 h 787499"/>
                <a:gd name="connsiteX91" fmla="*/ 507495 w 1754814"/>
                <a:gd name="connsiteY91" fmla="*/ 446782 h 787499"/>
                <a:gd name="connsiteX92" fmla="*/ 507495 w 1754814"/>
                <a:gd name="connsiteY92" fmla="*/ 438989 h 787499"/>
                <a:gd name="connsiteX93" fmla="*/ 501986 w 1754814"/>
                <a:gd name="connsiteY93" fmla="*/ 438989 h 787499"/>
                <a:gd name="connsiteX94" fmla="*/ 501986 w 1754814"/>
                <a:gd name="connsiteY94" fmla="*/ 434902 h 787499"/>
                <a:gd name="connsiteX95" fmla="*/ 500941 w 1754814"/>
                <a:gd name="connsiteY95" fmla="*/ 434902 h 787499"/>
                <a:gd name="connsiteX96" fmla="*/ 500941 w 1754814"/>
                <a:gd name="connsiteY96" fmla="*/ 432146 h 787499"/>
                <a:gd name="connsiteX97" fmla="*/ 497997 w 1754814"/>
                <a:gd name="connsiteY97" fmla="*/ 432146 h 787499"/>
                <a:gd name="connsiteX98" fmla="*/ 497997 w 1754814"/>
                <a:gd name="connsiteY98" fmla="*/ 423782 h 787499"/>
                <a:gd name="connsiteX99" fmla="*/ 482610 w 1754814"/>
                <a:gd name="connsiteY99" fmla="*/ 423782 h 787499"/>
                <a:gd name="connsiteX100" fmla="*/ 482610 w 1754814"/>
                <a:gd name="connsiteY100" fmla="*/ 419600 h 787499"/>
                <a:gd name="connsiteX101" fmla="*/ 477860 w 1754814"/>
                <a:gd name="connsiteY101" fmla="*/ 419600 h 787499"/>
                <a:gd name="connsiteX102" fmla="*/ 477860 w 1754814"/>
                <a:gd name="connsiteY102" fmla="*/ 416559 h 787499"/>
                <a:gd name="connsiteX103" fmla="*/ 476531 w 1754814"/>
                <a:gd name="connsiteY103" fmla="*/ 416559 h 787499"/>
                <a:gd name="connsiteX104" fmla="*/ 476531 w 1754814"/>
                <a:gd name="connsiteY104" fmla="*/ 409241 h 787499"/>
                <a:gd name="connsiteX105" fmla="*/ 467412 w 1754814"/>
                <a:gd name="connsiteY105" fmla="*/ 409241 h 787499"/>
                <a:gd name="connsiteX106" fmla="*/ 467412 w 1754814"/>
                <a:gd name="connsiteY106" fmla="*/ 404014 h 787499"/>
                <a:gd name="connsiteX107" fmla="*/ 465893 w 1754814"/>
                <a:gd name="connsiteY107" fmla="*/ 404014 h 787499"/>
                <a:gd name="connsiteX108" fmla="*/ 465893 w 1754814"/>
                <a:gd name="connsiteY108" fmla="*/ 396696 h 787499"/>
                <a:gd name="connsiteX109" fmla="*/ 464658 w 1754814"/>
                <a:gd name="connsiteY109" fmla="*/ 396696 h 787499"/>
                <a:gd name="connsiteX110" fmla="*/ 464658 w 1754814"/>
                <a:gd name="connsiteY110" fmla="*/ 394700 h 787499"/>
                <a:gd name="connsiteX111" fmla="*/ 461903 w 1754814"/>
                <a:gd name="connsiteY111" fmla="*/ 394700 h 787499"/>
                <a:gd name="connsiteX112" fmla="*/ 461903 w 1754814"/>
                <a:gd name="connsiteY112" fmla="*/ 389663 h 787499"/>
                <a:gd name="connsiteX113" fmla="*/ 460384 w 1754814"/>
                <a:gd name="connsiteY113" fmla="*/ 389663 h 787499"/>
                <a:gd name="connsiteX114" fmla="*/ 460384 w 1754814"/>
                <a:gd name="connsiteY114" fmla="*/ 386146 h 787499"/>
                <a:gd name="connsiteX115" fmla="*/ 458959 w 1754814"/>
                <a:gd name="connsiteY115" fmla="*/ 386146 h 787499"/>
                <a:gd name="connsiteX116" fmla="*/ 458959 w 1754814"/>
                <a:gd name="connsiteY116" fmla="*/ 381489 h 787499"/>
                <a:gd name="connsiteX117" fmla="*/ 457344 w 1754814"/>
                <a:gd name="connsiteY117" fmla="*/ 381489 h 787499"/>
                <a:gd name="connsiteX118" fmla="*/ 457344 w 1754814"/>
                <a:gd name="connsiteY118" fmla="*/ 378733 h 787499"/>
                <a:gd name="connsiteX119" fmla="*/ 455444 w 1754814"/>
                <a:gd name="connsiteY119" fmla="*/ 378733 h 787499"/>
                <a:gd name="connsiteX120" fmla="*/ 455444 w 1754814"/>
                <a:gd name="connsiteY120" fmla="*/ 371510 h 787499"/>
                <a:gd name="connsiteX121" fmla="*/ 454305 w 1754814"/>
                <a:gd name="connsiteY121" fmla="*/ 371510 h 787499"/>
                <a:gd name="connsiteX122" fmla="*/ 454305 w 1754814"/>
                <a:gd name="connsiteY122" fmla="*/ 366663 h 787499"/>
                <a:gd name="connsiteX123" fmla="*/ 453070 w 1754814"/>
                <a:gd name="connsiteY123" fmla="*/ 366663 h 787499"/>
                <a:gd name="connsiteX124" fmla="*/ 453070 w 1754814"/>
                <a:gd name="connsiteY124" fmla="*/ 363147 h 787499"/>
                <a:gd name="connsiteX125" fmla="*/ 449650 w 1754814"/>
                <a:gd name="connsiteY125" fmla="*/ 363147 h 787499"/>
                <a:gd name="connsiteX126" fmla="*/ 449650 w 1754814"/>
                <a:gd name="connsiteY126" fmla="*/ 358395 h 787499"/>
                <a:gd name="connsiteX127" fmla="*/ 442337 w 1754814"/>
                <a:gd name="connsiteY127" fmla="*/ 358395 h 787499"/>
                <a:gd name="connsiteX128" fmla="*/ 442337 w 1754814"/>
                <a:gd name="connsiteY128" fmla="*/ 356399 h 787499"/>
                <a:gd name="connsiteX129" fmla="*/ 436828 w 1754814"/>
                <a:gd name="connsiteY129" fmla="*/ 356399 h 787499"/>
                <a:gd name="connsiteX130" fmla="*/ 436828 w 1754814"/>
                <a:gd name="connsiteY130" fmla="*/ 351552 h 787499"/>
                <a:gd name="connsiteX131" fmla="*/ 433693 w 1754814"/>
                <a:gd name="connsiteY131" fmla="*/ 351552 h 787499"/>
                <a:gd name="connsiteX132" fmla="*/ 433693 w 1754814"/>
                <a:gd name="connsiteY132" fmla="*/ 348511 h 787499"/>
                <a:gd name="connsiteX133" fmla="*/ 431699 w 1754814"/>
                <a:gd name="connsiteY133" fmla="*/ 348511 h 787499"/>
                <a:gd name="connsiteX134" fmla="*/ 431699 w 1754814"/>
                <a:gd name="connsiteY134" fmla="*/ 343759 h 787499"/>
                <a:gd name="connsiteX135" fmla="*/ 428944 w 1754814"/>
                <a:gd name="connsiteY135" fmla="*/ 343759 h 787499"/>
                <a:gd name="connsiteX136" fmla="*/ 428944 w 1754814"/>
                <a:gd name="connsiteY136" fmla="*/ 341003 h 787499"/>
                <a:gd name="connsiteX137" fmla="*/ 427709 w 1754814"/>
                <a:gd name="connsiteY137" fmla="*/ 341003 h 787499"/>
                <a:gd name="connsiteX138" fmla="*/ 427709 w 1754814"/>
                <a:gd name="connsiteY138" fmla="*/ 333114 h 787499"/>
                <a:gd name="connsiteX139" fmla="*/ 422295 w 1754814"/>
                <a:gd name="connsiteY139" fmla="*/ 333114 h 787499"/>
                <a:gd name="connsiteX140" fmla="*/ 422295 w 1754814"/>
                <a:gd name="connsiteY140" fmla="*/ 322090 h 787499"/>
                <a:gd name="connsiteX141" fmla="*/ 418116 w 1754814"/>
                <a:gd name="connsiteY141" fmla="*/ 322090 h 787499"/>
                <a:gd name="connsiteX142" fmla="*/ 418116 w 1754814"/>
                <a:gd name="connsiteY142" fmla="*/ 318383 h 787499"/>
                <a:gd name="connsiteX143" fmla="*/ 416406 w 1754814"/>
                <a:gd name="connsiteY143" fmla="*/ 318383 h 787499"/>
                <a:gd name="connsiteX144" fmla="*/ 416406 w 1754814"/>
                <a:gd name="connsiteY144" fmla="*/ 315057 h 787499"/>
                <a:gd name="connsiteX145" fmla="*/ 413557 w 1754814"/>
                <a:gd name="connsiteY145" fmla="*/ 315057 h 787499"/>
                <a:gd name="connsiteX146" fmla="*/ 413557 w 1754814"/>
                <a:gd name="connsiteY146" fmla="*/ 307454 h 787499"/>
                <a:gd name="connsiteX147" fmla="*/ 411277 w 1754814"/>
                <a:gd name="connsiteY147" fmla="*/ 307454 h 787499"/>
                <a:gd name="connsiteX148" fmla="*/ 411277 w 1754814"/>
                <a:gd name="connsiteY148" fmla="*/ 299660 h 787499"/>
                <a:gd name="connsiteX149" fmla="*/ 396270 w 1754814"/>
                <a:gd name="connsiteY149" fmla="*/ 299660 h 787499"/>
                <a:gd name="connsiteX150" fmla="*/ 396270 w 1754814"/>
                <a:gd name="connsiteY150" fmla="*/ 292342 h 787499"/>
                <a:gd name="connsiteX151" fmla="*/ 389431 w 1754814"/>
                <a:gd name="connsiteY151" fmla="*/ 292342 h 787499"/>
                <a:gd name="connsiteX152" fmla="*/ 389431 w 1754814"/>
                <a:gd name="connsiteY152" fmla="*/ 281508 h 787499"/>
                <a:gd name="connsiteX153" fmla="*/ 379458 w 1754814"/>
                <a:gd name="connsiteY153" fmla="*/ 281508 h 787499"/>
                <a:gd name="connsiteX154" fmla="*/ 379458 w 1754814"/>
                <a:gd name="connsiteY154" fmla="*/ 274285 h 787499"/>
                <a:gd name="connsiteX155" fmla="*/ 376608 w 1754814"/>
                <a:gd name="connsiteY155" fmla="*/ 274285 h 787499"/>
                <a:gd name="connsiteX156" fmla="*/ 376608 w 1754814"/>
                <a:gd name="connsiteY156" fmla="*/ 270958 h 787499"/>
                <a:gd name="connsiteX157" fmla="*/ 368250 w 1754814"/>
                <a:gd name="connsiteY157" fmla="*/ 270958 h 787499"/>
                <a:gd name="connsiteX158" fmla="*/ 368250 w 1754814"/>
                <a:gd name="connsiteY158" fmla="*/ 260599 h 787499"/>
                <a:gd name="connsiteX159" fmla="*/ 350393 w 1754814"/>
                <a:gd name="connsiteY159" fmla="*/ 260599 h 787499"/>
                <a:gd name="connsiteX160" fmla="*/ 350393 w 1754814"/>
                <a:gd name="connsiteY160" fmla="*/ 255847 h 787499"/>
                <a:gd name="connsiteX161" fmla="*/ 346689 w 1754814"/>
                <a:gd name="connsiteY161" fmla="*/ 255847 h 787499"/>
                <a:gd name="connsiteX162" fmla="*/ 346689 w 1754814"/>
                <a:gd name="connsiteY162" fmla="*/ 250145 h 787499"/>
                <a:gd name="connsiteX163" fmla="*/ 327027 w 1754814"/>
                <a:gd name="connsiteY163" fmla="*/ 250145 h 787499"/>
                <a:gd name="connsiteX164" fmla="*/ 327027 w 1754814"/>
                <a:gd name="connsiteY164" fmla="*/ 245488 h 787499"/>
                <a:gd name="connsiteX165" fmla="*/ 323703 w 1754814"/>
                <a:gd name="connsiteY165" fmla="*/ 245488 h 787499"/>
                <a:gd name="connsiteX166" fmla="*/ 323703 w 1754814"/>
                <a:gd name="connsiteY166" fmla="*/ 242256 h 787499"/>
                <a:gd name="connsiteX167" fmla="*/ 310880 w 1754814"/>
                <a:gd name="connsiteY167" fmla="*/ 242256 h 787499"/>
                <a:gd name="connsiteX168" fmla="*/ 310880 w 1754814"/>
                <a:gd name="connsiteY168" fmla="*/ 238835 h 787499"/>
                <a:gd name="connsiteX169" fmla="*/ 303661 w 1754814"/>
                <a:gd name="connsiteY169" fmla="*/ 238835 h 787499"/>
                <a:gd name="connsiteX170" fmla="*/ 303661 w 1754814"/>
                <a:gd name="connsiteY170" fmla="*/ 231422 h 787499"/>
                <a:gd name="connsiteX171" fmla="*/ 292263 w 1754814"/>
                <a:gd name="connsiteY171" fmla="*/ 231422 h 787499"/>
                <a:gd name="connsiteX172" fmla="*/ 292263 w 1754814"/>
                <a:gd name="connsiteY172" fmla="*/ 228380 h 787499"/>
                <a:gd name="connsiteX173" fmla="*/ 291029 w 1754814"/>
                <a:gd name="connsiteY173" fmla="*/ 228380 h 787499"/>
                <a:gd name="connsiteX174" fmla="*/ 291029 w 1754814"/>
                <a:gd name="connsiteY174" fmla="*/ 225624 h 787499"/>
                <a:gd name="connsiteX175" fmla="*/ 284760 w 1754814"/>
                <a:gd name="connsiteY175" fmla="*/ 225624 h 787499"/>
                <a:gd name="connsiteX176" fmla="*/ 284760 w 1754814"/>
                <a:gd name="connsiteY176" fmla="*/ 218306 h 787499"/>
                <a:gd name="connsiteX177" fmla="*/ 281530 w 1754814"/>
                <a:gd name="connsiteY177" fmla="*/ 218306 h 787499"/>
                <a:gd name="connsiteX178" fmla="*/ 281530 w 1754814"/>
                <a:gd name="connsiteY178" fmla="*/ 208897 h 787499"/>
                <a:gd name="connsiteX179" fmla="*/ 265383 w 1754814"/>
                <a:gd name="connsiteY179" fmla="*/ 208897 h 787499"/>
                <a:gd name="connsiteX180" fmla="*/ 265383 w 1754814"/>
                <a:gd name="connsiteY180" fmla="*/ 204335 h 787499"/>
                <a:gd name="connsiteX181" fmla="*/ 260159 w 1754814"/>
                <a:gd name="connsiteY181" fmla="*/ 204335 h 787499"/>
                <a:gd name="connsiteX182" fmla="*/ 260159 w 1754814"/>
                <a:gd name="connsiteY182" fmla="*/ 198918 h 787499"/>
                <a:gd name="connsiteX183" fmla="*/ 255600 w 1754814"/>
                <a:gd name="connsiteY183" fmla="*/ 198918 h 787499"/>
                <a:gd name="connsiteX184" fmla="*/ 255600 w 1754814"/>
                <a:gd name="connsiteY184" fmla="*/ 195972 h 787499"/>
                <a:gd name="connsiteX185" fmla="*/ 253605 w 1754814"/>
                <a:gd name="connsiteY185" fmla="*/ 195972 h 787499"/>
                <a:gd name="connsiteX186" fmla="*/ 253605 w 1754814"/>
                <a:gd name="connsiteY186" fmla="*/ 187894 h 787499"/>
                <a:gd name="connsiteX187" fmla="*/ 249331 w 1754814"/>
                <a:gd name="connsiteY187" fmla="*/ 187894 h 787499"/>
                <a:gd name="connsiteX188" fmla="*/ 249331 w 1754814"/>
                <a:gd name="connsiteY188" fmla="*/ 185327 h 787499"/>
                <a:gd name="connsiteX189" fmla="*/ 241162 w 1754814"/>
                <a:gd name="connsiteY189" fmla="*/ 185327 h 787499"/>
                <a:gd name="connsiteX190" fmla="*/ 241162 w 1754814"/>
                <a:gd name="connsiteY190" fmla="*/ 177344 h 787499"/>
                <a:gd name="connsiteX191" fmla="*/ 238693 w 1754814"/>
                <a:gd name="connsiteY191" fmla="*/ 177344 h 787499"/>
                <a:gd name="connsiteX192" fmla="*/ 238693 w 1754814"/>
                <a:gd name="connsiteY192" fmla="*/ 174778 h 787499"/>
                <a:gd name="connsiteX193" fmla="*/ 233374 w 1754814"/>
                <a:gd name="connsiteY193" fmla="*/ 174778 h 787499"/>
                <a:gd name="connsiteX194" fmla="*/ 233374 w 1754814"/>
                <a:gd name="connsiteY194" fmla="*/ 171452 h 787499"/>
                <a:gd name="connsiteX195" fmla="*/ 231379 w 1754814"/>
                <a:gd name="connsiteY195" fmla="*/ 171452 h 787499"/>
                <a:gd name="connsiteX196" fmla="*/ 231379 w 1754814"/>
                <a:gd name="connsiteY196" fmla="*/ 168030 h 787499"/>
                <a:gd name="connsiteX197" fmla="*/ 222831 w 1754814"/>
                <a:gd name="connsiteY197" fmla="*/ 168030 h 787499"/>
                <a:gd name="connsiteX198" fmla="*/ 222831 w 1754814"/>
                <a:gd name="connsiteY198" fmla="*/ 164514 h 787499"/>
                <a:gd name="connsiteX199" fmla="*/ 220076 w 1754814"/>
                <a:gd name="connsiteY199" fmla="*/ 164514 h 787499"/>
                <a:gd name="connsiteX200" fmla="*/ 220076 w 1754814"/>
                <a:gd name="connsiteY200" fmla="*/ 160617 h 787499"/>
                <a:gd name="connsiteX201" fmla="*/ 217606 w 1754814"/>
                <a:gd name="connsiteY201" fmla="*/ 160617 h 787499"/>
                <a:gd name="connsiteX202" fmla="*/ 217606 w 1754814"/>
                <a:gd name="connsiteY202" fmla="*/ 157481 h 787499"/>
                <a:gd name="connsiteX203" fmla="*/ 215802 w 1754814"/>
                <a:gd name="connsiteY203" fmla="*/ 157481 h 787499"/>
                <a:gd name="connsiteX204" fmla="*/ 215802 w 1754814"/>
                <a:gd name="connsiteY204" fmla="*/ 154154 h 787499"/>
                <a:gd name="connsiteX205" fmla="*/ 203644 w 1754814"/>
                <a:gd name="connsiteY205" fmla="*/ 154154 h 787499"/>
                <a:gd name="connsiteX206" fmla="*/ 203644 w 1754814"/>
                <a:gd name="connsiteY206" fmla="*/ 151303 h 787499"/>
                <a:gd name="connsiteX207" fmla="*/ 195380 w 1754814"/>
                <a:gd name="connsiteY207" fmla="*/ 151303 h 787499"/>
                <a:gd name="connsiteX208" fmla="*/ 195380 w 1754814"/>
                <a:gd name="connsiteY208" fmla="*/ 149402 h 787499"/>
                <a:gd name="connsiteX209" fmla="*/ 193576 w 1754814"/>
                <a:gd name="connsiteY209" fmla="*/ 149402 h 787499"/>
                <a:gd name="connsiteX210" fmla="*/ 193576 w 1754814"/>
                <a:gd name="connsiteY210" fmla="*/ 144365 h 787499"/>
                <a:gd name="connsiteX211" fmla="*/ 191106 w 1754814"/>
                <a:gd name="connsiteY211" fmla="*/ 144365 h 787499"/>
                <a:gd name="connsiteX212" fmla="*/ 191106 w 1754814"/>
                <a:gd name="connsiteY212" fmla="*/ 140754 h 787499"/>
                <a:gd name="connsiteX213" fmla="*/ 176479 w 1754814"/>
                <a:gd name="connsiteY213" fmla="*/ 140754 h 787499"/>
                <a:gd name="connsiteX214" fmla="*/ 176479 w 1754814"/>
                <a:gd name="connsiteY214" fmla="*/ 133056 h 787499"/>
                <a:gd name="connsiteX215" fmla="*/ 173534 w 1754814"/>
                <a:gd name="connsiteY215" fmla="*/ 133056 h 787499"/>
                <a:gd name="connsiteX216" fmla="*/ 173534 w 1754814"/>
                <a:gd name="connsiteY216" fmla="*/ 128684 h 787499"/>
                <a:gd name="connsiteX217" fmla="*/ 161471 w 1754814"/>
                <a:gd name="connsiteY217" fmla="*/ 128684 h 787499"/>
                <a:gd name="connsiteX218" fmla="*/ 161471 w 1754814"/>
                <a:gd name="connsiteY218" fmla="*/ 125357 h 787499"/>
                <a:gd name="connsiteX219" fmla="*/ 157672 w 1754814"/>
                <a:gd name="connsiteY219" fmla="*/ 125357 h 787499"/>
                <a:gd name="connsiteX220" fmla="*/ 157672 w 1754814"/>
                <a:gd name="connsiteY220" fmla="*/ 115568 h 787499"/>
                <a:gd name="connsiteX221" fmla="*/ 153303 w 1754814"/>
                <a:gd name="connsiteY221" fmla="*/ 115568 h 787499"/>
                <a:gd name="connsiteX222" fmla="*/ 153303 w 1754814"/>
                <a:gd name="connsiteY222" fmla="*/ 113097 h 787499"/>
                <a:gd name="connsiteX223" fmla="*/ 151593 w 1754814"/>
                <a:gd name="connsiteY223" fmla="*/ 113097 h 787499"/>
                <a:gd name="connsiteX224" fmla="*/ 151593 w 1754814"/>
                <a:gd name="connsiteY224" fmla="*/ 109106 h 787499"/>
                <a:gd name="connsiteX225" fmla="*/ 134686 w 1754814"/>
                <a:gd name="connsiteY225" fmla="*/ 109106 h 787499"/>
                <a:gd name="connsiteX226" fmla="*/ 134686 w 1754814"/>
                <a:gd name="connsiteY226" fmla="*/ 105969 h 787499"/>
                <a:gd name="connsiteX227" fmla="*/ 130222 w 1754814"/>
                <a:gd name="connsiteY227" fmla="*/ 105969 h 787499"/>
                <a:gd name="connsiteX228" fmla="*/ 130222 w 1754814"/>
                <a:gd name="connsiteY228" fmla="*/ 100172 h 787499"/>
                <a:gd name="connsiteX229" fmla="*/ 119964 w 1754814"/>
                <a:gd name="connsiteY229" fmla="*/ 100172 h 787499"/>
                <a:gd name="connsiteX230" fmla="*/ 119964 w 1754814"/>
                <a:gd name="connsiteY230" fmla="*/ 97036 h 787499"/>
                <a:gd name="connsiteX231" fmla="*/ 109041 w 1754814"/>
                <a:gd name="connsiteY231" fmla="*/ 97036 h 787499"/>
                <a:gd name="connsiteX232" fmla="*/ 109041 w 1754814"/>
                <a:gd name="connsiteY232" fmla="*/ 92379 h 787499"/>
                <a:gd name="connsiteX233" fmla="*/ 99257 w 1754814"/>
                <a:gd name="connsiteY233" fmla="*/ 92379 h 787499"/>
                <a:gd name="connsiteX234" fmla="*/ 99257 w 1754814"/>
                <a:gd name="connsiteY234" fmla="*/ 86961 h 787499"/>
                <a:gd name="connsiteX235" fmla="*/ 93463 w 1754814"/>
                <a:gd name="connsiteY235" fmla="*/ 86961 h 787499"/>
                <a:gd name="connsiteX236" fmla="*/ 93463 w 1754814"/>
                <a:gd name="connsiteY236" fmla="*/ 81069 h 787499"/>
                <a:gd name="connsiteX237" fmla="*/ 91754 w 1754814"/>
                <a:gd name="connsiteY237" fmla="*/ 81069 h 787499"/>
                <a:gd name="connsiteX238" fmla="*/ 91754 w 1754814"/>
                <a:gd name="connsiteY238" fmla="*/ 76127 h 787499"/>
                <a:gd name="connsiteX239" fmla="*/ 88429 w 1754814"/>
                <a:gd name="connsiteY239" fmla="*/ 76127 h 787499"/>
                <a:gd name="connsiteX240" fmla="*/ 88429 w 1754814"/>
                <a:gd name="connsiteY240" fmla="*/ 72040 h 787499"/>
                <a:gd name="connsiteX241" fmla="*/ 87385 w 1754814"/>
                <a:gd name="connsiteY241" fmla="*/ 72040 h 787499"/>
                <a:gd name="connsiteX242" fmla="*/ 87385 w 1754814"/>
                <a:gd name="connsiteY242" fmla="*/ 62726 h 787499"/>
                <a:gd name="connsiteX243" fmla="*/ 86150 w 1754814"/>
                <a:gd name="connsiteY243" fmla="*/ 62726 h 787499"/>
                <a:gd name="connsiteX244" fmla="*/ 86150 w 1754814"/>
                <a:gd name="connsiteY244" fmla="*/ 58259 h 787499"/>
                <a:gd name="connsiteX245" fmla="*/ 67628 w 1754814"/>
                <a:gd name="connsiteY245" fmla="*/ 58259 h 787499"/>
                <a:gd name="connsiteX246" fmla="*/ 67628 w 1754814"/>
                <a:gd name="connsiteY246" fmla="*/ 53697 h 787499"/>
                <a:gd name="connsiteX247" fmla="*/ 66488 w 1754814"/>
                <a:gd name="connsiteY247" fmla="*/ 53697 h 787499"/>
                <a:gd name="connsiteX248" fmla="*/ 66488 w 1754814"/>
                <a:gd name="connsiteY248" fmla="*/ 31458 h 787499"/>
                <a:gd name="connsiteX249" fmla="*/ 50721 w 1754814"/>
                <a:gd name="connsiteY249" fmla="*/ 31458 h 787499"/>
                <a:gd name="connsiteX250" fmla="*/ 50721 w 1754814"/>
                <a:gd name="connsiteY250" fmla="*/ 28227 h 787499"/>
                <a:gd name="connsiteX251" fmla="*/ 47872 w 1754814"/>
                <a:gd name="connsiteY251" fmla="*/ 28227 h 787499"/>
                <a:gd name="connsiteX252" fmla="*/ 47872 w 1754814"/>
                <a:gd name="connsiteY252" fmla="*/ 23000 h 787499"/>
                <a:gd name="connsiteX253" fmla="*/ 44072 w 1754814"/>
                <a:gd name="connsiteY253" fmla="*/ 23000 h 787499"/>
                <a:gd name="connsiteX254" fmla="*/ 44072 w 1754814"/>
                <a:gd name="connsiteY254" fmla="*/ 10264 h 787499"/>
                <a:gd name="connsiteX255" fmla="*/ 22226 w 1754814"/>
                <a:gd name="connsiteY255" fmla="*/ 10264 h 787499"/>
                <a:gd name="connsiteX256" fmla="*/ 22226 w 1754814"/>
                <a:gd name="connsiteY256" fmla="*/ 0 h 787499"/>
                <a:gd name="connsiteX257" fmla="*/ 0 w 1754814"/>
                <a:gd name="connsiteY257" fmla="*/ 0 h 78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754814" h="787499">
                  <a:moveTo>
                    <a:pt x="1754815" y="787499"/>
                  </a:moveTo>
                  <a:lnTo>
                    <a:pt x="1639505" y="787499"/>
                  </a:lnTo>
                  <a:lnTo>
                    <a:pt x="1639505" y="740550"/>
                  </a:lnTo>
                  <a:lnTo>
                    <a:pt x="1605406" y="740550"/>
                  </a:lnTo>
                  <a:lnTo>
                    <a:pt x="1605406" y="706811"/>
                  </a:lnTo>
                  <a:lnTo>
                    <a:pt x="1548416" y="706811"/>
                  </a:lnTo>
                  <a:lnTo>
                    <a:pt x="1548416" y="688658"/>
                  </a:lnTo>
                  <a:lnTo>
                    <a:pt x="1524765" y="688658"/>
                  </a:lnTo>
                  <a:lnTo>
                    <a:pt x="1524765" y="673927"/>
                  </a:lnTo>
                  <a:lnTo>
                    <a:pt x="1509378" y="673927"/>
                  </a:lnTo>
                  <a:lnTo>
                    <a:pt x="1509378" y="659101"/>
                  </a:lnTo>
                  <a:lnTo>
                    <a:pt x="1490096" y="659101"/>
                  </a:lnTo>
                  <a:lnTo>
                    <a:pt x="1490096" y="643419"/>
                  </a:lnTo>
                  <a:lnTo>
                    <a:pt x="1333184" y="643419"/>
                  </a:lnTo>
                  <a:lnTo>
                    <a:pt x="1333184" y="635816"/>
                  </a:lnTo>
                  <a:lnTo>
                    <a:pt x="1329480" y="635816"/>
                  </a:lnTo>
                  <a:lnTo>
                    <a:pt x="1329480" y="628308"/>
                  </a:lnTo>
                  <a:lnTo>
                    <a:pt x="1315042" y="628308"/>
                  </a:lnTo>
                  <a:lnTo>
                    <a:pt x="1315042" y="621750"/>
                  </a:lnTo>
                  <a:lnTo>
                    <a:pt x="1285598" y="621750"/>
                  </a:lnTo>
                  <a:lnTo>
                    <a:pt x="1285598" y="616903"/>
                  </a:lnTo>
                  <a:lnTo>
                    <a:pt x="1221579" y="616903"/>
                  </a:lnTo>
                  <a:lnTo>
                    <a:pt x="1221579" y="611771"/>
                  </a:lnTo>
                  <a:lnTo>
                    <a:pt x="1209611" y="611771"/>
                  </a:lnTo>
                  <a:lnTo>
                    <a:pt x="1209611" y="607969"/>
                  </a:lnTo>
                  <a:lnTo>
                    <a:pt x="1204197" y="607969"/>
                  </a:lnTo>
                  <a:lnTo>
                    <a:pt x="1204197" y="602932"/>
                  </a:lnTo>
                  <a:lnTo>
                    <a:pt x="1130585" y="602932"/>
                  </a:lnTo>
                  <a:lnTo>
                    <a:pt x="1130585" y="598180"/>
                  </a:lnTo>
                  <a:lnTo>
                    <a:pt x="1124221" y="598180"/>
                  </a:lnTo>
                  <a:lnTo>
                    <a:pt x="1124221" y="593903"/>
                  </a:lnTo>
                  <a:lnTo>
                    <a:pt x="1106649" y="593903"/>
                  </a:lnTo>
                  <a:lnTo>
                    <a:pt x="1106649" y="589341"/>
                  </a:lnTo>
                  <a:lnTo>
                    <a:pt x="1098481" y="589341"/>
                  </a:lnTo>
                  <a:lnTo>
                    <a:pt x="1098481" y="584304"/>
                  </a:lnTo>
                  <a:lnTo>
                    <a:pt x="1088318" y="584304"/>
                  </a:lnTo>
                  <a:lnTo>
                    <a:pt x="1088318" y="580218"/>
                  </a:lnTo>
                  <a:lnTo>
                    <a:pt x="1046145" y="580218"/>
                  </a:lnTo>
                  <a:lnTo>
                    <a:pt x="1046145" y="575181"/>
                  </a:lnTo>
                  <a:lnTo>
                    <a:pt x="1040066" y="575181"/>
                  </a:lnTo>
                  <a:lnTo>
                    <a:pt x="1040066" y="570619"/>
                  </a:lnTo>
                  <a:lnTo>
                    <a:pt x="1027908" y="570619"/>
                  </a:lnTo>
                  <a:lnTo>
                    <a:pt x="1027908" y="566437"/>
                  </a:lnTo>
                  <a:lnTo>
                    <a:pt x="987920" y="566437"/>
                  </a:lnTo>
                  <a:lnTo>
                    <a:pt x="987920" y="561400"/>
                  </a:lnTo>
                  <a:lnTo>
                    <a:pt x="972913" y="561400"/>
                  </a:lnTo>
                  <a:lnTo>
                    <a:pt x="972913" y="557598"/>
                  </a:lnTo>
                  <a:lnTo>
                    <a:pt x="938434" y="557598"/>
                  </a:lnTo>
                  <a:lnTo>
                    <a:pt x="938434" y="552561"/>
                  </a:lnTo>
                  <a:lnTo>
                    <a:pt x="902150" y="552561"/>
                  </a:lnTo>
                  <a:lnTo>
                    <a:pt x="902150" y="549710"/>
                  </a:lnTo>
                  <a:lnTo>
                    <a:pt x="889708" y="549710"/>
                  </a:lnTo>
                  <a:lnTo>
                    <a:pt x="889708" y="545528"/>
                  </a:lnTo>
                  <a:lnTo>
                    <a:pt x="858553" y="545528"/>
                  </a:lnTo>
                  <a:lnTo>
                    <a:pt x="858553" y="540871"/>
                  </a:lnTo>
                  <a:lnTo>
                    <a:pt x="853234" y="540871"/>
                  </a:lnTo>
                  <a:lnTo>
                    <a:pt x="853234" y="536214"/>
                  </a:lnTo>
                  <a:lnTo>
                    <a:pt x="840221" y="536214"/>
                  </a:lnTo>
                  <a:lnTo>
                    <a:pt x="840221" y="533173"/>
                  </a:lnTo>
                  <a:lnTo>
                    <a:pt x="778292" y="533173"/>
                  </a:lnTo>
                  <a:lnTo>
                    <a:pt x="778292" y="521293"/>
                  </a:lnTo>
                  <a:lnTo>
                    <a:pt x="734315" y="521293"/>
                  </a:lnTo>
                  <a:lnTo>
                    <a:pt x="734315" y="516066"/>
                  </a:lnTo>
                  <a:lnTo>
                    <a:pt x="726242" y="516066"/>
                  </a:lnTo>
                  <a:lnTo>
                    <a:pt x="726242" y="513025"/>
                  </a:lnTo>
                  <a:lnTo>
                    <a:pt x="724912" y="513025"/>
                  </a:lnTo>
                  <a:lnTo>
                    <a:pt x="724912" y="509223"/>
                  </a:lnTo>
                  <a:lnTo>
                    <a:pt x="721587" y="509223"/>
                  </a:lnTo>
                  <a:lnTo>
                    <a:pt x="721587" y="504471"/>
                  </a:lnTo>
                  <a:lnTo>
                    <a:pt x="692902" y="504471"/>
                  </a:lnTo>
                  <a:lnTo>
                    <a:pt x="692902" y="501335"/>
                  </a:lnTo>
                  <a:lnTo>
                    <a:pt x="687868" y="501335"/>
                  </a:lnTo>
                  <a:lnTo>
                    <a:pt x="687868" y="496298"/>
                  </a:lnTo>
                  <a:lnTo>
                    <a:pt x="645696" y="496298"/>
                  </a:lnTo>
                  <a:lnTo>
                    <a:pt x="645696" y="493826"/>
                  </a:lnTo>
                  <a:lnTo>
                    <a:pt x="628979" y="493826"/>
                  </a:lnTo>
                  <a:lnTo>
                    <a:pt x="628979" y="486033"/>
                  </a:lnTo>
                  <a:lnTo>
                    <a:pt x="613212" y="486033"/>
                  </a:lnTo>
                  <a:lnTo>
                    <a:pt x="613212" y="481756"/>
                  </a:lnTo>
                  <a:lnTo>
                    <a:pt x="610172" y="481756"/>
                  </a:lnTo>
                  <a:lnTo>
                    <a:pt x="610172" y="477480"/>
                  </a:lnTo>
                  <a:lnTo>
                    <a:pt x="582532" y="477480"/>
                  </a:lnTo>
                  <a:lnTo>
                    <a:pt x="582532" y="473868"/>
                  </a:lnTo>
                  <a:lnTo>
                    <a:pt x="565625" y="473868"/>
                  </a:lnTo>
                  <a:lnTo>
                    <a:pt x="565625" y="466455"/>
                  </a:lnTo>
                  <a:lnTo>
                    <a:pt x="561066" y="466455"/>
                  </a:lnTo>
                  <a:lnTo>
                    <a:pt x="561066" y="461893"/>
                  </a:lnTo>
                  <a:lnTo>
                    <a:pt x="552802" y="461893"/>
                  </a:lnTo>
                  <a:lnTo>
                    <a:pt x="552802" y="454005"/>
                  </a:lnTo>
                  <a:lnTo>
                    <a:pt x="512054" y="454005"/>
                  </a:lnTo>
                  <a:lnTo>
                    <a:pt x="512054" y="446782"/>
                  </a:lnTo>
                  <a:lnTo>
                    <a:pt x="507495" y="446782"/>
                  </a:lnTo>
                  <a:lnTo>
                    <a:pt x="507495" y="438989"/>
                  </a:lnTo>
                  <a:lnTo>
                    <a:pt x="501986" y="438989"/>
                  </a:lnTo>
                  <a:lnTo>
                    <a:pt x="501986" y="434902"/>
                  </a:lnTo>
                  <a:lnTo>
                    <a:pt x="500941" y="434902"/>
                  </a:lnTo>
                  <a:lnTo>
                    <a:pt x="500941" y="432146"/>
                  </a:lnTo>
                  <a:lnTo>
                    <a:pt x="497997" y="432146"/>
                  </a:lnTo>
                  <a:lnTo>
                    <a:pt x="497997" y="423782"/>
                  </a:lnTo>
                  <a:lnTo>
                    <a:pt x="482610" y="423782"/>
                  </a:lnTo>
                  <a:lnTo>
                    <a:pt x="482610" y="419600"/>
                  </a:lnTo>
                  <a:lnTo>
                    <a:pt x="477860" y="419600"/>
                  </a:lnTo>
                  <a:lnTo>
                    <a:pt x="477860" y="416559"/>
                  </a:lnTo>
                  <a:lnTo>
                    <a:pt x="476531" y="416559"/>
                  </a:lnTo>
                  <a:lnTo>
                    <a:pt x="476531" y="409241"/>
                  </a:lnTo>
                  <a:lnTo>
                    <a:pt x="467412" y="409241"/>
                  </a:lnTo>
                  <a:lnTo>
                    <a:pt x="467412" y="404014"/>
                  </a:lnTo>
                  <a:lnTo>
                    <a:pt x="465893" y="404014"/>
                  </a:lnTo>
                  <a:lnTo>
                    <a:pt x="465893" y="396696"/>
                  </a:lnTo>
                  <a:lnTo>
                    <a:pt x="464658" y="396696"/>
                  </a:lnTo>
                  <a:lnTo>
                    <a:pt x="464658" y="394700"/>
                  </a:lnTo>
                  <a:lnTo>
                    <a:pt x="461903" y="394700"/>
                  </a:lnTo>
                  <a:lnTo>
                    <a:pt x="461903" y="389663"/>
                  </a:lnTo>
                  <a:lnTo>
                    <a:pt x="460384" y="389663"/>
                  </a:lnTo>
                  <a:lnTo>
                    <a:pt x="460384" y="386146"/>
                  </a:lnTo>
                  <a:lnTo>
                    <a:pt x="458959" y="386146"/>
                  </a:lnTo>
                  <a:lnTo>
                    <a:pt x="458959" y="381489"/>
                  </a:lnTo>
                  <a:lnTo>
                    <a:pt x="457344" y="381489"/>
                  </a:lnTo>
                  <a:lnTo>
                    <a:pt x="457344" y="378733"/>
                  </a:lnTo>
                  <a:lnTo>
                    <a:pt x="455444" y="378733"/>
                  </a:lnTo>
                  <a:lnTo>
                    <a:pt x="455444" y="371510"/>
                  </a:lnTo>
                  <a:lnTo>
                    <a:pt x="454305" y="371510"/>
                  </a:lnTo>
                  <a:lnTo>
                    <a:pt x="454305" y="366663"/>
                  </a:lnTo>
                  <a:lnTo>
                    <a:pt x="453070" y="366663"/>
                  </a:lnTo>
                  <a:lnTo>
                    <a:pt x="453070" y="363147"/>
                  </a:lnTo>
                  <a:lnTo>
                    <a:pt x="449650" y="363147"/>
                  </a:lnTo>
                  <a:lnTo>
                    <a:pt x="449650" y="358395"/>
                  </a:lnTo>
                  <a:lnTo>
                    <a:pt x="442337" y="358395"/>
                  </a:lnTo>
                  <a:lnTo>
                    <a:pt x="442337" y="356399"/>
                  </a:lnTo>
                  <a:lnTo>
                    <a:pt x="436828" y="356399"/>
                  </a:lnTo>
                  <a:lnTo>
                    <a:pt x="436828" y="351552"/>
                  </a:lnTo>
                  <a:lnTo>
                    <a:pt x="433693" y="351552"/>
                  </a:lnTo>
                  <a:lnTo>
                    <a:pt x="433693" y="348511"/>
                  </a:lnTo>
                  <a:lnTo>
                    <a:pt x="431699" y="348511"/>
                  </a:lnTo>
                  <a:lnTo>
                    <a:pt x="431699" y="343759"/>
                  </a:lnTo>
                  <a:lnTo>
                    <a:pt x="428944" y="343759"/>
                  </a:lnTo>
                  <a:lnTo>
                    <a:pt x="428944" y="341003"/>
                  </a:lnTo>
                  <a:lnTo>
                    <a:pt x="427709" y="341003"/>
                  </a:lnTo>
                  <a:lnTo>
                    <a:pt x="427709" y="333114"/>
                  </a:lnTo>
                  <a:lnTo>
                    <a:pt x="422295" y="333114"/>
                  </a:lnTo>
                  <a:lnTo>
                    <a:pt x="422295" y="322090"/>
                  </a:lnTo>
                  <a:lnTo>
                    <a:pt x="418116" y="322090"/>
                  </a:lnTo>
                  <a:lnTo>
                    <a:pt x="418116" y="318383"/>
                  </a:lnTo>
                  <a:lnTo>
                    <a:pt x="416406" y="318383"/>
                  </a:lnTo>
                  <a:lnTo>
                    <a:pt x="416406" y="315057"/>
                  </a:lnTo>
                  <a:lnTo>
                    <a:pt x="413557" y="315057"/>
                  </a:lnTo>
                  <a:lnTo>
                    <a:pt x="413557" y="307454"/>
                  </a:lnTo>
                  <a:lnTo>
                    <a:pt x="411277" y="307454"/>
                  </a:lnTo>
                  <a:lnTo>
                    <a:pt x="411277" y="299660"/>
                  </a:lnTo>
                  <a:lnTo>
                    <a:pt x="396270" y="299660"/>
                  </a:lnTo>
                  <a:lnTo>
                    <a:pt x="396270" y="292342"/>
                  </a:lnTo>
                  <a:lnTo>
                    <a:pt x="389431" y="292342"/>
                  </a:lnTo>
                  <a:lnTo>
                    <a:pt x="389431" y="281508"/>
                  </a:lnTo>
                  <a:lnTo>
                    <a:pt x="379458" y="281508"/>
                  </a:lnTo>
                  <a:lnTo>
                    <a:pt x="379458" y="274285"/>
                  </a:lnTo>
                  <a:lnTo>
                    <a:pt x="376608" y="274285"/>
                  </a:lnTo>
                  <a:lnTo>
                    <a:pt x="376608" y="270958"/>
                  </a:lnTo>
                  <a:lnTo>
                    <a:pt x="368250" y="270958"/>
                  </a:lnTo>
                  <a:lnTo>
                    <a:pt x="368250" y="260599"/>
                  </a:lnTo>
                  <a:lnTo>
                    <a:pt x="350393" y="260599"/>
                  </a:lnTo>
                  <a:lnTo>
                    <a:pt x="350393" y="255847"/>
                  </a:lnTo>
                  <a:lnTo>
                    <a:pt x="346689" y="255847"/>
                  </a:lnTo>
                  <a:lnTo>
                    <a:pt x="346689" y="250145"/>
                  </a:lnTo>
                  <a:lnTo>
                    <a:pt x="327027" y="250145"/>
                  </a:lnTo>
                  <a:lnTo>
                    <a:pt x="327027" y="245488"/>
                  </a:lnTo>
                  <a:lnTo>
                    <a:pt x="323703" y="245488"/>
                  </a:lnTo>
                  <a:lnTo>
                    <a:pt x="323703" y="242256"/>
                  </a:lnTo>
                  <a:lnTo>
                    <a:pt x="310880" y="242256"/>
                  </a:lnTo>
                  <a:lnTo>
                    <a:pt x="310880" y="238835"/>
                  </a:lnTo>
                  <a:lnTo>
                    <a:pt x="303661" y="238835"/>
                  </a:lnTo>
                  <a:lnTo>
                    <a:pt x="303661" y="231422"/>
                  </a:lnTo>
                  <a:lnTo>
                    <a:pt x="292263" y="231422"/>
                  </a:lnTo>
                  <a:lnTo>
                    <a:pt x="292263" y="228380"/>
                  </a:lnTo>
                  <a:lnTo>
                    <a:pt x="291029" y="228380"/>
                  </a:lnTo>
                  <a:lnTo>
                    <a:pt x="291029" y="225624"/>
                  </a:lnTo>
                  <a:lnTo>
                    <a:pt x="284760" y="225624"/>
                  </a:lnTo>
                  <a:lnTo>
                    <a:pt x="284760" y="218306"/>
                  </a:lnTo>
                  <a:lnTo>
                    <a:pt x="281530" y="218306"/>
                  </a:lnTo>
                  <a:lnTo>
                    <a:pt x="281530" y="208897"/>
                  </a:lnTo>
                  <a:lnTo>
                    <a:pt x="265383" y="208897"/>
                  </a:lnTo>
                  <a:lnTo>
                    <a:pt x="265383" y="204335"/>
                  </a:lnTo>
                  <a:lnTo>
                    <a:pt x="260159" y="204335"/>
                  </a:lnTo>
                  <a:lnTo>
                    <a:pt x="260159" y="198918"/>
                  </a:lnTo>
                  <a:lnTo>
                    <a:pt x="255600" y="198918"/>
                  </a:lnTo>
                  <a:lnTo>
                    <a:pt x="255600" y="195972"/>
                  </a:lnTo>
                  <a:lnTo>
                    <a:pt x="253605" y="195972"/>
                  </a:lnTo>
                  <a:lnTo>
                    <a:pt x="253605" y="187894"/>
                  </a:lnTo>
                  <a:lnTo>
                    <a:pt x="249331" y="187894"/>
                  </a:lnTo>
                  <a:lnTo>
                    <a:pt x="249331" y="185327"/>
                  </a:lnTo>
                  <a:lnTo>
                    <a:pt x="241162" y="185327"/>
                  </a:lnTo>
                  <a:lnTo>
                    <a:pt x="241162" y="177344"/>
                  </a:lnTo>
                  <a:lnTo>
                    <a:pt x="238693" y="177344"/>
                  </a:lnTo>
                  <a:lnTo>
                    <a:pt x="238693" y="174778"/>
                  </a:lnTo>
                  <a:lnTo>
                    <a:pt x="233374" y="174778"/>
                  </a:lnTo>
                  <a:lnTo>
                    <a:pt x="233374" y="171452"/>
                  </a:lnTo>
                  <a:lnTo>
                    <a:pt x="231379" y="171452"/>
                  </a:lnTo>
                  <a:lnTo>
                    <a:pt x="231379" y="168030"/>
                  </a:lnTo>
                  <a:lnTo>
                    <a:pt x="222831" y="168030"/>
                  </a:lnTo>
                  <a:lnTo>
                    <a:pt x="222831" y="164514"/>
                  </a:lnTo>
                  <a:lnTo>
                    <a:pt x="220076" y="164514"/>
                  </a:lnTo>
                  <a:lnTo>
                    <a:pt x="220076" y="160617"/>
                  </a:lnTo>
                  <a:lnTo>
                    <a:pt x="217606" y="160617"/>
                  </a:lnTo>
                  <a:lnTo>
                    <a:pt x="217606" y="157481"/>
                  </a:lnTo>
                  <a:lnTo>
                    <a:pt x="215802" y="157481"/>
                  </a:lnTo>
                  <a:lnTo>
                    <a:pt x="215802" y="154154"/>
                  </a:lnTo>
                  <a:lnTo>
                    <a:pt x="203644" y="154154"/>
                  </a:lnTo>
                  <a:lnTo>
                    <a:pt x="203644" y="151303"/>
                  </a:lnTo>
                  <a:lnTo>
                    <a:pt x="195380" y="151303"/>
                  </a:lnTo>
                  <a:lnTo>
                    <a:pt x="195380" y="149402"/>
                  </a:lnTo>
                  <a:lnTo>
                    <a:pt x="193576" y="149402"/>
                  </a:lnTo>
                  <a:lnTo>
                    <a:pt x="193576" y="144365"/>
                  </a:lnTo>
                  <a:lnTo>
                    <a:pt x="191106" y="144365"/>
                  </a:lnTo>
                  <a:lnTo>
                    <a:pt x="191106" y="140754"/>
                  </a:lnTo>
                  <a:lnTo>
                    <a:pt x="176479" y="140754"/>
                  </a:lnTo>
                  <a:lnTo>
                    <a:pt x="176479" y="133056"/>
                  </a:lnTo>
                  <a:lnTo>
                    <a:pt x="173534" y="133056"/>
                  </a:lnTo>
                  <a:lnTo>
                    <a:pt x="173534" y="128684"/>
                  </a:lnTo>
                  <a:lnTo>
                    <a:pt x="161471" y="128684"/>
                  </a:lnTo>
                  <a:lnTo>
                    <a:pt x="161471" y="125357"/>
                  </a:lnTo>
                  <a:lnTo>
                    <a:pt x="157672" y="125357"/>
                  </a:lnTo>
                  <a:lnTo>
                    <a:pt x="157672" y="115568"/>
                  </a:lnTo>
                  <a:lnTo>
                    <a:pt x="153303" y="115568"/>
                  </a:lnTo>
                  <a:lnTo>
                    <a:pt x="153303" y="113097"/>
                  </a:lnTo>
                  <a:lnTo>
                    <a:pt x="151593" y="113097"/>
                  </a:lnTo>
                  <a:lnTo>
                    <a:pt x="151593" y="109106"/>
                  </a:lnTo>
                  <a:lnTo>
                    <a:pt x="134686" y="109106"/>
                  </a:lnTo>
                  <a:lnTo>
                    <a:pt x="134686" y="105969"/>
                  </a:lnTo>
                  <a:lnTo>
                    <a:pt x="130222" y="105969"/>
                  </a:lnTo>
                  <a:lnTo>
                    <a:pt x="130222" y="100172"/>
                  </a:lnTo>
                  <a:lnTo>
                    <a:pt x="119964" y="100172"/>
                  </a:lnTo>
                  <a:lnTo>
                    <a:pt x="119964" y="97036"/>
                  </a:lnTo>
                  <a:lnTo>
                    <a:pt x="109041" y="97036"/>
                  </a:lnTo>
                  <a:lnTo>
                    <a:pt x="109041" y="92379"/>
                  </a:lnTo>
                  <a:lnTo>
                    <a:pt x="99257" y="92379"/>
                  </a:lnTo>
                  <a:lnTo>
                    <a:pt x="99257" y="86961"/>
                  </a:lnTo>
                  <a:lnTo>
                    <a:pt x="93463" y="86961"/>
                  </a:lnTo>
                  <a:lnTo>
                    <a:pt x="93463" y="81069"/>
                  </a:lnTo>
                  <a:lnTo>
                    <a:pt x="91754" y="81069"/>
                  </a:lnTo>
                  <a:lnTo>
                    <a:pt x="91754" y="76127"/>
                  </a:lnTo>
                  <a:lnTo>
                    <a:pt x="88429" y="76127"/>
                  </a:lnTo>
                  <a:lnTo>
                    <a:pt x="88429" y="72040"/>
                  </a:lnTo>
                  <a:lnTo>
                    <a:pt x="87385" y="72040"/>
                  </a:lnTo>
                  <a:lnTo>
                    <a:pt x="87385" y="62726"/>
                  </a:lnTo>
                  <a:lnTo>
                    <a:pt x="86150" y="62726"/>
                  </a:lnTo>
                  <a:lnTo>
                    <a:pt x="86150" y="58259"/>
                  </a:lnTo>
                  <a:lnTo>
                    <a:pt x="67628" y="58259"/>
                  </a:lnTo>
                  <a:lnTo>
                    <a:pt x="67628" y="53697"/>
                  </a:lnTo>
                  <a:lnTo>
                    <a:pt x="66488" y="53697"/>
                  </a:lnTo>
                  <a:lnTo>
                    <a:pt x="66488" y="31458"/>
                  </a:lnTo>
                  <a:lnTo>
                    <a:pt x="50721" y="31458"/>
                  </a:lnTo>
                  <a:lnTo>
                    <a:pt x="50721" y="28227"/>
                  </a:lnTo>
                  <a:lnTo>
                    <a:pt x="47872" y="28227"/>
                  </a:lnTo>
                  <a:lnTo>
                    <a:pt x="47872" y="23000"/>
                  </a:lnTo>
                  <a:lnTo>
                    <a:pt x="44072" y="23000"/>
                  </a:lnTo>
                  <a:lnTo>
                    <a:pt x="44072" y="10264"/>
                  </a:lnTo>
                  <a:lnTo>
                    <a:pt x="22226" y="10264"/>
                  </a:lnTo>
                  <a:lnTo>
                    <a:pt x="22226" y="0"/>
                  </a:lnTo>
                  <a:lnTo>
                    <a:pt x="0" y="0"/>
                  </a:lnTo>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9" name="Freeform 178">
              <a:extLst>
                <a:ext uri="{FF2B5EF4-FFF2-40B4-BE49-F238E27FC236}">
                  <a16:creationId xmlns:a16="http://schemas.microsoft.com/office/drawing/2014/main" id="{5CC9C0CE-4153-A847-9FA6-317781CC1311}"/>
                </a:ext>
              </a:extLst>
            </p:cNvPr>
            <p:cNvSpPr/>
            <p:nvPr/>
          </p:nvSpPr>
          <p:spPr>
            <a:xfrm>
              <a:off x="2056576" y="1365803"/>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7114"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0" name="Freeform 179">
              <a:extLst>
                <a:ext uri="{FF2B5EF4-FFF2-40B4-BE49-F238E27FC236}">
                  <a16:creationId xmlns:a16="http://schemas.microsoft.com/office/drawing/2014/main" id="{16049090-85EF-D046-B177-F55F3E4ABAF4}"/>
                </a:ext>
              </a:extLst>
            </p:cNvPr>
            <p:cNvSpPr/>
            <p:nvPr/>
          </p:nvSpPr>
          <p:spPr>
            <a:xfrm>
              <a:off x="1998622" y="1322980"/>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7114"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1" name="Freeform 180">
              <a:extLst>
                <a:ext uri="{FF2B5EF4-FFF2-40B4-BE49-F238E27FC236}">
                  <a16:creationId xmlns:a16="http://schemas.microsoft.com/office/drawing/2014/main" id="{4F96BC1E-0C81-E942-AB0E-EF6F5405C583}"/>
                </a:ext>
              </a:extLst>
            </p:cNvPr>
            <p:cNvSpPr/>
            <p:nvPr/>
          </p:nvSpPr>
          <p:spPr>
            <a:xfrm>
              <a:off x="1736957" y="113066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7114"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2" name="Freeform 181">
              <a:extLst>
                <a:ext uri="{FF2B5EF4-FFF2-40B4-BE49-F238E27FC236}">
                  <a16:creationId xmlns:a16="http://schemas.microsoft.com/office/drawing/2014/main" id="{79AD411F-DB19-A24B-BA69-3D2CDBFBFE84}"/>
                </a:ext>
              </a:extLst>
            </p:cNvPr>
            <p:cNvSpPr/>
            <p:nvPr/>
          </p:nvSpPr>
          <p:spPr>
            <a:xfrm>
              <a:off x="1728498" y="1123661"/>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7114"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3" name="Freeform 182">
              <a:extLst>
                <a:ext uri="{FF2B5EF4-FFF2-40B4-BE49-F238E27FC236}">
                  <a16:creationId xmlns:a16="http://schemas.microsoft.com/office/drawing/2014/main" id="{B1E3E937-308F-FB4F-8CEB-B2E2926E099D}"/>
                </a:ext>
              </a:extLst>
            </p:cNvPr>
            <p:cNvSpPr/>
            <p:nvPr/>
          </p:nvSpPr>
          <p:spPr>
            <a:xfrm>
              <a:off x="1716062" y="1057481"/>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7114"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4" name="Freeform 183">
              <a:extLst>
                <a:ext uri="{FF2B5EF4-FFF2-40B4-BE49-F238E27FC236}">
                  <a16:creationId xmlns:a16="http://schemas.microsoft.com/office/drawing/2014/main" id="{B6A98E4E-490A-2945-A0FB-4D754579DE9C}"/>
                </a:ext>
              </a:extLst>
            </p:cNvPr>
            <p:cNvSpPr/>
            <p:nvPr/>
          </p:nvSpPr>
          <p:spPr>
            <a:xfrm>
              <a:off x="1696166" y="1056963"/>
              <a:ext cx="61186" cy="63842"/>
            </a:xfrm>
            <a:custGeom>
              <a:avLst/>
              <a:gdLst>
                <a:gd name="connsiteX0" fmla="*/ 23365 w 23365"/>
                <a:gd name="connsiteY0" fmla="*/ 11784 h 23379"/>
                <a:gd name="connsiteX1" fmla="*/ 11777 w 23365"/>
                <a:gd name="connsiteY1" fmla="*/ 0 h 23379"/>
                <a:gd name="connsiteX2" fmla="*/ 0 w 23365"/>
                <a:gd name="connsiteY2" fmla="*/ 11595 h 23379"/>
                <a:gd name="connsiteX3" fmla="*/ 11588 w 23365"/>
                <a:gd name="connsiteY3" fmla="*/ 23379 h 23379"/>
                <a:gd name="connsiteX4" fmla="*/ 11777 w 23365"/>
                <a:gd name="connsiteY4" fmla="*/ 23379 h 23379"/>
                <a:gd name="connsiteX5" fmla="*/ 23365 w 23365"/>
                <a:gd name="connsiteY5" fmla="*/ 11784 h 23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65" h="23379">
                  <a:moveTo>
                    <a:pt x="23365" y="11784"/>
                  </a:moveTo>
                  <a:cubicBezTo>
                    <a:pt x="23418" y="5328"/>
                    <a:pt x="18230" y="53"/>
                    <a:pt x="11777" y="0"/>
                  </a:cubicBezTo>
                  <a:cubicBezTo>
                    <a:pt x="5325" y="-52"/>
                    <a:pt x="53" y="5139"/>
                    <a:pt x="0" y="11595"/>
                  </a:cubicBezTo>
                  <a:cubicBezTo>
                    <a:pt x="-52" y="18051"/>
                    <a:pt x="5136" y="23327"/>
                    <a:pt x="11588" y="23379"/>
                  </a:cubicBezTo>
                  <a:cubicBezTo>
                    <a:pt x="11651" y="23380"/>
                    <a:pt x="11715" y="23380"/>
                    <a:pt x="11777" y="23379"/>
                  </a:cubicBezTo>
                  <a:cubicBezTo>
                    <a:pt x="18155" y="23328"/>
                    <a:pt x="23314" y="18166"/>
                    <a:pt x="23365" y="11784"/>
                  </a:cubicBezTo>
                  <a:close/>
                </a:path>
              </a:pathLst>
            </a:custGeom>
            <a:noFill/>
            <a:ln w="7114"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5" name="Freeform 184">
              <a:extLst>
                <a:ext uri="{FF2B5EF4-FFF2-40B4-BE49-F238E27FC236}">
                  <a16:creationId xmlns:a16="http://schemas.microsoft.com/office/drawing/2014/main" id="{4108A8ED-963C-274B-9015-B0E3565B62C1}"/>
                </a:ext>
              </a:extLst>
            </p:cNvPr>
            <p:cNvSpPr/>
            <p:nvPr/>
          </p:nvSpPr>
          <p:spPr>
            <a:xfrm>
              <a:off x="1647911" y="999605"/>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7114"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6" name="Freeform 185">
              <a:extLst>
                <a:ext uri="{FF2B5EF4-FFF2-40B4-BE49-F238E27FC236}">
                  <a16:creationId xmlns:a16="http://schemas.microsoft.com/office/drawing/2014/main" id="{CE3A493B-6664-C845-8ABD-461232D7F38A}"/>
                </a:ext>
              </a:extLst>
            </p:cNvPr>
            <p:cNvSpPr/>
            <p:nvPr/>
          </p:nvSpPr>
          <p:spPr>
            <a:xfrm>
              <a:off x="6148218" y="312204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7" name="Freeform 186">
              <a:extLst>
                <a:ext uri="{FF2B5EF4-FFF2-40B4-BE49-F238E27FC236}">
                  <a16:creationId xmlns:a16="http://schemas.microsoft.com/office/drawing/2014/main" id="{47BB67E2-072E-F445-9319-F744F88B1E15}"/>
                </a:ext>
              </a:extLst>
            </p:cNvPr>
            <p:cNvSpPr/>
            <p:nvPr/>
          </p:nvSpPr>
          <p:spPr>
            <a:xfrm>
              <a:off x="5901723" y="312204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8" name="Freeform 187">
              <a:extLst>
                <a:ext uri="{FF2B5EF4-FFF2-40B4-BE49-F238E27FC236}">
                  <a16:creationId xmlns:a16="http://schemas.microsoft.com/office/drawing/2014/main" id="{69584145-2629-DE48-9245-CCEC668374C1}"/>
                </a:ext>
              </a:extLst>
            </p:cNvPr>
            <p:cNvSpPr/>
            <p:nvPr/>
          </p:nvSpPr>
          <p:spPr>
            <a:xfrm>
              <a:off x="5879836" y="312204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9" name="Freeform 188">
              <a:extLst>
                <a:ext uri="{FF2B5EF4-FFF2-40B4-BE49-F238E27FC236}">
                  <a16:creationId xmlns:a16="http://schemas.microsoft.com/office/drawing/2014/main" id="{C7018123-49D7-9E48-80EA-34ED8BC668CB}"/>
                </a:ext>
              </a:extLst>
            </p:cNvPr>
            <p:cNvSpPr/>
            <p:nvPr/>
          </p:nvSpPr>
          <p:spPr>
            <a:xfrm>
              <a:off x="5804967" y="299409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0" name="Freeform 189">
              <a:extLst>
                <a:ext uri="{FF2B5EF4-FFF2-40B4-BE49-F238E27FC236}">
                  <a16:creationId xmlns:a16="http://schemas.microsoft.com/office/drawing/2014/main" id="{1B8A078F-3D44-1F4A-B39B-8C9E18498CBF}"/>
                </a:ext>
              </a:extLst>
            </p:cNvPr>
            <p:cNvSpPr/>
            <p:nvPr/>
          </p:nvSpPr>
          <p:spPr>
            <a:xfrm>
              <a:off x="5764424" y="299409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1" name="Freeform 190">
              <a:extLst>
                <a:ext uri="{FF2B5EF4-FFF2-40B4-BE49-F238E27FC236}">
                  <a16:creationId xmlns:a16="http://schemas.microsoft.com/office/drawing/2014/main" id="{F2116878-BC3F-0847-9340-B95C8551C577}"/>
                </a:ext>
              </a:extLst>
            </p:cNvPr>
            <p:cNvSpPr/>
            <p:nvPr/>
          </p:nvSpPr>
          <p:spPr>
            <a:xfrm>
              <a:off x="5741291" y="290170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2" name="Freeform 191">
              <a:extLst>
                <a:ext uri="{FF2B5EF4-FFF2-40B4-BE49-F238E27FC236}">
                  <a16:creationId xmlns:a16="http://schemas.microsoft.com/office/drawing/2014/main" id="{586599B2-FC32-7146-B996-8E41DC7581DC}"/>
                </a:ext>
              </a:extLst>
            </p:cNvPr>
            <p:cNvSpPr/>
            <p:nvPr/>
          </p:nvSpPr>
          <p:spPr>
            <a:xfrm>
              <a:off x="5651996" y="290170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3" name="Freeform 192">
              <a:extLst>
                <a:ext uri="{FF2B5EF4-FFF2-40B4-BE49-F238E27FC236}">
                  <a16:creationId xmlns:a16="http://schemas.microsoft.com/office/drawing/2014/main" id="{0BEEC943-9CF9-514E-A26D-F31CC236D7FA}"/>
                </a:ext>
              </a:extLst>
            </p:cNvPr>
            <p:cNvSpPr/>
            <p:nvPr/>
          </p:nvSpPr>
          <p:spPr>
            <a:xfrm>
              <a:off x="5634335" y="290170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4" name="Freeform 193">
              <a:extLst>
                <a:ext uri="{FF2B5EF4-FFF2-40B4-BE49-F238E27FC236}">
                  <a16:creationId xmlns:a16="http://schemas.microsoft.com/office/drawing/2014/main" id="{2D21F0C1-C20F-3F45-B88A-7C4438AC36E1}"/>
                </a:ext>
              </a:extLst>
            </p:cNvPr>
            <p:cNvSpPr/>
            <p:nvPr/>
          </p:nvSpPr>
          <p:spPr>
            <a:xfrm>
              <a:off x="5627372" y="290170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5" name="Freeform 194">
              <a:extLst>
                <a:ext uri="{FF2B5EF4-FFF2-40B4-BE49-F238E27FC236}">
                  <a16:creationId xmlns:a16="http://schemas.microsoft.com/office/drawing/2014/main" id="{8D39707B-9074-A94B-AAFD-D3A8C2621C6E}"/>
                </a:ext>
              </a:extLst>
            </p:cNvPr>
            <p:cNvSpPr/>
            <p:nvPr/>
          </p:nvSpPr>
          <p:spPr>
            <a:xfrm>
              <a:off x="5609463" y="290170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6" name="Freeform 195">
              <a:extLst>
                <a:ext uri="{FF2B5EF4-FFF2-40B4-BE49-F238E27FC236}">
                  <a16:creationId xmlns:a16="http://schemas.microsoft.com/office/drawing/2014/main" id="{11C1F671-0AE8-844C-81BA-EBB7393CA50C}"/>
                </a:ext>
              </a:extLst>
            </p:cNvPr>
            <p:cNvSpPr/>
            <p:nvPr/>
          </p:nvSpPr>
          <p:spPr>
            <a:xfrm>
              <a:off x="5594290" y="285213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7" name="Freeform 196">
              <a:extLst>
                <a:ext uri="{FF2B5EF4-FFF2-40B4-BE49-F238E27FC236}">
                  <a16:creationId xmlns:a16="http://schemas.microsoft.com/office/drawing/2014/main" id="{48C22FBF-78F2-E745-BA1A-B347170CC783}"/>
                </a:ext>
              </a:extLst>
            </p:cNvPr>
            <p:cNvSpPr/>
            <p:nvPr/>
          </p:nvSpPr>
          <p:spPr>
            <a:xfrm>
              <a:off x="5563945" y="285213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8" name="Freeform 197">
              <a:extLst>
                <a:ext uri="{FF2B5EF4-FFF2-40B4-BE49-F238E27FC236}">
                  <a16:creationId xmlns:a16="http://schemas.microsoft.com/office/drawing/2014/main" id="{09C7A591-F0B3-4241-8918-24460F04EAD4}"/>
                </a:ext>
              </a:extLst>
            </p:cNvPr>
            <p:cNvSpPr/>
            <p:nvPr/>
          </p:nvSpPr>
          <p:spPr>
            <a:xfrm>
              <a:off x="5448783"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9" name="Freeform 198">
              <a:extLst>
                <a:ext uri="{FF2B5EF4-FFF2-40B4-BE49-F238E27FC236}">
                  <a16:creationId xmlns:a16="http://schemas.microsoft.com/office/drawing/2014/main" id="{2F09ED40-BC19-EA46-B6A2-27C70ED4F4B2}"/>
                </a:ext>
              </a:extLst>
            </p:cNvPr>
            <p:cNvSpPr/>
            <p:nvPr/>
          </p:nvSpPr>
          <p:spPr>
            <a:xfrm>
              <a:off x="5416697"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0" name="Freeform 199">
              <a:extLst>
                <a:ext uri="{FF2B5EF4-FFF2-40B4-BE49-F238E27FC236}">
                  <a16:creationId xmlns:a16="http://schemas.microsoft.com/office/drawing/2014/main" id="{C2441636-1F66-F846-9932-8C9ACF4EEE10}"/>
                </a:ext>
              </a:extLst>
            </p:cNvPr>
            <p:cNvSpPr/>
            <p:nvPr/>
          </p:nvSpPr>
          <p:spPr>
            <a:xfrm>
              <a:off x="5388092"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1" name="Freeform 200">
              <a:extLst>
                <a:ext uri="{FF2B5EF4-FFF2-40B4-BE49-F238E27FC236}">
                  <a16:creationId xmlns:a16="http://schemas.microsoft.com/office/drawing/2014/main" id="{3BC91C67-105D-8D47-B061-4385F5AAA6AE}"/>
                </a:ext>
              </a:extLst>
            </p:cNvPr>
            <p:cNvSpPr/>
            <p:nvPr/>
          </p:nvSpPr>
          <p:spPr>
            <a:xfrm>
              <a:off x="5369437"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2" name="Freeform 201">
              <a:extLst>
                <a:ext uri="{FF2B5EF4-FFF2-40B4-BE49-F238E27FC236}">
                  <a16:creationId xmlns:a16="http://schemas.microsoft.com/office/drawing/2014/main" id="{41B69CEE-6A38-1F40-B3ED-282D4523B146}"/>
                </a:ext>
              </a:extLst>
            </p:cNvPr>
            <p:cNvSpPr/>
            <p:nvPr/>
          </p:nvSpPr>
          <p:spPr>
            <a:xfrm>
              <a:off x="5357746"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3" name="Freeform 202">
              <a:extLst>
                <a:ext uri="{FF2B5EF4-FFF2-40B4-BE49-F238E27FC236}">
                  <a16:creationId xmlns:a16="http://schemas.microsoft.com/office/drawing/2014/main" id="{B885426E-41C9-3D4A-9EFA-193B2376C42E}"/>
                </a:ext>
              </a:extLst>
            </p:cNvPr>
            <p:cNvSpPr/>
            <p:nvPr/>
          </p:nvSpPr>
          <p:spPr>
            <a:xfrm>
              <a:off x="5339091"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4" name="Freeform 203">
              <a:extLst>
                <a:ext uri="{FF2B5EF4-FFF2-40B4-BE49-F238E27FC236}">
                  <a16:creationId xmlns:a16="http://schemas.microsoft.com/office/drawing/2014/main" id="{69547D28-176B-2646-AAF9-F576D12A559B}"/>
                </a:ext>
              </a:extLst>
            </p:cNvPr>
            <p:cNvSpPr/>
            <p:nvPr/>
          </p:nvSpPr>
          <p:spPr>
            <a:xfrm>
              <a:off x="5318448"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5" name="Freeform 204">
              <a:extLst>
                <a:ext uri="{FF2B5EF4-FFF2-40B4-BE49-F238E27FC236}">
                  <a16:creationId xmlns:a16="http://schemas.microsoft.com/office/drawing/2014/main" id="{5E2EEA63-509B-4D46-AF86-C399AE79810F}"/>
                </a:ext>
              </a:extLst>
            </p:cNvPr>
            <p:cNvSpPr/>
            <p:nvPr/>
          </p:nvSpPr>
          <p:spPr>
            <a:xfrm>
              <a:off x="5312975"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6" name="Freeform 205">
              <a:extLst>
                <a:ext uri="{FF2B5EF4-FFF2-40B4-BE49-F238E27FC236}">
                  <a16:creationId xmlns:a16="http://schemas.microsoft.com/office/drawing/2014/main" id="{7D3268A6-3CF8-044C-815E-8087C6C645C8}"/>
                </a:ext>
              </a:extLst>
            </p:cNvPr>
            <p:cNvSpPr/>
            <p:nvPr/>
          </p:nvSpPr>
          <p:spPr>
            <a:xfrm>
              <a:off x="5297056"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7" name="Freeform 206">
              <a:extLst>
                <a:ext uri="{FF2B5EF4-FFF2-40B4-BE49-F238E27FC236}">
                  <a16:creationId xmlns:a16="http://schemas.microsoft.com/office/drawing/2014/main" id="{981A174E-E4C1-6B4F-93C3-EE60BA05B918}"/>
                </a:ext>
              </a:extLst>
            </p:cNvPr>
            <p:cNvSpPr/>
            <p:nvPr/>
          </p:nvSpPr>
          <p:spPr>
            <a:xfrm>
              <a:off x="5290093"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8" name="Freeform 207">
              <a:extLst>
                <a:ext uri="{FF2B5EF4-FFF2-40B4-BE49-F238E27FC236}">
                  <a16:creationId xmlns:a16="http://schemas.microsoft.com/office/drawing/2014/main" id="{80DDE0A6-CC39-B343-839E-C826E9F7C3D5}"/>
                </a:ext>
              </a:extLst>
            </p:cNvPr>
            <p:cNvSpPr/>
            <p:nvPr/>
          </p:nvSpPr>
          <p:spPr>
            <a:xfrm>
              <a:off x="5262979" y="2728597"/>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9" name="Freeform 208">
              <a:extLst>
                <a:ext uri="{FF2B5EF4-FFF2-40B4-BE49-F238E27FC236}">
                  <a16:creationId xmlns:a16="http://schemas.microsoft.com/office/drawing/2014/main" id="{42423F2E-D4A6-DB4D-99E5-CE2E8152F63F}"/>
                </a:ext>
              </a:extLst>
            </p:cNvPr>
            <p:cNvSpPr/>
            <p:nvPr/>
          </p:nvSpPr>
          <p:spPr>
            <a:xfrm>
              <a:off x="5232633"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0" name="Freeform 209">
              <a:extLst>
                <a:ext uri="{FF2B5EF4-FFF2-40B4-BE49-F238E27FC236}">
                  <a16:creationId xmlns:a16="http://schemas.microsoft.com/office/drawing/2014/main" id="{A94A1D2C-AE2E-6247-92F7-648B8B7F1FA9}"/>
                </a:ext>
              </a:extLst>
            </p:cNvPr>
            <p:cNvSpPr/>
            <p:nvPr/>
          </p:nvSpPr>
          <p:spPr>
            <a:xfrm>
              <a:off x="5219226" y="2729894"/>
              <a:ext cx="60690" cy="63326"/>
            </a:xfrm>
            <a:custGeom>
              <a:avLst/>
              <a:gdLst>
                <a:gd name="connsiteX0" fmla="*/ 23167 w 23176"/>
                <a:gd name="connsiteY0" fmla="*/ 11120 h 23190"/>
                <a:gd name="connsiteX1" fmla="*/ 11114 w 23176"/>
                <a:gd name="connsiteY1" fmla="*/ 10 h 23190"/>
                <a:gd name="connsiteX2" fmla="*/ 10 w 23176"/>
                <a:gd name="connsiteY2" fmla="*/ 12071 h 23190"/>
                <a:gd name="connsiteX3" fmla="*/ 11579 w 23176"/>
                <a:gd name="connsiteY3" fmla="*/ 23190 h 23190"/>
                <a:gd name="connsiteX4" fmla="*/ 23177 w 23176"/>
                <a:gd name="connsiteY4" fmla="*/ 11605 h 23190"/>
                <a:gd name="connsiteX5" fmla="*/ 23167 w 23176"/>
                <a:gd name="connsiteY5" fmla="*/ 11120 h 23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76" h="23190">
                  <a:moveTo>
                    <a:pt x="23167" y="11120"/>
                  </a:moveTo>
                  <a:cubicBezTo>
                    <a:pt x="22901" y="4722"/>
                    <a:pt x="17506" y="-252"/>
                    <a:pt x="11114" y="10"/>
                  </a:cubicBezTo>
                  <a:cubicBezTo>
                    <a:pt x="4721" y="272"/>
                    <a:pt x="-256" y="5672"/>
                    <a:pt x="10" y="12071"/>
                  </a:cubicBezTo>
                  <a:cubicBezTo>
                    <a:pt x="267" y="18280"/>
                    <a:pt x="5367" y="23185"/>
                    <a:pt x="11579" y="23190"/>
                  </a:cubicBezTo>
                  <a:cubicBezTo>
                    <a:pt x="17981" y="23196"/>
                    <a:pt x="23167" y="18009"/>
                    <a:pt x="23177" y="11605"/>
                  </a:cubicBezTo>
                  <a:cubicBezTo>
                    <a:pt x="23177" y="11443"/>
                    <a:pt x="23177" y="11282"/>
                    <a:pt x="23167" y="11120"/>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1" name="Freeform 210">
              <a:extLst>
                <a:ext uri="{FF2B5EF4-FFF2-40B4-BE49-F238E27FC236}">
                  <a16:creationId xmlns:a16="http://schemas.microsoft.com/office/drawing/2014/main" id="{6F41F4B4-DA8D-AE4C-995C-E8F6A9F21EF3}"/>
                </a:ext>
              </a:extLst>
            </p:cNvPr>
            <p:cNvSpPr/>
            <p:nvPr/>
          </p:nvSpPr>
          <p:spPr>
            <a:xfrm>
              <a:off x="5196817"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2" name="Freeform 211">
              <a:extLst>
                <a:ext uri="{FF2B5EF4-FFF2-40B4-BE49-F238E27FC236}">
                  <a16:creationId xmlns:a16="http://schemas.microsoft.com/office/drawing/2014/main" id="{85B04DC7-6200-CA41-8F03-C4555FDE5B96}"/>
                </a:ext>
              </a:extLst>
            </p:cNvPr>
            <p:cNvSpPr/>
            <p:nvPr/>
          </p:nvSpPr>
          <p:spPr>
            <a:xfrm>
              <a:off x="5168960"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3" name="Freeform 212">
              <a:extLst>
                <a:ext uri="{FF2B5EF4-FFF2-40B4-BE49-F238E27FC236}">
                  <a16:creationId xmlns:a16="http://schemas.microsoft.com/office/drawing/2014/main" id="{3DEC4D41-2BA6-D44C-B169-D95B30694AF6}"/>
                </a:ext>
              </a:extLst>
            </p:cNvPr>
            <p:cNvSpPr/>
            <p:nvPr/>
          </p:nvSpPr>
          <p:spPr>
            <a:xfrm>
              <a:off x="5130405"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4" name="Freeform 213">
              <a:extLst>
                <a:ext uri="{FF2B5EF4-FFF2-40B4-BE49-F238E27FC236}">
                  <a16:creationId xmlns:a16="http://schemas.microsoft.com/office/drawing/2014/main" id="{6E538E50-F153-0A43-9B77-57B7524FC593}"/>
                </a:ext>
              </a:extLst>
            </p:cNvPr>
            <p:cNvSpPr/>
            <p:nvPr/>
          </p:nvSpPr>
          <p:spPr>
            <a:xfrm>
              <a:off x="5093096"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5" name="Freeform 214">
              <a:extLst>
                <a:ext uri="{FF2B5EF4-FFF2-40B4-BE49-F238E27FC236}">
                  <a16:creationId xmlns:a16="http://schemas.microsoft.com/office/drawing/2014/main" id="{3ADF31E0-CAE2-6E47-A6EA-5E73150DB4E3}"/>
                </a:ext>
              </a:extLst>
            </p:cNvPr>
            <p:cNvSpPr/>
            <p:nvPr/>
          </p:nvSpPr>
          <p:spPr>
            <a:xfrm>
              <a:off x="5054789"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6" name="Freeform 215">
              <a:extLst>
                <a:ext uri="{FF2B5EF4-FFF2-40B4-BE49-F238E27FC236}">
                  <a16:creationId xmlns:a16="http://schemas.microsoft.com/office/drawing/2014/main" id="{2D4E2AEF-9D77-6D47-9730-FEA5447C2CDF}"/>
                </a:ext>
              </a:extLst>
            </p:cNvPr>
            <p:cNvSpPr/>
            <p:nvPr/>
          </p:nvSpPr>
          <p:spPr>
            <a:xfrm>
              <a:off x="5044095"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7" name="Freeform 216">
              <a:extLst>
                <a:ext uri="{FF2B5EF4-FFF2-40B4-BE49-F238E27FC236}">
                  <a16:creationId xmlns:a16="http://schemas.microsoft.com/office/drawing/2014/main" id="{57544754-C8C4-CD4B-B71A-DA1C08817F67}"/>
                </a:ext>
              </a:extLst>
            </p:cNvPr>
            <p:cNvSpPr/>
            <p:nvPr/>
          </p:nvSpPr>
          <p:spPr>
            <a:xfrm>
              <a:off x="5026932" y="2687333"/>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8" name="Freeform 217">
              <a:extLst>
                <a:ext uri="{FF2B5EF4-FFF2-40B4-BE49-F238E27FC236}">
                  <a16:creationId xmlns:a16="http://schemas.microsoft.com/office/drawing/2014/main" id="{F437CFD5-C60A-1644-95EB-614039824F1C}"/>
                </a:ext>
              </a:extLst>
            </p:cNvPr>
            <p:cNvSpPr/>
            <p:nvPr/>
          </p:nvSpPr>
          <p:spPr>
            <a:xfrm>
              <a:off x="5018476" y="2687333"/>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9" name="Freeform 218">
              <a:extLst>
                <a:ext uri="{FF2B5EF4-FFF2-40B4-BE49-F238E27FC236}">
                  <a16:creationId xmlns:a16="http://schemas.microsoft.com/office/drawing/2014/main" id="{23A19956-30C2-174B-A700-3B195116FFE3}"/>
                </a:ext>
              </a:extLst>
            </p:cNvPr>
            <p:cNvSpPr/>
            <p:nvPr/>
          </p:nvSpPr>
          <p:spPr>
            <a:xfrm>
              <a:off x="5011262" y="2687333"/>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0" name="Freeform 219">
              <a:extLst>
                <a:ext uri="{FF2B5EF4-FFF2-40B4-BE49-F238E27FC236}">
                  <a16:creationId xmlns:a16="http://schemas.microsoft.com/office/drawing/2014/main" id="{50765174-CCC7-F743-B790-BDECF63BAC72}"/>
                </a:ext>
              </a:extLst>
            </p:cNvPr>
            <p:cNvSpPr/>
            <p:nvPr/>
          </p:nvSpPr>
          <p:spPr>
            <a:xfrm>
              <a:off x="5004049" y="2687333"/>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1" name="Freeform 220">
              <a:extLst>
                <a:ext uri="{FF2B5EF4-FFF2-40B4-BE49-F238E27FC236}">
                  <a16:creationId xmlns:a16="http://schemas.microsoft.com/office/drawing/2014/main" id="{9E529F87-D195-8548-AEB8-B462B1FE1866}"/>
                </a:ext>
              </a:extLst>
            </p:cNvPr>
            <p:cNvSpPr/>
            <p:nvPr/>
          </p:nvSpPr>
          <p:spPr>
            <a:xfrm>
              <a:off x="4980916" y="266942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2" name="Freeform 221">
              <a:extLst>
                <a:ext uri="{FF2B5EF4-FFF2-40B4-BE49-F238E27FC236}">
                  <a16:creationId xmlns:a16="http://schemas.microsoft.com/office/drawing/2014/main" id="{F1595101-694A-BE4E-9763-97C7699FA232}"/>
                </a:ext>
              </a:extLst>
            </p:cNvPr>
            <p:cNvSpPr/>
            <p:nvPr/>
          </p:nvSpPr>
          <p:spPr>
            <a:xfrm>
              <a:off x="4950572" y="266942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3" name="Freeform 222">
              <a:extLst>
                <a:ext uri="{FF2B5EF4-FFF2-40B4-BE49-F238E27FC236}">
                  <a16:creationId xmlns:a16="http://schemas.microsoft.com/office/drawing/2014/main" id="{4E766781-1819-4C4C-8D6D-D9F57EC14454}"/>
                </a:ext>
              </a:extLst>
            </p:cNvPr>
            <p:cNvSpPr/>
            <p:nvPr/>
          </p:nvSpPr>
          <p:spPr>
            <a:xfrm>
              <a:off x="4927440" y="266942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4" name="Freeform 223">
              <a:extLst>
                <a:ext uri="{FF2B5EF4-FFF2-40B4-BE49-F238E27FC236}">
                  <a16:creationId xmlns:a16="http://schemas.microsoft.com/office/drawing/2014/main" id="{39BDAE8C-2196-4F49-B54F-2774066B55AF}"/>
                </a:ext>
              </a:extLst>
            </p:cNvPr>
            <p:cNvSpPr/>
            <p:nvPr/>
          </p:nvSpPr>
          <p:spPr>
            <a:xfrm>
              <a:off x="4920228" y="266942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5" name="Freeform 224">
              <a:extLst>
                <a:ext uri="{FF2B5EF4-FFF2-40B4-BE49-F238E27FC236}">
                  <a16:creationId xmlns:a16="http://schemas.microsoft.com/office/drawing/2014/main" id="{713B8EDF-8515-FA49-BA6A-EB8A2BAFD847}"/>
                </a:ext>
              </a:extLst>
            </p:cNvPr>
            <p:cNvSpPr/>
            <p:nvPr/>
          </p:nvSpPr>
          <p:spPr>
            <a:xfrm>
              <a:off x="4907541" y="265566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6" name="Freeform 225">
              <a:extLst>
                <a:ext uri="{FF2B5EF4-FFF2-40B4-BE49-F238E27FC236}">
                  <a16:creationId xmlns:a16="http://schemas.microsoft.com/office/drawing/2014/main" id="{53DC23E5-2E5A-EA49-9EFE-72ECEBB59CDF}"/>
                </a:ext>
              </a:extLst>
            </p:cNvPr>
            <p:cNvSpPr/>
            <p:nvPr/>
          </p:nvSpPr>
          <p:spPr>
            <a:xfrm>
              <a:off x="4870481" y="265566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7" name="Freeform 226">
              <a:extLst>
                <a:ext uri="{FF2B5EF4-FFF2-40B4-BE49-F238E27FC236}">
                  <a16:creationId xmlns:a16="http://schemas.microsoft.com/office/drawing/2014/main" id="{524175D6-D20A-644D-9A72-7F084E019052}"/>
                </a:ext>
              </a:extLst>
            </p:cNvPr>
            <p:cNvSpPr/>
            <p:nvPr/>
          </p:nvSpPr>
          <p:spPr>
            <a:xfrm>
              <a:off x="4844364" y="265566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8" name="Freeform 227">
              <a:extLst>
                <a:ext uri="{FF2B5EF4-FFF2-40B4-BE49-F238E27FC236}">
                  <a16:creationId xmlns:a16="http://schemas.microsoft.com/office/drawing/2014/main" id="{EAAF37E6-6525-C544-A9A3-EA63EC30904B}"/>
                </a:ext>
              </a:extLst>
            </p:cNvPr>
            <p:cNvSpPr/>
            <p:nvPr/>
          </p:nvSpPr>
          <p:spPr>
            <a:xfrm>
              <a:off x="4835657" y="265566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9" name="Freeform 228">
              <a:extLst>
                <a:ext uri="{FF2B5EF4-FFF2-40B4-BE49-F238E27FC236}">
                  <a16:creationId xmlns:a16="http://schemas.microsoft.com/office/drawing/2014/main" id="{E363EE50-4710-6049-8A85-293E4A522D3E}"/>
                </a:ext>
              </a:extLst>
            </p:cNvPr>
            <p:cNvSpPr/>
            <p:nvPr/>
          </p:nvSpPr>
          <p:spPr>
            <a:xfrm>
              <a:off x="4831929" y="265566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0" name="Freeform 229">
              <a:extLst>
                <a:ext uri="{FF2B5EF4-FFF2-40B4-BE49-F238E27FC236}">
                  <a16:creationId xmlns:a16="http://schemas.microsoft.com/office/drawing/2014/main" id="{95026021-81BF-A744-8A43-E1431D58F4E6}"/>
                </a:ext>
              </a:extLst>
            </p:cNvPr>
            <p:cNvSpPr/>
            <p:nvPr/>
          </p:nvSpPr>
          <p:spPr>
            <a:xfrm>
              <a:off x="4819738" y="265566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1" name="Freeform 230">
              <a:extLst>
                <a:ext uri="{FF2B5EF4-FFF2-40B4-BE49-F238E27FC236}">
                  <a16:creationId xmlns:a16="http://schemas.microsoft.com/office/drawing/2014/main" id="{8EAFCE83-4CDB-3542-A14B-F6E34BD7EF7E}"/>
                </a:ext>
              </a:extLst>
            </p:cNvPr>
            <p:cNvSpPr/>
            <p:nvPr/>
          </p:nvSpPr>
          <p:spPr>
            <a:xfrm>
              <a:off x="4801583" y="265566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2" name="Freeform 231">
              <a:extLst>
                <a:ext uri="{FF2B5EF4-FFF2-40B4-BE49-F238E27FC236}">
                  <a16:creationId xmlns:a16="http://schemas.microsoft.com/office/drawing/2014/main" id="{43A9242A-4913-9746-8648-1CF46637E988}"/>
                </a:ext>
              </a:extLst>
            </p:cNvPr>
            <p:cNvSpPr/>
            <p:nvPr/>
          </p:nvSpPr>
          <p:spPr>
            <a:xfrm>
              <a:off x="4795861" y="265566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3" name="Freeform 232">
              <a:extLst>
                <a:ext uri="{FF2B5EF4-FFF2-40B4-BE49-F238E27FC236}">
                  <a16:creationId xmlns:a16="http://schemas.microsoft.com/office/drawing/2014/main" id="{A2A05BD0-B3AE-C74B-977B-64FAA9D70949}"/>
                </a:ext>
              </a:extLst>
            </p:cNvPr>
            <p:cNvSpPr/>
            <p:nvPr/>
          </p:nvSpPr>
          <p:spPr>
            <a:xfrm>
              <a:off x="4762032" y="2655669"/>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4" name="Freeform 233">
              <a:extLst>
                <a:ext uri="{FF2B5EF4-FFF2-40B4-BE49-F238E27FC236}">
                  <a16:creationId xmlns:a16="http://schemas.microsoft.com/office/drawing/2014/main" id="{3548A3D2-C628-F548-8457-01326AE12BA1}"/>
                </a:ext>
              </a:extLst>
            </p:cNvPr>
            <p:cNvSpPr/>
            <p:nvPr/>
          </p:nvSpPr>
          <p:spPr>
            <a:xfrm>
              <a:off x="4735171" y="264217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5" name="Freeform 234">
              <a:extLst>
                <a:ext uri="{FF2B5EF4-FFF2-40B4-BE49-F238E27FC236}">
                  <a16:creationId xmlns:a16="http://schemas.microsoft.com/office/drawing/2014/main" id="{A314C03D-8F04-8C47-B822-CEE2E1D62550}"/>
                </a:ext>
              </a:extLst>
            </p:cNvPr>
            <p:cNvSpPr/>
            <p:nvPr/>
          </p:nvSpPr>
          <p:spPr>
            <a:xfrm>
              <a:off x="4720495" y="264217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6" name="Freeform 235">
              <a:extLst>
                <a:ext uri="{FF2B5EF4-FFF2-40B4-BE49-F238E27FC236}">
                  <a16:creationId xmlns:a16="http://schemas.microsoft.com/office/drawing/2014/main" id="{783B8094-B30F-BF47-AA5E-6B17DEFF746F}"/>
                </a:ext>
              </a:extLst>
            </p:cNvPr>
            <p:cNvSpPr/>
            <p:nvPr/>
          </p:nvSpPr>
          <p:spPr>
            <a:xfrm>
              <a:off x="4602099" y="2618037"/>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7" name="Freeform 236">
              <a:extLst>
                <a:ext uri="{FF2B5EF4-FFF2-40B4-BE49-F238E27FC236}">
                  <a16:creationId xmlns:a16="http://schemas.microsoft.com/office/drawing/2014/main" id="{EC92B735-65B9-D845-BD9B-ECA2E3C38810}"/>
                </a:ext>
              </a:extLst>
            </p:cNvPr>
            <p:cNvSpPr/>
            <p:nvPr/>
          </p:nvSpPr>
          <p:spPr>
            <a:xfrm>
              <a:off x="4562053" y="2618037"/>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8" name="Freeform 237">
              <a:extLst>
                <a:ext uri="{FF2B5EF4-FFF2-40B4-BE49-F238E27FC236}">
                  <a16:creationId xmlns:a16="http://schemas.microsoft.com/office/drawing/2014/main" id="{5413A413-60C5-6A4D-A484-A0269EC9E58B}"/>
                </a:ext>
              </a:extLst>
            </p:cNvPr>
            <p:cNvSpPr/>
            <p:nvPr/>
          </p:nvSpPr>
          <p:spPr>
            <a:xfrm>
              <a:off x="4420275" y="2567171"/>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9" name="Freeform 238">
              <a:extLst>
                <a:ext uri="{FF2B5EF4-FFF2-40B4-BE49-F238E27FC236}">
                  <a16:creationId xmlns:a16="http://schemas.microsoft.com/office/drawing/2014/main" id="{F10F130F-F721-2846-961C-9A5C630501D1}"/>
                </a:ext>
              </a:extLst>
            </p:cNvPr>
            <p:cNvSpPr/>
            <p:nvPr/>
          </p:nvSpPr>
          <p:spPr>
            <a:xfrm>
              <a:off x="4399134" y="2556011"/>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90" y="0"/>
                    <a:pt x="11588" y="0"/>
                  </a:cubicBezTo>
                  <a:cubicBezTo>
                    <a:pt x="5186" y="0"/>
                    <a:pt x="0" y="5191"/>
                    <a:pt x="0" y="11595"/>
                  </a:cubicBezTo>
                  <a:cubicBezTo>
                    <a:pt x="0" y="17999"/>
                    <a:pt x="5186" y="23190"/>
                    <a:pt x="11588" y="23190"/>
                  </a:cubicBezTo>
                  <a:cubicBezTo>
                    <a:pt x="17990"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0" name="Freeform 239">
              <a:extLst>
                <a:ext uri="{FF2B5EF4-FFF2-40B4-BE49-F238E27FC236}">
                  <a16:creationId xmlns:a16="http://schemas.microsoft.com/office/drawing/2014/main" id="{AEF6F335-9424-904A-8335-DF11BBBF9B03}"/>
                </a:ext>
              </a:extLst>
            </p:cNvPr>
            <p:cNvSpPr/>
            <p:nvPr/>
          </p:nvSpPr>
          <p:spPr>
            <a:xfrm>
              <a:off x="4257107" y="252979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1" name="Freeform 240">
              <a:extLst>
                <a:ext uri="{FF2B5EF4-FFF2-40B4-BE49-F238E27FC236}">
                  <a16:creationId xmlns:a16="http://schemas.microsoft.com/office/drawing/2014/main" id="{DAF9902B-80E3-A54B-912C-31B3AC4AE772}"/>
                </a:ext>
              </a:extLst>
            </p:cNvPr>
            <p:cNvSpPr/>
            <p:nvPr/>
          </p:nvSpPr>
          <p:spPr>
            <a:xfrm>
              <a:off x="4250392" y="252979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2" name="Freeform 241">
              <a:extLst>
                <a:ext uri="{FF2B5EF4-FFF2-40B4-BE49-F238E27FC236}">
                  <a16:creationId xmlns:a16="http://schemas.microsoft.com/office/drawing/2014/main" id="{FE6FBEE5-A172-C44E-AA2C-99288459368F}"/>
                </a:ext>
              </a:extLst>
            </p:cNvPr>
            <p:cNvSpPr/>
            <p:nvPr/>
          </p:nvSpPr>
          <p:spPr>
            <a:xfrm>
              <a:off x="4232980" y="251837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3" name="Freeform 242">
              <a:extLst>
                <a:ext uri="{FF2B5EF4-FFF2-40B4-BE49-F238E27FC236}">
                  <a16:creationId xmlns:a16="http://schemas.microsoft.com/office/drawing/2014/main" id="{627C2088-4482-9049-933D-DDDC26DA2F94}"/>
                </a:ext>
              </a:extLst>
            </p:cNvPr>
            <p:cNvSpPr/>
            <p:nvPr/>
          </p:nvSpPr>
          <p:spPr>
            <a:xfrm>
              <a:off x="4206615" y="251837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4" name="Freeform 243">
              <a:extLst>
                <a:ext uri="{FF2B5EF4-FFF2-40B4-BE49-F238E27FC236}">
                  <a16:creationId xmlns:a16="http://schemas.microsoft.com/office/drawing/2014/main" id="{8D3DE40A-A2EA-F743-A5BF-C553B3042D01}"/>
                </a:ext>
              </a:extLst>
            </p:cNvPr>
            <p:cNvSpPr/>
            <p:nvPr/>
          </p:nvSpPr>
          <p:spPr>
            <a:xfrm>
              <a:off x="4115579" y="2504623"/>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5" name="Freeform 244">
              <a:extLst>
                <a:ext uri="{FF2B5EF4-FFF2-40B4-BE49-F238E27FC236}">
                  <a16:creationId xmlns:a16="http://schemas.microsoft.com/office/drawing/2014/main" id="{3EF24870-E058-DD4A-9521-AC2C876B8641}"/>
                </a:ext>
              </a:extLst>
            </p:cNvPr>
            <p:cNvSpPr/>
            <p:nvPr/>
          </p:nvSpPr>
          <p:spPr>
            <a:xfrm>
              <a:off x="3999173" y="2480485"/>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6" name="Freeform 245">
              <a:extLst>
                <a:ext uri="{FF2B5EF4-FFF2-40B4-BE49-F238E27FC236}">
                  <a16:creationId xmlns:a16="http://schemas.microsoft.com/office/drawing/2014/main" id="{623569B3-C1B3-7D45-86BA-A0F7F8514980}"/>
                </a:ext>
              </a:extLst>
            </p:cNvPr>
            <p:cNvSpPr/>
            <p:nvPr/>
          </p:nvSpPr>
          <p:spPr>
            <a:xfrm>
              <a:off x="3819838" y="2461281"/>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7" name="Freeform 246">
              <a:extLst>
                <a:ext uri="{FF2B5EF4-FFF2-40B4-BE49-F238E27FC236}">
                  <a16:creationId xmlns:a16="http://schemas.microsoft.com/office/drawing/2014/main" id="{61966049-9FFE-6146-882C-E3F960935213}"/>
                </a:ext>
              </a:extLst>
            </p:cNvPr>
            <p:cNvSpPr/>
            <p:nvPr/>
          </p:nvSpPr>
          <p:spPr>
            <a:xfrm>
              <a:off x="3702436" y="242676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8" name="Freeform 247">
              <a:extLst>
                <a:ext uri="{FF2B5EF4-FFF2-40B4-BE49-F238E27FC236}">
                  <a16:creationId xmlns:a16="http://schemas.microsoft.com/office/drawing/2014/main" id="{4DAEFDDC-4EC8-2547-AF92-24AF605479E4}"/>
                </a:ext>
              </a:extLst>
            </p:cNvPr>
            <p:cNvSpPr/>
            <p:nvPr/>
          </p:nvSpPr>
          <p:spPr>
            <a:xfrm>
              <a:off x="3645726" y="242676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9" name="Freeform 248">
              <a:extLst>
                <a:ext uri="{FF2B5EF4-FFF2-40B4-BE49-F238E27FC236}">
                  <a16:creationId xmlns:a16="http://schemas.microsoft.com/office/drawing/2014/main" id="{5746199F-064A-A343-8A43-D8A24CCF27D7}"/>
                </a:ext>
              </a:extLst>
            </p:cNvPr>
            <p:cNvSpPr/>
            <p:nvPr/>
          </p:nvSpPr>
          <p:spPr>
            <a:xfrm>
              <a:off x="3596476" y="242676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0" name="Freeform 249">
              <a:extLst>
                <a:ext uri="{FF2B5EF4-FFF2-40B4-BE49-F238E27FC236}">
                  <a16:creationId xmlns:a16="http://schemas.microsoft.com/office/drawing/2014/main" id="{72CEE5E9-6B3F-8044-AA99-5EC6A1690CD4}"/>
                </a:ext>
              </a:extLst>
            </p:cNvPr>
            <p:cNvSpPr/>
            <p:nvPr/>
          </p:nvSpPr>
          <p:spPr>
            <a:xfrm>
              <a:off x="3615380" y="242676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1" name="Freeform 250">
              <a:extLst>
                <a:ext uri="{FF2B5EF4-FFF2-40B4-BE49-F238E27FC236}">
                  <a16:creationId xmlns:a16="http://schemas.microsoft.com/office/drawing/2014/main" id="{C90F9E2E-D12C-324B-A785-A2B1C20EEB74}"/>
                </a:ext>
              </a:extLst>
            </p:cNvPr>
            <p:cNvSpPr/>
            <p:nvPr/>
          </p:nvSpPr>
          <p:spPr>
            <a:xfrm>
              <a:off x="3587771" y="2395101"/>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2" name="Freeform 251">
              <a:extLst>
                <a:ext uri="{FF2B5EF4-FFF2-40B4-BE49-F238E27FC236}">
                  <a16:creationId xmlns:a16="http://schemas.microsoft.com/office/drawing/2014/main" id="{DA4259DE-7607-674D-9F5F-85AA11C05147}"/>
                </a:ext>
              </a:extLst>
            </p:cNvPr>
            <p:cNvSpPr/>
            <p:nvPr/>
          </p:nvSpPr>
          <p:spPr>
            <a:xfrm>
              <a:off x="3460419" y="238082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3" name="Freeform 252">
              <a:extLst>
                <a:ext uri="{FF2B5EF4-FFF2-40B4-BE49-F238E27FC236}">
                  <a16:creationId xmlns:a16="http://schemas.microsoft.com/office/drawing/2014/main" id="{F8FBF0D9-533D-F24A-A778-FC35C1879E03}"/>
                </a:ext>
              </a:extLst>
            </p:cNvPr>
            <p:cNvSpPr/>
            <p:nvPr/>
          </p:nvSpPr>
          <p:spPr>
            <a:xfrm>
              <a:off x="5074441" y="27285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4" name="Freeform 253">
              <a:extLst>
                <a:ext uri="{FF2B5EF4-FFF2-40B4-BE49-F238E27FC236}">
                  <a16:creationId xmlns:a16="http://schemas.microsoft.com/office/drawing/2014/main" id="{2A43D143-084A-FB4A-96F2-BEBC4A52EAC1}"/>
                </a:ext>
              </a:extLst>
            </p:cNvPr>
            <p:cNvSpPr/>
            <p:nvPr/>
          </p:nvSpPr>
          <p:spPr>
            <a:xfrm>
              <a:off x="3037576" y="226533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5" name="Freeform 254">
              <a:extLst>
                <a:ext uri="{FF2B5EF4-FFF2-40B4-BE49-F238E27FC236}">
                  <a16:creationId xmlns:a16="http://schemas.microsoft.com/office/drawing/2014/main" id="{4711FD51-E9B3-4E4A-BD17-F92ACBFFFA51}"/>
                </a:ext>
              </a:extLst>
            </p:cNvPr>
            <p:cNvSpPr/>
            <p:nvPr/>
          </p:nvSpPr>
          <p:spPr>
            <a:xfrm>
              <a:off x="2905002" y="2211352"/>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6" name="Freeform 255">
              <a:extLst>
                <a:ext uri="{FF2B5EF4-FFF2-40B4-BE49-F238E27FC236}">
                  <a16:creationId xmlns:a16="http://schemas.microsoft.com/office/drawing/2014/main" id="{270D7111-3F91-7A4A-963E-224856E3D4FA}"/>
                </a:ext>
              </a:extLst>
            </p:cNvPr>
            <p:cNvSpPr/>
            <p:nvPr/>
          </p:nvSpPr>
          <p:spPr>
            <a:xfrm>
              <a:off x="2881868" y="219162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7" name="Freeform 256">
              <a:extLst>
                <a:ext uri="{FF2B5EF4-FFF2-40B4-BE49-F238E27FC236}">
                  <a16:creationId xmlns:a16="http://schemas.microsoft.com/office/drawing/2014/main" id="{D14D9410-020D-B04C-9631-ED1F95DAD0E6}"/>
                </a:ext>
              </a:extLst>
            </p:cNvPr>
            <p:cNvSpPr/>
            <p:nvPr/>
          </p:nvSpPr>
          <p:spPr>
            <a:xfrm>
              <a:off x="2769691" y="205485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8" name="Freeform 257">
              <a:extLst>
                <a:ext uri="{FF2B5EF4-FFF2-40B4-BE49-F238E27FC236}">
                  <a16:creationId xmlns:a16="http://schemas.microsoft.com/office/drawing/2014/main" id="{46BFBE15-2AC3-B74E-80FE-737B4A59F490}"/>
                </a:ext>
              </a:extLst>
            </p:cNvPr>
            <p:cNvSpPr/>
            <p:nvPr/>
          </p:nvSpPr>
          <p:spPr>
            <a:xfrm>
              <a:off x="2696813" y="194481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9" name="Freeform 258">
              <a:extLst>
                <a:ext uri="{FF2B5EF4-FFF2-40B4-BE49-F238E27FC236}">
                  <a16:creationId xmlns:a16="http://schemas.microsoft.com/office/drawing/2014/main" id="{7692C9A8-5D73-0145-A59C-D610910AEFC5}"/>
                </a:ext>
              </a:extLst>
            </p:cNvPr>
            <p:cNvSpPr/>
            <p:nvPr/>
          </p:nvSpPr>
          <p:spPr>
            <a:xfrm>
              <a:off x="2679650" y="1923274"/>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0" name="Freeform 259">
              <a:extLst>
                <a:ext uri="{FF2B5EF4-FFF2-40B4-BE49-F238E27FC236}">
                  <a16:creationId xmlns:a16="http://schemas.microsoft.com/office/drawing/2014/main" id="{8DF82F56-B873-D14A-ADBF-7D4796F023A4}"/>
                </a:ext>
              </a:extLst>
            </p:cNvPr>
            <p:cNvSpPr/>
            <p:nvPr/>
          </p:nvSpPr>
          <p:spPr>
            <a:xfrm>
              <a:off x="2666468" y="1881232"/>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1" name="Freeform 260">
              <a:extLst>
                <a:ext uri="{FF2B5EF4-FFF2-40B4-BE49-F238E27FC236}">
                  <a16:creationId xmlns:a16="http://schemas.microsoft.com/office/drawing/2014/main" id="{47BD01E8-2B41-794F-AF26-ECE9B77D3C61}"/>
                </a:ext>
              </a:extLst>
            </p:cNvPr>
            <p:cNvSpPr/>
            <p:nvPr/>
          </p:nvSpPr>
          <p:spPr>
            <a:xfrm>
              <a:off x="2653285" y="1851125"/>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2" name="Freeform 261">
              <a:extLst>
                <a:ext uri="{FF2B5EF4-FFF2-40B4-BE49-F238E27FC236}">
                  <a16:creationId xmlns:a16="http://schemas.microsoft.com/office/drawing/2014/main" id="{CBB12C07-1CCD-7A4F-B9BB-65287F40C90B}"/>
                </a:ext>
              </a:extLst>
            </p:cNvPr>
            <p:cNvSpPr/>
            <p:nvPr/>
          </p:nvSpPr>
          <p:spPr>
            <a:xfrm>
              <a:off x="2643334" y="1841002"/>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3" name="Freeform 262">
              <a:extLst>
                <a:ext uri="{FF2B5EF4-FFF2-40B4-BE49-F238E27FC236}">
                  <a16:creationId xmlns:a16="http://schemas.microsoft.com/office/drawing/2014/main" id="{1E116FFA-D910-E74D-8461-28B1BB1133C7}"/>
                </a:ext>
              </a:extLst>
            </p:cNvPr>
            <p:cNvSpPr/>
            <p:nvPr/>
          </p:nvSpPr>
          <p:spPr>
            <a:xfrm>
              <a:off x="2629903" y="181115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4" name="Freeform 263">
              <a:extLst>
                <a:ext uri="{FF2B5EF4-FFF2-40B4-BE49-F238E27FC236}">
                  <a16:creationId xmlns:a16="http://schemas.microsoft.com/office/drawing/2014/main" id="{D4133A6F-F8D1-6947-A2E0-4D7A73E7AC88}"/>
                </a:ext>
              </a:extLst>
            </p:cNvPr>
            <p:cNvSpPr/>
            <p:nvPr/>
          </p:nvSpPr>
          <p:spPr>
            <a:xfrm>
              <a:off x="2554039" y="174030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5" name="Freeform 264">
              <a:extLst>
                <a:ext uri="{FF2B5EF4-FFF2-40B4-BE49-F238E27FC236}">
                  <a16:creationId xmlns:a16="http://schemas.microsoft.com/office/drawing/2014/main" id="{408DB3AE-A973-F746-9D19-9317D83E95B3}"/>
                </a:ext>
              </a:extLst>
            </p:cNvPr>
            <p:cNvSpPr/>
            <p:nvPr/>
          </p:nvSpPr>
          <p:spPr>
            <a:xfrm>
              <a:off x="2528171" y="171149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6" name="Freeform 265">
              <a:extLst>
                <a:ext uri="{FF2B5EF4-FFF2-40B4-BE49-F238E27FC236}">
                  <a16:creationId xmlns:a16="http://schemas.microsoft.com/office/drawing/2014/main" id="{1D2E1379-133B-6D4E-AB14-067E01C97D39}"/>
                </a:ext>
              </a:extLst>
            </p:cNvPr>
            <p:cNvSpPr/>
            <p:nvPr/>
          </p:nvSpPr>
          <p:spPr>
            <a:xfrm>
              <a:off x="2484147" y="168320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7" name="Freeform 266">
              <a:extLst>
                <a:ext uri="{FF2B5EF4-FFF2-40B4-BE49-F238E27FC236}">
                  <a16:creationId xmlns:a16="http://schemas.microsoft.com/office/drawing/2014/main" id="{461EF1D8-1991-D745-9383-333B0FDAA29E}"/>
                </a:ext>
              </a:extLst>
            </p:cNvPr>
            <p:cNvSpPr/>
            <p:nvPr/>
          </p:nvSpPr>
          <p:spPr>
            <a:xfrm>
              <a:off x="2472954" y="168320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8" name="Freeform 267">
              <a:extLst>
                <a:ext uri="{FF2B5EF4-FFF2-40B4-BE49-F238E27FC236}">
                  <a16:creationId xmlns:a16="http://schemas.microsoft.com/office/drawing/2014/main" id="{1947DDC7-7003-9046-9C18-5220606E4E80}"/>
                </a:ext>
              </a:extLst>
            </p:cNvPr>
            <p:cNvSpPr/>
            <p:nvPr/>
          </p:nvSpPr>
          <p:spPr>
            <a:xfrm>
              <a:off x="2465490" y="1670231"/>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9" name="Freeform 268">
              <a:extLst>
                <a:ext uri="{FF2B5EF4-FFF2-40B4-BE49-F238E27FC236}">
                  <a16:creationId xmlns:a16="http://schemas.microsoft.com/office/drawing/2014/main" id="{89C2C962-4B13-324C-9CB2-9824AFE6233F}"/>
                </a:ext>
              </a:extLst>
            </p:cNvPr>
            <p:cNvSpPr/>
            <p:nvPr/>
          </p:nvSpPr>
          <p:spPr>
            <a:xfrm>
              <a:off x="2460767" y="1670231"/>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0" name="Freeform 269">
              <a:extLst>
                <a:ext uri="{FF2B5EF4-FFF2-40B4-BE49-F238E27FC236}">
                  <a16:creationId xmlns:a16="http://schemas.microsoft.com/office/drawing/2014/main" id="{71ECD00C-B939-EE44-9079-BD8CF7914A31}"/>
                </a:ext>
              </a:extLst>
            </p:cNvPr>
            <p:cNvSpPr/>
            <p:nvPr/>
          </p:nvSpPr>
          <p:spPr>
            <a:xfrm>
              <a:off x="2417736" y="1654660"/>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1" name="Freeform 270">
              <a:extLst>
                <a:ext uri="{FF2B5EF4-FFF2-40B4-BE49-F238E27FC236}">
                  <a16:creationId xmlns:a16="http://schemas.microsoft.com/office/drawing/2014/main" id="{CDCF4686-81F5-D241-8D52-43D4D87576D4}"/>
                </a:ext>
              </a:extLst>
            </p:cNvPr>
            <p:cNvSpPr/>
            <p:nvPr/>
          </p:nvSpPr>
          <p:spPr>
            <a:xfrm>
              <a:off x="2387391" y="1633120"/>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2" name="Freeform 271">
              <a:extLst>
                <a:ext uri="{FF2B5EF4-FFF2-40B4-BE49-F238E27FC236}">
                  <a16:creationId xmlns:a16="http://schemas.microsoft.com/office/drawing/2014/main" id="{057744C0-7B0D-4845-8A46-E10AED83B7F7}"/>
                </a:ext>
              </a:extLst>
            </p:cNvPr>
            <p:cNvSpPr/>
            <p:nvPr/>
          </p:nvSpPr>
          <p:spPr>
            <a:xfrm>
              <a:off x="2361272" y="162299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3" name="Freeform 272">
              <a:extLst>
                <a:ext uri="{FF2B5EF4-FFF2-40B4-BE49-F238E27FC236}">
                  <a16:creationId xmlns:a16="http://schemas.microsoft.com/office/drawing/2014/main" id="{68C9CA1E-31D6-DA47-AC98-70C11B39E324}"/>
                </a:ext>
              </a:extLst>
            </p:cNvPr>
            <p:cNvSpPr/>
            <p:nvPr/>
          </p:nvSpPr>
          <p:spPr>
            <a:xfrm>
              <a:off x="2357045" y="162299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4" name="Freeform 273">
              <a:extLst>
                <a:ext uri="{FF2B5EF4-FFF2-40B4-BE49-F238E27FC236}">
                  <a16:creationId xmlns:a16="http://schemas.microsoft.com/office/drawing/2014/main" id="{1722A0D5-8317-924A-93EB-F94C2EB7677F}"/>
                </a:ext>
              </a:extLst>
            </p:cNvPr>
            <p:cNvSpPr/>
            <p:nvPr/>
          </p:nvSpPr>
          <p:spPr>
            <a:xfrm>
              <a:off x="2348089" y="1603533"/>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5" name="Freeform 274">
              <a:extLst>
                <a:ext uri="{FF2B5EF4-FFF2-40B4-BE49-F238E27FC236}">
                  <a16:creationId xmlns:a16="http://schemas.microsoft.com/office/drawing/2014/main" id="{B45B5A44-F2F4-ED4D-8016-52964B350D7A}"/>
                </a:ext>
              </a:extLst>
            </p:cNvPr>
            <p:cNvSpPr/>
            <p:nvPr/>
          </p:nvSpPr>
          <p:spPr>
            <a:xfrm>
              <a:off x="2190643" y="1477660"/>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6" name="Freeform 275">
              <a:extLst>
                <a:ext uri="{FF2B5EF4-FFF2-40B4-BE49-F238E27FC236}">
                  <a16:creationId xmlns:a16="http://schemas.microsoft.com/office/drawing/2014/main" id="{3F3925D6-B3AB-E04C-8546-CFBFA992BBEE}"/>
                </a:ext>
              </a:extLst>
            </p:cNvPr>
            <p:cNvSpPr/>
            <p:nvPr/>
          </p:nvSpPr>
          <p:spPr>
            <a:xfrm>
              <a:off x="2184423" y="145585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7" name="Freeform 276">
              <a:extLst>
                <a:ext uri="{FF2B5EF4-FFF2-40B4-BE49-F238E27FC236}">
                  <a16:creationId xmlns:a16="http://schemas.microsoft.com/office/drawing/2014/main" id="{AF4027F7-174C-AE4F-BF40-04FE285B0E08}"/>
                </a:ext>
              </a:extLst>
            </p:cNvPr>
            <p:cNvSpPr/>
            <p:nvPr/>
          </p:nvSpPr>
          <p:spPr>
            <a:xfrm>
              <a:off x="2164030" y="1439769"/>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8" name="Freeform 277">
              <a:extLst>
                <a:ext uri="{FF2B5EF4-FFF2-40B4-BE49-F238E27FC236}">
                  <a16:creationId xmlns:a16="http://schemas.microsoft.com/office/drawing/2014/main" id="{C76EC04C-7048-0142-8317-E1E6AE6C18FC}"/>
                </a:ext>
              </a:extLst>
            </p:cNvPr>
            <p:cNvSpPr/>
            <p:nvPr/>
          </p:nvSpPr>
          <p:spPr>
            <a:xfrm>
              <a:off x="2147612" y="143042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9" name="Freeform 278">
              <a:extLst>
                <a:ext uri="{FF2B5EF4-FFF2-40B4-BE49-F238E27FC236}">
                  <a16:creationId xmlns:a16="http://schemas.microsoft.com/office/drawing/2014/main" id="{B285D909-B694-FB4F-9705-12690CBB9CD6}"/>
                </a:ext>
              </a:extLst>
            </p:cNvPr>
            <p:cNvSpPr/>
            <p:nvPr/>
          </p:nvSpPr>
          <p:spPr>
            <a:xfrm>
              <a:off x="2098860" y="1392535"/>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0" name="Freeform 279">
              <a:extLst>
                <a:ext uri="{FF2B5EF4-FFF2-40B4-BE49-F238E27FC236}">
                  <a16:creationId xmlns:a16="http://schemas.microsoft.com/office/drawing/2014/main" id="{B57B6542-031A-C943-9C58-18362A13DCF0}"/>
                </a:ext>
              </a:extLst>
            </p:cNvPr>
            <p:cNvSpPr/>
            <p:nvPr/>
          </p:nvSpPr>
          <p:spPr>
            <a:xfrm>
              <a:off x="2068515" y="1384750"/>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1" name="Freeform 280">
              <a:extLst>
                <a:ext uri="{FF2B5EF4-FFF2-40B4-BE49-F238E27FC236}">
                  <a16:creationId xmlns:a16="http://schemas.microsoft.com/office/drawing/2014/main" id="{B768FA46-28D0-9F43-82D0-4C58CF93D4C5}"/>
                </a:ext>
              </a:extLst>
            </p:cNvPr>
            <p:cNvSpPr/>
            <p:nvPr/>
          </p:nvSpPr>
          <p:spPr>
            <a:xfrm>
              <a:off x="2064537" y="137955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8"/>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2" name="Freeform 281">
              <a:extLst>
                <a:ext uri="{FF2B5EF4-FFF2-40B4-BE49-F238E27FC236}">
                  <a16:creationId xmlns:a16="http://schemas.microsoft.com/office/drawing/2014/main" id="{3E10239D-D64F-434B-9007-82ABA81A8266}"/>
                </a:ext>
              </a:extLst>
            </p:cNvPr>
            <p:cNvSpPr/>
            <p:nvPr/>
          </p:nvSpPr>
          <p:spPr>
            <a:xfrm>
              <a:off x="1976981" y="1322980"/>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3" name="Freeform 282">
              <a:extLst>
                <a:ext uri="{FF2B5EF4-FFF2-40B4-BE49-F238E27FC236}">
                  <a16:creationId xmlns:a16="http://schemas.microsoft.com/office/drawing/2014/main" id="{97451419-2986-AF4E-9BE9-FD164F2BEF5B}"/>
                </a:ext>
              </a:extLst>
            </p:cNvPr>
            <p:cNvSpPr/>
            <p:nvPr/>
          </p:nvSpPr>
          <p:spPr>
            <a:xfrm>
              <a:off x="1965789" y="13138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4" name="Freeform 283">
              <a:extLst>
                <a:ext uri="{FF2B5EF4-FFF2-40B4-BE49-F238E27FC236}">
                  <a16:creationId xmlns:a16="http://schemas.microsoft.com/office/drawing/2014/main" id="{902DC329-53CD-F44B-A2C9-1E690DB11293}"/>
                </a:ext>
              </a:extLst>
            </p:cNvPr>
            <p:cNvSpPr/>
            <p:nvPr/>
          </p:nvSpPr>
          <p:spPr>
            <a:xfrm>
              <a:off x="1960070" y="128716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5" name="Freeform 284">
              <a:extLst>
                <a:ext uri="{FF2B5EF4-FFF2-40B4-BE49-F238E27FC236}">
                  <a16:creationId xmlns:a16="http://schemas.microsoft.com/office/drawing/2014/main" id="{95167ED5-8E97-8C49-9F9E-C0FAA833AA9D}"/>
                </a:ext>
              </a:extLst>
            </p:cNvPr>
            <p:cNvSpPr/>
            <p:nvPr/>
          </p:nvSpPr>
          <p:spPr>
            <a:xfrm>
              <a:off x="1952108" y="128041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6" name="Freeform 285">
              <a:extLst>
                <a:ext uri="{FF2B5EF4-FFF2-40B4-BE49-F238E27FC236}">
                  <a16:creationId xmlns:a16="http://schemas.microsoft.com/office/drawing/2014/main" id="{6B5B9303-BCD3-9248-845E-763D38204446}"/>
                </a:ext>
              </a:extLst>
            </p:cNvPr>
            <p:cNvSpPr/>
            <p:nvPr/>
          </p:nvSpPr>
          <p:spPr>
            <a:xfrm>
              <a:off x="1938926" y="1269517"/>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7" name="Freeform 286">
              <a:extLst>
                <a:ext uri="{FF2B5EF4-FFF2-40B4-BE49-F238E27FC236}">
                  <a16:creationId xmlns:a16="http://schemas.microsoft.com/office/drawing/2014/main" id="{FD297993-C47D-7C42-9E75-4D566E68C063}"/>
                </a:ext>
              </a:extLst>
            </p:cNvPr>
            <p:cNvSpPr/>
            <p:nvPr/>
          </p:nvSpPr>
          <p:spPr>
            <a:xfrm>
              <a:off x="1921515" y="126951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8" name="Freeform 287">
              <a:extLst>
                <a:ext uri="{FF2B5EF4-FFF2-40B4-BE49-F238E27FC236}">
                  <a16:creationId xmlns:a16="http://schemas.microsoft.com/office/drawing/2014/main" id="{1C642E03-65E2-A14C-A358-C5A81B39E794}"/>
                </a:ext>
              </a:extLst>
            </p:cNvPr>
            <p:cNvSpPr/>
            <p:nvPr/>
          </p:nvSpPr>
          <p:spPr>
            <a:xfrm>
              <a:off x="1895896" y="1260952"/>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9" name="Freeform 288">
              <a:extLst>
                <a:ext uri="{FF2B5EF4-FFF2-40B4-BE49-F238E27FC236}">
                  <a16:creationId xmlns:a16="http://schemas.microsoft.com/office/drawing/2014/main" id="{53769DA9-C44A-D840-886B-A8371104AD15}"/>
                </a:ext>
              </a:extLst>
            </p:cNvPr>
            <p:cNvSpPr/>
            <p:nvPr/>
          </p:nvSpPr>
          <p:spPr>
            <a:xfrm>
              <a:off x="1838439" y="123655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0" name="Freeform 289">
              <a:extLst>
                <a:ext uri="{FF2B5EF4-FFF2-40B4-BE49-F238E27FC236}">
                  <a16:creationId xmlns:a16="http://schemas.microsoft.com/office/drawing/2014/main" id="{24E67B0F-6E86-4F4F-8F93-8FCEE1DBD086}"/>
                </a:ext>
              </a:extLst>
            </p:cNvPr>
            <p:cNvSpPr/>
            <p:nvPr/>
          </p:nvSpPr>
          <p:spPr>
            <a:xfrm>
              <a:off x="1822272" y="122383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1" name="Freeform 290">
              <a:extLst>
                <a:ext uri="{FF2B5EF4-FFF2-40B4-BE49-F238E27FC236}">
                  <a16:creationId xmlns:a16="http://schemas.microsoft.com/office/drawing/2014/main" id="{1B448E4B-D597-954E-8894-488D6FBD9CD7}"/>
                </a:ext>
              </a:extLst>
            </p:cNvPr>
            <p:cNvSpPr/>
            <p:nvPr/>
          </p:nvSpPr>
          <p:spPr>
            <a:xfrm>
              <a:off x="1800630" y="120826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2" name="Freeform 291">
              <a:extLst>
                <a:ext uri="{FF2B5EF4-FFF2-40B4-BE49-F238E27FC236}">
                  <a16:creationId xmlns:a16="http://schemas.microsoft.com/office/drawing/2014/main" id="{ED7E872B-8677-8E42-B700-9EDDBC570FA1}"/>
                </a:ext>
              </a:extLst>
            </p:cNvPr>
            <p:cNvSpPr/>
            <p:nvPr/>
          </p:nvSpPr>
          <p:spPr>
            <a:xfrm>
              <a:off x="1793170" y="1179459"/>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3" name="Freeform 292">
              <a:extLst>
                <a:ext uri="{FF2B5EF4-FFF2-40B4-BE49-F238E27FC236}">
                  <a16:creationId xmlns:a16="http://schemas.microsoft.com/office/drawing/2014/main" id="{1EFC8C3E-AC89-8149-A0A7-FF37378DDDAA}"/>
                </a:ext>
              </a:extLst>
            </p:cNvPr>
            <p:cNvSpPr/>
            <p:nvPr/>
          </p:nvSpPr>
          <p:spPr>
            <a:xfrm>
              <a:off x="1784463" y="1168297"/>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4" name="Freeform 293">
              <a:extLst>
                <a:ext uri="{FF2B5EF4-FFF2-40B4-BE49-F238E27FC236}">
                  <a16:creationId xmlns:a16="http://schemas.microsoft.com/office/drawing/2014/main" id="{9D20662F-6D05-7A49-92C4-05C4492212F9}"/>
                </a:ext>
              </a:extLst>
            </p:cNvPr>
            <p:cNvSpPr/>
            <p:nvPr/>
          </p:nvSpPr>
          <p:spPr>
            <a:xfrm>
              <a:off x="1778495" y="1142866"/>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5" name="Freeform 294">
              <a:extLst>
                <a:ext uri="{FF2B5EF4-FFF2-40B4-BE49-F238E27FC236}">
                  <a16:creationId xmlns:a16="http://schemas.microsoft.com/office/drawing/2014/main" id="{2D3ABAC6-88A8-BB4A-89E0-18887B324122}"/>
                </a:ext>
              </a:extLst>
            </p:cNvPr>
            <p:cNvSpPr/>
            <p:nvPr/>
          </p:nvSpPr>
          <p:spPr>
            <a:xfrm>
              <a:off x="1762824" y="1130668"/>
              <a:ext cx="60688" cy="63324"/>
            </a:xfrm>
            <a:custGeom>
              <a:avLst/>
              <a:gdLst>
                <a:gd name="connsiteX0" fmla="*/ 23176 w 23175"/>
                <a:gd name="connsiteY0" fmla="*/ 11595 h 23189"/>
                <a:gd name="connsiteX1" fmla="*/ 11588 w 23175"/>
                <a:gd name="connsiteY1" fmla="*/ 0 h 23189"/>
                <a:gd name="connsiteX2" fmla="*/ 0 w 23175"/>
                <a:gd name="connsiteY2" fmla="*/ 11595 h 23189"/>
                <a:gd name="connsiteX3" fmla="*/ 11588 w 23175"/>
                <a:gd name="connsiteY3" fmla="*/ 2319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5191"/>
                    <a:pt x="17988" y="0"/>
                    <a:pt x="11588" y="0"/>
                  </a:cubicBezTo>
                  <a:cubicBezTo>
                    <a:pt x="5188" y="0"/>
                    <a:pt x="0" y="5191"/>
                    <a:pt x="0" y="11595"/>
                  </a:cubicBezTo>
                  <a:cubicBezTo>
                    <a:pt x="0" y="17999"/>
                    <a:pt x="5188" y="23190"/>
                    <a:pt x="11588" y="23190"/>
                  </a:cubicBezTo>
                  <a:cubicBezTo>
                    <a:pt x="17988" y="23190"/>
                    <a:pt x="23176" y="17999"/>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6" name="Freeform 295">
              <a:extLst>
                <a:ext uri="{FF2B5EF4-FFF2-40B4-BE49-F238E27FC236}">
                  <a16:creationId xmlns:a16="http://schemas.microsoft.com/office/drawing/2014/main" id="{135BAB22-1A62-C34F-8B16-893B9734D968}"/>
                </a:ext>
              </a:extLst>
            </p:cNvPr>
            <p:cNvSpPr/>
            <p:nvPr/>
          </p:nvSpPr>
          <p:spPr>
            <a:xfrm>
              <a:off x="1757351" y="1130668"/>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7" name="Freeform 296">
              <a:extLst>
                <a:ext uri="{FF2B5EF4-FFF2-40B4-BE49-F238E27FC236}">
                  <a16:creationId xmlns:a16="http://schemas.microsoft.com/office/drawing/2014/main" id="{F2737849-B967-DA4C-AE96-7E09B8A4F8A0}"/>
                </a:ext>
              </a:extLst>
            </p:cNvPr>
            <p:cNvSpPr/>
            <p:nvPr/>
          </p:nvSpPr>
          <p:spPr>
            <a:xfrm>
              <a:off x="1727006" y="1118210"/>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8"/>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8" name="Freeform 297">
              <a:extLst>
                <a:ext uri="{FF2B5EF4-FFF2-40B4-BE49-F238E27FC236}">
                  <a16:creationId xmlns:a16="http://schemas.microsoft.com/office/drawing/2014/main" id="{96CE856B-6A87-8142-9803-296F45997B36}"/>
                </a:ext>
              </a:extLst>
            </p:cNvPr>
            <p:cNvSpPr/>
            <p:nvPr/>
          </p:nvSpPr>
          <p:spPr>
            <a:xfrm>
              <a:off x="1670046" y="1034382"/>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9" name="Freeform 298">
              <a:extLst>
                <a:ext uri="{FF2B5EF4-FFF2-40B4-BE49-F238E27FC236}">
                  <a16:creationId xmlns:a16="http://schemas.microsoft.com/office/drawing/2014/main" id="{D04305AD-EB7A-5349-BAB1-A1449DAD210B}"/>
                </a:ext>
              </a:extLst>
            </p:cNvPr>
            <p:cNvSpPr/>
            <p:nvPr/>
          </p:nvSpPr>
          <p:spPr>
            <a:xfrm>
              <a:off x="1632240" y="999605"/>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19050"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0" name="Freeform 299">
              <a:extLst>
                <a:ext uri="{FF2B5EF4-FFF2-40B4-BE49-F238E27FC236}">
                  <a16:creationId xmlns:a16="http://schemas.microsoft.com/office/drawing/2014/main" id="{EF202C12-9604-5A45-82FA-E5A925E9D1D4}"/>
                </a:ext>
              </a:extLst>
            </p:cNvPr>
            <p:cNvSpPr/>
            <p:nvPr/>
          </p:nvSpPr>
          <p:spPr>
            <a:xfrm>
              <a:off x="1612341" y="999605"/>
              <a:ext cx="60688"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7114"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1" name="Freeform 300">
              <a:extLst>
                <a:ext uri="{FF2B5EF4-FFF2-40B4-BE49-F238E27FC236}">
                  <a16:creationId xmlns:a16="http://schemas.microsoft.com/office/drawing/2014/main" id="{DDC1EF43-62E1-784E-A438-59DC8852CAB0}"/>
                </a:ext>
              </a:extLst>
            </p:cNvPr>
            <p:cNvSpPr/>
            <p:nvPr/>
          </p:nvSpPr>
          <p:spPr>
            <a:xfrm>
              <a:off x="1579504" y="971575"/>
              <a:ext cx="48681" cy="63324"/>
            </a:xfrm>
            <a:custGeom>
              <a:avLst/>
              <a:gdLst>
                <a:gd name="connsiteX0" fmla="*/ 23176 w 23175"/>
                <a:gd name="connsiteY0" fmla="*/ 11595 h 23189"/>
                <a:gd name="connsiteX1" fmla="*/ 11588 w 23175"/>
                <a:gd name="connsiteY1" fmla="*/ 23190 h 23189"/>
                <a:gd name="connsiteX2" fmla="*/ 0 w 23175"/>
                <a:gd name="connsiteY2" fmla="*/ 11595 h 23189"/>
                <a:gd name="connsiteX3" fmla="*/ 11588 w 23175"/>
                <a:gd name="connsiteY3" fmla="*/ 0 h 23189"/>
                <a:gd name="connsiteX4" fmla="*/ 23176 w 23175"/>
                <a:gd name="connsiteY4" fmla="*/ 11595 h 23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5" h="23189">
                  <a:moveTo>
                    <a:pt x="23176" y="11595"/>
                  </a:moveTo>
                  <a:cubicBezTo>
                    <a:pt x="23176" y="17999"/>
                    <a:pt x="17988" y="23190"/>
                    <a:pt x="11588" y="23190"/>
                  </a:cubicBezTo>
                  <a:cubicBezTo>
                    <a:pt x="5188" y="23190"/>
                    <a:pt x="0" y="17999"/>
                    <a:pt x="0" y="11595"/>
                  </a:cubicBezTo>
                  <a:cubicBezTo>
                    <a:pt x="0" y="5191"/>
                    <a:pt x="5188" y="0"/>
                    <a:pt x="11588" y="0"/>
                  </a:cubicBezTo>
                  <a:cubicBezTo>
                    <a:pt x="17988" y="0"/>
                    <a:pt x="23176" y="5191"/>
                    <a:pt x="23176" y="11595"/>
                  </a:cubicBezTo>
                  <a:close/>
                </a:path>
              </a:pathLst>
            </a:custGeom>
            <a:noFill/>
            <a:ln w="7114" cap="flat">
              <a:solidFill>
                <a:schemeClr val="tx2"/>
              </a:solidFill>
              <a:prstDash val="solid"/>
              <a:miter/>
            </a:ln>
          </p:spPr>
          <p:txBody>
            <a:bodyPr rtlCol="0" anchor="ct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cxnSp>
          <p:nvCxnSpPr>
            <p:cNvPr id="356" name="Straight Connector 355">
              <a:extLst>
                <a:ext uri="{FF2B5EF4-FFF2-40B4-BE49-F238E27FC236}">
                  <a16:creationId xmlns:a16="http://schemas.microsoft.com/office/drawing/2014/main" id="{10F7AF98-1CF8-A445-9ECB-9110A1C3A28E}"/>
                </a:ext>
              </a:extLst>
            </p:cNvPr>
            <p:cNvCxnSpPr/>
            <p:nvPr/>
          </p:nvCxnSpPr>
          <p:spPr>
            <a:xfrm>
              <a:off x="1680704" y="3561497"/>
              <a:ext cx="282875" cy="0"/>
            </a:xfrm>
            <a:prstGeom prst="line">
              <a:avLst/>
            </a:prstGeom>
            <a:noFill/>
            <a:ln w="19050" cap="flat" cmpd="sng" algn="ctr">
              <a:solidFill>
                <a:schemeClr val="tx2"/>
              </a:solidFill>
              <a:prstDash val="solid"/>
              <a:miter lim="800000"/>
            </a:ln>
            <a:effectLst/>
          </p:spPr>
        </p:cxnSp>
        <p:sp>
          <p:nvSpPr>
            <p:cNvPr id="357" name="Oval 59">
              <a:extLst>
                <a:ext uri="{FF2B5EF4-FFF2-40B4-BE49-F238E27FC236}">
                  <a16:creationId xmlns:a16="http://schemas.microsoft.com/office/drawing/2014/main" id="{9FB976FA-8D97-6A46-B241-6D4EA540507F}"/>
                </a:ext>
              </a:extLst>
            </p:cNvPr>
            <p:cNvSpPr>
              <a:spLocks noChangeArrowheads="1"/>
            </p:cNvSpPr>
            <p:nvPr/>
          </p:nvSpPr>
          <p:spPr bwMode="auto">
            <a:xfrm>
              <a:off x="2729004" y="3531091"/>
              <a:ext cx="56134" cy="60809"/>
            </a:xfrm>
            <a:prstGeom prst="ellipse">
              <a:avLst/>
            </a:prstGeom>
            <a:noFill/>
            <a:ln w="19050"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grpSp>
      <p:cxnSp>
        <p:nvCxnSpPr>
          <p:cNvPr id="358" name="Straight Connector 357">
            <a:extLst>
              <a:ext uri="{FF2B5EF4-FFF2-40B4-BE49-F238E27FC236}">
                <a16:creationId xmlns:a16="http://schemas.microsoft.com/office/drawing/2014/main" id="{EDC02D2F-990B-1846-9003-A12132A26859}"/>
              </a:ext>
            </a:extLst>
          </p:cNvPr>
          <p:cNvCxnSpPr/>
          <p:nvPr/>
        </p:nvCxnSpPr>
        <p:spPr>
          <a:xfrm>
            <a:off x="2208304" y="3439849"/>
            <a:ext cx="334112" cy="0"/>
          </a:xfrm>
          <a:prstGeom prst="line">
            <a:avLst/>
          </a:prstGeom>
          <a:noFill/>
          <a:ln w="19050" cap="flat" cmpd="sng" algn="ctr">
            <a:solidFill>
              <a:schemeClr val="accent1"/>
            </a:solidFill>
            <a:prstDash val="solid"/>
            <a:miter lim="800000"/>
          </a:ln>
          <a:effectLst/>
        </p:spPr>
      </p:cxnSp>
      <p:sp>
        <p:nvSpPr>
          <p:cNvPr id="359" name="Oval 59">
            <a:extLst>
              <a:ext uri="{FF2B5EF4-FFF2-40B4-BE49-F238E27FC236}">
                <a16:creationId xmlns:a16="http://schemas.microsoft.com/office/drawing/2014/main" id="{FAE784C8-EAC1-1A49-BE5F-FEEEEED691E7}"/>
              </a:ext>
            </a:extLst>
          </p:cNvPr>
          <p:cNvSpPr>
            <a:spLocks noChangeArrowheads="1"/>
          </p:cNvSpPr>
          <p:nvPr/>
        </p:nvSpPr>
        <p:spPr bwMode="auto">
          <a:xfrm>
            <a:off x="3446485" y="3409445"/>
            <a:ext cx="66302" cy="60809"/>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0" name="TextBox 359">
            <a:extLst>
              <a:ext uri="{FF2B5EF4-FFF2-40B4-BE49-F238E27FC236}">
                <a16:creationId xmlns:a16="http://schemas.microsoft.com/office/drawing/2014/main" id="{E023BCDB-5D23-5145-BC6C-DB37CC0EEC8C}"/>
              </a:ext>
            </a:extLst>
          </p:cNvPr>
          <p:cNvSpPr txBox="1"/>
          <p:nvPr/>
        </p:nvSpPr>
        <p:spPr>
          <a:xfrm>
            <a:off x="6115747" y="886705"/>
            <a:ext cx="622026" cy="250086"/>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atients, n</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1" name="TextBox 360">
            <a:extLst>
              <a:ext uri="{FF2B5EF4-FFF2-40B4-BE49-F238E27FC236}">
                <a16:creationId xmlns:a16="http://schemas.microsoft.com/office/drawing/2014/main" id="{C52F35B5-DE37-0F4A-AD6C-BEB55C0E8B9F}"/>
              </a:ext>
            </a:extLst>
          </p:cNvPr>
          <p:cNvSpPr txBox="1"/>
          <p:nvPr/>
        </p:nvSpPr>
        <p:spPr>
          <a:xfrm>
            <a:off x="7046046" y="990050"/>
            <a:ext cx="475055" cy="146740"/>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Events</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n</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2" name="TextBox 361">
            <a:extLst>
              <a:ext uri="{FF2B5EF4-FFF2-40B4-BE49-F238E27FC236}">
                <a16:creationId xmlns:a16="http://schemas.microsoft.com/office/drawing/2014/main" id="{508124DA-E432-CD43-A4C7-A9029FD8D415}"/>
              </a:ext>
            </a:extLst>
          </p:cNvPr>
          <p:cNvSpPr txBox="1"/>
          <p:nvPr/>
        </p:nvSpPr>
        <p:spPr>
          <a:xfrm>
            <a:off x="6185574" y="1207534"/>
            <a:ext cx="475055" cy="146740"/>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1</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3" name="TextBox 362">
            <a:extLst>
              <a:ext uri="{FF2B5EF4-FFF2-40B4-BE49-F238E27FC236}">
                <a16:creationId xmlns:a16="http://schemas.microsoft.com/office/drawing/2014/main" id="{AAB7489C-0F32-9D4D-AAB7-D931784DB6E4}"/>
              </a:ext>
            </a:extLst>
          </p:cNvPr>
          <p:cNvSpPr txBox="1"/>
          <p:nvPr/>
        </p:nvSpPr>
        <p:spPr>
          <a:xfrm>
            <a:off x="7024864" y="1207534"/>
            <a:ext cx="475055" cy="146740"/>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32</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4" name="TextBox 363">
            <a:extLst>
              <a:ext uri="{FF2B5EF4-FFF2-40B4-BE49-F238E27FC236}">
                <a16:creationId xmlns:a16="http://schemas.microsoft.com/office/drawing/2014/main" id="{2150728B-1DC0-C149-AC9E-C7527ED0398E}"/>
              </a:ext>
            </a:extLst>
          </p:cNvPr>
          <p:cNvSpPr txBox="1"/>
          <p:nvPr/>
        </p:nvSpPr>
        <p:spPr>
          <a:xfrm>
            <a:off x="5205974" y="1207540"/>
            <a:ext cx="475055" cy="146740"/>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Ixazomib-Rd</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5" name="TextBox 364">
            <a:extLst>
              <a:ext uri="{FF2B5EF4-FFF2-40B4-BE49-F238E27FC236}">
                <a16:creationId xmlns:a16="http://schemas.microsoft.com/office/drawing/2014/main" id="{9AA48FE3-9062-EC4E-8337-E72EF5326AA5}"/>
              </a:ext>
            </a:extLst>
          </p:cNvPr>
          <p:cNvSpPr txBox="1"/>
          <p:nvPr/>
        </p:nvSpPr>
        <p:spPr>
          <a:xfrm>
            <a:off x="6185574" y="1345103"/>
            <a:ext cx="475055" cy="146740"/>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4</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6" name="TextBox 365">
            <a:extLst>
              <a:ext uri="{FF2B5EF4-FFF2-40B4-BE49-F238E27FC236}">
                <a16:creationId xmlns:a16="http://schemas.microsoft.com/office/drawing/2014/main" id="{C53687B3-8A54-5442-BF1F-89A37391FD25}"/>
              </a:ext>
            </a:extLst>
          </p:cNvPr>
          <p:cNvSpPr txBox="1"/>
          <p:nvPr/>
        </p:nvSpPr>
        <p:spPr>
          <a:xfrm>
            <a:off x="7024864" y="1345103"/>
            <a:ext cx="475055" cy="146740"/>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82</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7" name="TextBox 366">
            <a:extLst>
              <a:ext uri="{FF2B5EF4-FFF2-40B4-BE49-F238E27FC236}">
                <a16:creationId xmlns:a16="http://schemas.microsoft.com/office/drawing/2014/main" id="{A12FAC3C-B93D-D344-B87F-3D50E2137A67}"/>
              </a:ext>
            </a:extLst>
          </p:cNvPr>
          <p:cNvSpPr txBox="1"/>
          <p:nvPr/>
        </p:nvSpPr>
        <p:spPr>
          <a:xfrm>
            <a:off x="5187670" y="1345107"/>
            <a:ext cx="720549" cy="146740"/>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lacebo</a:t>
            </a:r>
            <a:r>
              <a:rPr kumimoji="0" lang="en-US"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d</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8" name="TextBox 367">
            <a:extLst>
              <a:ext uri="{FF2B5EF4-FFF2-40B4-BE49-F238E27FC236}">
                <a16:creationId xmlns:a16="http://schemas.microsoft.com/office/drawing/2014/main" id="{BC197457-A9BA-6D48-9BAD-7B4FE0988CAF}"/>
              </a:ext>
            </a:extLst>
          </p:cNvPr>
          <p:cNvSpPr txBox="1"/>
          <p:nvPr/>
        </p:nvSpPr>
        <p:spPr>
          <a:xfrm>
            <a:off x="5186224" y="1618831"/>
            <a:ext cx="2408780" cy="146738"/>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HR (95% CI): 0.</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738</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0.</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589</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925</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t>
            </a:r>
          </a:p>
        </p:txBody>
      </p:sp>
      <p:sp>
        <p:nvSpPr>
          <p:cNvPr id="369" name="TextBox 368">
            <a:extLst>
              <a:ext uri="{FF2B5EF4-FFF2-40B4-BE49-F238E27FC236}">
                <a16:creationId xmlns:a16="http://schemas.microsoft.com/office/drawing/2014/main" id="{2E77B511-FE10-6442-8FB3-3F0AC9E5DEDE}"/>
              </a:ext>
            </a:extLst>
          </p:cNvPr>
          <p:cNvSpPr txBox="1"/>
          <p:nvPr/>
        </p:nvSpPr>
        <p:spPr>
          <a:xfrm>
            <a:off x="5186224" y="1763686"/>
            <a:ext cx="2408780" cy="146739"/>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Log-rank test </a:t>
            </a:r>
            <a:r>
              <a:rPr kumimoji="0" lang="en-GB" sz="120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a:t>
            </a:r>
            <a:r>
              <a:rPr kumimoji="0" lang="en-GB"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value</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08</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0" name="TextBox 369">
            <a:extLst>
              <a:ext uri="{FF2B5EF4-FFF2-40B4-BE49-F238E27FC236}">
                <a16:creationId xmlns:a16="http://schemas.microsoft.com/office/drawing/2014/main" id="{62FFB8DA-D50C-ED4E-89CC-A2F76F7B70D6}"/>
              </a:ext>
            </a:extLst>
          </p:cNvPr>
          <p:cNvSpPr txBox="1"/>
          <p:nvPr/>
        </p:nvSpPr>
        <p:spPr>
          <a:xfrm>
            <a:off x="3845921" y="1499281"/>
            <a:ext cx="800643" cy="435678"/>
          </a:xfrm>
          <a:prstGeom prst="rect">
            <a:avLst/>
          </a:prstGeom>
          <a:noFill/>
        </p:spPr>
        <p:txBody>
          <a:bodyPr wrap="non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edian</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en-US"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TTP</a:t>
            </a:r>
            <a:endParaRPr kumimoji="0" lang="x-none" sz="120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45.8 </a:t>
            </a: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o</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nths</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71" name="TextBox 370">
            <a:extLst>
              <a:ext uri="{FF2B5EF4-FFF2-40B4-BE49-F238E27FC236}">
                <a16:creationId xmlns:a16="http://schemas.microsoft.com/office/drawing/2014/main" id="{62FFB8DA-D50C-ED4E-89CC-A2F76F7B70D6}"/>
              </a:ext>
            </a:extLst>
          </p:cNvPr>
          <p:cNvSpPr txBox="1"/>
          <p:nvPr/>
        </p:nvSpPr>
        <p:spPr>
          <a:xfrm>
            <a:off x="3086468" y="2348991"/>
            <a:ext cx="800643" cy="435678"/>
          </a:xfrm>
          <a:prstGeom prst="rect">
            <a:avLst/>
          </a:prstGeom>
          <a:noFill/>
        </p:spPr>
        <p:txBody>
          <a:bodyPr wrap="non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edian</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en-US"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TTP</a:t>
            </a:r>
            <a:endParaRPr kumimoji="0" lang="x-none" sz="120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6.8 </a:t>
            </a: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o</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nths</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pic>
        <p:nvPicPr>
          <p:cNvPr id="375" name="Picture 374" descr="Qr code&#10;&#10;Description automatically generated">
            <a:extLst>
              <a:ext uri="{FF2B5EF4-FFF2-40B4-BE49-F238E27FC236}">
                <a16:creationId xmlns:a16="http://schemas.microsoft.com/office/drawing/2014/main" id="{52CB1F52-A089-4244-B6FC-0D4B1D12AD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63467" y="75609"/>
            <a:ext cx="763198" cy="763198"/>
          </a:xfrm>
          <a:prstGeom prst="rect">
            <a:avLst/>
          </a:prstGeom>
        </p:spPr>
      </p:pic>
      <p:sp>
        <p:nvSpPr>
          <p:cNvPr id="373" name="Text Placeholder 4">
            <a:extLst>
              <a:ext uri="{FF2B5EF4-FFF2-40B4-BE49-F238E27FC236}">
                <a16:creationId xmlns:a16="http://schemas.microsoft.com/office/drawing/2014/main" id="{055B2C47-D35A-4CA1-8E4E-2A6CCC7C84B3}"/>
              </a:ext>
            </a:extLst>
          </p:cNvPr>
          <p:cNvSpPr txBox="1">
            <a:spLocks/>
          </p:cNvSpPr>
          <p:nvPr/>
        </p:nvSpPr>
        <p:spPr>
          <a:xfrm>
            <a:off x="4675632" y="4523872"/>
            <a:ext cx="4468368" cy="193027"/>
          </a:xfrm>
          <a:prstGeom prst="rect">
            <a:avLst/>
          </a:prstGeom>
        </p:spPr>
        <p:txBody>
          <a:bodyPr wrap="square" tIns="27000" bIns="27000" anchor="b">
            <a:spAutoFit/>
          </a:bodyPr>
          <a:lstStyle>
            <a:lvl1pPr marL="0" indent="0" algn="r" defTabSz="609585" rtl="0" eaLnBrk="0" fontAlgn="base" hangingPunct="0">
              <a:spcBef>
                <a:spcPts val="0"/>
              </a:spcBef>
              <a:spcAft>
                <a:spcPct val="0"/>
              </a:spcAft>
              <a:buFont typeface="Arial" charset="0"/>
              <a:buNone/>
              <a:defRPr sz="933" kern="1200">
                <a:solidFill>
                  <a:schemeClr val="tx1"/>
                </a:solidFill>
                <a:latin typeface="Arial" panose="020B0604020202020204" pitchFamily="34" charset="0"/>
                <a:ea typeface="Geneva" pitchFamily="37" charset="-128"/>
                <a:cs typeface="Arial" panose="020B0604020202020204" pitchFamily="34" charset="0"/>
              </a:defRPr>
            </a:lvl1pPr>
            <a:lvl2pPr marL="609585" indent="0" algn="r" defTabSz="609585" rtl="0" eaLnBrk="0" fontAlgn="base" hangingPunct="0">
              <a:spcBef>
                <a:spcPct val="20000"/>
              </a:spcBef>
              <a:spcAft>
                <a:spcPct val="0"/>
              </a:spcAft>
              <a:buFont typeface="Arial" charset="0"/>
              <a:buNone/>
              <a:defRPr sz="2667" kern="1200">
                <a:solidFill>
                  <a:schemeClr val="tx1"/>
                </a:solidFill>
                <a:latin typeface="+mn-lt"/>
                <a:ea typeface="Geneva" pitchFamily="37" charset="-128"/>
                <a:cs typeface="+mn-cs"/>
              </a:defRPr>
            </a:lvl2pPr>
            <a:lvl3pPr marL="1219170" indent="0" algn="r" defTabSz="609585" rtl="0" eaLnBrk="0" fontAlgn="base" hangingPunct="0">
              <a:spcBef>
                <a:spcPct val="20000"/>
              </a:spcBef>
              <a:spcAft>
                <a:spcPct val="0"/>
              </a:spcAft>
              <a:buFont typeface="Arial" charset="0"/>
              <a:buNone/>
              <a:defRPr kern="1200">
                <a:solidFill>
                  <a:schemeClr val="tx1"/>
                </a:solidFill>
                <a:latin typeface="+mn-lt"/>
                <a:ea typeface="Geneva" pitchFamily="37" charset="-128"/>
                <a:cs typeface="+mn-cs"/>
              </a:defRPr>
            </a:lvl3pPr>
            <a:lvl4pPr marL="1828754" indent="0" algn="r" defTabSz="609585" rtl="0" eaLnBrk="0" fontAlgn="base" hangingPunct="0">
              <a:spcBef>
                <a:spcPct val="20000"/>
              </a:spcBef>
              <a:spcAft>
                <a:spcPct val="0"/>
              </a:spcAft>
              <a:buFont typeface="Arial" charset="0"/>
              <a:buNone/>
              <a:defRPr sz="2133" kern="1200">
                <a:solidFill>
                  <a:schemeClr val="tx1"/>
                </a:solidFill>
                <a:latin typeface="+mn-lt"/>
                <a:ea typeface="Geneva" pitchFamily="37" charset="-128"/>
                <a:cs typeface="+mn-cs"/>
              </a:defRPr>
            </a:lvl4pPr>
            <a:lvl5pPr marL="2438339" indent="0" algn="r" defTabSz="609585" rtl="0" eaLnBrk="0" fontAlgn="base" hangingPunct="0">
              <a:spcBef>
                <a:spcPct val="20000"/>
              </a:spcBef>
              <a:spcAft>
                <a:spcPct val="0"/>
              </a:spcAft>
              <a:buFont typeface="Arial" charset="0"/>
              <a:buNone/>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457189" rtl="0" eaLnBrk="0" fontAlgn="base" latinLnBrk="0" hangingPunct="0">
              <a:lnSpc>
                <a:spcPct val="100000"/>
              </a:lnSpc>
              <a:spcBef>
                <a:spcPts val="0"/>
              </a:spcBef>
              <a:spcAft>
                <a:spcPct val="0"/>
              </a:spcAft>
              <a:buClrTx/>
              <a:buSzTx/>
              <a:buFont typeface="Arial" charset="0"/>
              <a:buNone/>
              <a:tabLst/>
              <a:defRPr/>
            </a:pPr>
            <a:r>
              <a:rPr kumimoji="0" lang="en-US" sz="900" b="0" i="0" u="none" strike="noStrike" kern="1200" cap="none" spc="0" normalizeH="0" baseline="0" noProof="0">
                <a:ln>
                  <a:noFill/>
                </a:ln>
                <a:solidFill>
                  <a:srgbClr val="000000"/>
                </a:solidFill>
                <a:effectLst/>
                <a:uLnTx/>
                <a:uFillTx/>
                <a:latin typeface="Calibri"/>
                <a:ea typeface="Geneva" pitchFamily="37" charset="-128"/>
                <a:cs typeface="Arial" panose="020B0604020202020204" pitchFamily="34" charset="0"/>
              </a:rPr>
              <a:t>Facon T, et al. ASH 2020. Oral presentation 551.</a:t>
            </a:r>
          </a:p>
        </p:txBody>
      </p:sp>
    </p:spTree>
    <p:extLst>
      <p:ext uri="{BB962C8B-B14F-4D97-AF65-F5344CB8AC3E}">
        <p14:creationId xmlns:p14="http://schemas.microsoft.com/office/powerpoint/2010/main" val="49894392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767427" y="1117468"/>
            <a:ext cx="2444111" cy="213941"/>
          </a:xfrm>
        </p:spPr>
        <p:txBody>
          <a:bodyPr/>
          <a:lstStyle/>
          <a:p>
            <a:pPr marL="176396" indent="-176396"/>
            <a:r>
              <a:rPr lang="en-US" sz="1500" noProof="0">
                <a:latin typeface="+mn-lt"/>
              </a:rPr>
              <a:t>Median follow-up for OS: ~58 months</a:t>
            </a:r>
          </a:p>
        </p:txBody>
      </p:sp>
      <p:sp>
        <p:nvSpPr>
          <p:cNvPr id="2" name="Title 1"/>
          <p:cNvSpPr>
            <a:spLocks noGrp="1"/>
          </p:cNvSpPr>
          <p:nvPr>
            <p:ph type="title"/>
          </p:nvPr>
        </p:nvSpPr>
        <p:spPr>
          <a:xfrm>
            <a:off x="609313" y="46886"/>
            <a:ext cx="8229600" cy="739884"/>
          </a:xfrm>
        </p:spPr>
        <p:txBody>
          <a:bodyPr anchor="t"/>
          <a:lstStyle/>
          <a:p>
            <a:r>
              <a:rPr lang="en-US" sz="3000" b="1" noProof="0">
                <a:solidFill>
                  <a:srgbClr val="000090"/>
                </a:solidFill>
                <a:latin typeface="Calibri Light" panose="020F0302020204030204" pitchFamily="34" charset="0"/>
                <a:cs typeface="Calibri Light" panose="020F0302020204030204" pitchFamily="34" charset="0"/>
              </a:rPr>
              <a:t>Median OS Not Reached in Either Arm</a:t>
            </a:r>
          </a:p>
        </p:txBody>
      </p:sp>
      <p:sp>
        <p:nvSpPr>
          <p:cNvPr id="37" name="TextBox 36">
            <a:extLst>
              <a:ext uri="{FF2B5EF4-FFF2-40B4-BE49-F238E27FC236}">
                <a16:creationId xmlns:a16="http://schemas.microsoft.com/office/drawing/2014/main" id="{4775AAEB-061E-4088-A369-22CE1333E471}"/>
              </a:ext>
            </a:extLst>
          </p:cNvPr>
          <p:cNvSpPr txBox="1"/>
          <p:nvPr/>
        </p:nvSpPr>
        <p:spPr>
          <a:xfrm>
            <a:off x="-226079" y="4008605"/>
            <a:ext cx="1623152" cy="153017"/>
          </a:xfrm>
          <a:prstGeom prst="rect">
            <a:avLst/>
          </a:prstGeom>
          <a:noFill/>
        </p:spPr>
        <p:txBody>
          <a:bodyPr wrap="none" lIns="0" tIns="0" rIns="0" bIns="0" rtlCol="0" anchor="ctr">
            <a:noAutofit/>
          </a:body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pitchFamily="34" charset="0"/>
                <a:ea typeface="Geneva" charset="0"/>
                <a:cs typeface="Arial" panose="020B0604020202020204" pitchFamily="34" charset="0"/>
              </a:rPr>
              <a:t>Patients at risk, n</a:t>
            </a:r>
            <a:endParaRPr kumimoji="0" lang="x-none" sz="600" b="1" i="0" u="none" strike="noStrike" kern="0" cap="none" spc="0" normalizeH="0" baseline="0" noProof="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nvGrpSpPr>
          <p:cNvPr id="329" name="Group 328">
            <a:extLst>
              <a:ext uri="{FF2B5EF4-FFF2-40B4-BE49-F238E27FC236}">
                <a16:creationId xmlns:a16="http://schemas.microsoft.com/office/drawing/2014/main" id="{7D9A78B5-471B-4968-BAE3-B81EB89F9DCB}"/>
              </a:ext>
            </a:extLst>
          </p:cNvPr>
          <p:cNvGrpSpPr/>
          <p:nvPr/>
        </p:nvGrpSpPr>
        <p:grpSpPr>
          <a:xfrm>
            <a:off x="721877" y="928997"/>
            <a:ext cx="6571027" cy="3522885"/>
            <a:chOff x="1138813" y="924026"/>
            <a:chExt cx="6571027" cy="3503596"/>
          </a:xfrm>
        </p:grpSpPr>
        <p:sp>
          <p:nvSpPr>
            <p:cNvPr id="9" name="Oval 721">
              <a:extLst>
                <a:ext uri="{FF2B5EF4-FFF2-40B4-BE49-F238E27FC236}">
                  <a16:creationId xmlns:a16="http://schemas.microsoft.com/office/drawing/2014/main" id="{D89ADCAA-CB89-4362-AE83-0409FB644899}"/>
                </a:ext>
              </a:extLst>
            </p:cNvPr>
            <p:cNvSpPr>
              <a:spLocks noChangeArrowheads="1"/>
            </p:cNvSpPr>
            <p:nvPr/>
          </p:nvSpPr>
          <p:spPr bwMode="auto">
            <a:xfrm>
              <a:off x="2249433" y="1010996"/>
              <a:ext cx="71925" cy="60014"/>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 name="Oval 723">
              <a:extLst>
                <a:ext uri="{FF2B5EF4-FFF2-40B4-BE49-F238E27FC236}">
                  <a16:creationId xmlns:a16="http://schemas.microsoft.com/office/drawing/2014/main" id="{B3DB409D-5520-435A-B44A-E76221A89044}"/>
                </a:ext>
              </a:extLst>
            </p:cNvPr>
            <p:cNvSpPr>
              <a:spLocks noChangeArrowheads="1"/>
            </p:cNvSpPr>
            <p:nvPr/>
          </p:nvSpPr>
          <p:spPr bwMode="auto">
            <a:xfrm>
              <a:off x="2193296" y="995991"/>
              <a:ext cx="70172" cy="60014"/>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grpSp>
          <p:nvGrpSpPr>
            <p:cNvPr id="11" name="Group 10">
              <a:extLst>
                <a:ext uri="{FF2B5EF4-FFF2-40B4-BE49-F238E27FC236}">
                  <a16:creationId xmlns:a16="http://schemas.microsoft.com/office/drawing/2014/main" id="{8DFBFA46-FE73-4B6B-A8E2-64C57ACC5544}"/>
                </a:ext>
              </a:extLst>
            </p:cNvPr>
            <p:cNvGrpSpPr/>
            <p:nvPr/>
          </p:nvGrpSpPr>
          <p:grpSpPr>
            <a:xfrm>
              <a:off x="2052938" y="971934"/>
              <a:ext cx="5301460" cy="1336815"/>
              <a:chOff x="19884095" y="10815523"/>
              <a:chExt cx="5201432" cy="1560434"/>
            </a:xfrm>
          </p:grpSpPr>
          <p:sp>
            <p:nvSpPr>
              <p:cNvPr id="224" name="Oval 692">
                <a:extLst>
                  <a:ext uri="{FF2B5EF4-FFF2-40B4-BE49-F238E27FC236}">
                    <a16:creationId xmlns:a16="http://schemas.microsoft.com/office/drawing/2014/main" id="{4DCF7331-BBD2-4590-850C-446A9575D0B6}"/>
                  </a:ext>
                </a:extLst>
              </p:cNvPr>
              <p:cNvSpPr>
                <a:spLocks noChangeArrowheads="1"/>
              </p:cNvSpPr>
              <p:nvPr/>
            </p:nvSpPr>
            <p:spPr bwMode="auto">
              <a:xfrm>
                <a:off x="23343684" y="12039702"/>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grpSp>
            <p:nvGrpSpPr>
              <p:cNvPr id="225" name="Group 224">
                <a:extLst>
                  <a:ext uri="{FF2B5EF4-FFF2-40B4-BE49-F238E27FC236}">
                    <a16:creationId xmlns:a16="http://schemas.microsoft.com/office/drawing/2014/main" id="{2C6CA868-375C-4005-BE5D-0335A98A58F7}"/>
                  </a:ext>
                </a:extLst>
              </p:cNvPr>
              <p:cNvGrpSpPr/>
              <p:nvPr/>
            </p:nvGrpSpPr>
            <p:grpSpPr>
              <a:xfrm>
                <a:off x="19884095" y="10815523"/>
                <a:ext cx="5201432" cy="1560434"/>
                <a:chOff x="19884095" y="10815523"/>
                <a:chExt cx="5201432" cy="1560434"/>
              </a:xfrm>
            </p:grpSpPr>
            <p:sp>
              <p:nvSpPr>
                <p:cNvPr id="226" name="Freeform 625">
                  <a:extLst>
                    <a:ext uri="{FF2B5EF4-FFF2-40B4-BE49-F238E27FC236}">
                      <a16:creationId xmlns:a16="http://schemas.microsoft.com/office/drawing/2014/main" id="{F3E97342-0EDF-48B9-8C4D-63F959EDF661}"/>
                    </a:ext>
                  </a:extLst>
                </p:cNvPr>
                <p:cNvSpPr>
                  <a:spLocks/>
                </p:cNvSpPr>
                <p:nvPr/>
              </p:nvSpPr>
              <p:spPr bwMode="auto">
                <a:xfrm>
                  <a:off x="19921961" y="10850550"/>
                  <a:ext cx="5129142" cy="1490381"/>
                </a:xfrm>
                <a:custGeom>
                  <a:avLst/>
                  <a:gdLst>
                    <a:gd name="T0" fmla="*/ 2519 w 2980"/>
                    <a:gd name="T1" fmla="*/ 829 h 851"/>
                    <a:gd name="T2" fmla="*/ 2491 w 2980"/>
                    <a:gd name="T3" fmla="*/ 813 h 851"/>
                    <a:gd name="T4" fmla="*/ 2429 w 2980"/>
                    <a:gd name="T5" fmla="*/ 791 h 851"/>
                    <a:gd name="T6" fmla="*/ 2304 w 2980"/>
                    <a:gd name="T7" fmla="*/ 777 h 851"/>
                    <a:gd name="T8" fmla="*/ 2274 w 2980"/>
                    <a:gd name="T9" fmla="*/ 755 h 851"/>
                    <a:gd name="T10" fmla="*/ 2214 w 2980"/>
                    <a:gd name="T11" fmla="*/ 741 h 851"/>
                    <a:gd name="T12" fmla="*/ 2126 w 2980"/>
                    <a:gd name="T13" fmla="*/ 725 h 851"/>
                    <a:gd name="T14" fmla="*/ 2058 w 2980"/>
                    <a:gd name="T15" fmla="*/ 709 h 851"/>
                    <a:gd name="T16" fmla="*/ 2004 w 2980"/>
                    <a:gd name="T17" fmla="*/ 699 h 851"/>
                    <a:gd name="T18" fmla="*/ 1970 w 2980"/>
                    <a:gd name="T19" fmla="*/ 687 h 851"/>
                    <a:gd name="T20" fmla="*/ 1962 w 2980"/>
                    <a:gd name="T21" fmla="*/ 667 h 851"/>
                    <a:gd name="T22" fmla="*/ 1946 w 2980"/>
                    <a:gd name="T23" fmla="*/ 651 h 851"/>
                    <a:gd name="T24" fmla="*/ 1868 w 2980"/>
                    <a:gd name="T25" fmla="*/ 637 h 851"/>
                    <a:gd name="T26" fmla="*/ 1798 w 2980"/>
                    <a:gd name="T27" fmla="*/ 627 h 851"/>
                    <a:gd name="T28" fmla="*/ 1761 w 2980"/>
                    <a:gd name="T29" fmla="*/ 599 h 851"/>
                    <a:gd name="T30" fmla="*/ 1715 w 2980"/>
                    <a:gd name="T31" fmla="*/ 583 h 851"/>
                    <a:gd name="T32" fmla="*/ 1659 w 2980"/>
                    <a:gd name="T33" fmla="*/ 575 h 851"/>
                    <a:gd name="T34" fmla="*/ 1645 w 2980"/>
                    <a:gd name="T35" fmla="*/ 557 h 851"/>
                    <a:gd name="T36" fmla="*/ 1621 w 2980"/>
                    <a:gd name="T37" fmla="*/ 549 h 851"/>
                    <a:gd name="T38" fmla="*/ 1559 w 2980"/>
                    <a:gd name="T39" fmla="*/ 541 h 851"/>
                    <a:gd name="T40" fmla="*/ 1483 w 2980"/>
                    <a:gd name="T41" fmla="*/ 529 h 851"/>
                    <a:gd name="T42" fmla="*/ 1475 w 2980"/>
                    <a:gd name="T43" fmla="*/ 519 h 851"/>
                    <a:gd name="T44" fmla="*/ 1459 w 2980"/>
                    <a:gd name="T45" fmla="*/ 511 h 851"/>
                    <a:gd name="T46" fmla="*/ 1423 w 2980"/>
                    <a:gd name="T47" fmla="*/ 501 h 851"/>
                    <a:gd name="T48" fmla="*/ 1403 w 2980"/>
                    <a:gd name="T49" fmla="*/ 485 h 851"/>
                    <a:gd name="T50" fmla="*/ 1375 w 2980"/>
                    <a:gd name="T51" fmla="*/ 475 h 851"/>
                    <a:gd name="T52" fmla="*/ 1359 w 2980"/>
                    <a:gd name="T53" fmla="*/ 463 h 851"/>
                    <a:gd name="T54" fmla="*/ 1327 w 2980"/>
                    <a:gd name="T55" fmla="*/ 455 h 851"/>
                    <a:gd name="T56" fmla="*/ 1313 w 2980"/>
                    <a:gd name="T57" fmla="*/ 433 h 851"/>
                    <a:gd name="T58" fmla="*/ 1289 w 2980"/>
                    <a:gd name="T59" fmla="*/ 423 h 851"/>
                    <a:gd name="T60" fmla="*/ 1213 w 2980"/>
                    <a:gd name="T61" fmla="*/ 407 h 851"/>
                    <a:gd name="T62" fmla="*/ 1164 w 2980"/>
                    <a:gd name="T63" fmla="*/ 395 h 851"/>
                    <a:gd name="T64" fmla="*/ 1120 w 2980"/>
                    <a:gd name="T65" fmla="*/ 385 h 851"/>
                    <a:gd name="T66" fmla="*/ 1052 w 2980"/>
                    <a:gd name="T67" fmla="*/ 373 h 851"/>
                    <a:gd name="T68" fmla="*/ 1022 w 2980"/>
                    <a:gd name="T69" fmla="*/ 363 h 851"/>
                    <a:gd name="T70" fmla="*/ 1004 w 2980"/>
                    <a:gd name="T71" fmla="*/ 355 h 851"/>
                    <a:gd name="T72" fmla="*/ 958 w 2980"/>
                    <a:gd name="T73" fmla="*/ 331 h 851"/>
                    <a:gd name="T74" fmla="*/ 862 w 2980"/>
                    <a:gd name="T75" fmla="*/ 309 h 851"/>
                    <a:gd name="T76" fmla="*/ 832 w 2980"/>
                    <a:gd name="T77" fmla="*/ 300 h 851"/>
                    <a:gd name="T78" fmla="*/ 796 w 2980"/>
                    <a:gd name="T79" fmla="*/ 286 h 851"/>
                    <a:gd name="T80" fmla="*/ 780 w 2980"/>
                    <a:gd name="T81" fmla="*/ 268 h 851"/>
                    <a:gd name="T82" fmla="*/ 762 w 2980"/>
                    <a:gd name="T83" fmla="*/ 252 h 851"/>
                    <a:gd name="T84" fmla="*/ 712 w 2980"/>
                    <a:gd name="T85" fmla="*/ 236 h 851"/>
                    <a:gd name="T86" fmla="*/ 639 w 2980"/>
                    <a:gd name="T87" fmla="*/ 226 h 851"/>
                    <a:gd name="T88" fmla="*/ 611 w 2980"/>
                    <a:gd name="T89" fmla="*/ 210 h 851"/>
                    <a:gd name="T90" fmla="*/ 595 w 2980"/>
                    <a:gd name="T91" fmla="*/ 198 h 851"/>
                    <a:gd name="T92" fmla="*/ 553 w 2980"/>
                    <a:gd name="T93" fmla="*/ 190 h 851"/>
                    <a:gd name="T94" fmla="*/ 515 w 2980"/>
                    <a:gd name="T95" fmla="*/ 182 h 851"/>
                    <a:gd name="T96" fmla="*/ 497 w 2980"/>
                    <a:gd name="T97" fmla="*/ 172 h 851"/>
                    <a:gd name="T98" fmla="*/ 421 w 2980"/>
                    <a:gd name="T99" fmla="*/ 166 h 851"/>
                    <a:gd name="T100" fmla="*/ 389 w 2980"/>
                    <a:gd name="T101" fmla="*/ 154 h 851"/>
                    <a:gd name="T102" fmla="*/ 363 w 2980"/>
                    <a:gd name="T103" fmla="*/ 140 h 851"/>
                    <a:gd name="T104" fmla="*/ 339 w 2980"/>
                    <a:gd name="T105" fmla="*/ 130 h 851"/>
                    <a:gd name="T106" fmla="*/ 315 w 2980"/>
                    <a:gd name="T107" fmla="*/ 116 h 851"/>
                    <a:gd name="T108" fmla="*/ 287 w 2980"/>
                    <a:gd name="T109" fmla="*/ 106 h 851"/>
                    <a:gd name="T110" fmla="*/ 279 w 2980"/>
                    <a:gd name="T111" fmla="*/ 80 h 851"/>
                    <a:gd name="T112" fmla="*/ 233 w 2980"/>
                    <a:gd name="T113" fmla="*/ 66 h 851"/>
                    <a:gd name="T114" fmla="*/ 181 w 2980"/>
                    <a:gd name="T115" fmla="*/ 54 h 851"/>
                    <a:gd name="T116" fmla="*/ 145 w 2980"/>
                    <a:gd name="T117" fmla="*/ 42 h 851"/>
                    <a:gd name="T118" fmla="*/ 127 w 2980"/>
                    <a:gd name="T119" fmla="*/ 30 h 851"/>
                    <a:gd name="T120" fmla="*/ 50 w 2980"/>
                    <a:gd name="T121" fmla="*/ 16 h 851"/>
                    <a:gd name="T122" fmla="*/ 30 w 2980"/>
                    <a:gd name="T123" fmla="*/ 4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80" h="851">
                      <a:moveTo>
                        <a:pt x="2980" y="851"/>
                      </a:moveTo>
                      <a:lnTo>
                        <a:pt x="2563" y="851"/>
                      </a:lnTo>
                      <a:lnTo>
                        <a:pt x="2563" y="829"/>
                      </a:lnTo>
                      <a:lnTo>
                        <a:pt x="2519" y="829"/>
                      </a:lnTo>
                      <a:lnTo>
                        <a:pt x="2519" y="817"/>
                      </a:lnTo>
                      <a:lnTo>
                        <a:pt x="2505" y="817"/>
                      </a:lnTo>
                      <a:lnTo>
                        <a:pt x="2505" y="813"/>
                      </a:lnTo>
                      <a:lnTo>
                        <a:pt x="2491" y="813"/>
                      </a:lnTo>
                      <a:lnTo>
                        <a:pt x="2491" y="799"/>
                      </a:lnTo>
                      <a:lnTo>
                        <a:pt x="2443" y="799"/>
                      </a:lnTo>
                      <a:lnTo>
                        <a:pt x="2443" y="791"/>
                      </a:lnTo>
                      <a:lnTo>
                        <a:pt x="2429" y="791"/>
                      </a:lnTo>
                      <a:lnTo>
                        <a:pt x="2429" y="785"/>
                      </a:lnTo>
                      <a:lnTo>
                        <a:pt x="2343" y="785"/>
                      </a:lnTo>
                      <a:lnTo>
                        <a:pt x="2343" y="777"/>
                      </a:lnTo>
                      <a:lnTo>
                        <a:pt x="2304" y="777"/>
                      </a:lnTo>
                      <a:lnTo>
                        <a:pt x="2304" y="759"/>
                      </a:lnTo>
                      <a:lnTo>
                        <a:pt x="2294" y="759"/>
                      </a:lnTo>
                      <a:lnTo>
                        <a:pt x="2294" y="755"/>
                      </a:lnTo>
                      <a:lnTo>
                        <a:pt x="2274" y="755"/>
                      </a:lnTo>
                      <a:lnTo>
                        <a:pt x="2274" y="747"/>
                      </a:lnTo>
                      <a:lnTo>
                        <a:pt x="2228" y="747"/>
                      </a:lnTo>
                      <a:lnTo>
                        <a:pt x="2228" y="741"/>
                      </a:lnTo>
                      <a:lnTo>
                        <a:pt x="2214" y="741"/>
                      </a:lnTo>
                      <a:lnTo>
                        <a:pt x="2214" y="733"/>
                      </a:lnTo>
                      <a:lnTo>
                        <a:pt x="2138" y="733"/>
                      </a:lnTo>
                      <a:lnTo>
                        <a:pt x="2138" y="725"/>
                      </a:lnTo>
                      <a:lnTo>
                        <a:pt x="2126" y="725"/>
                      </a:lnTo>
                      <a:lnTo>
                        <a:pt x="2126" y="721"/>
                      </a:lnTo>
                      <a:lnTo>
                        <a:pt x="2078" y="721"/>
                      </a:lnTo>
                      <a:lnTo>
                        <a:pt x="2078" y="709"/>
                      </a:lnTo>
                      <a:lnTo>
                        <a:pt x="2058" y="709"/>
                      </a:lnTo>
                      <a:lnTo>
                        <a:pt x="2058" y="703"/>
                      </a:lnTo>
                      <a:lnTo>
                        <a:pt x="2024" y="703"/>
                      </a:lnTo>
                      <a:lnTo>
                        <a:pt x="2024" y="699"/>
                      </a:lnTo>
                      <a:lnTo>
                        <a:pt x="2004" y="699"/>
                      </a:lnTo>
                      <a:lnTo>
                        <a:pt x="2004" y="695"/>
                      </a:lnTo>
                      <a:lnTo>
                        <a:pt x="1998" y="695"/>
                      </a:lnTo>
                      <a:lnTo>
                        <a:pt x="1998" y="687"/>
                      </a:lnTo>
                      <a:lnTo>
                        <a:pt x="1970" y="687"/>
                      </a:lnTo>
                      <a:lnTo>
                        <a:pt x="1970" y="675"/>
                      </a:lnTo>
                      <a:lnTo>
                        <a:pt x="1966" y="675"/>
                      </a:lnTo>
                      <a:lnTo>
                        <a:pt x="1966" y="667"/>
                      </a:lnTo>
                      <a:lnTo>
                        <a:pt x="1962" y="667"/>
                      </a:lnTo>
                      <a:lnTo>
                        <a:pt x="1962" y="659"/>
                      </a:lnTo>
                      <a:lnTo>
                        <a:pt x="1956" y="659"/>
                      </a:lnTo>
                      <a:lnTo>
                        <a:pt x="1956" y="651"/>
                      </a:lnTo>
                      <a:lnTo>
                        <a:pt x="1946" y="651"/>
                      </a:lnTo>
                      <a:lnTo>
                        <a:pt x="1946" y="641"/>
                      </a:lnTo>
                      <a:lnTo>
                        <a:pt x="1888" y="641"/>
                      </a:lnTo>
                      <a:lnTo>
                        <a:pt x="1888" y="637"/>
                      </a:lnTo>
                      <a:lnTo>
                        <a:pt x="1868" y="637"/>
                      </a:lnTo>
                      <a:lnTo>
                        <a:pt x="1868" y="631"/>
                      </a:lnTo>
                      <a:lnTo>
                        <a:pt x="1842" y="631"/>
                      </a:lnTo>
                      <a:lnTo>
                        <a:pt x="1842" y="627"/>
                      </a:lnTo>
                      <a:lnTo>
                        <a:pt x="1798" y="627"/>
                      </a:lnTo>
                      <a:lnTo>
                        <a:pt x="1798" y="615"/>
                      </a:lnTo>
                      <a:lnTo>
                        <a:pt x="1794" y="615"/>
                      </a:lnTo>
                      <a:lnTo>
                        <a:pt x="1794" y="599"/>
                      </a:lnTo>
                      <a:lnTo>
                        <a:pt x="1761" y="599"/>
                      </a:lnTo>
                      <a:lnTo>
                        <a:pt x="1761" y="591"/>
                      </a:lnTo>
                      <a:lnTo>
                        <a:pt x="1735" y="591"/>
                      </a:lnTo>
                      <a:lnTo>
                        <a:pt x="1735" y="583"/>
                      </a:lnTo>
                      <a:lnTo>
                        <a:pt x="1715" y="583"/>
                      </a:lnTo>
                      <a:lnTo>
                        <a:pt x="1715" y="579"/>
                      </a:lnTo>
                      <a:lnTo>
                        <a:pt x="1669" y="579"/>
                      </a:lnTo>
                      <a:lnTo>
                        <a:pt x="1669" y="575"/>
                      </a:lnTo>
                      <a:lnTo>
                        <a:pt x="1659" y="575"/>
                      </a:lnTo>
                      <a:lnTo>
                        <a:pt x="1659" y="563"/>
                      </a:lnTo>
                      <a:lnTo>
                        <a:pt x="1653" y="563"/>
                      </a:lnTo>
                      <a:lnTo>
                        <a:pt x="1653" y="557"/>
                      </a:lnTo>
                      <a:lnTo>
                        <a:pt x="1645" y="557"/>
                      </a:lnTo>
                      <a:lnTo>
                        <a:pt x="1645" y="555"/>
                      </a:lnTo>
                      <a:lnTo>
                        <a:pt x="1633" y="555"/>
                      </a:lnTo>
                      <a:lnTo>
                        <a:pt x="1633" y="549"/>
                      </a:lnTo>
                      <a:lnTo>
                        <a:pt x="1621" y="549"/>
                      </a:lnTo>
                      <a:lnTo>
                        <a:pt x="1621" y="543"/>
                      </a:lnTo>
                      <a:lnTo>
                        <a:pt x="1587" y="543"/>
                      </a:lnTo>
                      <a:lnTo>
                        <a:pt x="1587" y="541"/>
                      </a:lnTo>
                      <a:lnTo>
                        <a:pt x="1559" y="541"/>
                      </a:lnTo>
                      <a:lnTo>
                        <a:pt x="1559" y="537"/>
                      </a:lnTo>
                      <a:lnTo>
                        <a:pt x="1507" y="537"/>
                      </a:lnTo>
                      <a:lnTo>
                        <a:pt x="1507" y="529"/>
                      </a:lnTo>
                      <a:lnTo>
                        <a:pt x="1483" y="529"/>
                      </a:lnTo>
                      <a:lnTo>
                        <a:pt x="1483" y="525"/>
                      </a:lnTo>
                      <a:lnTo>
                        <a:pt x="1479" y="525"/>
                      </a:lnTo>
                      <a:lnTo>
                        <a:pt x="1479" y="519"/>
                      </a:lnTo>
                      <a:lnTo>
                        <a:pt x="1475" y="519"/>
                      </a:lnTo>
                      <a:lnTo>
                        <a:pt x="1475" y="515"/>
                      </a:lnTo>
                      <a:lnTo>
                        <a:pt x="1465" y="515"/>
                      </a:lnTo>
                      <a:lnTo>
                        <a:pt x="1465" y="511"/>
                      </a:lnTo>
                      <a:lnTo>
                        <a:pt x="1459" y="511"/>
                      </a:lnTo>
                      <a:lnTo>
                        <a:pt x="1459" y="507"/>
                      </a:lnTo>
                      <a:lnTo>
                        <a:pt x="1437" y="507"/>
                      </a:lnTo>
                      <a:lnTo>
                        <a:pt x="1437" y="501"/>
                      </a:lnTo>
                      <a:lnTo>
                        <a:pt x="1423" y="501"/>
                      </a:lnTo>
                      <a:lnTo>
                        <a:pt x="1423" y="497"/>
                      </a:lnTo>
                      <a:lnTo>
                        <a:pt x="1411" y="497"/>
                      </a:lnTo>
                      <a:lnTo>
                        <a:pt x="1411" y="485"/>
                      </a:lnTo>
                      <a:lnTo>
                        <a:pt x="1403" y="485"/>
                      </a:lnTo>
                      <a:lnTo>
                        <a:pt x="1403" y="481"/>
                      </a:lnTo>
                      <a:lnTo>
                        <a:pt x="1383" y="481"/>
                      </a:lnTo>
                      <a:lnTo>
                        <a:pt x="1383" y="475"/>
                      </a:lnTo>
                      <a:lnTo>
                        <a:pt x="1375" y="475"/>
                      </a:lnTo>
                      <a:lnTo>
                        <a:pt x="1375" y="471"/>
                      </a:lnTo>
                      <a:lnTo>
                        <a:pt x="1367" y="471"/>
                      </a:lnTo>
                      <a:lnTo>
                        <a:pt x="1367" y="463"/>
                      </a:lnTo>
                      <a:lnTo>
                        <a:pt x="1359" y="463"/>
                      </a:lnTo>
                      <a:lnTo>
                        <a:pt x="1359" y="459"/>
                      </a:lnTo>
                      <a:lnTo>
                        <a:pt x="1347" y="459"/>
                      </a:lnTo>
                      <a:lnTo>
                        <a:pt x="1347" y="455"/>
                      </a:lnTo>
                      <a:lnTo>
                        <a:pt x="1327" y="455"/>
                      </a:lnTo>
                      <a:lnTo>
                        <a:pt x="1327" y="437"/>
                      </a:lnTo>
                      <a:lnTo>
                        <a:pt x="1323" y="437"/>
                      </a:lnTo>
                      <a:lnTo>
                        <a:pt x="1323" y="433"/>
                      </a:lnTo>
                      <a:lnTo>
                        <a:pt x="1313" y="433"/>
                      </a:lnTo>
                      <a:lnTo>
                        <a:pt x="1313" y="429"/>
                      </a:lnTo>
                      <a:lnTo>
                        <a:pt x="1309" y="429"/>
                      </a:lnTo>
                      <a:lnTo>
                        <a:pt x="1309" y="423"/>
                      </a:lnTo>
                      <a:lnTo>
                        <a:pt x="1289" y="423"/>
                      </a:lnTo>
                      <a:lnTo>
                        <a:pt x="1289" y="411"/>
                      </a:lnTo>
                      <a:lnTo>
                        <a:pt x="1273" y="411"/>
                      </a:lnTo>
                      <a:lnTo>
                        <a:pt x="1273" y="407"/>
                      </a:lnTo>
                      <a:lnTo>
                        <a:pt x="1213" y="407"/>
                      </a:lnTo>
                      <a:lnTo>
                        <a:pt x="1213" y="401"/>
                      </a:lnTo>
                      <a:lnTo>
                        <a:pt x="1200" y="401"/>
                      </a:lnTo>
                      <a:lnTo>
                        <a:pt x="1200" y="395"/>
                      </a:lnTo>
                      <a:lnTo>
                        <a:pt x="1164" y="395"/>
                      </a:lnTo>
                      <a:lnTo>
                        <a:pt x="1164" y="389"/>
                      </a:lnTo>
                      <a:lnTo>
                        <a:pt x="1130" y="389"/>
                      </a:lnTo>
                      <a:lnTo>
                        <a:pt x="1130" y="385"/>
                      </a:lnTo>
                      <a:lnTo>
                        <a:pt x="1120" y="385"/>
                      </a:lnTo>
                      <a:lnTo>
                        <a:pt x="1120" y="381"/>
                      </a:lnTo>
                      <a:lnTo>
                        <a:pt x="1096" y="381"/>
                      </a:lnTo>
                      <a:lnTo>
                        <a:pt x="1096" y="373"/>
                      </a:lnTo>
                      <a:lnTo>
                        <a:pt x="1052" y="373"/>
                      </a:lnTo>
                      <a:lnTo>
                        <a:pt x="1052" y="369"/>
                      </a:lnTo>
                      <a:lnTo>
                        <a:pt x="1044" y="369"/>
                      </a:lnTo>
                      <a:lnTo>
                        <a:pt x="1044" y="363"/>
                      </a:lnTo>
                      <a:lnTo>
                        <a:pt x="1022" y="363"/>
                      </a:lnTo>
                      <a:lnTo>
                        <a:pt x="1022" y="359"/>
                      </a:lnTo>
                      <a:lnTo>
                        <a:pt x="1016" y="359"/>
                      </a:lnTo>
                      <a:lnTo>
                        <a:pt x="1016" y="355"/>
                      </a:lnTo>
                      <a:lnTo>
                        <a:pt x="1004" y="355"/>
                      </a:lnTo>
                      <a:lnTo>
                        <a:pt x="1004" y="351"/>
                      </a:lnTo>
                      <a:lnTo>
                        <a:pt x="998" y="351"/>
                      </a:lnTo>
                      <a:lnTo>
                        <a:pt x="998" y="331"/>
                      </a:lnTo>
                      <a:lnTo>
                        <a:pt x="958" y="331"/>
                      </a:lnTo>
                      <a:lnTo>
                        <a:pt x="958" y="317"/>
                      </a:lnTo>
                      <a:lnTo>
                        <a:pt x="952" y="317"/>
                      </a:lnTo>
                      <a:lnTo>
                        <a:pt x="952" y="309"/>
                      </a:lnTo>
                      <a:lnTo>
                        <a:pt x="862" y="309"/>
                      </a:lnTo>
                      <a:lnTo>
                        <a:pt x="862" y="306"/>
                      </a:lnTo>
                      <a:lnTo>
                        <a:pt x="848" y="306"/>
                      </a:lnTo>
                      <a:lnTo>
                        <a:pt x="848" y="300"/>
                      </a:lnTo>
                      <a:lnTo>
                        <a:pt x="832" y="300"/>
                      </a:lnTo>
                      <a:lnTo>
                        <a:pt x="832" y="292"/>
                      </a:lnTo>
                      <a:lnTo>
                        <a:pt x="808" y="292"/>
                      </a:lnTo>
                      <a:lnTo>
                        <a:pt x="808" y="286"/>
                      </a:lnTo>
                      <a:lnTo>
                        <a:pt x="796" y="286"/>
                      </a:lnTo>
                      <a:lnTo>
                        <a:pt x="796" y="280"/>
                      </a:lnTo>
                      <a:lnTo>
                        <a:pt x="792" y="280"/>
                      </a:lnTo>
                      <a:lnTo>
                        <a:pt x="792" y="268"/>
                      </a:lnTo>
                      <a:lnTo>
                        <a:pt x="780" y="268"/>
                      </a:lnTo>
                      <a:lnTo>
                        <a:pt x="780" y="260"/>
                      </a:lnTo>
                      <a:lnTo>
                        <a:pt x="778" y="260"/>
                      </a:lnTo>
                      <a:lnTo>
                        <a:pt x="778" y="252"/>
                      </a:lnTo>
                      <a:lnTo>
                        <a:pt x="762" y="252"/>
                      </a:lnTo>
                      <a:lnTo>
                        <a:pt x="762" y="242"/>
                      </a:lnTo>
                      <a:lnTo>
                        <a:pt x="744" y="242"/>
                      </a:lnTo>
                      <a:lnTo>
                        <a:pt x="744" y="236"/>
                      </a:lnTo>
                      <a:lnTo>
                        <a:pt x="712" y="236"/>
                      </a:lnTo>
                      <a:lnTo>
                        <a:pt x="712" y="230"/>
                      </a:lnTo>
                      <a:lnTo>
                        <a:pt x="672" y="230"/>
                      </a:lnTo>
                      <a:lnTo>
                        <a:pt x="672" y="226"/>
                      </a:lnTo>
                      <a:lnTo>
                        <a:pt x="639" y="226"/>
                      </a:lnTo>
                      <a:lnTo>
                        <a:pt x="639" y="218"/>
                      </a:lnTo>
                      <a:lnTo>
                        <a:pt x="633" y="218"/>
                      </a:lnTo>
                      <a:lnTo>
                        <a:pt x="633" y="210"/>
                      </a:lnTo>
                      <a:lnTo>
                        <a:pt x="611" y="210"/>
                      </a:lnTo>
                      <a:lnTo>
                        <a:pt x="611" y="206"/>
                      </a:lnTo>
                      <a:lnTo>
                        <a:pt x="603" y="206"/>
                      </a:lnTo>
                      <a:lnTo>
                        <a:pt x="603" y="198"/>
                      </a:lnTo>
                      <a:lnTo>
                        <a:pt x="595" y="198"/>
                      </a:lnTo>
                      <a:lnTo>
                        <a:pt x="595" y="194"/>
                      </a:lnTo>
                      <a:lnTo>
                        <a:pt x="559" y="194"/>
                      </a:lnTo>
                      <a:lnTo>
                        <a:pt x="559" y="190"/>
                      </a:lnTo>
                      <a:lnTo>
                        <a:pt x="553" y="190"/>
                      </a:lnTo>
                      <a:lnTo>
                        <a:pt x="553" y="184"/>
                      </a:lnTo>
                      <a:lnTo>
                        <a:pt x="531" y="184"/>
                      </a:lnTo>
                      <a:lnTo>
                        <a:pt x="531" y="182"/>
                      </a:lnTo>
                      <a:lnTo>
                        <a:pt x="515" y="182"/>
                      </a:lnTo>
                      <a:lnTo>
                        <a:pt x="515" y="176"/>
                      </a:lnTo>
                      <a:lnTo>
                        <a:pt x="501" y="176"/>
                      </a:lnTo>
                      <a:lnTo>
                        <a:pt x="501" y="172"/>
                      </a:lnTo>
                      <a:lnTo>
                        <a:pt x="497" y="172"/>
                      </a:lnTo>
                      <a:lnTo>
                        <a:pt x="497" y="170"/>
                      </a:lnTo>
                      <a:lnTo>
                        <a:pt x="465" y="170"/>
                      </a:lnTo>
                      <a:lnTo>
                        <a:pt x="465" y="166"/>
                      </a:lnTo>
                      <a:lnTo>
                        <a:pt x="421" y="166"/>
                      </a:lnTo>
                      <a:lnTo>
                        <a:pt x="421" y="160"/>
                      </a:lnTo>
                      <a:lnTo>
                        <a:pt x="417" y="160"/>
                      </a:lnTo>
                      <a:lnTo>
                        <a:pt x="417" y="154"/>
                      </a:lnTo>
                      <a:lnTo>
                        <a:pt x="389" y="154"/>
                      </a:lnTo>
                      <a:lnTo>
                        <a:pt x="389" y="146"/>
                      </a:lnTo>
                      <a:lnTo>
                        <a:pt x="375" y="146"/>
                      </a:lnTo>
                      <a:lnTo>
                        <a:pt x="375" y="140"/>
                      </a:lnTo>
                      <a:lnTo>
                        <a:pt x="363" y="140"/>
                      </a:lnTo>
                      <a:lnTo>
                        <a:pt x="363" y="134"/>
                      </a:lnTo>
                      <a:lnTo>
                        <a:pt x="343" y="134"/>
                      </a:lnTo>
                      <a:lnTo>
                        <a:pt x="343" y="130"/>
                      </a:lnTo>
                      <a:lnTo>
                        <a:pt x="339" y="130"/>
                      </a:lnTo>
                      <a:lnTo>
                        <a:pt x="339" y="120"/>
                      </a:lnTo>
                      <a:lnTo>
                        <a:pt x="333" y="120"/>
                      </a:lnTo>
                      <a:lnTo>
                        <a:pt x="333" y="116"/>
                      </a:lnTo>
                      <a:lnTo>
                        <a:pt x="315" y="116"/>
                      </a:lnTo>
                      <a:lnTo>
                        <a:pt x="315" y="112"/>
                      </a:lnTo>
                      <a:lnTo>
                        <a:pt x="295" y="112"/>
                      </a:lnTo>
                      <a:lnTo>
                        <a:pt x="295" y="106"/>
                      </a:lnTo>
                      <a:lnTo>
                        <a:pt x="287" y="106"/>
                      </a:lnTo>
                      <a:lnTo>
                        <a:pt x="287" y="96"/>
                      </a:lnTo>
                      <a:lnTo>
                        <a:pt x="283" y="96"/>
                      </a:lnTo>
                      <a:lnTo>
                        <a:pt x="283" y="80"/>
                      </a:lnTo>
                      <a:lnTo>
                        <a:pt x="279" y="80"/>
                      </a:lnTo>
                      <a:lnTo>
                        <a:pt x="279" y="72"/>
                      </a:lnTo>
                      <a:lnTo>
                        <a:pt x="245" y="72"/>
                      </a:lnTo>
                      <a:lnTo>
                        <a:pt x="245" y="66"/>
                      </a:lnTo>
                      <a:lnTo>
                        <a:pt x="233" y="66"/>
                      </a:lnTo>
                      <a:lnTo>
                        <a:pt x="233" y="60"/>
                      </a:lnTo>
                      <a:lnTo>
                        <a:pt x="199" y="60"/>
                      </a:lnTo>
                      <a:lnTo>
                        <a:pt x="199" y="54"/>
                      </a:lnTo>
                      <a:lnTo>
                        <a:pt x="181" y="54"/>
                      </a:lnTo>
                      <a:lnTo>
                        <a:pt x="181" y="46"/>
                      </a:lnTo>
                      <a:lnTo>
                        <a:pt x="153" y="46"/>
                      </a:lnTo>
                      <a:lnTo>
                        <a:pt x="153" y="42"/>
                      </a:lnTo>
                      <a:lnTo>
                        <a:pt x="145" y="42"/>
                      </a:lnTo>
                      <a:lnTo>
                        <a:pt x="145" y="34"/>
                      </a:lnTo>
                      <a:lnTo>
                        <a:pt x="135" y="34"/>
                      </a:lnTo>
                      <a:lnTo>
                        <a:pt x="135" y="30"/>
                      </a:lnTo>
                      <a:lnTo>
                        <a:pt x="127" y="30"/>
                      </a:lnTo>
                      <a:lnTo>
                        <a:pt x="127" y="26"/>
                      </a:lnTo>
                      <a:lnTo>
                        <a:pt x="94" y="26"/>
                      </a:lnTo>
                      <a:lnTo>
                        <a:pt x="94" y="16"/>
                      </a:lnTo>
                      <a:lnTo>
                        <a:pt x="50" y="16"/>
                      </a:lnTo>
                      <a:lnTo>
                        <a:pt x="50" y="12"/>
                      </a:lnTo>
                      <a:lnTo>
                        <a:pt x="36" y="12"/>
                      </a:lnTo>
                      <a:lnTo>
                        <a:pt x="36" y="4"/>
                      </a:lnTo>
                      <a:lnTo>
                        <a:pt x="30" y="4"/>
                      </a:lnTo>
                      <a:lnTo>
                        <a:pt x="30" y="0"/>
                      </a:lnTo>
                      <a:lnTo>
                        <a:pt x="0" y="0"/>
                      </a:lnTo>
                    </a:path>
                  </a:pathLst>
                </a:cu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7" name="Oval 626">
                  <a:extLst>
                    <a:ext uri="{FF2B5EF4-FFF2-40B4-BE49-F238E27FC236}">
                      <a16:creationId xmlns:a16="http://schemas.microsoft.com/office/drawing/2014/main" id="{0A6CBDC7-6F1A-4A40-889A-0505D7ED8993}"/>
                    </a:ext>
                  </a:extLst>
                </p:cNvPr>
                <p:cNvSpPr>
                  <a:spLocks noChangeArrowheads="1"/>
                </p:cNvSpPr>
                <p:nvPr/>
              </p:nvSpPr>
              <p:spPr bwMode="auto">
                <a:xfrm>
                  <a:off x="25016679"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8" name="Oval 627">
                  <a:extLst>
                    <a:ext uri="{FF2B5EF4-FFF2-40B4-BE49-F238E27FC236}">
                      <a16:creationId xmlns:a16="http://schemas.microsoft.com/office/drawing/2014/main" id="{3BE8D5D7-3F22-46A5-A75D-87B58DF68F5E}"/>
                    </a:ext>
                  </a:extLst>
                </p:cNvPr>
                <p:cNvSpPr>
                  <a:spLocks noChangeArrowheads="1"/>
                </p:cNvSpPr>
                <p:nvPr/>
              </p:nvSpPr>
              <p:spPr bwMode="auto">
                <a:xfrm>
                  <a:off x="24965043" y="12305904"/>
                  <a:ext cx="72290"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9" name="Oval 628">
                  <a:extLst>
                    <a:ext uri="{FF2B5EF4-FFF2-40B4-BE49-F238E27FC236}">
                      <a16:creationId xmlns:a16="http://schemas.microsoft.com/office/drawing/2014/main" id="{A34F2182-B07B-4241-9D72-881A1BD6EA1E}"/>
                    </a:ext>
                  </a:extLst>
                </p:cNvPr>
                <p:cNvSpPr>
                  <a:spLocks noChangeArrowheads="1"/>
                </p:cNvSpPr>
                <p:nvPr/>
              </p:nvSpPr>
              <p:spPr bwMode="auto">
                <a:xfrm>
                  <a:off x="24873821" y="12305904"/>
                  <a:ext cx="67126"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0" name="Oval 629">
                  <a:extLst>
                    <a:ext uri="{FF2B5EF4-FFF2-40B4-BE49-F238E27FC236}">
                      <a16:creationId xmlns:a16="http://schemas.microsoft.com/office/drawing/2014/main" id="{88A1A037-C781-45BD-9EC5-CA4D3784D2A1}"/>
                    </a:ext>
                  </a:extLst>
                </p:cNvPr>
                <p:cNvSpPr>
                  <a:spLocks noChangeArrowheads="1"/>
                </p:cNvSpPr>
                <p:nvPr/>
              </p:nvSpPr>
              <p:spPr bwMode="auto">
                <a:xfrm>
                  <a:off x="24842839" y="12305904"/>
                  <a:ext cx="67126"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1" name="Oval 630">
                  <a:extLst>
                    <a:ext uri="{FF2B5EF4-FFF2-40B4-BE49-F238E27FC236}">
                      <a16:creationId xmlns:a16="http://schemas.microsoft.com/office/drawing/2014/main" id="{FCA61E19-DD84-4B24-A606-A9CDE8099D2B}"/>
                    </a:ext>
                  </a:extLst>
                </p:cNvPr>
                <p:cNvSpPr>
                  <a:spLocks noChangeArrowheads="1"/>
                </p:cNvSpPr>
                <p:nvPr/>
              </p:nvSpPr>
              <p:spPr bwMode="auto">
                <a:xfrm>
                  <a:off x="24760222"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2" name="Oval 631">
                  <a:extLst>
                    <a:ext uri="{FF2B5EF4-FFF2-40B4-BE49-F238E27FC236}">
                      <a16:creationId xmlns:a16="http://schemas.microsoft.com/office/drawing/2014/main" id="{9004FC5D-1B63-4878-AC36-E92446B68BD9}"/>
                    </a:ext>
                  </a:extLst>
                </p:cNvPr>
                <p:cNvSpPr>
                  <a:spLocks noChangeArrowheads="1"/>
                </p:cNvSpPr>
                <p:nvPr/>
              </p:nvSpPr>
              <p:spPr bwMode="auto">
                <a:xfrm>
                  <a:off x="24729241"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3" name="Oval 632">
                  <a:extLst>
                    <a:ext uri="{FF2B5EF4-FFF2-40B4-BE49-F238E27FC236}">
                      <a16:creationId xmlns:a16="http://schemas.microsoft.com/office/drawing/2014/main" id="{908D6CFE-5872-457E-BFEE-6E71FD6EFE31}"/>
                    </a:ext>
                  </a:extLst>
                </p:cNvPr>
                <p:cNvSpPr>
                  <a:spLocks noChangeArrowheads="1"/>
                </p:cNvSpPr>
                <p:nvPr/>
              </p:nvSpPr>
              <p:spPr bwMode="auto">
                <a:xfrm>
                  <a:off x="24715471"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4" name="Oval 633">
                  <a:extLst>
                    <a:ext uri="{FF2B5EF4-FFF2-40B4-BE49-F238E27FC236}">
                      <a16:creationId xmlns:a16="http://schemas.microsoft.com/office/drawing/2014/main" id="{D121472F-C85C-4868-9B54-8D6FF8023E72}"/>
                    </a:ext>
                  </a:extLst>
                </p:cNvPr>
                <p:cNvSpPr>
                  <a:spLocks noChangeArrowheads="1"/>
                </p:cNvSpPr>
                <p:nvPr/>
              </p:nvSpPr>
              <p:spPr bwMode="auto">
                <a:xfrm>
                  <a:off x="24677605"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5" name="Oval 634">
                  <a:extLst>
                    <a:ext uri="{FF2B5EF4-FFF2-40B4-BE49-F238E27FC236}">
                      <a16:creationId xmlns:a16="http://schemas.microsoft.com/office/drawing/2014/main" id="{6555D61C-D38F-4314-B78C-333DC85CAC8D}"/>
                    </a:ext>
                  </a:extLst>
                </p:cNvPr>
                <p:cNvSpPr>
                  <a:spLocks noChangeArrowheads="1"/>
                </p:cNvSpPr>
                <p:nvPr/>
              </p:nvSpPr>
              <p:spPr bwMode="auto">
                <a:xfrm>
                  <a:off x="24660393"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6" name="Oval 635">
                  <a:extLst>
                    <a:ext uri="{FF2B5EF4-FFF2-40B4-BE49-F238E27FC236}">
                      <a16:creationId xmlns:a16="http://schemas.microsoft.com/office/drawing/2014/main" id="{6E8A94D4-C62F-414D-BFB4-B021FC928023}"/>
                    </a:ext>
                  </a:extLst>
                </p:cNvPr>
                <p:cNvSpPr>
                  <a:spLocks noChangeArrowheads="1"/>
                </p:cNvSpPr>
                <p:nvPr/>
              </p:nvSpPr>
              <p:spPr bwMode="auto">
                <a:xfrm>
                  <a:off x="24643181"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7" name="Oval 636">
                  <a:extLst>
                    <a:ext uri="{FF2B5EF4-FFF2-40B4-BE49-F238E27FC236}">
                      <a16:creationId xmlns:a16="http://schemas.microsoft.com/office/drawing/2014/main" id="{8C34A4BA-DB92-49ED-B562-F8D79ABC9E39}"/>
                    </a:ext>
                  </a:extLst>
                </p:cNvPr>
                <p:cNvSpPr>
                  <a:spLocks noChangeArrowheads="1"/>
                </p:cNvSpPr>
                <p:nvPr/>
              </p:nvSpPr>
              <p:spPr bwMode="auto">
                <a:xfrm>
                  <a:off x="24619085"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8" name="Oval 637">
                  <a:extLst>
                    <a:ext uri="{FF2B5EF4-FFF2-40B4-BE49-F238E27FC236}">
                      <a16:creationId xmlns:a16="http://schemas.microsoft.com/office/drawing/2014/main" id="{EC0AD917-B5FA-4269-AC2C-0C727CD010A2}"/>
                    </a:ext>
                  </a:extLst>
                </p:cNvPr>
                <p:cNvSpPr>
                  <a:spLocks noChangeArrowheads="1"/>
                </p:cNvSpPr>
                <p:nvPr/>
              </p:nvSpPr>
              <p:spPr bwMode="auto">
                <a:xfrm>
                  <a:off x="24594988"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9" name="Oval 638">
                  <a:extLst>
                    <a:ext uri="{FF2B5EF4-FFF2-40B4-BE49-F238E27FC236}">
                      <a16:creationId xmlns:a16="http://schemas.microsoft.com/office/drawing/2014/main" id="{D01EB56B-FD12-4BD6-9CE0-2892DF89BC1B}"/>
                    </a:ext>
                  </a:extLst>
                </p:cNvPr>
                <p:cNvSpPr>
                  <a:spLocks noChangeArrowheads="1"/>
                </p:cNvSpPr>
                <p:nvPr/>
              </p:nvSpPr>
              <p:spPr bwMode="auto">
                <a:xfrm>
                  <a:off x="24570892"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0" name="Oval 639">
                  <a:extLst>
                    <a:ext uri="{FF2B5EF4-FFF2-40B4-BE49-F238E27FC236}">
                      <a16:creationId xmlns:a16="http://schemas.microsoft.com/office/drawing/2014/main" id="{89A1B736-88FD-404B-8D7F-54B18054B05D}"/>
                    </a:ext>
                  </a:extLst>
                </p:cNvPr>
                <p:cNvSpPr>
                  <a:spLocks noChangeArrowheads="1"/>
                </p:cNvSpPr>
                <p:nvPr/>
              </p:nvSpPr>
              <p:spPr bwMode="auto">
                <a:xfrm>
                  <a:off x="24564007"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1" name="Oval 640">
                  <a:extLst>
                    <a:ext uri="{FF2B5EF4-FFF2-40B4-BE49-F238E27FC236}">
                      <a16:creationId xmlns:a16="http://schemas.microsoft.com/office/drawing/2014/main" id="{CD48B8E8-9BF9-4CC6-A33D-261B5DBC7038}"/>
                    </a:ext>
                  </a:extLst>
                </p:cNvPr>
                <p:cNvSpPr>
                  <a:spLocks noChangeArrowheads="1"/>
                </p:cNvSpPr>
                <p:nvPr/>
              </p:nvSpPr>
              <p:spPr bwMode="auto">
                <a:xfrm>
                  <a:off x="24526141" y="12305904"/>
                  <a:ext cx="72290"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2" name="Oval 641">
                  <a:extLst>
                    <a:ext uri="{FF2B5EF4-FFF2-40B4-BE49-F238E27FC236}">
                      <a16:creationId xmlns:a16="http://schemas.microsoft.com/office/drawing/2014/main" id="{587C797E-A045-4FD1-A70C-7A319177D94A}"/>
                    </a:ext>
                  </a:extLst>
                </p:cNvPr>
                <p:cNvSpPr>
                  <a:spLocks noChangeArrowheads="1"/>
                </p:cNvSpPr>
                <p:nvPr/>
              </p:nvSpPr>
              <p:spPr bwMode="auto">
                <a:xfrm>
                  <a:off x="24512371"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3" name="Oval 642">
                  <a:extLst>
                    <a:ext uri="{FF2B5EF4-FFF2-40B4-BE49-F238E27FC236}">
                      <a16:creationId xmlns:a16="http://schemas.microsoft.com/office/drawing/2014/main" id="{B702A45A-08ED-4F1D-9CF9-E8379E49CA55}"/>
                    </a:ext>
                  </a:extLst>
                </p:cNvPr>
                <p:cNvSpPr>
                  <a:spLocks noChangeArrowheads="1"/>
                </p:cNvSpPr>
                <p:nvPr/>
              </p:nvSpPr>
              <p:spPr bwMode="auto">
                <a:xfrm>
                  <a:off x="24502044"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4" name="Oval 643">
                  <a:extLst>
                    <a:ext uri="{FF2B5EF4-FFF2-40B4-BE49-F238E27FC236}">
                      <a16:creationId xmlns:a16="http://schemas.microsoft.com/office/drawing/2014/main" id="{DF9314CB-B6CF-414E-953E-13631A9A4394}"/>
                    </a:ext>
                  </a:extLst>
                </p:cNvPr>
                <p:cNvSpPr>
                  <a:spLocks noChangeArrowheads="1"/>
                </p:cNvSpPr>
                <p:nvPr/>
              </p:nvSpPr>
              <p:spPr bwMode="auto">
                <a:xfrm>
                  <a:off x="24460735"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5" name="Oval 644">
                  <a:extLst>
                    <a:ext uri="{FF2B5EF4-FFF2-40B4-BE49-F238E27FC236}">
                      <a16:creationId xmlns:a16="http://schemas.microsoft.com/office/drawing/2014/main" id="{13F3A969-F9D9-4BED-AA47-9A3F6F39B5E9}"/>
                    </a:ext>
                  </a:extLst>
                </p:cNvPr>
                <p:cNvSpPr>
                  <a:spLocks noChangeArrowheads="1"/>
                </p:cNvSpPr>
                <p:nvPr/>
              </p:nvSpPr>
              <p:spPr bwMode="auto">
                <a:xfrm>
                  <a:off x="24443524"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6" name="Oval 645">
                  <a:extLst>
                    <a:ext uri="{FF2B5EF4-FFF2-40B4-BE49-F238E27FC236}">
                      <a16:creationId xmlns:a16="http://schemas.microsoft.com/office/drawing/2014/main" id="{FE1ADE25-DB21-4694-AB83-ADB73C2D72F5}"/>
                    </a:ext>
                  </a:extLst>
                </p:cNvPr>
                <p:cNvSpPr>
                  <a:spLocks noChangeArrowheads="1"/>
                </p:cNvSpPr>
                <p:nvPr/>
              </p:nvSpPr>
              <p:spPr bwMode="auto">
                <a:xfrm>
                  <a:off x="24429754" y="12305904"/>
                  <a:ext cx="72290"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7" name="Oval 646">
                  <a:extLst>
                    <a:ext uri="{FF2B5EF4-FFF2-40B4-BE49-F238E27FC236}">
                      <a16:creationId xmlns:a16="http://schemas.microsoft.com/office/drawing/2014/main" id="{AC60004F-E171-49C9-917C-E935137393FF}"/>
                    </a:ext>
                  </a:extLst>
                </p:cNvPr>
                <p:cNvSpPr>
                  <a:spLocks noChangeArrowheads="1"/>
                </p:cNvSpPr>
                <p:nvPr/>
              </p:nvSpPr>
              <p:spPr bwMode="auto">
                <a:xfrm>
                  <a:off x="24409100"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8" name="Oval 647">
                  <a:extLst>
                    <a:ext uri="{FF2B5EF4-FFF2-40B4-BE49-F238E27FC236}">
                      <a16:creationId xmlns:a16="http://schemas.microsoft.com/office/drawing/2014/main" id="{50BF5B2F-903A-477D-8763-2998BD5B4A8A}"/>
                    </a:ext>
                  </a:extLst>
                </p:cNvPr>
                <p:cNvSpPr>
                  <a:spLocks noChangeArrowheads="1"/>
                </p:cNvSpPr>
                <p:nvPr/>
              </p:nvSpPr>
              <p:spPr bwMode="auto">
                <a:xfrm>
                  <a:off x="24385003"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9" name="Oval 648">
                  <a:extLst>
                    <a:ext uri="{FF2B5EF4-FFF2-40B4-BE49-F238E27FC236}">
                      <a16:creationId xmlns:a16="http://schemas.microsoft.com/office/drawing/2014/main" id="{05BE096B-7FDF-4EC2-8580-08AC9024FFDE}"/>
                    </a:ext>
                  </a:extLst>
                </p:cNvPr>
                <p:cNvSpPr>
                  <a:spLocks noChangeArrowheads="1"/>
                </p:cNvSpPr>
                <p:nvPr/>
              </p:nvSpPr>
              <p:spPr bwMode="auto">
                <a:xfrm>
                  <a:off x="24374676"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0" name="Oval 649">
                  <a:extLst>
                    <a:ext uri="{FF2B5EF4-FFF2-40B4-BE49-F238E27FC236}">
                      <a16:creationId xmlns:a16="http://schemas.microsoft.com/office/drawing/2014/main" id="{7F399E74-90ED-4252-B3C8-83FAA7C2E8E7}"/>
                    </a:ext>
                  </a:extLst>
                </p:cNvPr>
                <p:cNvSpPr>
                  <a:spLocks noChangeArrowheads="1"/>
                </p:cNvSpPr>
                <p:nvPr/>
              </p:nvSpPr>
              <p:spPr bwMode="auto">
                <a:xfrm>
                  <a:off x="24343695"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1" name="Oval 650">
                  <a:extLst>
                    <a:ext uri="{FF2B5EF4-FFF2-40B4-BE49-F238E27FC236}">
                      <a16:creationId xmlns:a16="http://schemas.microsoft.com/office/drawing/2014/main" id="{855D4CCF-AA8F-4CFE-82D5-4B9EE9EA7870}"/>
                    </a:ext>
                  </a:extLst>
                </p:cNvPr>
                <p:cNvSpPr>
                  <a:spLocks noChangeArrowheads="1"/>
                </p:cNvSpPr>
                <p:nvPr/>
              </p:nvSpPr>
              <p:spPr bwMode="auto">
                <a:xfrm>
                  <a:off x="24319598" y="1230590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2" name="Oval 651">
                  <a:extLst>
                    <a:ext uri="{FF2B5EF4-FFF2-40B4-BE49-F238E27FC236}">
                      <a16:creationId xmlns:a16="http://schemas.microsoft.com/office/drawing/2014/main" id="{8436A223-1716-4B66-A49E-D8163862870E}"/>
                    </a:ext>
                  </a:extLst>
                </p:cNvPr>
                <p:cNvSpPr>
                  <a:spLocks noChangeArrowheads="1"/>
                </p:cNvSpPr>
                <p:nvPr/>
              </p:nvSpPr>
              <p:spPr bwMode="auto">
                <a:xfrm>
                  <a:off x="24285174" y="1226737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3" name="Oval 652">
                  <a:extLst>
                    <a:ext uri="{FF2B5EF4-FFF2-40B4-BE49-F238E27FC236}">
                      <a16:creationId xmlns:a16="http://schemas.microsoft.com/office/drawing/2014/main" id="{CC2E48C1-F4FC-44DC-B79A-9F498A0C978E}"/>
                    </a:ext>
                  </a:extLst>
                </p:cNvPr>
                <p:cNvSpPr>
                  <a:spLocks noChangeArrowheads="1"/>
                </p:cNvSpPr>
                <p:nvPr/>
              </p:nvSpPr>
              <p:spPr bwMode="auto">
                <a:xfrm>
                  <a:off x="24271405" y="1226737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4" name="Oval 653">
                  <a:extLst>
                    <a:ext uri="{FF2B5EF4-FFF2-40B4-BE49-F238E27FC236}">
                      <a16:creationId xmlns:a16="http://schemas.microsoft.com/office/drawing/2014/main" id="{1BE400A1-6746-4AA2-A38B-F5D16BE85628}"/>
                    </a:ext>
                  </a:extLst>
                </p:cNvPr>
                <p:cNvSpPr>
                  <a:spLocks noChangeArrowheads="1"/>
                </p:cNvSpPr>
                <p:nvPr/>
              </p:nvSpPr>
              <p:spPr bwMode="auto">
                <a:xfrm>
                  <a:off x="24254193" y="1226737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5" name="Oval 654">
                  <a:extLst>
                    <a:ext uri="{FF2B5EF4-FFF2-40B4-BE49-F238E27FC236}">
                      <a16:creationId xmlns:a16="http://schemas.microsoft.com/office/drawing/2014/main" id="{0E3F2F1A-59BB-495E-A892-E79538F4BFEF}"/>
                    </a:ext>
                  </a:extLst>
                </p:cNvPr>
                <p:cNvSpPr>
                  <a:spLocks noChangeArrowheads="1"/>
                </p:cNvSpPr>
                <p:nvPr/>
              </p:nvSpPr>
              <p:spPr bwMode="auto">
                <a:xfrm>
                  <a:off x="24240423" y="1226737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6" name="Oval 655">
                  <a:extLst>
                    <a:ext uri="{FF2B5EF4-FFF2-40B4-BE49-F238E27FC236}">
                      <a16:creationId xmlns:a16="http://schemas.microsoft.com/office/drawing/2014/main" id="{D4DE9542-74A5-419F-8474-A4FD07D59122}"/>
                    </a:ext>
                  </a:extLst>
                </p:cNvPr>
                <p:cNvSpPr>
                  <a:spLocks noChangeArrowheads="1"/>
                </p:cNvSpPr>
                <p:nvPr/>
              </p:nvSpPr>
              <p:spPr bwMode="auto">
                <a:xfrm>
                  <a:off x="24192230" y="12239353"/>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7" name="Oval 656">
                  <a:extLst>
                    <a:ext uri="{FF2B5EF4-FFF2-40B4-BE49-F238E27FC236}">
                      <a16:creationId xmlns:a16="http://schemas.microsoft.com/office/drawing/2014/main" id="{3C57E5F8-0F87-4FD4-AD31-D54C1AF4761E}"/>
                    </a:ext>
                  </a:extLst>
                </p:cNvPr>
                <p:cNvSpPr>
                  <a:spLocks noChangeArrowheads="1"/>
                </p:cNvSpPr>
                <p:nvPr/>
              </p:nvSpPr>
              <p:spPr bwMode="auto">
                <a:xfrm>
                  <a:off x="24178461" y="12239353"/>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8" name="Oval 657">
                  <a:extLst>
                    <a:ext uri="{FF2B5EF4-FFF2-40B4-BE49-F238E27FC236}">
                      <a16:creationId xmlns:a16="http://schemas.microsoft.com/office/drawing/2014/main" id="{FB7CE77F-DF30-40CF-B94D-234974FD6A4C}"/>
                    </a:ext>
                  </a:extLst>
                </p:cNvPr>
                <p:cNvSpPr>
                  <a:spLocks noChangeArrowheads="1"/>
                </p:cNvSpPr>
                <p:nvPr/>
              </p:nvSpPr>
              <p:spPr bwMode="auto">
                <a:xfrm>
                  <a:off x="24126825" y="12214835"/>
                  <a:ext cx="72290"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9" name="Oval 658">
                  <a:extLst>
                    <a:ext uri="{FF2B5EF4-FFF2-40B4-BE49-F238E27FC236}">
                      <a16:creationId xmlns:a16="http://schemas.microsoft.com/office/drawing/2014/main" id="{3884ED3B-CF6D-435A-9829-EC0D87A65550}"/>
                    </a:ext>
                  </a:extLst>
                </p:cNvPr>
                <p:cNvSpPr>
                  <a:spLocks noChangeArrowheads="1"/>
                </p:cNvSpPr>
                <p:nvPr/>
              </p:nvSpPr>
              <p:spPr bwMode="auto">
                <a:xfrm>
                  <a:off x="24102728" y="12214835"/>
                  <a:ext cx="72290"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0" name="Oval 659">
                  <a:extLst>
                    <a:ext uri="{FF2B5EF4-FFF2-40B4-BE49-F238E27FC236}">
                      <a16:creationId xmlns:a16="http://schemas.microsoft.com/office/drawing/2014/main" id="{9C02F720-438A-4617-8169-9B36D0C0A079}"/>
                    </a:ext>
                  </a:extLst>
                </p:cNvPr>
                <p:cNvSpPr>
                  <a:spLocks noChangeArrowheads="1"/>
                </p:cNvSpPr>
                <p:nvPr/>
              </p:nvSpPr>
              <p:spPr bwMode="auto">
                <a:xfrm>
                  <a:off x="24082074" y="1220082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1" name="Oval 660">
                  <a:extLst>
                    <a:ext uri="{FF2B5EF4-FFF2-40B4-BE49-F238E27FC236}">
                      <a16:creationId xmlns:a16="http://schemas.microsoft.com/office/drawing/2014/main" id="{3AC029E3-6D4E-4C06-BE7D-6929B04DB4C3}"/>
                    </a:ext>
                  </a:extLst>
                </p:cNvPr>
                <p:cNvSpPr>
                  <a:spLocks noChangeArrowheads="1"/>
                </p:cNvSpPr>
                <p:nvPr/>
              </p:nvSpPr>
              <p:spPr bwMode="auto">
                <a:xfrm>
                  <a:off x="24054535" y="1219031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2" name="Oval 661">
                  <a:extLst>
                    <a:ext uri="{FF2B5EF4-FFF2-40B4-BE49-F238E27FC236}">
                      <a16:creationId xmlns:a16="http://schemas.microsoft.com/office/drawing/2014/main" id="{D873B330-32DD-4DA5-93B0-693B04615CD0}"/>
                    </a:ext>
                  </a:extLst>
                </p:cNvPr>
                <p:cNvSpPr>
                  <a:spLocks noChangeArrowheads="1"/>
                </p:cNvSpPr>
                <p:nvPr/>
              </p:nvSpPr>
              <p:spPr bwMode="auto">
                <a:xfrm>
                  <a:off x="23996015" y="1219031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3" name="Oval 662">
                  <a:extLst>
                    <a:ext uri="{FF2B5EF4-FFF2-40B4-BE49-F238E27FC236}">
                      <a16:creationId xmlns:a16="http://schemas.microsoft.com/office/drawing/2014/main" id="{96362CF6-3F21-4B0C-8177-224A8FE7387D}"/>
                    </a:ext>
                  </a:extLst>
                </p:cNvPr>
                <p:cNvSpPr>
                  <a:spLocks noChangeArrowheads="1"/>
                </p:cNvSpPr>
                <p:nvPr/>
              </p:nvSpPr>
              <p:spPr bwMode="auto">
                <a:xfrm>
                  <a:off x="23982245" y="1219031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4" name="Oval 663">
                  <a:extLst>
                    <a:ext uri="{FF2B5EF4-FFF2-40B4-BE49-F238E27FC236}">
                      <a16:creationId xmlns:a16="http://schemas.microsoft.com/office/drawing/2014/main" id="{CE5BCF76-B094-47F3-999C-3702B2D7DA4E}"/>
                    </a:ext>
                  </a:extLst>
                </p:cNvPr>
                <p:cNvSpPr>
                  <a:spLocks noChangeArrowheads="1"/>
                </p:cNvSpPr>
                <p:nvPr/>
              </p:nvSpPr>
              <p:spPr bwMode="auto">
                <a:xfrm>
                  <a:off x="23965033" y="1219031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5" name="Oval 664">
                  <a:extLst>
                    <a:ext uri="{FF2B5EF4-FFF2-40B4-BE49-F238E27FC236}">
                      <a16:creationId xmlns:a16="http://schemas.microsoft.com/office/drawing/2014/main" id="{33C6F656-6809-4CE2-B5F7-3F1E74E424C3}"/>
                    </a:ext>
                  </a:extLst>
                </p:cNvPr>
                <p:cNvSpPr>
                  <a:spLocks noChangeArrowheads="1"/>
                </p:cNvSpPr>
                <p:nvPr/>
              </p:nvSpPr>
              <p:spPr bwMode="auto">
                <a:xfrm>
                  <a:off x="23944379" y="1219031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6" name="Oval 665">
                  <a:extLst>
                    <a:ext uri="{FF2B5EF4-FFF2-40B4-BE49-F238E27FC236}">
                      <a16:creationId xmlns:a16="http://schemas.microsoft.com/office/drawing/2014/main" id="{58E7104C-D23D-4093-9E51-D3632F20DC74}"/>
                    </a:ext>
                  </a:extLst>
                </p:cNvPr>
                <p:cNvSpPr>
                  <a:spLocks noChangeArrowheads="1"/>
                </p:cNvSpPr>
                <p:nvPr/>
              </p:nvSpPr>
              <p:spPr bwMode="auto">
                <a:xfrm>
                  <a:off x="23934052" y="1219031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7" name="Oval 666">
                  <a:extLst>
                    <a:ext uri="{FF2B5EF4-FFF2-40B4-BE49-F238E27FC236}">
                      <a16:creationId xmlns:a16="http://schemas.microsoft.com/office/drawing/2014/main" id="{034B1674-34A0-4610-B195-ABF8783907CE}"/>
                    </a:ext>
                  </a:extLst>
                </p:cNvPr>
                <p:cNvSpPr>
                  <a:spLocks noChangeArrowheads="1"/>
                </p:cNvSpPr>
                <p:nvPr/>
              </p:nvSpPr>
              <p:spPr bwMode="auto">
                <a:xfrm>
                  <a:off x="23901349" y="12176305"/>
                  <a:ext cx="67126"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8" name="Oval 667">
                  <a:extLst>
                    <a:ext uri="{FF2B5EF4-FFF2-40B4-BE49-F238E27FC236}">
                      <a16:creationId xmlns:a16="http://schemas.microsoft.com/office/drawing/2014/main" id="{E05E0271-4CAE-4FB5-92F1-B7FB3FCF92AC}"/>
                    </a:ext>
                  </a:extLst>
                </p:cNvPr>
                <p:cNvSpPr>
                  <a:spLocks noChangeArrowheads="1"/>
                </p:cNvSpPr>
                <p:nvPr/>
              </p:nvSpPr>
              <p:spPr bwMode="auto">
                <a:xfrm>
                  <a:off x="23894464" y="12176305"/>
                  <a:ext cx="67126"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9" name="Oval 668">
                  <a:extLst>
                    <a:ext uri="{FF2B5EF4-FFF2-40B4-BE49-F238E27FC236}">
                      <a16:creationId xmlns:a16="http://schemas.microsoft.com/office/drawing/2014/main" id="{C27CA852-C6C6-45B5-B3B7-58B1E13E0150}"/>
                    </a:ext>
                  </a:extLst>
                </p:cNvPr>
                <p:cNvSpPr>
                  <a:spLocks noChangeArrowheads="1"/>
                </p:cNvSpPr>
                <p:nvPr/>
              </p:nvSpPr>
              <p:spPr bwMode="auto">
                <a:xfrm>
                  <a:off x="23860040" y="12176305"/>
                  <a:ext cx="7056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0" name="Oval 669">
                  <a:extLst>
                    <a:ext uri="{FF2B5EF4-FFF2-40B4-BE49-F238E27FC236}">
                      <a16:creationId xmlns:a16="http://schemas.microsoft.com/office/drawing/2014/main" id="{D89F7C68-609C-4204-B175-32AA5BE009DC}"/>
                    </a:ext>
                  </a:extLst>
                </p:cNvPr>
                <p:cNvSpPr>
                  <a:spLocks noChangeArrowheads="1"/>
                </p:cNvSpPr>
                <p:nvPr/>
              </p:nvSpPr>
              <p:spPr bwMode="auto">
                <a:xfrm>
                  <a:off x="23842828" y="12144781"/>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1" name="Oval 670">
                  <a:extLst>
                    <a:ext uri="{FF2B5EF4-FFF2-40B4-BE49-F238E27FC236}">
                      <a16:creationId xmlns:a16="http://schemas.microsoft.com/office/drawing/2014/main" id="{7C96CA8D-ACD4-49DA-BDDE-2F979E519D88}"/>
                    </a:ext>
                  </a:extLst>
                </p:cNvPr>
                <p:cNvSpPr>
                  <a:spLocks noChangeArrowheads="1"/>
                </p:cNvSpPr>
                <p:nvPr/>
              </p:nvSpPr>
              <p:spPr bwMode="auto">
                <a:xfrm>
                  <a:off x="23825616" y="1213777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2" name="Oval 671">
                  <a:extLst>
                    <a:ext uri="{FF2B5EF4-FFF2-40B4-BE49-F238E27FC236}">
                      <a16:creationId xmlns:a16="http://schemas.microsoft.com/office/drawing/2014/main" id="{9B59A64F-2D67-40A6-B47C-D2D725271F18}"/>
                    </a:ext>
                  </a:extLst>
                </p:cNvPr>
                <p:cNvSpPr>
                  <a:spLocks noChangeArrowheads="1"/>
                </p:cNvSpPr>
                <p:nvPr/>
              </p:nvSpPr>
              <p:spPr bwMode="auto">
                <a:xfrm>
                  <a:off x="23811847" y="1213777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3" name="Oval 672">
                  <a:extLst>
                    <a:ext uri="{FF2B5EF4-FFF2-40B4-BE49-F238E27FC236}">
                      <a16:creationId xmlns:a16="http://schemas.microsoft.com/office/drawing/2014/main" id="{D1108E5E-E5FC-478E-9B88-822712A256E7}"/>
                    </a:ext>
                  </a:extLst>
                </p:cNvPr>
                <p:cNvSpPr>
                  <a:spLocks noChangeArrowheads="1"/>
                </p:cNvSpPr>
                <p:nvPr/>
              </p:nvSpPr>
              <p:spPr bwMode="auto">
                <a:xfrm>
                  <a:off x="23801520" y="1213777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4" name="Oval 673">
                  <a:extLst>
                    <a:ext uri="{FF2B5EF4-FFF2-40B4-BE49-F238E27FC236}">
                      <a16:creationId xmlns:a16="http://schemas.microsoft.com/office/drawing/2014/main" id="{36909A53-20C0-4A3F-AFA1-3CEC0BDAABBF}"/>
                    </a:ext>
                  </a:extLst>
                </p:cNvPr>
                <p:cNvSpPr>
                  <a:spLocks noChangeArrowheads="1"/>
                </p:cNvSpPr>
                <p:nvPr/>
              </p:nvSpPr>
              <p:spPr bwMode="auto">
                <a:xfrm>
                  <a:off x="23787750" y="12123765"/>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5" name="Oval 674">
                  <a:extLst>
                    <a:ext uri="{FF2B5EF4-FFF2-40B4-BE49-F238E27FC236}">
                      <a16:creationId xmlns:a16="http://schemas.microsoft.com/office/drawing/2014/main" id="{831D6C52-CD84-4AC0-BF35-EA895755FF40}"/>
                    </a:ext>
                  </a:extLst>
                </p:cNvPr>
                <p:cNvSpPr>
                  <a:spLocks noChangeArrowheads="1"/>
                </p:cNvSpPr>
                <p:nvPr/>
              </p:nvSpPr>
              <p:spPr bwMode="auto">
                <a:xfrm>
                  <a:off x="23736115" y="12123765"/>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6" name="Oval 675">
                  <a:extLst>
                    <a:ext uri="{FF2B5EF4-FFF2-40B4-BE49-F238E27FC236}">
                      <a16:creationId xmlns:a16="http://schemas.microsoft.com/office/drawing/2014/main" id="{3E4EBC27-91A0-4F8B-8918-A241E8FC7762}"/>
                    </a:ext>
                  </a:extLst>
                </p:cNvPr>
                <p:cNvSpPr>
                  <a:spLocks noChangeArrowheads="1"/>
                </p:cNvSpPr>
                <p:nvPr/>
              </p:nvSpPr>
              <p:spPr bwMode="auto">
                <a:xfrm>
                  <a:off x="23708576" y="12109755"/>
                  <a:ext cx="68848" cy="73556"/>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7" name="Oval 676">
                  <a:extLst>
                    <a:ext uri="{FF2B5EF4-FFF2-40B4-BE49-F238E27FC236}">
                      <a16:creationId xmlns:a16="http://schemas.microsoft.com/office/drawing/2014/main" id="{2BC565A1-AD1C-463A-93F3-A39C1DF7A2F3}"/>
                    </a:ext>
                  </a:extLst>
                </p:cNvPr>
                <p:cNvSpPr>
                  <a:spLocks noChangeArrowheads="1"/>
                </p:cNvSpPr>
                <p:nvPr/>
              </p:nvSpPr>
              <p:spPr bwMode="auto">
                <a:xfrm>
                  <a:off x="23687921" y="12099247"/>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8" name="Oval 677">
                  <a:extLst>
                    <a:ext uri="{FF2B5EF4-FFF2-40B4-BE49-F238E27FC236}">
                      <a16:creationId xmlns:a16="http://schemas.microsoft.com/office/drawing/2014/main" id="{7A90441D-5F6A-44C3-A076-90FF5C031794}"/>
                    </a:ext>
                  </a:extLst>
                </p:cNvPr>
                <p:cNvSpPr>
                  <a:spLocks noChangeArrowheads="1"/>
                </p:cNvSpPr>
                <p:nvPr/>
              </p:nvSpPr>
              <p:spPr bwMode="auto">
                <a:xfrm>
                  <a:off x="23674152" y="12099247"/>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9" name="Oval 678">
                  <a:extLst>
                    <a:ext uri="{FF2B5EF4-FFF2-40B4-BE49-F238E27FC236}">
                      <a16:creationId xmlns:a16="http://schemas.microsoft.com/office/drawing/2014/main" id="{C9681240-8BE4-41F9-A769-544A7F7A852A}"/>
                    </a:ext>
                  </a:extLst>
                </p:cNvPr>
                <p:cNvSpPr>
                  <a:spLocks noChangeArrowheads="1"/>
                </p:cNvSpPr>
                <p:nvPr/>
              </p:nvSpPr>
              <p:spPr bwMode="auto">
                <a:xfrm>
                  <a:off x="23656940" y="12099247"/>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0" name="Oval 679">
                  <a:extLst>
                    <a:ext uri="{FF2B5EF4-FFF2-40B4-BE49-F238E27FC236}">
                      <a16:creationId xmlns:a16="http://schemas.microsoft.com/office/drawing/2014/main" id="{27B701B4-5475-4CD0-ADE8-6B81BC8018F1}"/>
                    </a:ext>
                  </a:extLst>
                </p:cNvPr>
                <p:cNvSpPr>
                  <a:spLocks noChangeArrowheads="1"/>
                </p:cNvSpPr>
                <p:nvPr/>
              </p:nvSpPr>
              <p:spPr bwMode="auto">
                <a:xfrm>
                  <a:off x="23646613" y="12099247"/>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1" name="Oval 680">
                  <a:extLst>
                    <a:ext uri="{FF2B5EF4-FFF2-40B4-BE49-F238E27FC236}">
                      <a16:creationId xmlns:a16="http://schemas.microsoft.com/office/drawing/2014/main" id="{A38E86BB-7620-4218-84AF-74B5AF95662B}"/>
                    </a:ext>
                  </a:extLst>
                </p:cNvPr>
                <p:cNvSpPr>
                  <a:spLocks noChangeArrowheads="1"/>
                </p:cNvSpPr>
                <p:nvPr/>
              </p:nvSpPr>
              <p:spPr bwMode="auto">
                <a:xfrm>
                  <a:off x="23615631" y="1209574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2" name="Oval 681">
                  <a:extLst>
                    <a:ext uri="{FF2B5EF4-FFF2-40B4-BE49-F238E27FC236}">
                      <a16:creationId xmlns:a16="http://schemas.microsoft.com/office/drawing/2014/main" id="{D9371F99-EF13-48BA-8AC0-4BC4E4FEBD22}"/>
                    </a:ext>
                  </a:extLst>
                </p:cNvPr>
                <p:cNvSpPr>
                  <a:spLocks noChangeArrowheads="1"/>
                </p:cNvSpPr>
                <p:nvPr/>
              </p:nvSpPr>
              <p:spPr bwMode="auto">
                <a:xfrm>
                  <a:off x="23591535" y="1209574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3" name="Oval 682">
                  <a:extLst>
                    <a:ext uri="{FF2B5EF4-FFF2-40B4-BE49-F238E27FC236}">
                      <a16:creationId xmlns:a16="http://schemas.microsoft.com/office/drawing/2014/main" id="{2B01DC41-5BDF-4E7A-81EF-3A0511843570}"/>
                    </a:ext>
                  </a:extLst>
                </p:cNvPr>
                <p:cNvSpPr>
                  <a:spLocks noChangeArrowheads="1"/>
                </p:cNvSpPr>
                <p:nvPr/>
              </p:nvSpPr>
              <p:spPr bwMode="auto">
                <a:xfrm>
                  <a:off x="23581208" y="1209574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4" name="Oval 683">
                  <a:extLst>
                    <a:ext uri="{FF2B5EF4-FFF2-40B4-BE49-F238E27FC236}">
                      <a16:creationId xmlns:a16="http://schemas.microsoft.com/office/drawing/2014/main" id="{C768BD8B-97A1-4D4C-A7E0-AED40E33A439}"/>
                    </a:ext>
                  </a:extLst>
                </p:cNvPr>
                <p:cNvSpPr>
                  <a:spLocks noChangeArrowheads="1"/>
                </p:cNvSpPr>
                <p:nvPr/>
              </p:nvSpPr>
              <p:spPr bwMode="auto">
                <a:xfrm>
                  <a:off x="23560553" y="1208523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5" name="Oval 684">
                  <a:extLst>
                    <a:ext uri="{FF2B5EF4-FFF2-40B4-BE49-F238E27FC236}">
                      <a16:creationId xmlns:a16="http://schemas.microsoft.com/office/drawing/2014/main" id="{657EE4DE-23E6-4E98-8586-0B3C07418891}"/>
                    </a:ext>
                  </a:extLst>
                </p:cNvPr>
                <p:cNvSpPr>
                  <a:spLocks noChangeArrowheads="1"/>
                </p:cNvSpPr>
                <p:nvPr/>
              </p:nvSpPr>
              <p:spPr bwMode="auto">
                <a:xfrm>
                  <a:off x="23553669" y="1208523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6" name="Oval 685">
                  <a:extLst>
                    <a:ext uri="{FF2B5EF4-FFF2-40B4-BE49-F238E27FC236}">
                      <a16:creationId xmlns:a16="http://schemas.microsoft.com/office/drawing/2014/main" id="{CF272FB8-CE57-4799-AF8F-DDC12BAC4A55}"/>
                    </a:ext>
                  </a:extLst>
                </p:cNvPr>
                <p:cNvSpPr>
                  <a:spLocks noChangeArrowheads="1"/>
                </p:cNvSpPr>
                <p:nvPr/>
              </p:nvSpPr>
              <p:spPr bwMode="auto">
                <a:xfrm>
                  <a:off x="23539899" y="12078231"/>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7" name="Oval 686">
                  <a:extLst>
                    <a:ext uri="{FF2B5EF4-FFF2-40B4-BE49-F238E27FC236}">
                      <a16:creationId xmlns:a16="http://schemas.microsoft.com/office/drawing/2014/main" id="{C0BCF225-D4DA-4515-99A2-ABA58EAC7549}"/>
                    </a:ext>
                  </a:extLst>
                </p:cNvPr>
                <p:cNvSpPr>
                  <a:spLocks noChangeArrowheads="1"/>
                </p:cNvSpPr>
                <p:nvPr/>
              </p:nvSpPr>
              <p:spPr bwMode="auto">
                <a:xfrm>
                  <a:off x="23522687" y="12078231"/>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8" name="Oval 687">
                  <a:extLst>
                    <a:ext uri="{FF2B5EF4-FFF2-40B4-BE49-F238E27FC236}">
                      <a16:creationId xmlns:a16="http://schemas.microsoft.com/office/drawing/2014/main" id="{F6D04B01-55A1-4DA6-99A9-77931BE76ABC}"/>
                    </a:ext>
                  </a:extLst>
                </p:cNvPr>
                <p:cNvSpPr>
                  <a:spLocks noChangeArrowheads="1"/>
                </p:cNvSpPr>
                <p:nvPr/>
              </p:nvSpPr>
              <p:spPr bwMode="auto">
                <a:xfrm>
                  <a:off x="23505475" y="12078231"/>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9" name="Oval 688">
                  <a:extLst>
                    <a:ext uri="{FF2B5EF4-FFF2-40B4-BE49-F238E27FC236}">
                      <a16:creationId xmlns:a16="http://schemas.microsoft.com/office/drawing/2014/main" id="{A71CE84D-9648-46C7-ABD8-2511393B1A80}"/>
                    </a:ext>
                  </a:extLst>
                </p:cNvPr>
                <p:cNvSpPr>
                  <a:spLocks noChangeArrowheads="1"/>
                </p:cNvSpPr>
                <p:nvPr/>
              </p:nvSpPr>
              <p:spPr bwMode="auto">
                <a:xfrm>
                  <a:off x="23481379" y="12078231"/>
                  <a:ext cx="72290"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0" name="Oval 689">
                  <a:extLst>
                    <a:ext uri="{FF2B5EF4-FFF2-40B4-BE49-F238E27FC236}">
                      <a16:creationId xmlns:a16="http://schemas.microsoft.com/office/drawing/2014/main" id="{EE498464-C0FB-4D86-82A1-E5E3A2E71152}"/>
                    </a:ext>
                  </a:extLst>
                </p:cNvPr>
                <p:cNvSpPr>
                  <a:spLocks noChangeArrowheads="1"/>
                </p:cNvSpPr>
                <p:nvPr/>
              </p:nvSpPr>
              <p:spPr bwMode="auto">
                <a:xfrm>
                  <a:off x="23488263" y="12078231"/>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1" name="Oval 690">
                  <a:extLst>
                    <a:ext uri="{FF2B5EF4-FFF2-40B4-BE49-F238E27FC236}">
                      <a16:creationId xmlns:a16="http://schemas.microsoft.com/office/drawing/2014/main" id="{81FF6B31-1453-4E33-8F61-B53B8DD52578}"/>
                    </a:ext>
                  </a:extLst>
                </p:cNvPr>
                <p:cNvSpPr>
                  <a:spLocks noChangeArrowheads="1"/>
                </p:cNvSpPr>
                <p:nvPr/>
              </p:nvSpPr>
              <p:spPr bwMode="auto">
                <a:xfrm>
                  <a:off x="23443512" y="12057215"/>
                  <a:ext cx="68848" cy="73556"/>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2" name="Oval 691">
                  <a:extLst>
                    <a:ext uri="{FF2B5EF4-FFF2-40B4-BE49-F238E27FC236}">
                      <a16:creationId xmlns:a16="http://schemas.microsoft.com/office/drawing/2014/main" id="{CE5ABA65-C36D-48AB-A85F-CDBDAB3B3FF7}"/>
                    </a:ext>
                  </a:extLst>
                </p:cNvPr>
                <p:cNvSpPr>
                  <a:spLocks noChangeArrowheads="1"/>
                </p:cNvSpPr>
                <p:nvPr/>
              </p:nvSpPr>
              <p:spPr bwMode="auto">
                <a:xfrm>
                  <a:off x="23402204" y="12046707"/>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3" name="Oval 693">
                  <a:extLst>
                    <a:ext uri="{FF2B5EF4-FFF2-40B4-BE49-F238E27FC236}">
                      <a16:creationId xmlns:a16="http://schemas.microsoft.com/office/drawing/2014/main" id="{CB1961A2-F706-47B6-BF4C-5E143985945C}"/>
                    </a:ext>
                  </a:extLst>
                </p:cNvPr>
                <p:cNvSpPr>
                  <a:spLocks noChangeArrowheads="1"/>
                </p:cNvSpPr>
                <p:nvPr/>
              </p:nvSpPr>
              <p:spPr bwMode="auto">
                <a:xfrm>
                  <a:off x="23247297" y="11955638"/>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4" name="Oval 694">
                  <a:extLst>
                    <a:ext uri="{FF2B5EF4-FFF2-40B4-BE49-F238E27FC236}">
                      <a16:creationId xmlns:a16="http://schemas.microsoft.com/office/drawing/2014/main" id="{98649DE1-1CE4-4CE0-A671-69D9650CDEDC}"/>
                    </a:ext>
                  </a:extLst>
                </p:cNvPr>
                <p:cNvSpPr>
                  <a:spLocks noChangeArrowheads="1"/>
                </p:cNvSpPr>
                <p:nvPr/>
              </p:nvSpPr>
              <p:spPr bwMode="auto">
                <a:xfrm>
                  <a:off x="23216316" y="11938125"/>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5" name="Oval 695">
                  <a:extLst>
                    <a:ext uri="{FF2B5EF4-FFF2-40B4-BE49-F238E27FC236}">
                      <a16:creationId xmlns:a16="http://schemas.microsoft.com/office/drawing/2014/main" id="{48E3433B-BFD4-4D59-9A5C-E7BBA8DF4163}"/>
                    </a:ext>
                  </a:extLst>
                </p:cNvPr>
                <p:cNvSpPr>
                  <a:spLocks noChangeArrowheads="1"/>
                </p:cNvSpPr>
                <p:nvPr/>
              </p:nvSpPr>
              <p:spPr bwMode="auto">
                <a:xfrm>
                  <a:off x="23144026" y="11938125"/>
                  <a:ext cx="72290"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6" name="Oval 696">
                  <a:extLst>
                    <a:ext uri="{FF2B5EF4-FFF2-40B4-BE49-F238E27FC236}">
                      <a16:creationId xmlns:a16="http://schemas.microsoft.com/office/drawing/2014/main" id="{F29D02BB-9FFC-4E3E-A65D-2B386145ABBB}"/>
                    </a:ext>
                  </a:extLst>
                </p:cNvPr>
                <p:cNvSpPr>
                  <a:spLocks noChangeArrowheads="1"/>
                </p:cNvSpPr>
                <p:nvPr/>
              </p:nvSpPr>
              <p:spPr bwMode="auto">
                <a:xfrm>
                  <a:off x="23119929" y="11931119"/>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7" name="Oval 697">
                  <a:extLst>
                    <a:ext uri="{FF2B5EF4-FFF2-40B4-BE49-F238E27FC236}">
                      <a16:creationId xmlns:a16="http://schemas.microsoft.com/office/drawing/2014/main" id="{DEA6801F-BBAC-48D1-AC76-3A38BDB29CB6}"/>
                    </a:ext>
                  </a:extLst>
                </p:cNvPr>
                <p:cNvSpPr>
                  <a:spLocks noChangeArrowheads="1"/>
                </p:cNvSpPr>
                <p:nvPr/>
              </p:nvSpPr>
              <p:spPr bwMode="auto">
                <a:xfrm>
                  <a:off x="23102717" y="11931119"/>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8" name="Oval 698">
                  <a:extLst>
                    <a:ext uri="{FF2B5EF4-FFF2-40B4-BE49-F238E27FC236}">
                      <a16:creationId xmlns:a16="http://schemas.microsoft.com/office/drawing/2014/main" id="{53A0CB9B-E80D-48F5-B4CD-58BF35DE0CAB}"/>
                    </a:ext>
                  </a:extLst>
                </p:cNvPr>
                <p:cNvSpPr>
                  <a:spLocks noChangeArrowheads="1"/>
                </p:cNvSpPr>
                <p:nvPr/>
              </p:nvSpPr>
              <p:spPr bwMode="auto">
                <a:xfrm>
                  <a:off x="23773981" y="12123765"/>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9" name="Oval 699">
                  <a:extLst>
                    <a:ext uri="{FF2B5EF4-FFF2-40B4-BE49-F238E27FC236}">
                      <a16:creationId xmlns:a16="http://schemas.microsoft.com/office/drawing/2014/main" id="{9F93799D-A165-4CFF-A0E4-C80F82F531E5}"/>
                    </a:ext>
                  </a:extLst>
                </p:cNvPr>
                <p:cNvSpPr>
                  <a:spLocks noChangeArrowheads="1"/>
                </p:cNvSpPr>
                <p:nvPr/>
              </p:nvSpPr>
              <p:spPr bwMode="auto">
                <a:xfrm>
                  <a:off x="23756769" y="12123765"/>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0" name="Oval 700">
                  <a:extLst>
                    <a:ext uri="{FF2B5EF4-FFF2-40B4-BE49-F238E27FC236}">
                      <a16:creationId xmlns:a16="http://schemas.microsoft.com/office/drawing/2014/main" id="{A7FA5A9D-83C1-40E6-8A6B-29CCDD716B05}"/>
                    </a:ext>
                  </a:extLst>
                </p:cNvPr>
                <p:cNvSpPr>
                  <a:spLocks noChangeArrowheads="1"/>
                </p:cNvSpPr>
                <p:nvPr/>
              </p:nvSpPr>
              <p:spPr bwMode="auto">
                <a:xfrm>
                  <a:off x="24037323" y="1219031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1" name="Oval 701">
                  <a:extLst>
                    <a:ext uri="{FF2B5EF4-FFF2-40B4-BE49-F238E27FC236}">
                      <a16:creationId xmlns:a16="http://schemas.microsoft.com/office/drawing/2014/main" id="{32D4E194-74FE-422E-A58A-CE98C47AE121}"/>
                    </a:ext>
                  </a:extLst>
                </p:cNvPr>
                <p:cNvSpPr>
                  <a:spLocks noChangeArrowheads="1"/>
                </p:cNvSpPr>
                <p:nvPr/>
              </p:nvSpPr>
              <p:spPr bwMode="auto">
                <a:xfrm>
                  <a:off x="24016669" y="12190316"/>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2" name="Oval 702">
                  <a:extLst>
                    <a:ext uri="{FF2B5EF4-FFF2-40B4-BE49-F238E27FC236}">
                      <a16:creationId xmlns:a16="http://schemas.microsoft.com/office/drawing/2014/main" id="{BDE81A5C-A6CF-46D4-856B-1B690217A000}"/>
                    </a:ext>
                  </a:extLst>
                </p:cNvPr>
                <p:cNvSpPr>
                  <a:spLocks noChangeArrowheads="1"/>
                </p:cNvSpPr>
                <p:nvPr/>
              </p:nvSpPr>
              <p:spPr bwMode="auto">
                <a:xfrm>
                  <a:off x="22856588" y="11836547"/>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3" name="Oval 703">
                  <a:extLst>
                    <a:ext uri="{FF2B5EF4-FFF2-40B4-BE49-F238E27FC236}">
                      <a16:creationId xmlns:a16="http://schemas.microsoft.com/office/drawing/2014/main" id="{2768BAD7-7F0A-410B-AE43-7FC070910620}"/>
                    </a:ext>
                  </a:extLst>
                </p:cNvPr>
                <p:cNvSpPr>
                  <a:spLocks noChangeArrowheads="1"/>
                </p:cNvSpPr>
                <p:nvPr/>
              </p:nvSpPr>
              <p:spPr bwMode="auto">
                <a:xfrm>
                  <a:off x="21588071" y="11395212"/>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4" name="Oval 704">
                  <a:extLst>
                    <a:ext uri="{FF2B5EF4-FFF2-40B4-BE49-F238E27FC236}">
                      <a16:creationId xmlns:a16="http://schemas.microsoft.com/office/drawing/2014/main" id="{32186F4D-A4F1-432F-9604-8BB4317A20AF}"/>
                    </a:ext>
                  </a:extLst>
                </p:cNvPr>
                <p:cNvSpPr>
                  <a:spLocks noChangeArrowheads="1"/>
                </p:cNvSpPr>
                <p:nvPr/>
              </p:nvSpPr>
              <p:spPr bwMode="auto">
                <a:xfrm>
                  <a:off x="21526108" y="11375948"/>
                  <a:ext cx="68848" cy="68301"/>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5" name="Oval 705">
                  <a:extLst>
                    <a:ext uri="{FF2B5EF4-FFF2-40B4-BE49-F238E27FC236}">
                      <a16:creationId xmlns:a16="http://schemas.microsoft.com/office/drawing/2014/main" id="{B68B7490-D59C-432E-84D8-8E302C120CEC}"/>
                    </a:ext>
                  </a:extLst>
                </p:cNvPr>
                <p:cNvSpPr>
                  <a:spLocks noChangeArrowheads="1"/>
                </p:cNvSpPr>
                <p:nvPr/>
              </p:nvSpPr>
              <p:spPr bwMode="auto">
                <a:xfrm>
                  <a:off x="21388413" y="11358435"/>
                  <a:ext cx="68848" cy="68301"/>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6" name="Oval 706">
                  <a:extLst>
                    <a:ext uri="{FF2B5EF4-FFF2-40B4-BE49-F238E27FC236}">
                      <a16:creationId xmlns:a16="http://schemas.microsoft.com/office/drawing/2014/main" id="{5AF24A96-9C6D-4D60-AE85-589DF358E755}"/>
                    </a:ext>
                  </a:extLst>
                </p:cNvPr>
                <p:cNvSpPr>
                  <a:spLocks noChangeArrowheads="1"/>
                </p:cNvSpPr>
                <p:nvPr/>
              </p:nvSpPr>
              <p:spPr bwMode="auto">
                <a:xfrm>
                  <a:off x="21305796" y="11326911"/>
                  <a:ext cx="68848" cy="68301"/>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7" name="Oval 707">
                  <a:extLst>
                    <a:ext uri="{FF2B5EF4-FFF2-40B4-BE49-F238E27FC236}">
                      <a16:creationId xmlns:a16="http://schemas.microsoft.com/office/drawing/2014/main" id="{81ACE1A4-E524-4A93-A949-4C7DA3CC6BAE}"/>
                    </a:ext>
                  </a:extLst>
                </p:cNvPr>
                <p:cNvSpPr>
                  <a:spLocks noChangeArrowheads="1"/>
                </p:cNvSpPr>
                <p:nvPr/>
              </p:nvSpPr>
              <p:spPr bwMode="auto">
                <a:xfrm>
                  <a:off x="21240391" y="11284879"/>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8" name="Oval 708">
                  <a:extLst>
                    <a:ext uri="{FF2B5EF4-FFF2-40B4-BE49-F238E27FC236}">
                      <a16:creationId xmlns:a16="http://schemas.microsoft.com/office/drawing/2014/main" id="{776755CD-C76E-458E-AD74-22CE8DB8C629}"/>
                    </a:ext>
                  </a:extLst>
                </p:cNvPr>
                <p:cNvSpPr>
                  <a:spLocks noChangeArrowheads="1"/>
                </p:cNvSpPr>
                <p:nvPr/>
              </p:nvSpPr>
              <p:spPr bwMode="auto">
                <a:xfrm>
                  <a:off x="21223179" y="11256858"/>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9" name="Oval 709">
                  <a:extLst>
                    <a:ext uri="{FF2B5EF4-FFF2-40B4-BE49-F238E27FC236}">
                      <a16:creationId xmlns:a16="http://schemas.microsoft.com/office/drawing/2014/main" id="{7BA21928-0089-490D-B53A-B17D7701AC2F}"/>
                    </a:ext>
                  </a:extLst>
                </p:cNvPr>
                <p:cNvSpPr>
                  <a:spLocks noChangeArrowheads="1"/>
                </p:cNvSpPr>
                <p:nvPr/>
              </p:nvSpPr>
              <p:spPr bwMode="auto">
                <a:xfrm>
                  <a:off x="21157774" y="11228837"/>
                  <a:ext cx="68848" cy="73556"/>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0" name="Oval 710">
                  <a:extLst>
                    <a:ext uri="{FF2B5EF4-FFF2-40B4-BE49-F238E27FC236}">
                      <a16:creationId xmlns:a16="http://schemas.microsoft.com/office/drawing/2014/main" id="{EECAB98E-A7CF-4D74-9A15-731C907E62DC}"/>
                    </a:ext>
                  </a:extLst>
                </p:cNvPr>
                <p:cNvSpPr>
                  <a:spLocks noChangeArrowheads="1"/>
                </p:cNvSpPr>
                <p:nvPr/>
              </p:nvSpPr>
              <p:spPr bwMode="auto">
                <a:xfrm>
                  <a:off x="21123350" y="11228837"/>
                  <a:ext cx="68848" cy="73556"/>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1" name="Oval 711">
                  <a:extLst>
                    <a:ext uri="{FF2B5EF4-FFF2-40B4-BE49-F238E27FC236}">
                      <a16:creationId xmlns:a16="http://schemas.microsoft.com/office/drawing/2014/main" id="{A9849500-D86A-4FC2-A0EC-C41AB3C3F925}"/>
                    </a:ext>
                  </a:extLst>
                </p:cNvPr>
                <p:cNvSpPr>
                  <a:spLocks noChangeArrowheads="1"/>
                </p:cNvSpPr>
                <p:nvPr/>
              </p:nvSpPr>
              <p:spPr bwMode="auto">
                <a:xfrm>
                  <a:off x="20911645" y="11155281"/>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2" name="Oval 712">
                  <a:extLst>
                    <a:ext uri="{FF2B5EF4-FFF2-40B4-BE49-F238E27FC236}">
                      <a16:creationId xmlns:a16="http://schemas.microsoft.com/office/drawing/2014/main" id="{55DC4437-8118-4149-9416-B76CE21B722F}"/>
                    </a:ext>
                  </a:extLst>
                </p:cNvPr>
                <p:cNvSpPr>
                  <a:spLocks noChangeArrowheads="1"/>
                </p:cNvSpPr>
                <p:nvPr/>
              </p:nvSpPr>
              <p:spPr bwMode="auto">
                <a:xfrm>
                  <a:off x="20897875" y="11155281"/>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3" name="Oval 713">
                  <a:extLst>
                    <a:ext uri="{FF2B5EF4-FFF2-40B4-BE49-F238E27FC236}">
                      <a16:creationId xmlns:a16="http://schemas.microsoft.com/office/drawing/2014/main" id="{A2AE9AC6-9633-49C3-B320-83C3F11BCCFC}"/>
                    </a:ext>
                  </a:extLst>
                </p:cNvPr>
                <p:cNvSpPr>
                  <a:spLocks noChangeArrowheads="1"/>
                </p:cNvSpPr>
                <p:nvPr/>
              </p:nvSpPr>
              <p:spPr bwMode="auto">
                <a:xfrm>
                  <a:off x="20746411" y="11116752"/>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4" name="Oval 714">
                  <a:extLst>
                    <a:ext uri="{FF2B5EF4-FFF2-40B4-BE49-F238E27FC236}">
                      <a16:creationId xmlns:a16="http://schemas.microsoft.com/office/drawing/2014/main" id="{C8C3B24D-1703-4508-BCDC-0E1C505C56F7}"/>
                    </a:ext>
                  </a:extLst>
                </p:cNvPr>
                <p:cNvSpPr>
                  <a:spLocks noChangeArrowheads="1"/>
                </p:cNvSpPr>
                <p:nvPr/>
              </p:nvSpPr>
              <p:spPr bwMode="auto">
                <a:xfrm>
                  <a:off x="20608715" y="11095736"/>
                  <a:ext cx="72290"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5" name="Oval 715">
                  <a:extLst>
                    <a:ext uri="{FF2B5EF4-FFF2-40B4-BE49-F238E27FC236}">
                      <a16:creationId xmlns:a16="http://schemas.microsoft.com/office/drawing/2014/main" id="{42DCBAF4-A94F-452C-9ECF-E2AF150BA345}"/>
                    </a:ext>
                  </a:extLst>
                </p:cNvPr>
                <p:cNvSpPr>
                  <a:spLocks noChangeArrowheads="1"/>
                </p:cNvSpPr>
                <p:nvPr/>
              </p:nvSpPr>
              <p:spPr bwMode="auto">
                <a:xfrm>
                  <a:off x="20553637" y="11071217"/>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6" name="Oval 716">
                  <a:extLst>
                    <a:ext uri="{FF2B5EF4-FFF2-40B4-BE49-F238E27FC236}">
                      <a16:creationId xmlns:a16="http://schemas.microsoft.com/office/drawing/2014/main" id="{0A5868C5-377C-41FB-8CB9-E4B4E79288DF}"/>
                    </a:ext>
                  </a:extLst>
                </p:cNvPr>
                <p:cNvSpPr>
                  <a:spLocks noChangeArrowheads="1"/>
                </p:cNvSpPr>
                <p:nvPr/>
              </p:nvSpPr>
              <p:spPr bwMode="auto">
                <a:xfrm>
                  <a:off x="20532983" y="11060709"/>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7" name="Oval 717">
                  <a:extLst>
                    <a:ext uri="{FF2B5EF4-FFF2-40B4-BE49-F238E27FC236}">
                      <a16:creationId xmlns:a16="http://schemas.microsoft.com/office/drawing/2014/main" id="{1DF23404-9DDD-4675-8B3E-9663BF8DB6B5}"/>
                    </a:ext>
                  </a:extLst>
                </p:cNvPr>
                <p:cNvSpPr>
                  <a:spLocks noChangeArrowheads="1"/>
                </p:cNvSpPr>
                <p:nvPr/>
              </p:nvSpPr>
              <p:spPr bwMode="auto">
                <a:xfrm>
                  <a:off x="20388403" y="11001164"/>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8" name="Oval 718">
                  <a:extLst>
                    <a:ext uri="{FF2B5EF4-FFF2-40B4-BE49-F238E27FC236}">
                      <a16:creationId xmlns:a16="http://schemas.microsoft.com/office/drawing/2014/main" id="{C86F8783-F09B-4AA6-802F-B10D0F462F3F}"/>
                    </a:ext>
                  </a:extLst>
                </p:cNvPr>
                <p:cNvSpPr>
                  <a:spLocks noChangeArrowheads="1"/>
                </p:cNvSpPr>
                <p:nvPr/>
              </p:nvSpPr>
              <p:spPr bwMode="auto">
                <a:xfrm>
                  <a:off x="20250708" y="10920603"/>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9" name="Oval 719">
                  <a:extLst>
                    <a:ext uri="{FF2B5EF4-FFF2-40B4-BE49-F238E27FC236}">
                      <a16:creationId xmlns:a16="http://schemas.microsoft.com/office/drawing/2014/main" id="{AD1FC770-F90B-44C6-B87F-5ECF2C8F28AD}"/>
                    </a:ext>
                  </a:extLst>
                </p:cNvPr>
                <p:cNvSpPr>
                  <a:spLocks noChangeArrowheads="1"/>
                </p:cNvSpPr>
                <p:nvPr/>
              </p:nvSpPr>
              <p:spPr bwMode="auto">
                <a:xfrm>
                  <a:off x="20216284" y="10910095"/>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0" name="Oval 720">
                  <a:extLst>
                    <a:ext uri="{FF2B5EF4-FFF2-40B4-BE49-F238E27FC236}">
                      <a16:creationId xmlns:a16="http://schemas.microsoft.com/office/drawing/2014/main" id="{A58984FD-8F15-499D-BEF9-B553ED6C9C1A}"/>
                    </a:ext>
                  </a:extLst>
                </p:cNvPr>
                <p:cNvSpPr>
                  <a:spLocks noChangeArrowheads="1"/>
                </p:cNvSpPr>
                <p:nvPr/>
              </p:nvSpPr>
              <p:spPr bwMode="auto">
                <a:xfrm>
                  <a:off x="20150879" y="10889079"/>
                  <a:ext cx="68848"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1" name="Oval 722">
                  <a:extLst>
                    <a:ext uri="{FF2B5EF4-FFF2-40B4-BE49-F238E27FC236}">
                      <a16:creationId xmlns:a16="http://schemas.microsoft.com/office/drawing/2014/main" id="{ADE97445-04A6-4027-A67A-15900B50968C}"/>
                    </a:ext>
                  </a:extLst>
                </p:cNvPr>
                <p:cNvSpPr>
                  <a:spLocks noChangeArrowheads="1"/>
                </p:cNvSpPr>
                <p:nvPr/>
              </p:nvSpPr>
              <p:spPr bwMode="auto">
                <a:xfrm>
                  <a:off x="20039001" y="10843544"/>
                  <a:ext cx="67126"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2" name="Oval 724">
                  <a:extLst>
                    <a:ext uri="{FF2B5EF4-FFF2-40B4-BE49-F238E27FC236}">
                      <a16:creationId xmlns:a16="http://schemas.microsoft.com/office/drawing/2014/main" id="{CE8ABB25-254A-42A0-BB0F-5F519A05BAB6}"/>
                    </a:ext>
                  </a:extLst>
                </p:cNvPr>
                <p:cNvSpPr>
                  <a:spLocks noChangeArrowheads="1"/>
                </p:cNvSpPr>
                <p:nvPr/>
              </p:nvSpPr>
              <p:spPr bwMode="auto">
                <a:xfrm>
                  <a:off x="19884095" y="10815523"/>
                  <a:ext cx="72290" cy="70053"/>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grpSp>
        </p:grpSp>
        <p:sp>
          <p:nvSpPr>
            <p:cNvPr id="12" name="Oval 727">
              <a:extLst>
                <a:ext uri="{FF2B5EF4-FFF2-40B4-BE49-F238E27FC236}">
                  <a16:creationId xmlns:a16="http://schemas.microsoft.com/office/drawing/2014/main" id="{8C7D1B44-0639-4C9A-AE2B-C16AA72927D5}"/>
                </a:ext>
              </a:extLst>
            </p:cNvPr>
            <p:cNvSpPr>
              <a:spLocks noChangeArrowheads="1"/>
            </p:cNvSpPr>
            <p:nvPr/>
          </p:nvSpPr>
          <p:spPr bwMode="auto">
            <a:xfrm>
              <a:off x="7407044" y="2236791"/>
              <a:ext cx="70172" cy="60014"/>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grpSp>
          <p:nvGrpSpPr>
            <p:cNvPr id="13" name="Group 12">
              <a:extLst>
                <a:ext uri="{FF2B5EF4-FFF2-40B4-BE49-F238E27FC236}">
                  <a16:creationId xmlns:a16="http://schemas.microsoft.com/office/drawing/2014/main" id="{5C178BBC-3995-48AA-900A-ADCC5274CCD1}"/>
                </a:ext>
              </a:extLst>
            </p:cNvPr>
            <p:cNvGrpSpPr/>
            <p:nvPr/>
          </p:nvGrpSpPr>
          <p:grpSpPr>
            <a:xfrm>
              <a:off x="2091547" y="1001993"/>
              <a:ext cx="5438298" cy="1294812"/>
              <a:chOff x="19921961" y="10850550"/>
              <a:chExt cx="5335685" cy="1511396"/>
            </a:xfrm>
          </p:grpSpPr>
          <p:sp>
            <p:nvSpPr>
              <p:cNvPr id="107" name="Freeform 725">
                <a:extLst>
                  <a:ext uri="{FF2B5EF4-FFF2-40B4-BE49-F238E27FC236}">
                    <a16:creationId xmlns:a16="http://schemas.microsoft.com/office/drawing/2014/main" id="{37269347-D822-426A-9C1E-5668CA278DA6}"/>
                  </a:ext>
                </a:extLst>
              </p:cNvPr>
              <p:cNvSpPr>
                <a:spLocks/>
              </p:cNvSpPr>
              <p:nvPr/>
            </p:nvSpPr>
            <p:spPr bwMode="auto">
              <a:xfrm>
                <a:off x="19921961" y="10850550"/>
                <a:ext cx="5301261" cy="1476370"/>
              </a:xfrm>
              <a:custGeom>
                <a:avLst/>
                <a:gdLst>
                  <a:gd name="T0" fmla="*/ 2605 w 3080"/>
                  <a:gd name="T1" fmla="*/ 815 h 843"/>
                  <a:gd name="T2" fmla="*/ 2501 w 3080"/>
                  <a:gd name="T3" fmla="*/ 771 h 843"/>
                  <a:gd name="T4" fmla="*/ 2349 w 3080"/>
                  <a:gd name="T5" fmla="*/ 735 h 843"/>
                  <a:gd name="T6" fmla="*/ 2248 w 3080"/>
                  <a:gd name="T7" fmla="*/ 717 h 843"/>
                  <a:gd name="T8" fmla="*/ 2176 w 3080"/>
                  <a:gd name="T9" fmla="*/ 693 h 843"/>
                  <a:gd name="T10" fmla="*/ 2130 w 3080"/>
                  <a:gd name="T11" fmla="*/ 677 h 843"/>
                  <a:gd name="T12" fmla="*/ 2076 w 3080"/>
                  <a:gd name="T13" fmla="*/ 657 h 843"/>
                  <a:gd name="T14" fmla="*/ 1992 w 3080"/>
                  <a:gd name="T15" fmla="*/ 649 h 843"/>
                  <a:gd name="T16" fmla="*/ 1944 w 3080"/>
                  <a:gd name="T17" fmla="*/ 637 h 843"/>
                  <a:gd name="T18" fmla="*/ 1838 w 3080"/>
                  <a:gd name="T19" fmla="*/ 621 h 843"/>
                  <a:gd name="T20" fmla="*/ 1768 w 3080"/>
                  <a:gd name="T21" fmla="*/ 609 h 843"/>
                  <a:gd name="T22" fmla="*/ 1731 w 3080"/>
                  <a:gd name="T23" fmla="*/ 587 h 843"/>
                  <a:gd name="T24" fmla="*/ 1665 w 3080"/>
                  <a:gd name="T25" fmla="*/ 567 h 843"/>
                  <a:gd name="T26" fmla="*/ 1601 w 3080"/>
                  <a:gd name="T27" fmla="*/ 549 h 843"/>
                  <a:gd name="T28" fmla="*/ 1555 w 3080"/>
                  <a:gd name="T29" fmla="*/ 531 h 843"/>
                  <a:gd name="T30" fmla="*/ 1477 w 3080"/>
                  <a:gd name="T31" fmla="*/ 513 h 843"/>
                  <a:gd name="T32" fmla="*/ 1449 w 3080"/>
                  <a:gd name="T33" fmla="*/ 499 h 843"/>
                  <a:gd name="T34" fmla="*/ 1403 w 3080"/>
                  <a:gd name="T35" fmla="*/ 485 h 843"/>
                  <a:gd name="T36" fmla="*/ 1335 w 3080"/>
                  <a:gd name="T37" fmla="*/ 475 h 843"/>
                  <a:gd name="T38" fmla="*/ 1237 w 3080"/>
                  <a:gd name="T39" fmla="*/ 463 h 843"/>
                  <a:gd name="T40" fmla="*/ 1202 w 3080"/>
                  <a:gd name="T41" fmla="*/ 451 h 843"/>
                  <a:gd name="T42" fmla="*/ 1160 w 3080"/>
                  <a:gd name="T43" fmla="*/ 423 h 843"/>
                  <a:gd name="T44" fmla="*/ 1146 w 3080"/>
                  <a:gd name="T45" fmla="*/ 403 h 843"/>
                  <a:gd name="T46" fmla="*/ 1108 w 3080"/>
                  <a:gd name="T47" fmla="*/ 385 h 843"/>
                  <a:gd name="T48" fmla="*/ 1046 w 3080"/>
                  <a:gd name="T49" fmla="*/ 369 h 843"/>
                  <a:gd name="T50" fmla="*/ 1008 w 3080"/>
                  <a:gd name="T51" fmla="*/ 357 h 843"/>
                  <a:gd name="T52" fmla="*/ 988 w 3080"/>
                  <a:gd name="T53" fmla="*/ 345 h 843"/>
                  <a:gd name="T54" fmla="*/ 960 w 3080"/>
                  <a:gd name="T55" fmla="*/ 317 h 843"/>
                  <a:gd name="T56" fmla="*/ 936 w 3080"/>
                  <a:gd name="T57" fmla="*/ 302 h 843"/>
                  <a:gd name="T58" fmla="*/ 818 w 3080"/>
                  <a:gd name="T59" fmla="*/ 292 h 843"/>
                  <a:gd name="T60" fmla="*/ 788 w 3080"/>
                  <a:gd name="T61" fmla="*/ 280 h 843"/>
                  <a:gd name="T62" fmla="*/ 700 w 3080"/>
                  <a:gd name="T63" fmla="*/ 270 h 843"/>
                  <a:gd name="T64" fmla="*/ 682 w 3080"/>
                  <a:gd name="T65" fmla="*/ 254 h 843"/>
                  <a:gd name="T66" fmla="*/ 655 w 3080"/>
                  <a:gd name="T67" fmla="*/ 236 h 843"/>
                  <a:gd name="T68" fmla="*/ 609 w 3080"/>
                  <a:gd name="T69" fmla="*/ 214 h 843"/>
                  <a:gd name="T70" fmla="*/ 557 w 3080"/>
                  <a:gd name="T71" fmla="*/ 192 h 843"/>
                  <a:gd name="T72" fmla="*/ 481 w 3080"/>
                  <a:gd name="T73" fmla="*/ 180 h 843"/>
                  <a:gd name="T74" fmla="*/ 385 w 3080"/>
                  <a:gd name="T75" fmla="*/ 160 h 843"/>
                  <a:gd name="T76" fmla="*/ 329 w 3080"/>
                  <a:gd name="T77" fmla="*/ 142 h 843"/>
                  <a:gd name="T78" fmla="*/ 279 w 3080"/>
                  <a:gd name="T79" fmla="*/ 136 h 843"/>
                  <a:gd name="T80" fmla="*/ 219 w 3080"/>
                  <a:gd name="T81" fmla="*/ 124 h 843"/>
                  <a:gd name="T82" fmla="*/ 199 w 3080"/>
                  <a:gd name="T83" fmla="*/ 104 h 843"/>
                  <a:gd name="T84" fmla="*/ 165 w 3080"/>
                  <a:gd name="T85" fmla="*/ 90 h 843"/>
                  <a:gd name="T86" fmla="*/ 137 w 3080"/>
                  <a:gd name="T87" fmla="*/ 78 h 843"/>
                  <a:gd name="T88" fmla="*/ 105 w 3080"/>
                  <a:gd name="T89" fmla="*/ 60 h 843"/>
                  <a:gd name="T90" fmla="*/ 78 w 3080"/>
                  <a:gd name="T91" fmla="*/ 42 h 843"/>
                  <a:gd name="T92" fmla="*/ 44 w 3080"/>
                  <a:gd name="T93" fmla="*/ 28 h 843"/>
                  <a:gd name="T94" fmla="*/ 0 w 3080"/>
                  <a:gd name="T95"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80" h="843">
                    <a:moveTo>
                      <a:pt x="3080" y="843"/>
                    </a:moveTo>
                    <a:lnTo>
                      <a:pt x="2627" y="843"/>
                    </a:lnTo>
                    <a:lnTo>
                      <a:pt x="2627" y="815"/>
                    </a:lnTo>
                    <a:lnTo>
                      <a:pt x="2605" y="815"/>
                    </a:lnTo>
                    <a:lnTo>
                      <a:pt x="2605" y="789"/>
                    </a:lnTo>
                    <a:lnTo>
                      <a:pt x="2605" y="789"/>
                    </a:lnTo>
                    <a:lnTo>
                      <a:pt x="2501" y="789"/>
                    </a:lnTo>
                    <a:lnTo>
                      <a:pt x="2501" y="771"/>
                    </a:lnTo>
                    <a:lnTo>
                      <a:pt x="2391" y="771"/>
                    </a:lnTo>
                    <a:lnTo>
                      <a:pt x="2391" y="759"/>
                    </a:lnTo>
                    <a:lnTo>
                      <a:pt x="2349" y="759"/>
                    </a:lnTo>
                    <a:lnTo>
                      <a:pt x="2349" y="735"/>
                    </a:lnTo>
                    <a:lnTo>
                      <a:pt x="2331" y="735"/>
                    </a:lnTo>
                    <a:lnTo>
                      <a:pt x="2331" y="723"/>
                    </a:lnTo>
                    <a:lnTo>
                      <a:pt x="2248" y="723"/>
                    </a:lnTo>
                    <a:lnTo>
                      <a:pt x="2248" y="717"/>
                    </a:lnTo>
                    <a:lnTo>
                      <a:pt x="2238" y="717"/>
                    </a:lnTo>
                    <a:lnTo>
                      <a:pt x="2238" y="707"/>
                    </a:lnTo>
                    <a:lnTo>
                      <a:pt x="2176" y="707"/>
                    </a:lnTo>
                    <a:lnTo>
                      <a:pt x="2176" y="693"/>
                    </a:lnTo>
                    <a:lnTo>
                      <a:pt x="2164" y="693"/>
                    </a:lnTo>
                    <a:lnTo>
                      <a:pt x="2164" y="685"/>
                    </a:lnTo>
                    <a:lnTo>
                      <a:pt x="2130" y="685"/>
                    </a:lnTo>
                    <a:lnTo>
                      <a:pt x="2130" y="677"/>
                    </a:lnTo>
                    <a:lnTo>
                      <a:pt x="2088" y="677"/>
                    </a:lnTo>
                    <a:lnTo>
                      <a:pt x="2088" y="669"/>
                    </a:lnTo>
                    <a:lnTo>
                      <a:pt x="2076" y="669"/>
                    </a:lnTo>
                    <a:lnTo>
                      <a:pt x="2076" y="657"/>
                    </a:lnTo>
                    <a:lnTo>
                      <a:pt x="2020" y="657"/>
                    </a:lnTo>
                    <a:lnTo>
                      <a:pt x="2020" y="651"/>
                    </a:lnTo>
                    <a:lnTo>
                      <a:pt x="1992" y="651"/>
                    </a:lnTo>
                    <a:lnTo>
                      <a:pt x="1992" y="649"/>
                    </a:lnTo>
                    <a:lnTo>
                      <a:pt x="1962" y="649"/>
                    </a:lnTo>
                    <a:lnTo>
                      <a:pt x="1962" y="645"/>
                    </a:lnTo>
                    <a:lnTo>
                      <a:pt x="1944" y="645"/>
                    </a:lnTo>
                    <a:lnTo>
                      <a:pt x="1944" y="637"/>
                    </a:lnTo>
                    <a:lnTo>
                      <a:pt x="1928" y="637"/>
                    </a:lnTo>
                    <a:lnTo>
                      <a:pt x="1928" y="631"/>
                    </a:lnTo>
                    <a:lnTo>
                      <a:pt x="1838" y="631"/>
                    </a:lnTo>
                    <a:lnTo>
                      <a:pt x="1838" y="621"/>
                    </a:lnTo>
                    <a:lnTo>
                      <a:pt x="1802" y="621"/>
                    </a:lnTo>
                    <a:lnTo>
                      <a:pt x="1802" y="615"/>
                    </a:lnTo>
                    <a:lnTo>
                      <a:pt x="1768" y="615"/>
                    </a:lnTo>
                    <a:lnTo>
                      <a:pt x="1768" y="609"/>
                    </a:lnTo>
                    <a:lnTo>
                      <a:pt x="1761" y="609"/>
                    </a:lnTo>
                    <a:lnTo>
                      <a:pt x="1761" y="601"/>
                    </a:lnTo>
                    <a:lnTo>
                      <a:pt x="1731" y="601"/>
                    </a:lnTo>
                    <a:lnTo>
                      <a:pt x="1731" y="587"/>
                    </a:lnTo>
                    <a:lnTo>
                      <a:pt x="1677" y="587"/>
                    </a:lnTo>
                    <a:lnTo>
                      <a:pt x="1677" y="573"/>
                    </a:lnTo>
                    <a:lnTo>
                      <a:pt x="1665" y="573"/>
                    </a:lnTo>
                    <a:lnTo>
                      <a:pt x="1665" y="567"/>
                    </a:lnTo>
                    <a:lnTo>
                      <a:pt x="1639" y="567"/>
                    </a:lnTo>
                    <a:lnTo>
                      <a:pt x="1639" y="559"/>
                    </a:lnTo>
                    <a:lnTo>
                      <a:pt x="1601" y="559"/>
                    </a:lnTo>
                    <a:lnTo>
                      <a:pt x="1601" y="549"/>
                    </a:lnTo>
                    <a:lnTo>
                      <a:pt x="1587" y="549"/>
                    </a:lnTo>
                    <a:lnTo>
                      <a:pt x="1587" y="543"/>
                    </a:lnTo>
                    <a:lnTo>
                      <a:pt x="1555" y="543"/>
                    </a:lnTo>
                    <a:lnTo>
                      <a:pt x="1555" y="531"/>
                    </a:lnTo>
                    <a:lnTo>
                      <a:pt x="1507" y="531"/>
                    </a:lnTo>
                    <a:lnTo>
                      <a:pt x="1507" y="519"/>
                    </a:lnTo>
                    <a:lnTo>
                      <a:pt x="1477" y="519"/>
                    </a:lnTo>
                    <a:lnTo>
                      <a:pt x="1477" y="513"/>
                    </a:lnTo>
                    <a:lnTo>
                      <a:pt x="1467" y="513"/>
                    </a:lnTo>
                    <a:lnTo>
                      <a:pt x="1467" y="509"/>
                    </a:lnTo>
                    <a:lnTo>
                      <a:pt x="1449" y="509"/>
                    </a:lnTo>
                    <a:lnTo>
                      <a:pt x="1449" y="499"/>
                    </a:lnTo>
                    <a:lnTo>
                      <a:pt x="1435" y="499"/>
                    </a:lnTo>
                    <a:lnTo>
                      <a:pt x="1435" y="491"/>
                    </a:lnTo>
                    <a:lnTo>
                      <a:pt x="1403" y="491"/>
                    </a:lnTo>
                    <a:lnTo>
                      <a:pt x="1403" y="485"/>
                    </a:lnTo>
                    <a:lnTo>
                      <a:pt x="1351" y="485"/>
                    </a:lnTo>
                    <a:lnTo>
                      <a:pt x="1351" y="481"/>
                    </a:lnTo>
                    <a:lnTo>
                      <a:pt x="1335" y="481"/>
                    </a:lnTo>
                    <a:lnTo>
                      <a:pt x="1335" y="475"/>
                    </a:lnTo>
                    <a:lnTo>
                      <a:pt x="1243" y="475"/>
                    </a:lnTo>
                    <a:lnTo>
                      <a:pt x="1243" y="469"/>
                    </a:lnTo>
                    <a:lnTo>
                      <a:pt x="1237" y="469"/>
                    </a:lnTo>
                    <a:lnTo>
                      <a:pt x="1237" y="463"/>
                    </a:lnTo>
                    <a:lnTo>
                      <a:pt x="1227" y="463"/>
                    </a:lnTo>
                    <a:lnTo>
                      <a:pt x="1227" y="457"/>
                    </a:lnTo>
                    <a:lnTo>
                      <a:pt x="1202" y="457"/>
                    </a:lnTo>
                    <a:lnTo>
                      <a:pt x="1202" y="451"/>
                    </a:lnTo>
                    <a:lnTo>
                      <a:pt x="1188" y="451"/>
                    </a:lnTo>
                    <a:lnTo>
                      <a:pt x="1188" y="441"/>
                    </a:lnTo>
                    <a:lnTo>
                      <a:pt x="1160" y="441"/>
                    </a:lnTo>
                    <a:lnTo>
                      <a:pt x="1160" y="423"/>
                    </a:lnTo>
                    <a:lnTo>
                      <a:pt x="1150" y="423"/>
                    </a:lnTo>
                    <a:lnTo>
                      <a:pt x="1150" y="409"/>
                    </a:lnTo>
                    <a:lnTo>
                      <a:pt x="1146" y="409"/>
                    </a:lnTo>
                    <a:lnTo>
                      <a:pt x="1146" y="403"/>
                    </a:lnTo>
                    <a:lnTo>
                      <a:pt x="1128" y="403"/>
                    </a:lnTo>
                    <a:lnTo>
                      <a:pt x="1128" y="395"/>
                    </a:lnTo>
                    <a:lnTo>
                      <a:pt x="1108" y="395"/>
                    </a:lnTo>
                    <a:lnTo>
                      <a:pt x="1108" y="385"/>
                    </a:lnTo>
                    <a:lnTo>
                      <a:pt x="1106" y="385"/>
                    </a:lnTo>
                    <a:lnTo>
                      <a:pt x="1106" y="377"/>
                    </a:lnTo>
                    <a:lnTo>
                      <a:pt x="1046" y="377"/>
                    </a:lnTo>
                    <a:lnTo>
                      <a:pt x="1046" y="369"/>
                    </a:lnTo>
                    <a:lnTo>
                      <a:pt x="1012" y="369"/>
                    </a:lnTo>
                    <a:lnTo>
                      <a:pt x="1012" y="363"/>
                    </a:lnTo>
                    <a:lnTo>
                      <a:pt x="1008" y="363"/>
                    </a:lnTo>
                    <a:lnTo>
                      <a:pt x="1008" y="357"/>
                    </a:lnTo>
                    <a:lnTo>
                      <a:pt x="1004" y="357"/>
                    </a:lnTo>
                    <a:lnTo>
                      <a:pt x="1004" y="351"/>
                    </a:lnTo>
                    <a:lnTo>
                      <a:pt x="988" y="351"/>
                    </a:lnTo>
                    <a:lnTo>
                      <a:pt x="988" y="345"/>
                    </a:lnTo>
                    <a:lnTo>
                      <a:pt x="976" y="345"/>
                    </a:lnTo>
                    <a:lnTo>
                      <a:pt x="976" y="333"/>
                    </a:lnTo>
                    <a:lnTo>
                      <a:pt x="960" y="333"/>
                    </a:lnTo>
                    <a:lnTo>
                      <a:pt x="960" y="317"/>
                    </a:lnTo>
                    <a:lnTo>
                      <a:pt x="952" y="317"/>
                    </a:lnTo>
                    <a:lnTo>
                      <a:pt x="952" y="308"/>
                    </a:lnTo>
                    <a:lnTo>
                      <a:pt x="936" y="308"/>
                    </a:lnTo>
                    <a:lnTo>
                      <a:pt x="936" y="302"/>
                    </a:lnTo>
                    <a:lnTo>
                      <a:pt x="856" y="302"/>
                    </a:lnTo>
                    <a:lnTo>
                      <a:pt x="856" y="298"/>
                    </a:lnTo>
                    <a:lnTo>
                      <a:pt x="818" y="298"/>
                    </a:lnTo>
                    <a:lnTo>
                      <a:pt x="818" y="292"/>
                    </a:lnTo>
                    <a:lnTo>
                      <a:pt x="806" y="292"/>
                    </a:lnTo>
                    <a:lnTo>
                      <a:pt x="806" y="286"/>
                    </a:lnTo>
                    <a:lnTo>
                      <a:pt x="788" y="286"/>
                    </a:lnTo>
                    <a:lnTo>
                      <a:pt x="788" y="280"/>
                    </a:lnTo>
                    <a:lnTo>
                      <a:pt x="730" y="280"/>
                    </a:lnTo>
                    <a:lnTo>
                      <a:pt x="730" y="276"/>
                    </a:lnTo>
                    <a:lnTo>
                      <a:pt x="700" y="276"/>
                    </a:lnTo>
                    <a:lnTo>
                      <a:pt x="700" y="270"/>
                    </a:lnTo>
                    <a:lnTo>
                      <a:pt x="698" y="270"/>
                    </a:lnTo>
                    <a:lnTo>
                      <a:pt x="698" y="264"/>
                    </a:lnTo>
                    <a:lnTo>
                      <a:pt x="682" y="264"/>
                    </a:lnTo>
                    <a:lnTo>
                      <a:pt x="682" y="254"/>
                    </a:lnTo>
                    <a:lnTo>
                      <a:pt x="672" y="254"/>
                    </a:lnTo>
                    <a:lnTo>
                      <a:pt x="672" y="246"/>
                    </a:lnTo>
                    <a:lnTo>
                      <a:pt x="655" y="246"/>
                    </a:lnTo>
                    <a:lnTo>
                      <a:pt x="655" y="236"/>
                    </a:lnTo>
                    <a:lnTo>
                      <a:pt x="629" y="236"/>
                    </a:lnTo>
                    <a:lnTo>
                      <a:pt x="629" y="226"/>
                    </a:lnTo>
                    <a:lnTo>
                      <a:pt x="609" y="226"/>
                    </a:lnTo>
                    <a:lnTo>
                      <a:pt x="609" y="214"/>
                    </a:lnTo>
                    <a:lnTo>
                      <a:pt x="591" y="214"/>
                    </a:lnTo>
                    <a:lnTo>
                      <a:pt x="591" y="198"/>
                    </a:lnTo>
                    <a:lnTo>
                      <a:pt x="557" y="198"/>
                    </a:lnTo>
                    <a:lnTo>
                      <a:pt x="557" y="192"/>
                    </a:lnTo>
                    <a:lnTo>
                      <a:pt x="529" y="192"/>
                    </a:lnTo>
                    <a:lnTo>
                      <a:pt x="529" y="188"/>
                    </a:lnTo>
                    <a:lnTo>
                      <a:pt x="481" y="188"/>
                    </a:lnTo>
                    <a:lnTo>
                      <a:pt x="481" y="180"/>
                    </a:lnTo>
                    <a:lnTo>
                      <a:pt x="465" y="180"/>
                    </a:lnTo>
                    <a:lnTo>
                      <a:pt x="465" y="172"/>
                    </a:lnTo>
                    <a:lnTo>
                      <a:pt x="385" y="172"/>
                    </a:lnTo>
                    <a:lnTo>
                      <a:pt x="385" y="160"/>
                    </a:lnTo>
                    <a:lnTo>
                      <a:pt x="343" y="160"/>
                    </a:lnTo>
                    <a:lnTo>
                      <a:pt x="343" y="152"/>
                    </a:lnTo>
                    <a:lnTo>
                      <a:pt x="329" y="152"/>
                    </a:lnTo>
                    <a:lnTo>
                      <a:pt x="329" y="142"/>
                    </a:lnTo>
                    <a:lnTo>
                      <a:pt x="297" y="142"/>
                    </a:lnTo>
                    <a:lnTo>
                      <a:pt x="297" y="140"/>
                    </a:lnTo>
                    <a:lnTo>
                      <a:pt x="279" y="140"/>
                    </a:lnTo>
                    <a:lnTo>
                      <a:pt x="279" y="136"/>
                    </a:lnTo>
                    <a:lnTo>
                      <a:pt x="279" y="136"/>
                    </a:lnTo>
                    <a:lnTo>
                      <a:pt x="249" y="136"/>
                    </a:lnTo>
                    <a:lnTo>
                      <a:pt x="249" y="124"/>
                    </a:lnTo>
                    <a:lnTo>
                      <a:pt x="219" y="124"/>
                    </a:lnTo>
                    <a:lnTo>
                      <a:pt x="219" y="116"/>
                    </a:lnTo>
                    <a:lnTo>
                      <a:pt x="211" y="116"/>
                    </a:lnTo>
                    <a:lnTo>
                      <a:pt x="211" y="104"/>
                    </a:lnTo>
                    <a:lnTo>
                      <a:pt x="199" y="104"/>
                    </a:lnTo>
                    <a:lnTo>
                      <a:pt x="199" y="96"/>
                    </a:lnTo>
                    <a:lnTo>
                      <a:pt x="181" y="96"/>
                    </a:lnTo>
                    <a:lnTo>
                      <a:pt x="181" y="90"/>
                    </a:lnTo>
                    <a:lnTo>
                      <a:pt x="165" y="90"/>
                    </a:lnTo>
                    <a:lnTo>
                      <a:pt x="165" y="84"/>
                    </a:lnTo>
                    <a:lnTo>
                      <a:pt x="147" y="84"/>
                    </a:lnTo>
                    <a:lnTo>
                      <a:pt x="147" y="78"/>
                    </a:lnTo>
                    <a:lnTo>
                      <a:pt x="137" y="78"/>
                    </a:lnTo>
                    <a:lnTo>
                      <a:pt x="137" y="72"/>
                    </a:lnTo>
                    <a:lnTo>
                      <a:pt x="117" y="72"/>
                    </a:lnTo>
                    <a:lnTo>
                      <a:pt x="117" y="60"/>
                    </a:lnTo>
                    <a:lnTo>
                      <a:pt x="105" y="60"/>
                    </a:lnTo>
                    <a:lnTo>
                      <a:pt x="105" y="54"/>
                    </a:lnTo>
                    <a:lnTo>
                      <a:pt x="98" y="54"/>
                    </a:lnTo>
                    <a:lnTo>
                      <a:pt x="98" y="42"/>
                    </a:lnTo>
                    <a:lnTo>
                      <a:pt x="78" y="42"/>
                    </a:lnTo>
                    <a:lnTo>
                      <a:pt x="78" y="34"/>
                    </a:lnTo>
                    <a:lnTo>
                      <a:pt x="64" y="34"/>
                    </a:lnTo>
                    <a:lnTo>
                      <a:pt x="64" y="28"/>
                    </a:lnTo>
                    <a:lnTo>
                      <a:pt x="44" y="28"/>
                    </a:lnTo>
                    <a:lnTo>
                      <a:pt x="44" y="20"/>
                    </a:lnTo>
                    <a:lnTo>
                      <a:pt x="24" y="20"/>
                    </a:lnTo>
                    <a:lnTo>
                      <a:pt x="24" y="0"/>
                    </a:lnTo>
                    <a:lnTo>
                      <a:pt x="0" y="0"/>
                    </a:lnTo>
                  </a:path>
                </a:pathLst>
              </a:cu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8" name="Oval 726">
                <a:extLst>
                  <a:ext uri="{FF2B5EF4-FFF2-40B4-BE49-F238E27FC236}">
                    <a16:creationId xmlns:a16="http://schemas.microsoft.com/office/drawing/2014/main" id="{DA2D4139-1D8A-49FF-88B1-0EDF890D0DAE}"/>
                  </a:ext>
                </a:extLst>
              </p:cNvPr>
              <p:cNvSpPr>
                <a:spLocks noChangeArrowheads="1"/>
              </p:cNvSpPr>
              <p:nvPr/>
            </p:nvSpPr>
            <p:spPr bwMode="auto">
              <a:xfrm>
                <a:off x="25188798"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9" name="Oval 728">
                <a:extLst>
                  <a:ext uri="{FF2B5EF4-FFF2-40B4-BE49-F238E27FC236}">
                    <a16:creationId xmlns:a16="http://schemas.microsoft.com/office/drawing/2014/main" id="{FD825660-BCBD-4091-BFDE-A48FC3CA0ABC}"/>
                  </a:ext>
                </a:extLst>
              </p:cNvPr>
              <p:cNvSpPr>
                <a:spLocks noChangeArrowheads="1"/>
              </p:cNvSpPr>
              <p:nvPr/>
            </p:nvSpPr>
            <p:spPr bwMode="auto">
              <a:xfrm>
                <a:off x="24909965"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0" name="Oval 729">
                <a:extLst>
                  <a:ext uri="{FF2B5EF4-FFF2-40B4-BE49-F238E27FC236}">
                    <a16:creationId xmlns:a16="http://schemas.microsoft.com/office/drawing/2014/main" id="{FB726F30-546C-46B1-8A61-CB019A4EBD93}"/>
                  </a:ext>
                </a:extLst>
              </p:cNvPr>
              <p:cNvSpPr>
                <a:spLocks noChangeArrowheads="1"/>
              </p:cNvSpPr>
              <p:nvPr/>
            </p:nvSpPr>
            <p:spPr bwMode="auto">
              <a:xfrm>
                <a:off x="24846282" y="12291893"/>
                <a:ext cx="7056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1" name="Oval 730">
                <a:extLst>
                  <a:ext uri="{FF2B5EF4-FFF2-40B4-BE49-F238E27FC236}">
                    <a16:creationId xmlns:a16="http://schemas.microsoft.com/office/drawing/2014/main" id="{7C3DEE1E-B9CE-49F4-90D7-70B0E851F447}"/>
                  </a:ext>
                </a:extLst>
              </p:cNvPr>
              <p:cNvSpPr>
                <a:spLocks noChangeArrowheads="1"/>
              </p:cNvSpPr>
              <p:nvPr/>
            </p:nvSpPr>
            <p:spPr bwMode="auto">
              <a:xfrm>
                <a:off x="24760222"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2" name="Oval 731">
                <a:extLst>
                  <a:ext uri="{FF2B5EF4-FFF2-40B4-BE49-F238E27FC236}">
                    <a16:creationId xmlns:a16="http://schemas.microsoft.com/office/drawing/2014/main" id="{DD2312B7-9C5B-4EE9-B44C-B10DBE0FAD16}"/>
                  </a:ext>
                </a:extLst>
              </p:cNvPr>
              <p:cNvSpPr>
                <a:spLocks noChangeArrowheads="1"/>
              </p:cNvSpPr>
              <p:nvPr/>
            </p:nvSpPr>
            <p:spPr bwMode="auto">
              <a:xfrm>
                <a:off x="24725799"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3" name="Oval 732">
                <a:extLst>
                  <a:ext uri="{FF2B5EF4-FFF2-40B4-BE49-F238E27FC236}">
                    <a16:creationId xmlns:a16="http://schemas.microsoft.com/office/drawing/2014/main" id="{20C8F4F8-6B42-41EC-B370-DBB01C4A70B2}"/>
                  </a:ext>
                </a:extLst>
              </p:cNvPr>
              <p:cNvSpPr>
                <a:spLocks noChangeArrowheads="1"/>
              </p:cNvSpPr>
              <p:nvPr/>
            </p:nvSpPr>
            <p:spPr bwMode="auto">
              <a:xfrm>
                <a:off x="24712029"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4" name="Oval 733">
                <a:extLst>
                  <a:ext uri="{FF2B5EF4-FFF2-40B4-BE49-F238E27FC236}">
                    <a16:creationId xmlns:a16="http://schemas.microsoft.com/office/drawing/2014/main" id="{324AE966-3B80-429A-9DEE-A91565DF7C0D}"/>
                  </a:ext>
                </a:extLst>
              </p:cNvPr>
              <p:cNvSpPr>
                <a:spLocks noChangeArrowheads="1"/>
              </p:cNvSpPr>
              <p:nvPr/>
            </p:nvSpPr>
            <p:spPr bwMode="auto">
              <a:xfrm>
                <a:off x="24677605"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5" name="Oval 734">
                <a:extLst>
                  <a:ext uri="{FF2B5EF4-FFF2-40B4-BE49-F238E27FC236}">
                    <a16:creationId xmlns:a16="http://schemas.microsoft.com/office/drawing/2014/main" id="{7F3108A6-B566-43B9-9E5A-3AF9DBD3C0F1}"/>
                  </a:ext>
                </a:extLst>
              </p:cNvPr>
              <p:cNvSpPr>
                <a:spLocks noChangeArrowheads="1"/>
              </p:cNvSpPr>
              <p:nvPr/>
            </p:nvSpPr>
            <p:spPr bwMode="auto">
              <a:xfrm>
                <a:off x="24643181" y="12291893"/>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6" name="Oval 735">
                <a:extLst>
                  <a:ext uri="{FF2B5EF4-FFF2-40B4-BE49-F238E27FC236}">
                    <a16:creationId xmlns:a16="http://schemas.microsoft.com/office/drawing/2014/main" id="{114550F0-C6D1-4C11-AE98-32A2393C47FC}"/>
                  </a:ext>
                </a:extLst>
              </p:cNvPr>
              <p:cNvSpPr>
                <a:spLocks noChangeArrowheads="1"/>
              </p:cNvSpPr>
              <p:nvPr/>
            </p:nvSpPr>
            <p:spPr bwMode="auto">
              <a:xfrm>
                <a:off x="24632854"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7" name="Oval 736">
                <a:extLst>
                  <a:ext uri="{FF2B5EF4-FFF2-40B4-BE49-F238E27FC236}">
                    <a16:creationId xmlns:a16="http://schemas.microsoft.com/office/drawing/2014/main" id="{B510365F-1AF1-4629-A7B2-F6F4431DA952}"/>
                  </a:ext>
                </a:extLst>
              </p:cNvPr>
              <p:cNvSpPr>
                <a:spLocks noChangeArrowheads="1"/>
              </p:cNvSpPr>
              <p:nvPr/>
            </p:nvSpPr>
            <p:spPr bwMode="auto">
              <a:xfrm>
                <a:off x="24588103"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8" name="Oval 737">
                <a:extLst>
                  <a:ext uri="{FF2B5EF4-FFF2-40B4-BE49-F238E27FC236}">
                    <a16:creationId xmlns:a16="http://schemas.microsoft.com/office/drawing/2014/main" id="{3B1D8137-A0DD-4D8C-B7FF-21399EB80B48}"/>
                  </a:ext>
                </a:extLst>
              </p:cNvPr>
              <p:cNvSpPr>
                <a:spLocks noChangeArrowheads="1"/>
              </p:cNvSpPr>
              <p:nvPr/>
            </p:nvSpPr>
            <p:spPr bwMode="auto">
              <a:xfrm>
                <a:off x="24570892"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19" name="Oval 738">
                <a:extLst>
                  <a:ext uri="{FF2B5EF4-FFF2-40B4-BE49-F238E27FC236}">
                    <a16:creationId xmlns:a16="http://schemas.microsoft.com/office/drawing/2014/main" id="{073586B1-3C9A-4759-94E8-A4A5A773CB13}"/>
                  </a:ext>
                </a:extLst>
              </p:cNvPr>
              <p:cNvSpPr>
                <a:spLocks noChangeArrowheads="1"/>
              </p:cNvSpPr>
              <p:nvPr/>
            </p:nvSpPr>
            <p:spPr bwMode="auto">
              <a:xfrm>
                <a:off x="24512371" y="12291893"/>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0" name="Oval 739">
                <a:extLst>
                  <a:ext uri="{FF2B5EF4-FFF2-40B4-BE49-F238E27FC236}">
                    <a16:creationId xmlns:a16="http://schemas.microsoft.com/office/drawing/2014/main" id="{DF19EADD-EE89-4ED6-99E2-0706E2946F0A}"/>
                  </a:ext>
                </a:extLst>
              </p:cNvPr>
              <p:cNvSpPr>
                <a:spLocks noChangeArrowheads="1"/>
              </p:cNvSpPr>
              <p:nvPr/>
            </p:nvSpPr>
            <p:spPr bwMode="auto">
              <a:xfrm>
                <a:off x="24502044"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1" name="Oval 740">
                <a:extLst>
                  <a:ext uri="{FF2B5EF4-FFF2-40B4-BE49-F238E27FC236}">
                    <a16:creationId xmlns:a16="http://schemas.microsoft.com/office/drawing/2014/main" id="{96565957-737E-4382-AF92-D0194B7AE24F}"/>
                  </a:ext>
                </a:extLst>
              </p:cNvPr>
              <p:cNvSpPr>
                <a:spLocks noChangeArrowheads="1"/>
              </p:cNvSpPr>
              <p:nvPr/>
            </p:nvSpPr>
            <p:spPr bwMode="auto">
              <a:xfrm>
                <a:off x="24484832"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2" name="Oval 741">
                <a:extLst>
                  <a:ext uri="{FF2B5EF4-FFF2-40B4-BE49-F238E27FC236}">
                    <a16:creationId xmlns:a16="http://schemas.microsoft.com/office/drawing/2014/main" id="{2FF50A0A-C0E5-43A5-BE15-5F2D54F8158E}"/>
                  </a:ext>
                </a:extLst>
              </p:cNvPr>
              <p:cNvSpPr>
                <a:spLocks noChangeArrowheads="1"/>
              </p:cNvSpPr>
              <p:nvPr/>
            </p:nvSpPr>
            <p:spPr bwMode="auto">
              <a:xfrm>
                <a:off x="24450408"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3" name="Oval 742">
                <a:extLst>
                  <a:ext uri="{FF2B5EF4-FFF2-40B4-BE49-F238E27FC236}">
                    <a16:creationId xmlns:a16="http://schemas.microsoft.com/office/drawing/2014/main" id="{925EC83B-C92E-4043-AD81-291B420F6967}"/>
                  </a:ext>
                </a:extLst>
              </p:cNvPr>
              <p:cNvSpPr>
                <a:spLocks noChangeArrowheads="1"/>
              </p:cNvSpPr>
              <p:nvPr/>
            </p:nvSpPr>
            <p:spPr bwMode="auto">
              <a:xfrm>
                <a:off x="24412542"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4" name="Oval 743">
                <a:extLst>
                  <a:ext uri="{FF2B5EF4-FFF2-40B4-BE49-F238E27FC236}">
                    <a16:creationId xmlns:a16="http://schemas.microsoft.com/office/drawing/2014/main" id="{21C52B65-51D8-4D0F-9D0F-70725AB665EE}"/>
                  </a:ext>
                </a:extLst>
              </p:cNvPr>
              <p:cNvSpPr>
                <a:spLocks noChangeArrowheads="1"/>
              </p:cNvSpPr>
              <p:nvPr/>
            </p:nvSpPr>
            <p:spPr bwMode="auto">
              <a:xfrm>
                <a:off x="24409100" y="12242856"/>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5" name="Oval 744">
                <a:extLst>
                  <a:ext uri="{FF2B5EF4-FFF2-40B4-BE49-F238E27FC236}">
                    <a16:creationId xmlns:a16="http://schemas.microsoft.com/office/drawing/2014/main" id="{F5230CCD-B483-49FF-900A-13CA6086AA10}"/>
                  </a:ext>
                </a:extLst>
              </p:cNvPr>
              <p:cNvSpPr>
                <a:spLocks noChangeArrowheads="1"/>
              </p:cNvSpPr>
              <p:nvPr/>
            </p:nvSpPr>
            <p:spPr bwMode="auto">
              <a:xfrm>
                <a:off x="24388446" y="12242856"/>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6" name="Oval 745">
                <a:extLst>
                  <a:ext uri="{FF2B5EF4-FFF2-40B4-BE49-F238E27FC236}">
                    <a16:creationId xmlns:a16="http://schemas.microsoft.com/office/drawing/2014/main" id="{BF5F9B06-FC4D-4E63-B7F6-2A1B54C06458}"/>
                  </a:ext>
                </a:extLst>
              </p:cNvPr>
              <p:cNvSpPr>
                <a:spLocks noChangeArrowheads="1"/>
              </p:cNvSpPr>
              <p:nvPr/>
            </p:nvSpPr>
            <p:spPr bwMode="auto">
              <a:xfrm>
                <a:off x="24374676" y="12242856"/>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7" name="Oval 746">
                <a:extLst>
                  <a:ext uri="{FF2B5EF4-FFF2-40B4-BE49-F238E27FC236}">
                    <a16:creationId xmlns:a16="http://schemas.microsoft.com/office/drawing/2014/main" id="{9C014F70-EFC6-4762-8F30-37296E8244A7}"/>
                  </a:ext>
                </a:extLst>
              </p:cNvPr>
              <p:cNvSpPr>
                <a:spLocks noChangeArrowheads="1"/>
              </p:cNvSpPr>
              <p:nvPr/>
            </p:nvSpPr>
            <p:spPr bwMode="auto">
              <a:xfrm>
                <a:off x="24360907" y="1219732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8" name="Oval 747">
                <a:extLst>
                  <a:ext uri="{FF2B5EF4-FFF2-40B4-BE49-F238E27FC236}">
                    <a16:creationId xmlns:a16="http://schemas.microsoft.com/office/drawing/2014/main" id="{35C98C89-57D5-4736-8DC5-0148EC0BF082}"/>
                  </a:ext>
                </a:extLst>
              </p:cNvPr>
              <p:cNvSpPr>
                <a:spLocks noChangeArrowheads="1"/>
              </p:cNvSpPr>
              <p:nvPr/>
            </p:nvSpPr>
            <p:spPr bwMode="auto">
              <a:xfrm>
                <a:off x="24347137" y="1219732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29" name="Oval 748">
                <a:extLst>
                  <a:ext uri="{FF2B5EF4-FFF2-40B4-BE49-F238E27FC236}">
                    <a16:creationId xmlns:a16="http://schemas.microsoft.com/office/drawing/2014/main" id="{06A70A0E-00FC-4350-B970-6D9E2CC8475A}"/>
                  </a:ext>
                </a:extLst>
              </p:cNvPr>
              <p:cNvSpPr>
                <a:spLocks noChangeArrowheads="1"/>
              </p:cNvSpPr>
              <p:nvPr/>
            </p:nvSpPr>
            <p:spPr bwMode="auto">
              <a:xfrm>
                <a:off x="24312713" y="1219732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0" name="Oval 749">
                <a:extLst>
                  <a:ext uri="{FF2B5EF4-FFF2-40B4-BE49-F238E27FC236}">
                    <a16:creationId xmlns:a16="http://schemas.microsoft.com/office/drawing/2014/main" id="{16CDF5BB-27C8-466F-80FA-00E5D5FD7093}"/>
                  </a:ext>
                </a:extLst>
              </p:cNvPr>
              <p:cNvSpPr>
                <a:spLocks noChangeArrowheads="1"/>
              </p:cNvSpPr>
              <p:nvPr/>
            </p:nvSpPr>
            <p:spPr bwMode="auto">
              <a:xfrm>
                <a:off x="24298944" y="1219732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1" name="Oval 750">
                <a:extLst>
                  <a:ext uri="{FF2B5EF4-FFF2-40B4-BE49-F238E27FC236}">
                    <a16:creationId xmlns:a16="http://schemas.microsoft.com/office/drawing/2014/main" id="{5DC8F9AE-911D-4D39-9532-21207FD671D6}"/>
                  </a:ext>
                </a:extLst>
              </p:cNvPr>
              <p:cNvSpPr>
                <a:spLocks noChangeArrowheads="1"/>
              </p:cNvSpPr>
              <p:nvPr/>
            </p:nvSpPr>
            <p:spPr bwMode="auto">
              <a:xfrm>
                <a:off x="24261078" y="1219732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2" name="Oval 751">
                <a:extLst>
                  <a:ext uri="{FF2B5EF4-FFF2-40B4-BE49-F238E27FC236}">
                    <a16:creationId xmlns:a16="http://schemas.microsoft.com/office/drawing/2014/main" id="{0A7B7300-98E3-46D9-9F9E-DF5D667CDE92}"/>
                  </a:ext>
                </a:extLst>
              </p:cNvPr>
              <p:cNvSpPr>
                <a:spLocks noChangeArrowheads="1"/>
              </p:cNvSpPr>
              <p:nvPr/>
            </p:nvSpPr>
            <p:spPr bwMode="auto">
              <a:xfrm>
                <a:off x="24240423" y="1219732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3" name="Oval 752">
                <a:extLst>
                  <a:ext uri="{FF2B5EF4-FFF2-40B4-BE49-F238E27FC236}">
                    <a16:creationId xmlns:a16="http://schemas.microsoft.com/office/drawing/2014/main" id="{461070DB-E145-4A1B-9A90-8D4306BA24DF}"/>
                  </a:ext>
                </a:extLst>
              </p:cNvPr>
              <p:cNvSpPr>
                <a:spLocks noChangeArrowheads="1"/>
              </p:cNvSpPr>
              <p:nvPr/>
            </p:nvSpPr>
            <p:spPr bwMode="auto">
              <a:xfrm>
                <a:off x="24212884" y="1219732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4" name="Oval 753">
                <a:extLst>
                  <a:ext uri="{FF2B5EF4-FFF2-40B4-BE49-F238E27FC236}">
                    <a16:creationId xmlns:a16="http://schemas.microsoft.com/office/drawing/2014/main" id="{3304E255-D719-4120-A43D-C8E57C8EC9E3}"/>
                  </a:ext>
                </a:extLst>
              </p:cNvPr>
              <p:cNvSpPr>
                <a:spLocks noChangeArrowheads="1"/>
              </p:cNvSpPr>
              <p:nvPr/>
            </p:nvSpPr>
            <p:spPr bwMode="auto">
              <a:xfrm>
                <a:off x="24178461" y="1216579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5" name="Oval 754">
                <a:extLst>
                  <a:ext uri="{FF2B5EF4-FFF2-40B4-BE49-F238E27FC236}">
                    <a16:creationId xmlns:a16="http://schemas.microsoft.com/office/drawing/2014/main" id="{161E7589-7375-47C8-AF87-F52F15352A8F}"/>
                  </a:ext>
                </a:extLst>
              </p:cNvPr>
              <p:cNvSpPr>
                <a:spLocks noChangeArrowheads="1"/>
              </p:cNvSpPr>
              <p:nvPr/>
            </p:nvSpPr>
            <p:spPr bwMode="auto">
              <a:xfrm>
                <a:off x="24150922" y="12165797"/>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6" name="Oval 755">
                <a:extLst>
                  <a:ext uri="{FF2B5EF4-FFF2-40B4-BE49-F238E27FC236}">
                    <a16:creationId xmlns:a16="http://schemas.microsoft.com/office/drawing/2014/main" id="{A55E560A-0AF2-4C91-8119-428C03C7A07A}"/>
                  </a:ext>
                </a:extLst>
              </p:cNvPr>
              <p:cNvSpPr>
                <a:spLocks noChangeArrowheads="1"/>
              </p:cNvSpPr>
              <p:nvPr/>
            </p:nvSpPr>
            <p:spPr bwMode="auto">
              <a:xfrm>
                <a:off x="24140594" y="1216579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7" name="Oval 756">
                <a:extLst>
                  <a:ext uri="{FF2B5EF4-FFF2-40B4-BE49-F238E27FC236}">
                    <a16:creationId xmlns:a16="http://schemas.microsoft.com/office/drawing/2014/main" id="{9C0708A3-B781-4FCE-A64F-C22E2D6AAB43}"/>
                  </a:ext>
                </a:extLst>
              </p:cNvPr>
              <p:cNvSpPr>
                <a:spLocks noChangeArrowheads="1"/>
              </p:cNvSpPr>
              <p:nvPr/>
            </p:nvSpPr>
            <p:spPr bwMode="auto">
              <a:xfrm>
                <a:off x="24106171" y="12165797"/>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8" name="Oval 757">
                <a:extLst>
                  <a:ext uri="{FF2B5EF4-FFF2-40B4-BE49-F238E27FC236}">
                    <a16:creationId xmlns:a16="http://schemas.microsoft.com/office/drawing/2014/main" id="{F442B8FC-0BA4-4C11-8BBF-3B09435DA646}"/>
                  </a:ext>
                </a:extLst>
              </p:cNvPr>
              <p:cNvSpPr>
                <a:spLocks noChangeArrowheads="1"/>
              </p:cNvSpPr>
              <p:nvPr/>
            </p:nvSpPr>
            <p:spPr bwMode="auto">
              <a:xfrm>
                <a:off x="24082074" y="1216579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39" name="Oval 758">
                <a:extLst>
                  <a:ext uri="{FF2B5EF4-FFF2-40B4-BE49-F238E27FC236}">
                    <a16:creationId xmlns:a16="http://schemas.microsoft.com/office/drawing/2014/main" id="{0B77E254-BAA7-45F8-BA4F-B51EBA462C2E}"/>
                  </a:ext>
                </a:extLst>
              </p:cNvPr>
              <p:cNvSpPr>
                <a:spLocks noChangeArrowheads="1"/>
              </p:cNvSpPr>
              <p:nvPr/>
            </p:nvSpPr>
            <p:spPr bwMode="auto">
              <a:xfrm>
                <a:off x="24064862" y="1216579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0" name="Oval 759">
                <a:extLst>
                  <a:ext uri="{FF2B5EF4-FFF2-40B4-BE49-F238E27FC236}">
                    <a16:creationId xmlns:a16="http://schemas.microsoft.com/office/drawing/2014/main" id="{4748FC82-300E-47AD-8983-DC9706669BC4}"/>
                  </a:ext>
                </a:extLst>
              </p:cNvPr>
              <p:cNvSpPr>
                <a:spLocks noChangeArrowheads="1"/>
              </p:cNvSpPr>
              <p:nvPr/>
            </p:nvSpPr>
            <p:spPr bwMode="auto">
              <a:xfrm>
                <a:off x="24047650" y="1216579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1" name="Oval 760">
                <a:extLst>
                  <a:ext uri="{FF2B5EF4-FFF2-40B4-BE49-F238E27FC236}">
                    <a16:creationId xmlns:a16="http://schemas.microsoft.com/office/drawing/2014/main" id="{72E678AD-4C90-459E-BD73-62CB12BE5F6F}"/>
                  </a:ext>
                </a:extLst>
              </p:cNvPr>
              <p:cNvSpPr>
                <a:spLocks noChangeArrowheads="1"/>
              </p:cNvSpPr>
              <p:nvPr/>
            </p:nvSpPr>
            <p:spPr bwMode="auto">
              <a:xfrm>
                <a:off x="24030438" y="1216579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2" name="Oval 761">
                <a:extLst>
                  <a:ext uri="{FF2B5EF4-FFF2-40B4-BE49-F238E27FC236}">
                    <a16:creationId xmlns:a16="http://schemas.microsoft.com/office/drawing/2014/main" id="{55DA7201-629D-4366-94DD-79EC99FD0E1F}"/>
                  </a:ext>
                </a:extLst>
              </p:cNvPr>
              <p:cNvSpPr>
                <a:spLocks noChangeArrowheads="1"/>
              </p:cNvSpPr>
              <p:nvPr/>
            </p:nvSpPr>
            <p:spPr bwMode="auto">
              <a:xfrm>
                <a:off x="24013226" y="1216579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3" name="Oval 762">
                <a:extLst>
                  <a:ext uri="{FF2B5EF4-FFF2-40B4-BE49-F238E27FC236}">
                    <a16:creationId xmlns:a16="http://schemas.microsoft.com/office/drawing/2014/main" id="{57D2D217-5C25-4D06-A35B-9AA05A798F66}"/>
                  </a:ext>
                </a:extLst>
              </p:cNvPr>
              <p:cNvSpPr>
                <a:spLocks noChangeArrowheads="1"/>
              </p:cNvSpPr>
              <p:nvPr/>
            </p:nvSpPr>
            <p:spPr bwMode="auto">
              <a:xfrm>
                <a:off x="24002899" y="1216579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4" name="Oval 763">
                <a:extLst>
                  <a:ext uri="{FF2B5EF4-FFF2-40B4-BE49-F238E27FC236}">
                    <a16:creationId xmlns:a16="http://schemas.microsoft.com/office/drawing/2014/main" id="{751D80F8-20BA-4B79-9C08-F5D7408774C6}"/>
                  </a:ext>
                </a:extLst>
              </p:cNvPr>
              <p:cNvSpPr>
                <a:spLocks noChangeArrowheads="1"/>
              </p:cNvSpPr>
              <p:nvPr/>
            </p:nvSpPr>
            <p:spPr bwMode="auto">
              <a:xfrm>
                <a:off x="23996015" y="12144781"/>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5" name="Oval 764">
                <a:extLst>
                  <a:ext uri="{FF2B5EF4-FFF2-40B4-BE49-F238E27FC236}">
                    <a16:creationId xmlns:a16="http://schemas.microsoft.com/office/drawing/2014/main" id="{02211E2D-C1B0-41D2-9F9F-3CF18C177FD5}"/>
                  </a:ext>
                </a:extLst>
              </p:cNvPr>
              <p:cNvSpPr>
                <a:spLocks noChangeArrowheads="1"/>
              </p:cNvSpPr>
              <p:nvPr/>
            </p:nvSpPr>
            <p:spPr bwMode="auto">
              <a:xfrm>
                <a:off x="23978803" y="1214478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6" name="Oval 765">
                <a:extLst>
                  <a:ext uri="{FF2B5EF4-FFF2-40B4-BE49-F238E27FC236}">
                    <a16:creationId xmlns:a16="http://schemas.microsoft.com/office/drawing/2014/main" id="{FB128166-0F25-4EC4-8EE3-20946127360E}"/>
                  </a:ext>
                </a:extLst>
              </p:cNvPr>
              <p:cNvSpPr>
                <a:spLocks noChangeArrowheads="1"/>
              </p:cNvSpPr>
              <p:nvPr/>
            </p:nvSpPr>
            <p:spPr bwMode="auto">
              <a:xfrm>
                <a:off x="23965033" y="1214478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7" name="Oval 766">
                <a:extLst>
                  <a:ext uri="{FF2B5EF4-FFF2-40B4-BE49-F238E27FC236}">
                    <a16:creationId xmlns:a16="http://schemas.microsoft.com/office/drawing/2014/main" id="{0B4E99F2-45C6-4429-B04E-B3D203ED8815}"/>
                  </a:ext>
                </a:extLst>
              </p:cNvPr>
              <p:cNvSpPr>
                <a:spLocks noChangeArrowheads="1"/>
              </p:cNvSpPr>
              <p:nvPr/>
            </p:nvSpPr>
            <p:spPr bwMode="auto">
              <a:xfrm>
                <a:off x="23944379" y="1214478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8" name="Oval 767">
                <a:extLst>
                  <a:ext uri="{FF2B5EF4-FFF2-40B4-BE49-F238E27FC236}">
                    <a16:creationId xmlns:a16="http://schemas.microsoft.com/office/drawing/2014/main" id="{1C1DBCAE-7413-423A-A0AC-FE5E67AE4966}"/>
                  </a:ext>
                </a:extLst>
              </p:cNvPr>
              <p:cNvSpPr>
                <a:spLocks noChangeArrowheads="1"/>
              </p:cNvSpPr>
              <p:nvPr/>
            </p:nvSpPr>
            <p:spPr bwMode="auto">
              <a:xfrm>
                <a:off x="23920282" y="12102749"/>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49" name="Oval 768">
                <a:extLst>
                  <a:ext uri="{FF2B5EF4-FFF2-40B4-BE49-F238E27FC236}">
                    <a16:creationId xmlns:a16="http://schemas.microsoft.com/office/drawing/2014/main" id="{896C17D8-E00A-42AF-BFA7-858E07407BB7}"/>
                  </a:ext>
                </a:extLst>
              </p:cNvPr>
              <p:cNvSpPr>
                <a:spLocks noChangeArrowheads="1"/>
              </p:cNvSpPr>
              <p:nvPr/>
            </p:nvSpPr>
            <p:spPr bwMode="auto">
              <a:xfrm>
                <a:off x="23901349" y="12102749"/>
                <a:ext cx="67126"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0" name="Oval 769">
                <a:extLst>
                  <a:ext uri="{FF2B5EF4-FFF2-40B4-BE49-F238E27FC236}">
                    <a16:creationId xmlns:a16="http://schemas.microsoft.com/office/drawing/2014/main" id="{A5D830FB-0E17-49A0-A8F1-4B42B9F6BA2D}"/>
                  </a:ext>
                </a:extLst>
              </p:cNvPr>
              <p:cNvSpPr>
                <a:spLocks noChangeArrowheads="1"/>
              </p:cNvSpPr>
              <p:nvPr/>
            </p:nvSpPr>
            <p:spPr bwMode="auto">
              <a:xfrm>
                <a:off x="23894464" y="12081734"/>
                <a:ext cx="67126"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1" name="Oval 770">
                <a:extLst>
                  <a:ext uri="{FF2B5EF4-FFF2-40B4-BE49-F238E27FC236}">
                    <a16:creationId xmlns:a16="http://schemas.microsoft.com/office/drawing/2014/main" id="{92B5FCD8-FB89-4986-BEA2-3D831103F11E}"/>
                  </a:ext>
                </a:extLst>
              </p:cNvPr>
              <p:cNvSpPr>
                <a:spLocks noChangeArrowheads="1"/>
              </p:cNvSpPr>
              <p:nvPr/>
            </p:nvSpPr>
            <p:spPr bwMode="auto">
              <a:xfrm>
                <a:off x="23877252" y="12081734"/>
                <a:ext cx="67126"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2" name="Oval 771">
                <a:extLst>
                  <a:ext uri="{FF2B5EF4-FFF2-40B4-BE49-F238E27FC236}">
                    <a16:creationId xmlns:a16="http://schemas.microsoft.com/office/drawing/2014/main" id="{2BD2B6DF-A70C-40AA-9433-CB443287A6A1}"/>
                  </a:ext>
                </a:extLst>
              </p:cNvPr>
              <p:cNvSpPr>
                <a:spLocks noChangeArrowheads="1"/>
              </p:cNvSpPr>
              <p:nvPr/>
            </p:nvSpPr>
            <p:spPr bwMode="auto">
              <a:xfrm>
                <a:off x="23866925" y="12081734"/>
                <a:ext cx="67126"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3" name="Oval 772">
                <a:extLst>
                  <a:ext uri="{FF2B5EF4-FFF2-40B4-BE49-F238E27FC236}">
                    <a16:creationId xmlns:a16="http://schemas.microsoft.com/office/drawing/2014/main" id="{4BEFDB01-70D3-471E-99BE-41E610249099}"/>
                  </a:ext>
                </a:extLst>
              </p:cNvPr>
              <p:cNvSpPr>
                <a:spLocks noChangeArrowheads="1"/>
              </p:cNvSpPr>
              <p:nvPr/>
            </p:nvSpPr>
            <p:spPr bwMode="auto">
              <a:xfrm>
                <a:off x="23856598" y="12081734"/>
                <a:ext cx="67126"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4" name="Oval 773">
                <a:extLst>
                  <a:ext uri="{FF2B5EF4-FFF2-40B4-BE49-F238E27FC236}">
                    <a16:creationId xmlns:a16="http://schemas.microsoft.com/office/drawing/2014/main" id="{09F82729-695A-4B47-8A20-976474B17F9A}"/>
                  </a:ext>
                </a:extLst>
              </p:cNvPr>
              <p:cNvSpPr>
                <a:spLocks noChangeArrowheads="1"/>
              </p:cNvSpPr>
              <p:nvPr/>
            </p:nvSpPr>
            <p:spPr bwMode="auto">
              <a:xfrm>
                <a:off x="23835943" y="12081734"/>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5" name="Oval 774">
                <a:extLst>
                  <a:ext uri="{FF2B5EF4-FFF2-40B4-BE49-F238E27FC236}">
                    <a16:creationId xmlns:a16="http://schemas.microsoft.com/office/drawing/2014/main" id="{C81AAF4A-2F69-4429-8E34-946AF48F341E}"/>
                  </a:ext>
                </a:extLst>
              </p:cNvPr>
              <p:cNvSpPr>
                <a:spLocks noChangeArrowheads="1"/>
              </p:cNvSpPr>
              <p:nvPr/>
            </p:nvSpPr>
            <p:spPr bwMode="auto">
              <a:xfrm>
                <a:off x="23811847" y="12081734"/>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6" name="Oval 775">
                <a:extLst>
                  <a:ext uri="{FF2B5EF4-FFF2-40B4-BE49-F238E27FC236}">
                    <a16:creationId xmlns:a16="http://schemas.microsoft.com/office/drawing/2014/main" id="{CCD23151-67B3-4471-953C-16C422583DD9}"/>
                  </a:ext>
                </a:extLst>
              </p:cNvPr>
              <p:cNvSpPr>
                <a:spLocks noChangeArrowheads="1"/>
              </p:cNvSpPr>
              <p:nvPr/>
            </p:nvSpPr>
            <p:spPr bwMode="auto">
              <a:xfrm>
                <a:off x="23791193" y="12081734"/>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7" name="Oval 776">
                <a:extLst>
                  <a:ext uri="{FF2B5EF4-FFF2-40B4-BE49-F238E27FC236}">
                    <a16:creationId xmlns:a16="http://schemas.microsoft.com/office/drawing/2014/main" id="{69D6726F-F75F-433D-929A-A3779A672771}"/>
                  </a:ext>
                </a:extLst>
              </p:cNvPr>
              <p:cNvSpPr>
                <a:spLocks noChangeArrowheads="1"/>
              </p:cNvSpPr>
              <p:nvPr/>
            </p:nvSpPr>
            <p:spPr bwMode="auto">
              <a:xfrm>
                <a:off x="23777423" y="12081734"/>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8" name="Oval 777">
                <a:extLst>
                  <a:ext uri="{FF2B5EF4-FFF2-40B4-BE49-F238E27FC236}">
                    <a16:creationId xmlns:a16="http://schemas.microsoft.com/office/drawing/2014/main" id="{42EF8813-AB13-41C7-9D4D-1A48FB02CD76}"/>
                  </a:ext>
                </a:extLst>
              </p:cNvPr>
              <p:cNvSpPr>
                <a:spLocks noChangeArrowheads="1"/>
              </p:cNvSpPr>
              <p:nvPr/>
            </p:nvSpPr>
            <p:spPr bwMode="auto">
              <a:xfrm>
                <a:off x="23760211" y="12081734"/>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9" name="Oval 778">
                <a:extLst>
                  <a:ext uri="{FF2B5EF4-FFF2-40B4-BE49-F238E27FC236}">
                    <a16:creationId xmlns:a16="http://schemas.microsoft.com/office/drawing/2014/main" id="{EC660D57-03EE-4DE5-B6B8-87E21E43F3C6}"/>
                  </a:ext>
                </a:extLst>
              </p:cNvPr>
              <p:cNvSpPr>
                <a:spLocks noChangeArrowheads="1"/>
              </p:cNvSpPr>
              <p:nvPr/>
            </p:nvSpPr>
            <p:spPr bwMode="auto">
              <a:xfrm>
                <a:off x="23739557" y="1205371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0" name="Oval 779">
                <a:extLst>
                  <a:ext uri="{FF2B5EF4-FFF2-40B4-BE49-F238E27FC236}">
                    <a16:creationId xmlns:a16="http://schemas.microsoft.com/office/drawing/2014/main" id="{6065B62B-56A7-4684-A57D-1FA7558E6375}"/>
                  </a:ext>
                </a:extLst>
              </p:cNvPr>
              <p:cNvSpPr>
                <a:spLocks noChangeArrowheads="1"/>
              </p:cNvSpPr>
              <p:nvPr/>
            </p:nvSpPr>
            <p:spPr bwMode="auto">
              <a:xfrm>
                <a:off x="23712018" y="1205371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1" name="Oval 780">
                <a:extLst>
                  <a:ext uri="{FF2B5EF4-FFF2-40B4-BE49-F238E27FC236}">
                    <a16:creationId xmlns:a16="http://schemas.microsoft.com/office/drawing/2014/main" id="{F7DF6CF4-297F-471C-9881-5AAD6CB920A8}"/>
                  </a:ext>
                </a:extLst>
              </p:cNvPr>
              <p:cNvSpPr>
                <a:spLocks noChangeArrowheads="1"/>
              </p:cNvSpPr>
              <p:nvPr/>
            </p:nvSpPr>
            <p:spPr bwMode="auto">
              <a:xfrm>
                <a:off x="23694806" y="12053712"/>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2" name="Oval 781">
                <a:extLst>
                  <a:ext uri="{FF2B5EF4-FFF2-40B4-BE49-F238E27FC236}">
                    <a16:creationId xmlns:a16="http://schemas.microsoft.com/office/drawing/2014/main" id="{E30725BA-3D6F-4EE7-AFAD-36D746AD6A14}"/>
                  </a:ext>
                </a:extLst>
              </p:cNvPr>
              <p:cNvSpPr>
                <a:spLocks noChangeArrowheads="1"/>
              </p:cNvSpPr>
              <p:nvPr/>
            </p:nvSpPr>
            <p:spPr bwMode="auto">
              <a:xfrm>
                <a:off x="23681037" y="1205371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3" name="Oval 782">
                <a:extLst>
                  <a:ext uri="{FF2B5EF4-FFF2-40B4-BE49-F238E27FC236}">
                    <a16:creationId xmlns:a16="http://schemas.microsoft.com/office/drawing/2014/main" id="{ACE2C785-DCED-40FA-8F46-AE55AE37B1EB}"/>
                  </a:ext>
                </a:extLst>
              </p:cNvPr>
              <p:cNvSpPr>
                <a:spLocks noChangeArrowheads="1"/>
              </p:cNvSpPr>
              <p:nvPr/>
            </p:nvSpPr>
            <p:spPr bwMode="auto">
              <a:xfrm>
                <a:off x="23660382" y="12053712"/>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4" name="Oval 783">
                <a:extLst>
                  <a:ext uri="{FF2B5EF4-FFF2-40B4-BE49-F238E27FC236}">
                    <a16:creationId xmlns:a16="http://schemas.microsoft.com/office/drawing/2014/main" id="{F43389A8-2266-4996-A740-2C339E426F93}"/>
                  </a:ext>
                </a:extLst>
              </p:cNvPr>
              <p:cNvSpPr>
                <a:spLocks noChangeArrowheads="1"/>
              </p:cNvSpPr>
              <p:nvPr/>
            </p:nvSpPr>
            <p:spPr bwMode="auto">
              <a:xfrm>
                <a:off x="23643170" y="1205371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5" name="Oval 784">
                <a:extLst>
                  <a:ext uri="{FF2B5EF4-FFF2-40B4-BE49-F238E27FC236}">
                    <a16:creationId xmlns:a16="http://schemas.microsoft.com/office/drawing/2014/main" id="{7DCFFABD-F206-4C41-9F7C-508A64E85075}"/>
                  </a:ext>
                </a:extLst>
              </p:cNvPr>
              <p:cNvSpPr>
                <a:spLocks noChangeArrowheads="1"/>
              </p:cNvSpPr>
              <p:nvPr/>
            </p:nvSpPr>
            <p:spPr bwMode="auto">
              <a:xfrm>
                <a:off x="23625958" y="12029194"/>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6" name="Oval 785">
                <a:extLst>
                  <a:ext uri="{FF2B5EF4-FFF2-40B4-BE49-F238E27FC236}">
                    <a16:creationId xmlns:a16="http://schemas.microsoft.com/office/drawing/2014/main" id="{BF0BE157-4DC4-441F-9F40-15F2CCE0442C}"/>
                  </a:ext>
                </a:extLst>
              </p:cNvPr>
              <p:cNvSpPr>
                <a:spLocks noChangeArrowheads="1"/>
              </p:cNvSpPr>
              <p:nvPr/>
            </p:nvSpPr>
            <p:spPr bwMode="auto">
              <a:xfrm>
                <a:off x="23615631" y="12029194"/>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7" name="Oval 786">
                <a:extLst>
                  <a:ext uri="{FF2B5EF4-FFF2-40B4-BE49-F238E27FC236}">
                    <a16:creationId xmlns:a16="http://schemas.microsoft.com/office/drawing/2014/main" id="{3D43E01E-7CA9-4140-9631-A39E420E7806}"/>
                  </a:ext>
                </a:extLst>
              </p:cNvPr>
              <p:cNvSpPr>
                <a:spLocks noChangeArrowheads="1"/>
              </p:cNvSpPr>
              <p:nvPr/>
            </p:nvSpPr>
            <p:spPr bwMode="auto">
              <a:xfrm>
                <a:off x="23598419" y="1201518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8" name="Oval 787">
                <a:extLst>
                  <a:ext uri="{FF2B5EF4-FFF2-40B4-BE49-F238E27FC236}">
                    <a16:creationId xmlns:a16="http://schemas.microsoft.com/office/drawing/2014/main" id="{9DDEE5B0-625F-4DD8-80F8-38E187D99C85}"/>
                  </a:ext>
                </a:extLst>
              </p:cNvPr>
              <p:cNvSpPr>
                <a:spLocks noChangeArrowheads="1"/>
              </p:cNvSpPr>
              <p:nvPr/>
            </p:nvSpPr>
            <p:spPr bwMode="auto">
              <a:xfrm>
                <a:off x="23581208" y="1201518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9" name="Oval 788">
                <a:extLst>
                  <a:ext uri="{FF2B5EF4-FFF2-40B4-BE49-F238E27FC236}">
                    <a16:creationId xmlns:a16="http://schemas.microsoft.com/office/drawing/2014/main" id="{9AE74270-0A3C-43F1-93F2-89E611F6A849}"/>
                  </a:ext>
                </a:extLst>
              </p:cNvPr>
              <p:cNvSpPr>
                <a:spLocks noChangeArrowheads="1"/>
              </p:cNvSpPr>
              <p:nvPr/>
            </p:nvSpPr>
            <p:spPr bwMode="auto">
              <a:xfrm>
                <a:off x="23563996" y="1201518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0" name="Oval 789">
                <a:extLst>
                  <a:ext uri="{FF2B5EF4-FFF2-40B4-BE49-F238E27FC236}">
                    <a16:creationId xmlns:a16="http://schemas.microsoft.com/office/drawing/2014/main" id="{7381CA8A-016D-4602-9C0D-22E46BEC1C57}"/>
                  </a:ext>
                </a:extLst>
              </p:cNvPr>
              <p:cNvSpPr>
                <a:spLocks noChangeArrowheads="1"/>
              </p:cNvSpPr>
              <p:nvPr/>
            </p:nvSpPr>
            <p:spPr bwMode="auto">
              <a:xfrm>
                <a:off x="23553669" y="1201518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1" name="Oval 790">
                <a:extLst>
                  <a:ext uri="{FF2B5EF4-FFF2-40B4-BE49-F238E27FC236}">
                    <a16:creationId xmlns:a16="http://schemas.microsoft.com/office/drawing/2014/main" id="{359CAAD4-9E9F-45EE-B8DA-22B5CB1028A1}"/>
                  </a:ext>
                </a:extLst>
              </p:cNvPr>
              <p:cNvSpPr>
                <a:spLocks noChangeArrowheads="1"/>
              </p:cNvSpPr>
              <p:nvPr/>
            </p:nvSpPr>
            <p:spPr bwMode="auto">
              <a:xfrm>
                <a:off x="23536457" y="1200117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2" name="Oval 791">
                <a:extLst>
                  <a:ext uri="{FF2B5EF4-FFF2-40B4-BE49-F238E27FC236}">
                    <a16:creationId xmlns:a16="http://schemas.microsoft.com/office/drawing/2014/main" id="{3E0FA510-E4E4-46E0-A2A5-A57609B9D59A}"/>
                  </a:ext>
                </a:extLst>
              </p:cNvPr>
              <p:cNvSpPr>
                <a:spLocks noChangeArrowheads="1"/>
              </p:cNvSpPr>
              <p:nvPr/>
            </p:nvSpPr>
            <p:spPr bwMode="auto">
              <a:xfrm>
                <a:off x="23522687" y="1200117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3" name="Oval 792">
                <a:extLst>
                  <a:ext uri="{FF2B5EF4-FFF2-40B4-BE49-F238E27FC236}">
                    <a16:creationId xmlns:a16="http://schemas.microsoft.com/office/drawing/2014/main" id="{F886DD95-E01D-4BB4-893B-C1CBD1C4F836}"/>
                  </a:ext>
                </a:extLst>
              </p:cNvPr>
              <p:cNvSpPr>
                <a:spLocks noChangeArrowheads="1"/>
              </p:cNvSpPr>
              <p:nvPr/>
            </p:nvSpPr>
            <p:spPr bwMode="auto">
              <a:xfrm>
                <a:off x="23505475" y="1200117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4" name="Oval 793">
                <a:extLst>
                  <a:ext uri="{FF2B5EF4-FFF2-40B4-BE49-F238E27FC236}">
                    <a16:creationId xmlns:a16="http://schemas.microsoft.com/office/drawing/2014/main" id="{7BF4CE68-470D-45B7-99E9-A08AC342AC9F}"/>
                  </a:ext>
                </a:extLst>
              </p:cNvPr>
              <p:cNvSpPr>
                <a:spLocks noChangeArrowheads="1"/>
              </p:cNvSpPr>
              <p:nvPr/>
            </p:nvSpPr>
            <p:spPr bwMode="auto">
              <a:xfrm>
                <a:off x="23495148" y="1200117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5" name="Oval 794">
                <a:extLst>
                  <a:ext uri="{FF2B5EF4-FFF2-40B4-BE49-F238E27FC236}">
                    <a16:creationId xmlns:a16="http://schemas.microsoft.com/office/drawing/2014/main" id="{A7C63682-F1AC-4FE0-93B1-052FD9A53109}"/>
                  </a:ext>
                </a:extLst>
              </p:cNvPr>
              <p:cNvSpPr>
                <a:spLocks noChangeArrowheads="1"/>
              </p:cNvSpPr>
              <p:nvPr/>
            </p:nvSpPr>
            <p:spPr bwMode="auto">
              <a:xfrm>
                <a:off x="23481379" y="12001172"/>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6" name="Oval 795">
                <a:extLst>
                  <a:ext uri="{FF2B5EF4-FFF2-40B4-BE49-F238E27FC236}">
                    <a16:creationId xmlns:a16="http://schemas.microsoft.com/office/drawing/2014/main" id="{C75F9C48-4397-4DCC-B63B-5BD785B7AB04}"/>
                  </a:ext>
                </a:extLst>
              </p:cNvPr>
              <p:cNvSpPr>
                <a:spLocks noChangeArrowheads="1"/>
              </p:cNvSpPr>
              <p:nvPr/>
            </p:nvSpPr>
            <p:spPr bwMode="auto">
              <a:xfrm>
                <a:off x="23457282" y="11966146"/>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7" name="Oval 796">
                <a:extLst>
                  <a:ext uri="{FF2B5EF4-FFF2-40B4-BE49-F238E27FC236}">
                    <a16:creationId xmlns:a16="http://schemas.microsoft.com/office/drawing/2014/main" id="{69B17064-A8D2-4B1D-A383-A3DF4E81E3DB}"/>
                  </a:ext>
                </a:extLst>
              </p:cNvPr>
              <p:cNvSpPr>
                <a:spLocks noChangeArrowheads="1"/>
              </p:cNvSpPr>
              <p:nvPr/>
            </p:nvSpPr>
            <p:spPr bwMode="auto">
              <a:xfrm>
                <a:off x="23446955" y="11966146"/>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8" name="Oval 797">
                <a:extLst>
                  <a:ext uri="{FF2B5EF4-FFF2-40B4-BE49-F238E27FC236}">
                    <a16:creationId xmlns:a16="http://schemas.microsoft.com/office/drawing/2014/main" id="{BC2E23DF-BF7A-4C33-9F8D-DAA6E48415B9}"/>
                  </a:ext>
                </a:extLst>
              </p:cNvPr>
              <p:cNvSpPr>
                <a:spLocks noChangeArrowheads="1"/>
              </p:cNvSpPr>
              <p:nvPr/>
            </p:nvSpPr>
            <p:spPr bwMode="auto">
              <a:xfrm>
                <a:off x="23415973" y="11966146"/>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9" name="Oval 798">
                <a:extLst>
                  <a:ext uri="{FF2B5EF4-FFF2-40B4-BE49-F238E27FC236}">
                    <a16:creationId xmlns:a16="http://schemas.microsoft.com/office/drawing/2014/main" id="{613EE676-6ABE-4FE9-9DF9-74D6A9E62D66}"/>
                  </a:ext>
                </a:extLst>
              </p:cNvPr>
              <p:cNvSpPr>
                <a:spLocks noChangeArrowheads="1"/>
              </p:cNvSpPr>
              <p:nvPr/>
            </p:nvSpPr>
            <p:spPr bwMode="auto">
              <a:xfrm>
                <a:off x="23319587" y="11955638"/>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0" name="Oval 799">
                <a:extLst>
                  <a:ext uri="{FF2B5EF4-FFF2-40B4-BE49-F238E27FC236}">
                    <a16:creationId xmlns:a16="http://schemas.microsoft.com/office/drawing/2014/main" id="{7AADBF42-9884-487F-AD84-E2DA631DF3E7}"/>
                  </a:ext>
                </a:extLst>
              </p:cNvPr>
              <p:cNvSpPr>
                <a:spLocks noChangeArrowheads="1"/>
              </p:cNvSpPr>
              <p:nvPr/>
            </p:nvSpPr>
            <p:spPr bwMode="auto">
              <a:xfrm>
                <a:off x="23281721" y="11952135"/>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1" name="Oval 800">
                <a:extLst>
                  <a:ext uri="{FF2B5EF4-FFF2-40B4-BE49-F238E27FC236}">
                    <a16:creationId xmlns:a16="http://schemas.microsoft.com/office/drawing/2014/main" id="{0C1F6741-62FA-4D3E-8E69-2B87EBB30CB1}"/>
                  </a:ext>
                </a:extLst>
              </p:cNvPr>
              <p:cNvSpPr>
                <a:spLocks noChangeArrowheads="1"/>
              </p:cNvSpPr>
              <p:nvPr/>
            </p:nvSpPr>
            <p:spPr bwMode="auto">
              <a:xfrm>
                <a:off x="23219758" y="11931119"/>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2" name="Oval 801">
                <a:extLst>
                  <a:ext uri="{FF2B5EF4-FFF2-40B4-BE49-F238E27FC236}">
                    <a16:creationId xmlns:a16="http://schemas.microsoft.com/office/drawing/2014/main" id="{6BAB1E48-E464-4FFB-84FF-8FF5126ADC76}"/>
                  </a:ext>
                </a:extLst>
              </p:cNvPr>
              <p:cNvSpPr>
                <a:spLocks noChangeArrowheads="1"/>
              </p:cNvSpPr>
              <p:nvPr/>
            </p:nvSpPr>
            <p:spPr bwMode="auto">
              <a:xfrm>
                <a:off x="23326472" y="11955638"/>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3" name="Oval 802">
                <a:extLst>
                  <a:ext uri="{FF2B5EF4-FFF2-40B4-BE49-F238E27FC236}">
                    <a16:creationId xmlns:a16="http://schemas.microsoft.com/office/drawing/2014/main" id="{E13A7E4D-5FC1-404B-94C9-9ED686D0D228}"/>
                  </a:ext>
                </a:extLst>
              </p:cNvPr>
              <p:cNvSpPr>
                <a:spLocks noChangeArrowheads="1"/>
              </p:cNvSpPr>
              <p:nvPr/>
            </p:nvSpPr>
            <p:spPr bwMode="auto">
              <a:xfrm>
                <a:off x="23178449" y="11920611"/>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4" name="Oval 803">
                <a:extLst>
                  <a:ext uri="{FF2B5EF4-FFF2-40B4-BE49-F238E27FC236}">
                    <a16:creationId xmlns:a16="http://schemas.microsoft.com/office/drawing/2014/main" id="{F4077CB4-54E2-47FA-B1DC-CC41DF0F6F9F}"/>
                  </a:ext>
                </a:extLst>
              </p:cNvPr>
              <p:cNvSpPr>
                <a:spLocks noChangeArrowheads="1"/>
              </p:cNvSpPr>
              <p:nvPr/>
            </p:nvSpPr>
            <p:spPr bwMode="auto">
              <a:xfrm>
                <a:off x="23164680" y="1192061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5" name="Oval 804">
                <a:extLst>
                  <a:ext uri="{FF2B5EF4-FFF2-40B4-BE49-F238E27FC236}">
                    <a16:creationId xmlns:a16="http://schemas.microsoft.com/office/drawing/2014/main" id="{C845C95A-5CE1-48B5-AFFB-D0DCB71167AC}"/>
                  </a:ext>
                </a:extLst>
              </p:cNvPr>
              <p:cNvSpPr>
                <a:spLocks noChangeArrowheads="1"/>
              </p:cNvSpPr>
              <p:nvPr/>
            </p:nvSpPr>
            <p:spPr bwMode="auto">
              <a:xfrm>
                <a:off x="23068293" y="1192061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6" name="Oval 805">
                <a:extLst>
                  <a:ext uri="{FF2B5EF4-FFF2-40B4-BE49-F238E27FC236}">
                    <a16:creationId xmlns:a16="http://schemas.microsoft.com/office/drawing/2014/main" id="{7BEEA1D5-7DF3-4BBD-8778-A713AF6EE827}"/>
                  </a:ext>
                </a:extLst>
              </p:cNvPr>
              <p:cNvSpPr>
                <a:spLocks noChangeArrowheads="1"/>
              </p:cNvSpPr>
              <p:nvPr/>
            </p:nvSpPr>
            <p:spPr bwMode="auto">
              <a:xfrm>
                <a:off x="22791183" y="1184355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7" name="Oval 806">
                <a:extLst>
                  <a:ext uri="{FF2B5EF4-FFF2-40B4-BE49-F238E27FC236}">
                    <a16:creationId xmlns:a16="http://schemas.microsoft.com/office/drawing/2014/main" id="{DF997B21-ED3B-4940-82B3-3E3B81BF4189}"/>
                  </a:ext>
                </a:extLst>
              </p:cNvPr>
              <p:cNvSpPr>
                <a:spLocks noChangeArrowheads="1"/>
              </p:cNvSpPr>
              <p:nvPr/>
            </p:nvSpPr>
            <p:spPr bwMode="auto">
              <a:xfrm>
                <a:off x="22760201" y="11819034"/>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8" name="Oval 807">
                <a:extLst>
                  <a:ext uri="{FF2B5EF4-FFF2-40B4-BE49-F238E27FC236}">
                    <a16:creationId xmlns:a16="http://schemas.microsoft.com/office/drawing/2014/main" id="{ED069AAF-0F9B-4D30-A187-8ECE38DE079B}"/>
                  </a:ext>
                </a:extLst>
              </p:cNvPr>
              <p:cNvSpPr>
                <a:spLocks noChangeArrowheads="1"/>
              </p:cNvSpPr>
              <p:nvPr/>
            </p:nvSpPr>
            <p:spPr bwMode="auto">
              <a:xfrm>
                <a:off x="22694796" y="11791013"/>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9" name="Oval 808">
                <a:extLst>
                  <a:ext uri="{FF2B5EF4-FFF2-40B4-BE49-F238E27FC236}">
                    <a16:creationId xmlns:a16="http://schemas.microsoft.com/office/drawing/2014/main" id="{F67B1D5A-7C01-4117-B689-1E7741CD88BA}"/>
                  </a:ext>
                </a:extLst>
              </p:cNvPr>
              <p:cNvSpPr>
                <a:spLocks noChangeArrowheads="1"/>
              </p:cNvSpPr>
              <p:nvPr/>
            </p:nvSpPr>
            <p:spPr bwMode="auto">
              <a:xfrm>
                <a:off x="22581198" y="11766494"/>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0" name="Oval 809">
                <a:extLst>
                  <a:ext uri="{FF2B5EF4-FFF2-40B4-BE49-F238E27FC236}">
                    <a16:creationId xmlns:a16="http://schemas.microsoft.com/office/drawing/2014/main" id="{38B8D710-BDC9-46F9-A331-779E2C707828}"/>
                  </a:ext>
                </a:extLst>
              </p:cNvPr>
              <p:cNvSpPr>
                <a:spLocks noChangeArrowheads="1"/>
              </p:cNvSpPr>
              <p:nvPr/>
            </p:nvSpPr>
            <p:spPr bwMode="auto">
              <a:xfrm>
                <a:off x="22267941" y="1166491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1" name="Oval 810">
                <a:extLst>
                  <a:ext uri="{FF2B5EF4-FFF2-40B4-BE49-F238E27FC236}">
                    <a16:creationId xmlns:a16="http://schemas.microsoft.com/office/drawing/2014/main" id="{C2DB4ED6-240F-43DD-925D-B48271654B81}"/>
                  </a:ext>
                </a:extLst>
              </p:cNvPr>
              <p:cNvSpPr>
                <a:spLocks noChangeArrowheads="1"/>
              </p:cNvSpPr>
              <p:nvPr/>
            </p:nvSpPr>
            <p:spPr bwMode="auto">
              <a:xfrm>
                <a:off x="22250729" y="1166491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2" name="Oval 811">
                <a:extLst>
                  <a:ext uri="{FF2B5EF4-FFF2-40B4-BE49-F238E27FC236}">
                    <a16:creationId xmlns:a16="http://schemas.microsoft.com/office/drawing/2014/main" id="{01620C86-15FE-442B-965F-FE1C56E61E18}"/>
                  </a:ext>
                </a:extLst>
              </p:cNvPr>
              <p:cNvSpPr>
                <a:spLocks noChangeArrowheads="1"/>
              </p:cNvSpPr>
              <p:nvPr/>
            </p:nvSpPr>
            <p:spPr bwMode="auto">
              <a:xfrm>
                <a:off x="22016648" y="11636896"/>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3" name="Oval 812">
                <a:extLst>
                  <a:ext uri="{FF2B5EF4-FFF2-40B4-BE49-F238E27FC236}">
                    <a16:creationId xmlns:a16="http://schemas.microsoft.com/office/drawing/2014/main" id="{4A1DA91E-20D3-44EC-8A5C-72F2B0F6D2B7}"/>
                  </a:ext>
                </a:extLst>
              </p:cNvPr>
              <p:cNvSpPr>
                <a:spLocks noChangeArrowheads="1"/>
              </p:cNvSpPr>
              <p:nvPr/>
            </p:nvSpPr>
            <p:spPr bwMode="auto">
              <a:xfrm>
                <a:off x="21860019" y="11517805"/>
                <a:ext cx="68848" cy="73556"/>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4" name="Oval 813">
                <a:extLst>
                  <a:ext uri="{FF2B5EF4-FFF2-40B4-BE49-F238E27FC236}">
                    <a16:creationId xmlns:a16="http://schemas.microsoft.com/office/drawing/2014/main" id="{81ED35BE-D2A4-41AE-8A06-0403CC776D8C}"/>
                  </a:ext>
                </a:extLst>
              </p:cNvPr>
              <p:cNvSpPr>
                <a:spLocks noChangeArrowheads="1"/>
              </p:cNvSpPr>
              <p:nvPr/>
            </p:nvSpPr>
            <p:spPr bwMode="auto">
              <a:xfrm>
                <a:off x="21808383" y="11507298"/>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5" name="Oval 814">
                <a:extLst>
                  <a:ext uri="{FF2B5EF4-FFF2-40B4-BE49-F238E27FC236}">
                    <a16:creationId xmlns:a16="http://schemas.microsoft.com/office/drawing/2014/main" id="{E273BB11-5334-4B54-81C0-5089ADB54A7D}"/>
                  </a:ext>
                </a:extLst>
              </p:cNvPr>
              <p:cNvSpPr>
                <a:spLocks noChangeArrowheads="1"/>
              </p:cNvSpPr>
              <p:nvPr/>
            </p:nvSpPr>
            <p:spPr bwMode="auto">
              <a:xfrm>
                <a:off x="21798056" y="11507298"/>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6" name="Oval 815">
                <a:extLst>
                  <a:ext uri="{FF2B5EF4-FFF2-40B4-BE49-F238E27FC236}">
                    <a16:creationId xmlns:a16="http://schemas.microsoft.com/office/drawing/2014/main" id="{4DD42D8D-CFF3-4614-B39B-775EB9458485}"/>
                  </a:ext>
                </a:extLst>
              </p:cNvPr>
              <p:cNvSpPr>
                <a:spLocks noChangeArrowheads="1"/>
              </p:cNvSpPr>
              <p:nvPr/>
            </p:nvSpPr>
            <p:spPr bwMode="auto">
              <a:xfrm>
                <a:off x="21629380" y="11458260"/>
                <a:ext cx="68848" cy="73556"/>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7" name="Oval 816">
                <a:extLst>
                  <a:ext uri="{FF2B5EF4-FFF2-40B4-BE49-F238E27FC236}">
                    <a16:creationId xmlns:a16="http://schemas.microsoft.com/office/drawing/2014/main" id="{A2262E4B-2B36-4BC8-ABCF-E10C4F5873B2}"/>
                  </a:ext>
                </a:extLst>
              </p:cNvPr>
              <p:cNvSpPr>
                <a:spLocks noChangeArrowheads="1"/>
              </p:cNvSpPr>
              <p:nvPr/>
            </p:nvSpPr>
            <p:spPr bwMode="auto">
              <a:xfrm>
                <a:off x="21295469" y="11333916"/>
                <a:ext cx="68848" cy="71804"/>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8" name="Oval 817">
                <a:extLst>
                  <a:ext uri="{FF2B5EF4-FFF2-40B4-BE49-F238E27FC236}">
                    <a16:creationId xmlns:a16="http://schemas.microsoft.com/office/drawing/2014/main" id="{2CBDCE00-EEBD-43EF-81C0-7A34584D08B8}"/>
                  </a:ext>
                </a:extLst>
              </p:cNvPr>
              <p:cNvSpPr>
                <a:spLocks noChangeArrowheads="1"/>
              </p:cNvSpPr>
              <p:nvPr/>
            </p:nvSpPr>
            <p:spPr bwMode="auto">
              <a:xfrm>
                <a:off x="21264488" y="11316403"/>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9" name="Oval 818">
                <a:extLst>
                  <a:ext uri="{FF2B5EF4-FFF2-40B4-BE49-F238E27FC236}">
                    <a16:creationId xmlns:a16="http://schemas.microsoft.com/office/drawing/2014/main" id="{56AC8782-4EAD-43C8-B53C-D8A343AF6AD1}"/>
                  </a:ext>
                </a:extLst>
              </p:cNvPr>
              <p:cNvSpPr>
                <a:spLocks noChangeArrowheads="1"/>
              </p:cNvSpPr>
              <p:nvPr/>
            </p:nvSpPr>
            <p:spPr bwMode="auto">
              <a:xfrm>
                <a:off x="21137120" y="11295387"/>
                <a:ext cx="68848" cy="73556"/>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0" name="Oval 819">
                <a:extLst>
                  <a:ext uri="{FF2B5EF4-FFF2-40B4-BE49-F238E27FC236}">
                    <a16:creationId xmlns:a16="http://schemas.microsoft.com/office/drawing/2014/main" id="{9DB7D19C-26C6-4FD0-853A-20037307A7D1}"/>
                  </a:ext>
                </a:extLst>
              </p:cNvPr>
              <p:cNvSpPr>
                <a:spLocks noChangeArrowheads="1"/>
              </p:cNvSpPr>
              <p:nvPr/>
            </p:nvSpPr>
            <p:spPr bwMode="auto">
              <a:xfrm>
                <a:off x="20928857" y="11190307"/>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1" name="Oval 820">
                <a:extLst>
                  <a:ext uri="{FF2B5EF4-FFF2-40B4-BE49-F238E27FC236}">
                    <a16:creationId xmlns:a16="http://schemas.microsoft.com/office/drawing/2014/main" id="{4A1C9080-22A2-4F60-8221-91E15142865D}"/>
                  </a:ext>
                </a:extLst>
              </p:cNvPr>
              <p:cNvSpPr>
                <a:spLocks noChangeArrowheads="1"/>
              </p:cNvSpPr>
              <p:nvPr/>
            </p:nvSpPr>
            <p:spPr bwMode="auto">
              <a:xfrm>
                <a:off x="20829028" y="11151778"/>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2" name="Oval 821">
                <a:extLst>
                  <a:ext uri="{FF2B5EF4-FFF2-40B4-BE49-F238E27FC236}">
                    <a16:creationId xmlns:a16="http://schemas.microsoft.com/office/drawing/2014/main" id="{DF3BA886-AD64-4466-B573-7D268F9F32AB}"/>
                  </a:ext>
                </a:extLst>
              </p:cNvPr>
              <p:cNvSpPr>
                <a:spLocks noChangeArrowheads="1"/>
              </p:cNvSpPr>
              <p:nvPr/>
            </p:nvSpPr>
            <p:spPr bwMode="auto">
              <a:xfrm>
                <a:off x="20784277" y="1114477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3" name="Oval 822">
                <a:extLst>
                  <a:ext uri="{FF2B5EF4-FFF2-40B4-BE49-F238E27FC236}">
                    <a16:creationId xmlns:a16="http://schemas.microsoft.com/office/drawing/2014/main" id="{EA84ECF7-733A-4DDC-9339-1B5B77F9C54D}"/>
                  </a:ext>
                </a:extLst>
              </p:cNvPr>
              <p:cNvSpPr>
                <a:spLocks noChangeArrowheads="1"/>
              </p:cNvSpPr>
              <p:nvPr/>
            </p:nvSpPr>
            <p:spPr bwMode="auto">
              <a:xfrm>
                <a:off x="20722314" y="1114477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4" name="Oval 823">
                <a:extLst>
                  <a:ext uri="{FF2B5EF4-FFF2-40B4-BE49-F238E27FC236}">
                    <a16:creationId xmlns:a16="http://schemas.microsoft.com/office/drawing/2014/main" id="{682FFA54-6A4B-4C1D-BB4D-9CAFAE6FAE99}"/>
                  </a:ext>
                </a:extLst>
              </p:cNvPr>
              <p:cNvSpPr>
                <a:spLocks noChangeArrowheads="1"/>
              </p:cNvSpPr>
              <p:nvPr/>
            </p:nvSpPr>
            <p:spPr bwMode="auto">
              <a:xfrm>
                <a:off x="20639697" y="1111675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5" name="Oval 825">
                <a:extLst>
                  <a:ext uri="{FF2B5EF4-FFF2-40B4-BE49-F238E27FC236}">
                    <a16:creationId xmlns:a16="http://schemas.microsoft.com/office/drawing/2014/main" id="{554DC701-9F32-4232-BC32-0580A75526BD}"/>
                  </a:ext>
                </a:extLst>
              </p:cNvPr>
              <p:cNvSpPr>
                <a:spLocks noChangeArrowheads="1"/>
              </p:cNvSpPr>
              <p:nvPr/>
            </p:nvSpPr>
            <p:spPr bwMode="auto">
              <a:xfrm>
                <a:off x="20625927" y="1111675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6" name="Oval 826">
                <a:extLst>
                  <a:ext uri="{FF2B5EF4-FFF2-40B4-BE49-F238E27FC236}">
                    <a16:creationId xmlns:a16="http://schemas.microsoft.com/office/drawing/2014/main" id="{9F0D5499-6C7C-4025-B0AB-83440E6C151C}"/>
                  </a:ext>
                </a:extLst>
              </p:cNvPr>
              <p:cNvSpPr>
                <a:spLocks noChangeArrowheads="1"/>
              </p:cNvSpPr>
              <p:nvPr/>
            </p:nvSpPr>
            <p:spPr bwMode="auto">
              <a:xfrm>
                <a:off x="20605273" y="11116752"/>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7" name="Oval 827">
                <a:extLst>
                  <a:ext uri="{FF2B5EF4-FFF2-40B4-BE49-F238E27FC236}">
                    <a16:creationId xmlns:a16="http://schemas.microsoft.com/office/drawing/2014/main" id="{6CBCB3C7-091F-4FEC-B026-E00378F53AFA}"/>
                  </a:ext>
                </a:extLst>
              </p:cNvPr>
              <p:cNvSpPr>
                <a:spLocks noChangeArrowheads="1"/>
              </p:cNvSpPr>
              <p:nvPr/>
            </p:nvSpPr>
            <p:spPr bwMode="auto">
              <a:xfrm>
                <a:off x="20498559" y="11095736"/>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8" name="Oval 828">
                <a:extLst>
                  <a:ext uri="{FF2B5EF4-FFF2-40B4-BE49-F238E27FC236}">
                    <a16:creationId xmlns:a16="http://schemas.microsoft.com/office/drawing/2014/main" id="{EFCA4A88-799E-4FC6-90FA-AF4B4DED74CE}"/>
                  </a:ext>
                </a:extLst>
              </p:cNvPr>
              <p:cNvSpPr>
                <a:spLocks noChangeArrowheads="1"/>
              </p:cNvSpPr>
              <p:nvPr/>
            </p:nvSpPr>
            <p:spPr bwMode="auto">
              <a:xfrm>
                <a:off x="20484790" y="11095736"/>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9" name="Oval 829">
                <a:extLst>
                  <a:ext uri="{FF2B5EF4-FFF2-40B4-BE49-F238E27FC236}">
                    <a16:creationId xmlns:a16="http://schemas.microsoft.com/office/drawing/2014/main" id="{72FAB15B-DDC8-47AE-9773-A5ACAB5F3608}"/>
                  </a:ext>
                </a:extLst>
              </p:cNvPr>
              <p:cNvSpPr>
                <a:spLocks noChangeArrowheads="1"/>
              </p:cNvSpPr>
              <p:nvPr/>
            </p:nvSpPr>
            <p:spPr bwMode="auto">
              <a:xfrm>
                <a:off x="20409058" y="11064212"/>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0" name="Oval 830">
                <a:extLst>
                  <a:ext uri="{FF2B5EF4-FFF2-40B4-BE49-F238E27FC236}">
                    <a16:creationId xmlns:a16="http://schemas.microsoft.com/office/drawing/2014/main" id="{F7783343-B65D-43E0-9F57-84F255900CD2}"/>
                  </a:ext>
                </a:extLst>
              </p:cNvPr>
              <p:cNvSpPr>
                <a:spLocks noChangeArrowheads="1"/>
              </p:cNvSpPr>
              <p:nvPr/>
            </p:nvSpPr>
            <p:spPr bwMode="auto">
              <a:xfrm>
                <a:off x="20388403" y="11057206"/>
                <a:ext cx="68848" cy="73556"/>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1" name="Oval 831">
                <a:extLst>
                  <a:ext uri="{FF2B5EF4-FFF2-40B4-BE49-F238E27FC236}">
                    <a16:creationId xmlns:a16="http://schemas.microsoft.com/office/drawing/2014/main" id="{FE52D385-2FD3-4F21-A456-4D281A556521}"/>
                  </a:ext>
                </a:extLst>
              </p:cNvPr>
              <p:cNvSpPr>
                <a:spLocks noChangeArrowheads="1"/>
              </p:cNvSpPr>
              <p:nvPr/>
            </p:nvSpPr>
            <p:spPr bwMode="auto">
              <a:xfrm>
                <a:off x="20367749" y="11050201"/>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2" name="Oval 832">
                <a:extLst>
                  <a:ext uri="{FF2B5EF4-FFF2-40B4-BE49-F238E27FC236}">
                    <a16:creationId xmlns:a16="http://schemas.microsoft.com/office/drawing/2014/main" id="{EE7873C1-956D-4947-B41F-5879E5195321}"/>
                  </a:ext>
                </a:extLst>
              </p:cNvPr>
              <p:cNvSpPr>
                <a:spLocks noChangeArrowheads="1"/>
              </p:cNvSpPr>
              <p:nvPr/>
            </p:nvSpPr>
            <p:spPr bwMode="auto">
              <a:xfrm>
                <a:off x="20171534" y="1097314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3" name="Oval 833">
                <a:extLst>
                  <a:ext uri="{FF2B5EF4-FFF2-40B4-BE49-F238E27FC236}">
                    <a16:creationId xmlns:a16="http://schemas.microsoft.com/office/drawing/2014/main" id="{0467E665-DB9E-48D2-8051-604C9B1CAE1C}"/>
                  </a:ext>
                </a:extLst>
              </p:cNvPr>
              <p:cNvSpPr>
                <a:spLocks noChangeArrowheads="1"/>
              </p:cNvSpPr>
              <p:nvPr/>
            </p:nvSpPr>
            <p:spPr bwMode="auto">
              <a:xfrm>
                <a:off x="20154322" y="10962635"/>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4" name="Oval 834">
                <a:extLst>
                  <a:ext uri="{FF2B5EF4-FFF2-40B4-BE49-F238E27FC236}">
                    <a16:creationId xmlns:a16="http://schemas.microsoft.com/office/drawing/2014/main" id="{523681D4-BD19-41C7-B7E6-DEE0D50CC4E0}"/>
                  </a:ext>
                </a:extLst>
              </p:cNvPr>
              <p:cNvSpPr>
                <a:spLocks noChangeArrowheads="1"/>
              </p:cNvSpPr>
              <p:nvPr/>
            </p:nvSpPr>
            <p:spPr bwMode="auto">
              <a:xfrm>
                <a:off x="20106128" y="10941619"/>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5" name="Oval 835">
                <a:extLst>
                  <a:ext uri="{FF2B5EF4-FFF2-40B4-BE49-F238E27FC236}">
                    <a16:creationId xmlns:a16="http://schemas.microsoft.com/office/drawing/2014/main" id="{6E851618-7EB9-44E3-899F-3B26EE6DA9A1}"/>
                  </a:ext>
                </a:extLst>
              </p:cNvPr>
              <p:cNvSpPr>
                <a:spLocks noChangeArrowheads="1"/>
              </p:cNvSpPr>
              <p:nvPr/>
            </p:nvSpPr>
            <p:spPr bwMode="auto">
              <a:xfrm>
                <a:off x="20076868" y="10920603"/>
                <a:ext cx="7056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6" name="Oval 836">
                <a:extLst>
                  <a:ext uri="{FF2B5EF4-FFF2-40B4-BE49-F238E27FC236}">
                    <a16:creationId xmlns:a16="http://schemas.microsoft.com/office/drawing/2014/main" id="{178BD646-BCC8-4FAF-9AED-19C34ABBA39C}"/>
                  </a:ext>
                </a:extLst>
              </p:cNvPr>
              <p:cNvSpPr>
                <a:spLocks noChangeArrowheads="1"/>
              </p:cNvSpPr>
              <p:nvPr/>
            </p:nvSpPr>
            <p:spPr bwMode="auto">
              <a:xfrm>
                <a:off x="20045886" y="10889079"/>
                <a:ext cx="67126"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7" name="Oval 837">
                <a:extLst>
                  <a:ext uri="{FF2B5EF4-FFF2-40B4-BE49-F238E27FC236}">
                    <a16:creationId xmlns:a16="http://schemas.microsoft.com/office/drawing/2014/main" id="{D5314853-9C69-47EF-903E-0797844F4BAB}"/>
                  </a:ext>
                </a:extLst>
              </p:cNvPr>
              <p:cNvSpPr>
                <a:spLocks noChangeArrowheads="1"/>
              </p:cNvSpPr>
              <p:nvPr/>
            </p:nvSpPr>
            <p:spPr bwMode="auto">
              <a:xfrm>
                <a:off x="20056213" y="10906592"/>
                <a:ext cx="67126" cy="73556"/>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8" name="Oval 838">
                <a:extLst>
                  <a:ext uri="{FF2B5EF4-FFF2-40B4-BE49-F238E27FC236}">
                    <a16:creationId xmlns:a16="http://schemas.microsoft.com/office/drawing/2014/main" id="{284B9D6C-D546-4C59-A440-59D60718C0D0}"/>
                  </a:ext>
                </a:extLst>
              </p:cNvPr>
              <p:cNvSpPr>
                <a:spLocks noChangeArrowheads="1"/>
              </p:cNvSpPr>
              <p:nvPr/>
            </p:nvSpPr>
            <p:spPr bwMode="auto">
              <a:xfrm>
                <a:off x="20008020" y="10875068"/>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9" name="Oval 839">
                <a:extLst>
                  <a:ext uri="{FF2B5EF4-FFF2-40B4-BE49-F238E27FC236}">
                    <a16:creationId xmlns:a16="http://schemas.microsoft.com/office/drawing/2014/main" id="{ABDEAE21-F186-4070-A375-3D081AD89587}"/>
                  </a:ext>
                </a:extLst>
              </p:cNvPr>
              <p:cNvSpPr>
                <a:spLocks noChangeArrowheads="1"/>
              </p:cNvSpPr>
              <p:nvPr/>
            </p:nvSpPr>
            <p:spPr bwMode="auto">
              <a:xfrm>
                <a:off x="19966712" y="10864560"/>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0" name="Oval 840">
                <a:extLst>
                  <a:ext uri="{FF2B5EF4-FFF2-40B4-BE49-F238E27FC236}">
                    <a16:creationId xmlns:a16="http://schemas.microsoft.com/office/drawing/2014/main" id="{0C3E837D-C950-4EF9-929A-8083EE0B7DA3}"/>
                  </a:ext>
                </a:extLst>
              </p:cNvPr>
              <p:cNvSpPr>
                <a:spLocks noChangeArrowheads="1"/>
              </p:cNvSpPr>
              <p:nvPr/>
            </p:nvSpPr>
            <p:spPr bwMode="auto">
              <a:xfrm>
                <a:off x="23123371" y="11920611"/>
                <a:ext cx="72290"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1" name="Oval 841">
                <a:extLst>
                  <a:ext uri="{FF2B5EF4-FFF2-40B4-BE49-F238E27FC236}">
                    <a16:creationId xmlns:a16="http://schemas.microsoft.com/office/drawing/2014/main" id="{DA3FC0AE-DE02-4AA5-840C-0B417EEEA956}"/>
                  </a:ext>
                </a:extLst>
              </p:cNvPr>
              <p:cNvSpPr>
                <a:spLocks noChangeArrowheads="1"/>
              </p:cNvSpPr>
              <p:nvPr/>
            </p:nvSpPr>
            <p:spPr bwMode="auto">
              <a:xfrm>
                <a:off x="23433185" y="11966146"/>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2" name="Oval 842">
                <a:extLst>
                  <a:ext uri="{FF2B5EF4-FFF2-40B4-BE49-F238E27FC236}">
                    <a16:creationId xmlns:a16="http://schemas.microsoft.com/office/drawing/2014/main" id="{5095A8C8-504C-4C07-A744-474EA109C06C}"/>
                  </a:ext>
                </a:extLst>
              </p:cNvPr>
              <p:cNvSpPr>
                <a:spLocks noChangeArrowheads="1"/>
              </p:cNvSpPr>
              <p:nvPr/>
            </p:nvSpPr>
            <p:spPr bwMode="auto">
              <a:xfrm>
                <a:off x="24818743" y="12291893"/>
                <a:ext cx="67126"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3" name="Oval 843">
                <a:extLst>
                  <a:ext uri="{FF2B5EF4-FFF2-40B4-BE49-F238E27FC236}">
                    <a16:creationId xmlns:a16="http://schemas.microsoft.com/office/drawing/2014/main" id="{B7AF93CE-89FB-4EED-ACE9-15BF2637467F}"/>
                  </a:ext>
                </a:extLst>
              </p:cNvPr>
              <p:cNvSpPr>
                <a:spLocks noChangeArrowheads="1"/>
              </p:cNvSpPr>
              <p:nvPr/>
            </p:nvSpPr>
            <p:spPr bwMode="auto">
              <a:xfrm>
                <a:off x="24801531" y="12291893"/>
                <a:ext cx="68848" cy="70053"/>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grpSp>
        <p:sp>
          <p:nvSpPr>
            <p:cNvPr id="14" name="Line 844">
              <a:extLst>
                <a:ext uri="{FF2B5EF4-FFF2-40B4-BE49-F238E27FC236}">
                  <a16:creationId xmlns:a16="http://schemas.microsoft.com/office/drawing/2014/main" id="{7235B96C-D2C1-4EF2-9C0D-2E0E46D7250A}"/>
                </a:ext>
              </a:extLst>
            </p:cNvPr>
            <p:cNvSpPr>
              <a:spLocks noChangeShapeType="1"/>
            </p:cNvSpPr>
            <p:nvPr/>
          </p:nvSpPr>
          <p:spPr bwMode="auto">
            <a:xfrm>
              <a:off x="2091547" y="2326813"/>
              <a:ext cx="5445315" cy="0"/>
            </a:xfrm>
            <a:prstGeom prst="line">
              <a:avLst/>
            </a:prstGeom>
            <a:noFill/>
            <a:ln w="19050" cap="flat">
              <a:solidFill>
                <a:srgbClr val="808284"/>
              </a:solidFill>
              <a:prstDash val="dash"/>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5" name="Freeform 845">
              <a:extLst>
                <a:ext uri="{FF2B5EF4-FFF2-40B4-BE49-F238E27FC236}">
                  <a16:creationId xmlns:a16="http://schemas.microsoft.com/office/drawing/2014/main" id="{146D4164-E253-47CF-B144-0B7002380D67}"/>
                </a:ext>
              </a:extLst>
            </p:cNvPr>
            <p:cNvSpPr>
              <a:spLocks/>
            </p:cNvSpPr>
            <p:nvPr/>
          </p:nvSpPr>
          <p:spPr bwMode="auto">
            <a:xfrm>
              <a:off x="2091547" y="1001993"/>
              <a:ext cx="5445315" cy="2649641"/>
            </a:xfrm>
            <a:custGeom>
              <a:avLst/>
              <a:gdLst>
                <a:gd name="T0" fmla="*/ 0 w 3104"/>
                <a:gd name="T1" fmla="*/ 0 h 1766"/>
                <a:gd name="T2" fmla="*/ 0 w 3104"/>
                <a:gd name="T3" fmla="*/ 1766 h 1766"/>
                <a:gd name="T4" fmla="*/ 3104 w 3104"/>
                <a:gd name="T5" fmla="*/ 1766 h 1766"/>
              </a:gdLst>
              <a:ahLst/>
              <a:cxnLst>
                <a:cxn ang="0">
                  <a:pos x="T0" y="T1"/>
                </a:cxn>
                <a:cxn ang="0">
                  <a:pos x="T2" y="T3"/>
                </a:cxn>
                <a:cxn ang="0">
                  <a:pos x="T4" y="T5"/>
                </a:cxn>
              </a:cxnLst>
              <a:rect l="0" t="0" r="r" b="b"/>
              <a:pathLst>
                <a:path w="3104" h="1766">
                  <a:moveTo>
                    <a:pt x="0" y="0"/>
                  </a:moveTo>
                  <a:lnTo>
                    <a:pt x="0" y="1766"/>
                  </a:lnTo>
                  <a:lnTo>
                    <a:pt x="3104" y="1766"/>
                  </a:lnTo>
                </a:path>
              </a:pathLst>
            </a:custGeom>
            <a:noFill/>
            <a:ln w="19050" cap="sq">
              <a:solidFill>
                <a:srgbClr val="000000"/>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6" name="Line 846">
              <a:extLst>
                <a:ext uri="{FF2B5EF4-FFF2-40B4-BE49-F238E27FC236}">
                  <a16:creationId xmlns:a16="http://schemas.microsoft.com/office/drawing/2014/main" id="{2062C8C9-FCD7-43F5-BDF0-B453BF4FDF7B}"/>
                </a:ext>
              </a:extLst>
            </p:cNvPr>
            <p:cNvSpPr>
              <a:spLocks noChangeShapeType="1"/>
            </p:cNvSpPr>
            <p:nvPr/>
          </p:nvSpPr>
          <p:spPr bwMode="auto">
            <a:xfrm>
              <a:off x="2038918" y="1001993"/>
              <a:ext cx="52629"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7" name="Line 847">
              <a:extLst>
                <a:ext uri="{FF2B5EF4-FFF2-40B4-BE49-F238E27FC236}">
                  <a16:creationId xmlns:a16="http://schemas.microsoft.com/office/drawing/2014/main" id="{FE1145AE-CEA1-456C-A6B5-06A1ACEBDE1A}"/>
                </a:ext>
              </a:extLst>
            </p:cNvPr>
            <p:cNvSpPr>
              <a:spLocks noChangeShapeType="1"/>
            </p:cNvSpPr>
            <p:nvPr/>
          </p:nvSpPr>
          <p:spPr bwMode="auto">
            <a:xfrm>
              <a:off x="2038918" y="1531620"/>
              <a:ext cx="52629"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8" name="Line 848">
              <a:extLst>
                <a:ext uri="{FF2B5EF4-FFF2-40B4-BE49-F238E27FC236}">
                  <a16:creationId xmlns:a16="http://schemas.microsoft.com/office/drawing/2014/main" id="{998E43A3-5230-40BA-9C5A-28D8374FB174}"/>
                </a:ext>
              </a:extLst>
            </p:cNvPr>
            <p:cNvSpPr>
              <a:spLocks noChangeShapeType="1"/>
            </p:cNvSpPr>
            <p:nvPr/>
          </p:nvSpPr>
          <p:spPr bwMode="auto">
            <a:xfrm>
              <a:off x="2038918" y="2062749"/>
              <a:ext cx="52629"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9" name="Line 849">
              <a:extLst>
                <a:ext uri="{FF2B5EF4-FFF2-40B4-BE49-F238E27FC236}">
                  <a16:creationId xmlns:a16="http://schemas.microsoft.com/office/drawing/2014/main" id="{9F591D8B-E1DF-4CDB-B5E1-8F6F8B35C07C}"/>
                </a:ext>
              </a:extLst>
            </p:cNvPr>
            <p:cNvSpPr>
              <a:spLocks noChangeShapeType="1"/>
            </p:cNvSpPr>
            <p:nvPr/>
          </p:nvSpPr>
          <p:spPr bwMode="auto">
            <a:xfrm>
              <a:off x="2038918" y="2593877"/>
              <a:ext cx="52629"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0" name="Line 850">
              <a:extLst>
                <a:ext uri="{FF2B5EF4-FFF2-40B4-BE49-F238E27FC236}">
                  <a16:creationId xmlns:a16="http://schemas.microsoft.com/office/drawing/2014/main" id="{6706A8AA-02F5-47EC-8F7F-34F00C87F29A}"/>
                </a:ext>
              </a:extLst>
            </p:cNvPr>
            <p:cNvSpPr>
              <a:spLocks noChangeShapeType="1"/>
            </p:cNvSpPr>
            <p:nvPr/>
          </p:nvSpPr>
          <p:spPr bwMode="auto">
            <a:xfrm>
              <a:off x="2038918" y="3120506"/>
              <a:ext cx="52629"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1" name="Line 851">
              <a:extLst>
                <a:ext uri="{FF2B5EF4-FFF2-40B4-BE49-F238E27FC236}">
                  <a16:creationId xmlns:a16="http://schemas.microsoft.com/office/drawing/2014/main" id="{A00A54E8-62CF-4A63-82A4-9A16CAC033AE}"/>
                </a:ext>
              </a:extLst>
            </p:cNvPr>
            <p:cNvSpPr>
              <a:spLocks noChangeShapeType="1"/>
            </p:cNvSpPr>
            <p:nvPr/>
          </p:nvSpPr>
          <p:spPr bwMode="auto">
            <a:xfrm>
              <a:off x="2038918" y="3651634"/>
              <a:ext cx="52629" cy="0"/>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2" name="Line 852">
              <a:extLst>
                <a:ext uri="{FF2B5EF4-FFF2-40B4-BE49-F238E27FC236}">
                  <a16:creationId xmlns:a16="http://schemas.microsoft.com/office/drawing/2014/main" id="{242B6467-7839-4FA1-9077-DAD1603A139A}"/>
                </a:ext>
              </a:extLst>
            </p:cNvPr>
            <p:cNvSpPr>
              <a:spLocks noChangeShapeType="1"/>
            </p:cNvSpPr>
            <p:nvPr/>
          </p:nvSpPr>
          <p:spPr bwMode="auto">
            <a:xfrm>
              <a:off x="2091547"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3" name="Line 853">
              <a:extLst>
                <a:ext uri="{FF2B5EF4-FFF2-40B4-BE49-F238E27FC236}">
                  <a16:creationId xmlns:a16="http://schemas.microsoft.com/office/drawing/2014/main" id="{EC6215A0-5BE3-487E-9D30-DA7A2C279F6C}"/>
                </a:ext>
              </a:extLst>
            </p:cNvPr>
            <p:cNvSpPr>
              <a:spLocks noChangeShapeType="1"/>
            </p:cNvSpPr>
            <p:nvPr/>
          </p:nvSpPr>
          <p:spPr bwMode="auto">
            <a:xfrm>
              <a:off x="2507314"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4" name="Line 854">
              <a:extLst>
                <a:ext uri="{FF2B5EF4-FFF2-40B4-BE49-F238E27FC236}">
                  <a16:creationId xmlns:a16="http://schemas.microsoft.com/office/drawing/2014/main" id="{4C2C8A01-C519-4122-8D46-ECD3CD669F10}"/>
                </a:ext>
              </a:extLst>
            </p:cNvPr>
            <p:cNvSpPr>
              <a:spLocks noChangeShapeType="1"/>
            </p:cNvSpPr>
            <p:nvPr/>
          </p:nvSpPr>
          <p:spPr bwMode="auto">
            <a:xfrm>
              <a:off x="2928343"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5" name="Line 855">
              <a:extLst>
                <a:ext uri="{FF2B5EF4-FFF2-40B4-BE49-F238E27FC236}">
                  <a16:creationId xmlns:a16="http://schemas.microsoft.com/office/drawing/2014/main" id="{FAB29E1E-5755-42C0-A85F-3E7875A4D846}"/>
                </a:ext>
              </a:extLst>
            </p:cNvPr>
            <p:cNvSpPr>
              <a:spLocks noChangeShapeType="1"/>
            </p:cNvSpPr>
            <p:nvPr/>
          </p:nvSpPr>
          <p:spPr bwMode="auto">
            <a:xfrm>
              <a:off x="3344109"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6" name="Line 856">
              <a:extLst>
                <a:ext uri="{FF2B5EF4-FFF2-40B4-BE49-F238E27FC236}">
                  <a16:creationId xmlns:a16="http://schemas.microsoft.com/office/drawing/2014/main" id="{D29287CA-17A9-4A85-935F-E4B9FC85337F}"/>
                </a:ext>
              </a:extLst>
            </p:cNvPr>
            <p:cNvSpPr>
              <a:spLocks noChangeShapeType="1"/>
            </p:cNvSpPr>
            <p:nvPr/>
          </p:nvSpPr>
          <p:spPr bwMode="auto">
            <a:xfrm>
              <a:off x="3765139"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7" name="Line 865">
              <a:extLst>
                <a:ext uri="{FF2B5EF4-FFF2-40B4-BE49-F238E27FC236}">
                  <a16:creationId xmlns:a16="http://schemas.microsoft.com/office/drawing/2014/main" id="{3CE511E0-83FA-4596-9007-2B993C410C09}"/>
                </a:ext>
              </a:extLst>
            </p:cNvPr>
            <p:cNvSpPr>
              <a:spLocks noChangeShapeType="1"/>
            </p:cNvSpPr>
            <p:nvPr/>
          </p:nvSpPr>
          <p:spPr bwMode="auto">
            <a:xfrm>
              <a:off x="7536862"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8" name="Line 871">
              <a:extLst>
                <a:ext uri="{FF2B5EF4-FFF2-40B4-BE49-F238E27FC236}">
                  <a16:creationId xmlns:a16="http://schemas.microsoft.com/office/drawing/2014/main" id="{12B73C1D-E80B-4DCE-A111-F7328DA48BCA}"/>
                </a:ext>
              </a:extLst>
            </p:cNvPr>
            <p:cNvSpPr>
              <a:spLocks noChangeShapeType="1"/>
            </p:cNvSpPr>
            <p:nvPr/>
          </p:nvSpPr>
          <p:spPr bwMode="auto">
            <a:xfrm>
              <a:off x="4186169"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29" name="Line 872">
              <a:extLst>
                <a:ext uri="{FF2B5EF4-FFF2-40B4-BE49-F238E27FC236}">
                  <a16:creationId xmlns:a16="http://schemas.microsoft.com/office/drawing/2014/main" id="{22784993-1478-43D2-83B5-EFF58EC91CCE}"/>
                </a:ext>
              </a:extLst>
            </p:cNvPr>
            <p:cNvSpPr>
              <a:spLocks noChangeShapeType="1"/>
            </p:cNvSpPr>
            <p:nvPr/>
          </p:nvSpPr>
          <p:spPr bwMode="auto">
            <a:xfrm>
              <a:off x="4601936"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0" name="Line 873">
              <a:extLst>
                <a:ext uri="{FF2B5EF4-FFF2-40B4-BE49-F238E27FC236}">
                  <a16:creationId xmlns:a16="http://schemas.microsoft.com/office/drawing/2014/main" id="{13DF47E7-B290-47F8-AE70-A143D143432C}"/>
                </a:ext>
              </a:extLst>
            </p:cNvPr>
            <p:cNvSpPr>
              <a:spLocks noChangeShapeType="1"/>
            </p:cNvSpPr>
            <p:nvPr/>
          </p:nvSpPr>
          <p:spPr bwMode="auto">
            <a:xfrm>
              <a:off x="5022965"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1" name="Line 874">
              <a:extLst>
                <a:ext uri="{FF2B5EF4-FFF2-40B4-BE49-F238E27FC236}">
                  <a16:creationId xmlns:a16="http://schemas.microsoft.com/office/drawing/2014/main" id="{F85AF8C1-D4C8-47ED-8C0D-00B8F4A59104}"/>
                </a:ext>
              </a:extLst>
            </p:cNvPr>
            <p:cNvSpPr>
              <a:spLocks noChangeShapeType="1"/>
            </p:cNvSpPr>
            <p:nvPr/>
          </p:nvSpPr>
          <p:spPr bwMode="auto">
            <a:xfrm>
              <a:off x="5442240"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2" name="Line 875">
              <a:extLst>
                <a:ext uri="{FF2B5EF4-FFF2-40B4-BE49-F238E27FC236}">
                  <a16:creationId xmlns:a16="http://schemas.microsoft.com/office/drawing/2014/main" id="{E22B0A4F-040F-42AF-842B-0BC15A0178F9}"/>
                </a:ext>
              </a:extLst>
            </p:cNvPr>
            <p:cNvSpPr>
              <a:spLocks noChangeShapeType="1"/>
            </p:cNvSpPr>
            <p:nvPr/>
          </p:nvSpPr>
          <p:spPr bwMode="auto">
            <a:xfrm>
              <a:off x="5859761"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3" name="Line 876">
              <a:extLst>
                <a:ext uri="{FF2B5EF4-FFF2-40B4-BE49-F238E27FC236}">
                  <a16:creationId xmlns:a16="http://schemas.microsoft.com/office/drawing/2014/main" id="{3FABF15B-2D0F-47A7-9A72-B38DE600708E}"/>
                </a:ext>
              </a:extLst>
            </p:cNvPr>
            <p:cNvSpPr>
              <a:spLocks noChangeShapeType="1"/>
            </p:cNvSpPr>
            <p:nvPr/>
          </p:nvSpPr>
          <p:spPr bwMode="auto">
            <a:xfrm>
              <a:off x="6279036"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4" name="Line 877">
              <a:extLst>
                <a:ext uri="{FF2B5EF4-FFF2-40B4-BE49-F238E27FC236}">
                  <a16:creationId xmlns:a16="http://schemas.microsoft.com/office/drawing/2014/main" id="{90F3D77F-A67A-4D83-9B72-9219D02AF24F}"/>
                </a:ext>
              </a:extLst>
            </p:cNvPr>
            <p:cNvSpPr>
              <a:spLocks noChangeShapeType="1"/>
            </p:cNvSpPr>
            <p:nvPr/>
          </p:nvSpPr>
          <p:spPr bwMode="auto">
            <a:xfrm>
              <a:off x="6696557"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5" name="Line 878">
              <a:extLst>
                <a:ext uri="{FF2B5EF4-FFF2-40B4-BE49-F238E27FC236}">
                  <a16:creationId xmlns:a16="http://schemas.microsoft.com/office/drawing/2014/main" id="{B5213D18-13C2-4115-88E1-62508524593F}"/>
                </a:ext>
              </a:extLst>
            </p:cNvPr>
            <p:cNvSpPr>
              <a:spLocks noChangeShapeType="1"/>
            </p:cNvSpPr>
            <p:nvPr/>
          </p:nvSpPr>
          <p:spPr bwMode="auto">
            <a:xfrm>
              <a:off x="7117587" y="3651634"/>
              <a:ext cx="0" cy="45011"/>
            </a:xfrm>
            <a:prstGeom prst="line">
              <a:avLst/>
            </a:prstGeom>
            <a:noFill/>
            <a:ln w="19050"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6" name="TextBox 35">
              <a:extLst>
                <a:ext uri="{FF2B5EF4-FFF2-40B4-BE49-F238E27FC236}">
                  <a16:creationId xmlns:a16="http://schemas.microsoft.com/office/drawing/2014/main" id="{C1869A5A-935B-4FD0-90C5-857E8DFF7E9D}"/>
                </a:ext>
              </a:extLst>
            </p:cNvPr>
            <p:cNvSpPr txBox="1"/>
            <p:nvPr/>
          </p:nvSpPr>
          <p:spPr>
            <a:xfrm>
              <a:off x="2004730"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a:t>
              </a:r>
            </a:p>
          </p:txBody>
        </p:sp>
        <p:sp>
          <p:nvSpPr>
            <p:cNvPr id="38" name="TextBox 37">
              <a:extLst>
                <a:ext uri="{FF2B5EF4-FFF2-40B4-BE49-F238E27FC236}">
                  <a16:creationId xmlns:a16="http://schemas.microsoft.com/office/drawing/2014/main" id="{AC48FD64-D80D-481A-A3D1-C6500C09242B}"/>
                </a:ext>
              </a:extLst>
            </p:cNvPr>
            <p:cNvSpPr txBox="1"/>
            <p:nvPr/>
          </p:nvSpPr>
          <p:spPr>
            <a:xfrm>
              <a:off x="3667540" y="3893399"/>
              <a:ext cx="229395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Time</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from </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a:t>
              </a: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ndomization</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months</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39" name="TextBox 38">
              <a:extLst>
                <a:ext uri="{FF2B5EF4-FFF2-40B4-BE49-F238E27FC236}">
                  <a16:creationId xmlns:a16="http://schemas.microsoft.com/office/drawing/2014/main" id="{1AF1A27C-D0E7-4F77-9255-3952CE562F1E}"/>
                </a:ext>
              </a:extLst>
            </p:cNvPr>
            <p:cNvSpPr txBox="1"/>
            <p:nvPr/>
          </p:nvSpPr>
          <p:spPr>
            <a:xfrm rot="16200000">
              <a:off x="550767" y="2240781"/>
              <a:ext cx="2040017" cy="172064"/>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robability of </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survival</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0" name="TextBox 39">
              <a:extLst>
                <a:ext uri="{FF2B5EF4-FFF2-40B4-BE49-F238E27FC236}">
                  <a16:creationId xmlns:a16="http://schemas.microsoft.com/office/drawing/2014/main" id="{8BF19323-B5AE-455D-AE12-85E0AA36E982}"/>
                </a:ext>
              </a:extLst>
            </p:cNvPr>
            <p:cNvSpPr txBox="1"/>
            <p:nvPr/>
          </p:nvSpPr>
          <p:spPr>
            <a:xfrm>
              <a:off x="1764211" y="3573770"/>
              <a:ext cx="234156" cy="153016"/>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0</a:t>
              </a:r>
            </a:p>
          </p:txBody>
        </p:sp>
        <p:sp>
          <p:nvSpPr>
            <p:cNvPr id="41" name="TextBox 40">
              <a:extLst>
                <a:ext uri="{FF2B5EF4-FFF2-40B4-BE49-F238E27FC236}">
                  <a16:creationId xmlns:a16="http://schemas.microsoft.com/office/drawing/2014/main" id="{60799066-1B18-4B83-BE52-EA55F1B5022D}"/>
                </a:ext>
              </a:extLst>
            </p:cNvPr>
            <p:cNvSpPr txBox="1"/>
            <p:nvPr/>
          </p:nvSpPr>
          <p:spPr>
            <a:xfrm>
              <a:off x="1764211" y="3043822"/>
              <a:ext cx="234156" cy="153016"/>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2</a:t>
              </a:r>
            </a:p>
          </p:txBody>
        </p:sp>
        <p:sp>
          <p:nvSpPr>
            <p:cNvPr id="42" name="TextBox 41">
              <a:extLst>
                <a:ext uri="{FF2B5EF4-FFF2-40B4-BE49-F238E27FC236}">
                  <a16:creationId xmlns:a16="http://schemas.microsoft.com/office/drawing/2014/main" id="{80D8077C-70B7-4725-A47E-47EF3941E0DE}"/>
                </a:ext>
              </a:extLst>
            </p:cNvPr>
            <p:cNvSpPr txBox="1"/>
            <p:nvPr/>
          </p:nvSpPr>
          <p:spPr>
            <a:xfrm>
              <a:off x="1764211" y="2513874"/>
              <a:ext cx="234156" cy="153016"/>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4</a:t>
              </a:r>
            </a:p>
          </p:txBody>
        </p:sp>
        <p:sp>
          <p:nvSpPr>
            <p:cNvPr id="43" name="TextBox 42">
              <a:extLst>
                <a:ext uri="{FF2B5EF4-FFF2-40B4-BE49-F238E27FC236}">
                  <a16:creationId xmlns:a16="http://schemas.microsoft.com/office/drawing/2014/main" id="{FCB51803-51B1-4036-86D2-7A1DD8C8DEA3}"/>
                </a:ext>
              </a:extLst>
            </p:cNvPr>
            <p:cNvSpPr txBox="1"/>
            <p:nvPr/>
          </p:nvSpPr>
          <p:spPr>
            <a:xfrm>
              <a:off x="1764211" y="1983924"/>
              <a:ext cx="234156" cy="153016"/>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6</a:t>
              </a:r>
            </a:p>
          </p:txBody>
        </p:sp>
        <p:sp>
          <p:nvSpPr>
            <p:cNvPr id="44" name="TextBox 43">
              <a:extLst>
                <a:ext uri="{FF2B5EF4-FFF2-40B4-BE49-F238E27FC236}">
                  <a16:creationId xmlns:a16="http://schemas.microsoft.com/office/drawing/2014/main" id="{557A2B98-B3CE-4202-9FB6-6475AB5E4ACE}"/>
                </a:ext>
              </a:extLst>
            </p:cNvPr>
            <p:cNvSpPr txBox="1"/>
            <p:nvPr/>
          </p:nvSpPr>
          <p:spPr>
            <a:xfrm>
              <a:off x="1764211" y="1453975"/>
              <a:ext cx="234156" cy="153016"/>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0.8</a:t>
              </a:r>
            </a:p>
          </p:txBody>
        </p:sp>
        <p:sp>
          <p:nvSpPr>
            <p:cNvPr id="45" name="TextBox 44">
              <a:extLst>
                <a:ext uri="{FF2B5EF4-FFF2-40B4-BE49-F238E27FC236}">
                  <a16:creationId xmlns:a16="http://schemas.microsoft.com/office/drawing/2014/main" id="{74BF905A-B193-4490-B081-940406894D4D}"/>
                </a:ext>
              </a:extLst>
            </p:cNvPr>
            <p:cNvSpPr txBox="1"/>
            <p:nvPr/>
          </p:nvSpPr>
          <p:spPr>
            <a:xfrm>
              <a:off x="1764211" y="924026"/>
              <a:ext cx="234156" cy="153016"/>
            </a:xfrm>
            <a:prstGeom prst="rect">
              <a:avLst/>
            </a:prstGeom>
            <a:noFill/>
          </p:spPr>
          <p:txBody>
            <a:bodyPr wrap="none" lIns="0" tIns="0" rIns="0" bIns="0" rtlCol="0" anchor="ctr">
              <a:noAutofit/>
            </a:bodyPr>
            <a:lstStyle/>
            <a:p>
              <a:pPr marL="0" marR="0" lvl="0" indent="0" algn="r"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0</a:t>
              </a:r>
            </a:p>
          </p:txBody>
        </p:sp>
        <p:sp>
          <p:nvSpPr>
            <p:cNvPr id="46" name="TextBox 45">
              <a:extLst>
                <a:ext uri="{FF2B5EF4-FFF2-40B4-BE49-F238E27FC236}">
                  <a16:creationId xmlns:a16="http://schemas.microsoft.com/office/drawing/2014/main" id="{CFAC19C1-4EC2-4E48-B17C-C54CAC007DCE}"/>
                </a:ext>
              </a:extLst>
            </p:cNvPr>
            <p:cNvSpPr txBox="1"/>
            <p:nvPr/>
          </p:nvSpPr>
          <p:spPr>
            <a:xfrm>
              <a:off x="2594162" y="3453751"/>
              <a:ext cx="667218" cy="153016"/>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lacebo</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d</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7" name="TextBox 46">
              <a:extLst>
                <a:ext uri="{FF2B5EF4-FFF2-40B4-BE49-F238E27FC236}">
                  <a16:creationId xmlns:a16="http://schemas.microsoft.com/office/drawing/2014/main" id="{DD6DF5BC-8589-4E85-9560-1F20C9A445C5}"/>
                </a:ext>
              </a:extLst>
            </p:cNvPr>
            <p:cNvSpPr txBox="1"/>
            <p:nvPr/>
          </p:nvSpPr>
          <p:spPr>
            <a:xfrm>
              <a:off x="2595152" y="3332703"/>
              <a:ext cx="605369" cy="153016"/>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Ixazomib-Rd</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48" name="TextBox 47">
              <a:extLst>
                <a:ext uri="{FF2B5EF4-FFF2-40B4-BE49-F238E27FC236}">
                  <a16:creationId xmlns:a16="http://schemas.microsoft.com/office/drawing/2014/main" id="{AF189A5B-8AAE-422F-8120-89945BEC14AA}"/>
                </a:ext>
              </a:extLst>
            </p:cNvPr>
            <p:cNvSpPr txBox="1"/>
            <p:nvPr/>
          </p:nvSpPr>
          <p:spPr>
            <a:xfrm>
              <a:off x="3595449" y="3453751"/>
              <a:ext cx="667218" cy="153016"/>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Censored</a:t>
              </a:r>
            </a:p>
          </p:txBody>
        </p:sp>
        <p:sp>
          <p:nvSpPr>
            <p:cNvPr id="49" name="TextBox 48">
              <a:extLst>
                <a:ext uri="{FF2B5EF4-FFF2-40B4-BE49-F238E27FC236}">
                  <a16:creationId xmlns:a16="http://schemas.microsoft.com/office/drawing/2014/main" id="{E2DD8DDF-B80E-4705-8875-990F88417DE2}"/>
                </a:ext>
              </a:extLst>
            </p:cNvPr>
            <p:cNvSpPr txBox="1"/>
            <p:nvPr/>
          </p:nvSpPr>
          <p:spPr>
            <a:xfrm>
              <a:off x="3596440" y="3332703"/>
              <a:ext cx="605369" cy="153016"/>
            </a:xfrm>
            <a:prstGeom prst="rect">
              <a:avLst/>
            </a:prstGeom>
            <a:noFill/>
          </p:spPr>
          <p:txBody>
            <a:bodyPr wrap="none" lIns="0" tIns="0" rIns="0" bIns="0" rtlCol="0" anchor="ctr">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Censored</a:t>
              </a:r>
            </a:p>
          </p:txBody>
        </p:sp>
        <p:cxnSp>
          <p:nvCxnSpPr>
            <p:cNvPr id="50" name="Straight Connector 49">
              <a:extLst>
                <a:ext uri="{FF2B5EF4-FFF2-40B4-BE49-F238E27FC236}">
                  <a16:creationId xmlns:a16="http://schemas.microsoft.com/office/drawing/2014/main" id="{2A78F86C-5487-4B83-BFC9-FF93511E10BD}"/>
                </a:ext>
              </a:extLst>
            </p:cNvPr>
            <p:cNvCxnSpPr/>
            <p:nvPr/>
          </p:nvCxnSpPr>
          <p:spPr>
            <a:xfrm>
              <a:off x="2204416" y="3530258"/>
              <a:ext cx="335433" cy="0"/>
            </a:xfrm>
            <a:prstGeom prst="line">
              <a:avLst/>
            </a:prstGeom>
            <a:noFill/>
            <a:ln w="19050" cap="flat" cmpd="sng" algn="ctr">
              <a:solidFill>
                <a:srgbClr val="808284"/>
              </a:solidFill>
              <a:prstDash val="solid"/>
              <a:miter lim="800000"/>
            </a:ln>
            <a:effectLst/>
          </p:spPr>
        </p:cxnSp>
        <p:sp>
          <p:nvSpPr>
            <p:cNvPr id="51" name="Oval 59">
              <a:extLst>
                <a:ext uri="{FF2B5EF4-FFF2-40B4-BE49-F238E27FC236}">
                  <a16:creationId xmlns:a16="http://schemas.microsoft.com/office/drawing/2014/main" id="{327F2E26-4AFF-4C09-9FA2-110D43003298}"/>
                </a:ext>
              </a:extLst>
            </p:cNvPr>
            <p:cNvSpPr>
              <a:spLocks noChangeArrowheads="1"/>
            </p:cNvSpPr>
            <p:nvPr/>
          </p:nvSpPr>
          <p:spPr bwMode="auto">
            <a:xfrm>
              <a:off x="3447835" y="3500003"/>
              <a:ext cx="66564" cy="60510"/>
            </a:xfrm>
            <a:prstGeom prst="ellipse">
              <a:avLst/>
            </a:prstGeom>
            <a:noFill/>
            <a:ln w="19050" cap="flat">
              <a:solidFill>
                <a:srgbClr val="80828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cxnSp>
          <p:nvCxnSpPr>
            <p:cNvPr id="52" name="Straight Connector 51">
              <a:extLst>
                <a:ext uri="{FF2B5EF4-FFF2-40B4-BE49-F238E27FC236}">
                  <a16:creationId xmlns:a16="http://schemas.microsoft.com/office/drawing/2014/main" id="{0EC390E3-C93D-463B-A922-7C23DF18EE45}"/>
                </a:ext>
              </a:extLst>
            </p:cNvPr>
            <p:cNvCxnSpPr/>
            <p:nvPr/>
          </p:nvCxnSpPr>
          <p:spPr>
            <a:xfrm>
              <a:off x="2204416" y="3409211"/>
              <a:ext cx="335433" cy="0"/>
            </a:xfrm>
            <a:prstGeom prst="line">
              <a:avLst/>
            </a:prstGeom>
            <a:noFill/>
            <a:ln w="19050" cap="flat" cmpd="sng" algn="ctr">
              <a:solidFill>
                <a:schemeClr val="accent1"/>
              </a:solidFill>
              <a:prstDash val="solid"/>
              <a:miter lim="800000"/>
            </a:ln>
            <a:effectLst/>
          </p:spPr>
        </p:cxnSp>
        <p:sp>
          <p:nvSpPr>
            <p:cNvPr id="53" name="Oval 59">
              <a:extLst>
                <a:ext uri="{FF2B5EF4-FFF2-40B4-BE49-F238E27FC236}">
                  <a16:creationId xmlns:a16="http://schemas.microsoft.com/office/drawing/2014/main" id="{329BBBD9-7128-4942-9E89-2C945D7D4403}"/>
                </a:ext>
              </a:extLst>
            </p:cNvPr>
            <p:cNvSpPr>
              <a:spLocks noChangeArrowheads="1"/>
            </p:cNvSpPr>
            <p:nvPr/>
          </p:nvSpPr>
          <p:spPr bwMode="auto">
            <a:xfrm>
              <a:off x="3447835" y="3378957"/>
              <a:ext cx="66564" cy="60510"/>
            </a:xfrm>
            <a:prstGeom prst="ellipse">
              <a:avLst/>
            </a:prstGeom>
            <a:noFill/>
            <a:ln w="19050"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4" name="TextBox 53">
              <a:extLst>
                <a:ext uri="{FF2B5EF4-FFF2-40B4-BE49-F238E27FC236}">
                  <a16:creationId xmlns:a16="http://schemas.microsoft.com/office/drawing/2014/main" id="{FD801036-9D10-4AD1-A529-442E758EF326}"/>
                </a:ext>
              </a:extLst>
            </p:cNvPr>
            <p:cNvSpPr txBox="1"/>
            <p:nvPr/>
          </p:nvSpPr>
          <p:spPr>
            <a:xfrm>
              <a:off x="1955405"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1</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5" name="TextBox 54">
              <a:extLst>
                <a:ext uri="{FF2B5EF4-FFF2-40B4-BE49-F238E27FC236}">
                  <a16:creationId xmlns:a16="http://schemas.microsoft.com/office/drawing/2014/main" id="{F6EBA077-ED16-454D-B809-EA0D07F36D4F}"/>
                </a:ext>
              </a:extLst>
            </p:cNvPr>
            <p:cNvSpPr txBox="1"/>
            <p:nvPr/>
          </p:nvSpPr>
          <p:spPr>
            <a:xfrm>
              <a:off x="1955405"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6" name="TextBox 55">
              <a:extLst>
                <a:ext uri="{FF2B5EF4-FFF2-40B4-BE49-F238E27FC236}">
                  <a16:creationId xmlns:a16="http://schemas.microsoft.com/office/drawing/2014/main" id="{305CAA41-BAF4-4EEA-8D0F-A365980F3810}"/>
                </a:ext>
              </a:extLst>
            </p:cNvPr>
            <p:cNvSpPr txBox="1"/>
            <p:nvPr/>
          </p:nvSpPr>
          <p:spPr>
            <a:xfrm>
              <a:off x="6132063" y="2440841"/>
              <a:ext cx="624487" cy="248851"/>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a:t>
              </a: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tients</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n</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7" name="TextBox 56">
              <a:extLst>
                <a:ext uri="{FF2B5EF4-FFF2-40B4-BE49-F238E27FC236}">
                  <a16:creationId xmlns:a16="http://schemas.microsoft.com/office/drawing/2014/main" id="{65BCCDAF-0EF4-4D4C-89F9-25070136A4BC}"/>
                </a:ext>
              </a:extLst>
            </p:cNvPr>
            <p:cNvSpPr txBox="1"/>
            <p:nvPr/>
          </p:nvSpPr>
          <p:spPr>
            <a:xfrm>
              <a:off x="7013254" y="2543676"/>
              <a:ext cx="476934" cy="146016"/>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Events</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n</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8" name="TextBox 57">
              <a:extLst>
                <a:ext uri="{FF2B5EF4-FFF2-40B4-BE49-F238E27FC236}">
                  <a16:creationId xmlns:a16="http://schemas.microsoft.com/office/drawing/2014/main" id="{F9B19908-F272-4AF1-962F-4647DD48D7EB}"/>
                </a:ext>
              </a:extLst>
            </p:cNvPr>
            <p:cNvSpPr txBox="1"/>
            <p:nvPr/>
          </p:nvSpPr>
          <p:spPr>
            <a:xfrm>
              <a:off x="6224135" y="2819827"/>
              <a:ext cx="476934" cy="146016"/>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1</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59" name="TextBox 58">
              <a:extLst>
                <a:ext uri="{FF2B5EF4-FFF2-40B4-BE49-F238E27FC236}">
                  <a16:creationId xmlns:a16="http://schemas.microsoft.com/office/drawing/2014/main" id="{0D46E79F-4977-4D35-A515-19A206688968}"/>
                </a:ext>
              </a:extLst>
            </p:cNvPr>
            <p:cNvSpPr txBox="1"/>
            <p:nvPr/>
          </p:nvSpPr>
          <p:spPr>
            <a:xfrm>
              <a:off x="6912637" y="2819827"/>
              <a:ext cx="476934" cy="146016"/>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36</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0" name="TextBox 59">
              <a:extLst>
                <a:ext uri="{FF2B5EF4-FFF2-40B4-BE49-F238E27FC236}">
                  <a16:creationId xmlns:a16="http://schemas.microsoft.com/office/drawing/2014/main" id="{0C6A46B7-763D-470C-B525-7E6A528B7C35}"/>
                </a:ext>
              </a:extLst>
            </p:cNvPr>
            <p:cNvSpPr txBox="1"/>
            <p:nvPr/>
          </p:nvSpPr>
          <p:spPr>
            <a:xfrm>
              <a:off x="5298412" y="2819827"/>
              <a:ext cx="476934" cy="146016"/>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Ixazomib-Rd</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1" name="TextBox 60">
              <a:extLst>
                <a:ext uri="{FF2B5EF4-FFF2-40B4-BE49-F238E27FC236}">
                  <a16:creationId xmlns:a16="http://schemas.microsoft.com/office/drawing/2014/main" id="{A9F9B575-12BC-41AA-B533-3F66094F06B2}"/>
                </a:ext>
              </a:extLst>
            </p:cNvPr>
            <p:cNvSpPr txBox="1"/>
            <p:nvPr/>
          </p:nvSpPr>
          <p:spPr>
            <a:xfrm>
              <a:off x="6224135" y="2949826"/>
              <a:ext cx="476934" cy="146016"/>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54</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2" name="TextBox 61">
              <a:extLst>
                <a:ext uri="{FF2B5EF4-FFF2-40B4-BE49-F238E27FC236}">
                  <a16:creationId xmlns:a16="http://schemas.microsoft.com/office/drawing/2014/main" id="{96A68B3B-10D3-4DF0-BCFF-9449EF09638B}"/>
                </a:ext>
              </a:extLst>
            </p:cNvPr>
            <p:cNvSpPr txBox="1"/>
            <p:nvPr/>
          </p:nvSpPr>
          <p:spPr>
            <a:xfrm>
              <a:off x="6912637" y="2949826"/>
              <a:ext cx="476934" cy="146016"/>
            </a:xfrm>
            <a:prstGeom prst="rect">
              <a:avLst/>
            </a:prstGeom>
            <a:noFill/>
          </p:spPr>
          <p:txBody>
            <a:bodyPr wrap="none" lIns="0" tIns="0" rIns="0" bIns="0" rtlCol="0" anchor="b">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48</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3" name="TextBox 62">
              <a:extLst>
                <a:ext uri="{FF2B5EF4-FFF2-40B4-BE49-F238E27FC236}">
                  <a16:creationId xmlns:a16="http://schemas.microsoft.com/office/drawing/2014/main" id="{8576B3A3-0322-442A-BD8A-46156D9CE393}"/>
                </a:ext>
              </a:extLst>
            </p:cNvPr>
            <p:cNvSpPr txBox="1"/>
            <p:nvPr/>
          </p:nvSpPr>
          <p:spPr>
            <a:xfrm>
              <a:off x="5298412" y="2949826"/>
              <a:ext cx="723399" cy="146016"/>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lacebo</a:t>
              </a:r>
              <a:r>
                <a:rPr kumimoji="0" lang="en-US"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d</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4" name="TextBox 63">
              <a:extLst>
                <a:ext uri="{FF2B5EF4-FFF2-40B4-BE49-F238E27FC236}">
                  <a16:creationId xmlns:a16="http://schemas.microsoft.com/office/drawing/2014/main" id="{A4836E16-3C78-464E-B847-9F2AA7E5B4B6}"/>
                </a:ext>
              </a:extLst>
            </p:cNvPr>
            <p:cNvSpPr txBox="1"/>
            <p:nvPr/>
          </p:nvSpPr>
          <p:spPr>
            <a:xfrm>
              <a:off x="5291533" y="3206480"/>
              <a:ext cx="2418307" cy="146014"/>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HR (95% CI): 0.</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998</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0.</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790</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261</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a:t>
              </a:r>
            </a:p>
          </p:txBody>
        </p:sp>
        <p:sp>
          <p:nvSpPr>
            <p:cNvPr id="65" name="TextBox 64">
              <a:extLst>
                <a:ext uri="{FF2B5EF4-FFF2-40B4-BE49-F238E27FC236}">
                  <a16:creationId xmlns:a16="http://schemas.microsoft.com/office/drawing/2014/main" id="{560CC64C-B400-4CB4-8716-2BDDB0045CC4}"/>
                </a:ext>
              </a:extLst>
            </p:cNvPr>
            <p:cNvSpPr txBox="1"/>
            <p:nvPr/>
          </p:nvSpPr>
          <p:spPr>
            <a:xfrm>
              <a:off x="5291533" y="3333736"/>
              <a:ext cx="2418307" cy="146015"/>
            </a:xfrm>
            <a:prstGeom prst="rect">
              <a:avLst/>
            </a:prstGeom>
            <a:noFill/>
          </p:spPr>
          <p:txBody>
            <a:bodyPr wrap="none" lIns="0" tIns="0" rIns="0" bIns="0" rtlCol="0" anchor="b">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Log-rank test </a:t>
              </a:r>
              <a:r>
                <a:rPr kumimoji="0" lang="en-GB" sz="120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a:t>
              </a:r>
              <a:r>
                <a:rPr kumimoji="0" lang="en-GB"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value</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a:t>
              </a: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988</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6" name="TextBox 65">
              <a:extLst>
                <a:ext uri="{FF2B5EF4-FFF2-40B4-BE49-F238E27FC236}">
                  <a16:creationId xmlns:a16="http://schemas.microsoft.com/office/drawing/2014/main" id="{744F99DC-F58B-4F59-BB1B-EB9FF7CBB29B}"/>
                </a:ext>
              </a:extLst>
            </p:cNvPr>
            <p:cNvSpPr txBox="1"/>
            <p:nvPr/>
          </p:nvSpPr>
          <p:spPr>
            <a:xfrm>
              <a:off x="7449168"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78</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7" name="TextBox 66">
              <a:extLst>
                <a:ext uri="{FF2B5EF4-FFF2-40B4-BE49-F238E27FC236}">
                  <a16:creationId xmlns:a16="http://schemas.microsoft.com/office/drawing/2014/main" id="{7C1D9E0E-4E67-40E4-9D0C-E48E485D0C9C}"/>
                </a:ext>
              </a:extLst>
            </p:cNvPr>
            <p:cNvSpPr txBox="1"/>
            <p:nvPr/>
          </p:nvSpPr>
          <p:spPr>
            <a:xfrm>
              <a:off x="2423534"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8" name="TextBox 67">
              <a:extLst>
                <a:ext uri="{FF2B5EF4-FFF2-40B4-BE49-F238E27FC236}">
                  <a16:creationId xmlns:a16="http://schemas.microsoft.com/office/drawing/2014/main" id="{12C73C1B-6537-4527-A2DD-1AC4092C8830}"/>
                </a:ext>
              </a:extLst>
            </p:cNvPr>
            <p:cNvSpPr txBox="1"/>
            <p:nvPr/>
          </p:nvSpPr>
          <p:spPr>
            <a:xfrm>
              <a:off x="2842337"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2</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69" name="TextBox 68">
              <a:extLst>
                <a:ext uri="{FF2B5EF4-FFF2-40B4-BE49-F238E27FC236}">
                  <a16:creationId xmlns:a16="http://schemas.microsoft.com/office/drawing/2014/main" id="{E8EF1419-FF83-4FD2-894A-9D6767F5242E}"/>
                </a:ext>
              </a:extLst>
            </p:cNvPr>
            <p:cNvSpPr txBox="1"/>
            <p:nvPr/>
          </p:nvSpPr>
          <p:spPr>
            <a:xfrm>
              <a:off x="3261142"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8</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0" name="TextBox 69">
              <a:extLst>
                <a:ext uri="{FF2B5EF4-FFF2-40B4-BE49-F238E27FC236}">
                  <a16:creationId xmlns:a16="http://schemas.microsoft.com/office/drawing/2014/main" id="{C9E7A4B0-D397-43B6-92EB-6E63D298883F}"/>
                </a:ext>
              </a:extLst>
            </p:cNvPr>
            <p:cNvSpPr txBox="1"/>
            <p:nvPr/>
          </p:nvSpPr>
          <p:spPr>
            <a:xfrm>
              <a:off x="3679946"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4</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1" name="TextBox 70">
              <a:extLst>
                <a:ext uri="{FF2B5EF4-FFF2-40B4-BE49-F238E27FC236}">
                  <a16:creationId xmlns:a16="http://schemas.microsoft.com/office/drawing/2014/main" id="{1597879A-BF17-4E16-92D4-1E3E6639D573}"/>
                </a:ext>
              </a:extLst>
            </p:cNvPr>
            <p:cNvSpPr txBox="1"/>
            <p:nvPr/>
          </p:nvSpPr>
          <p:spPr>
            <a:xfrm>
              <a:off x="4098749"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0</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2" name="TextBox 71">
              <a:extLst>
                <a:ext uri="{FF2B5EF4-FFF2-40B4-BE49-F238E27FC236}">
                  <a16:creationId xmlns:a16="http://schemas.microsoft.com/office/drawing/2014/main" id="{286B8479-D242-41FB-9868-E1A17FE7F37C}"/>
                </a:ext>
              </a:extLst>
            </p:cNvPr>
            <p:cNvSpPr txBox="1"/>
            <p:nvPr/>
          </p:nvSpPr>
          <p:spPr>
            <a:xfrm>
              <a:off x="4517554"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6</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3" name="TextBox 72">
              <a:extLst>
                <a:ext uri="{FF2B5EF4-FFF2-40B4-BE49-F238E27FC236}">
                  <a16:creationId xmlns:a16="http://schemas.microsoft.com/office/drawing/2014/main" id="{79DEEEC7-6F2A-4F3E-BD70-CB800E94D70E}"/>
                </a:ext>
              </a:extLst>
            </p:cNvPr>
            <p:cNvSpPr txBox="1"/>
            <p:nvPr/>
          </p:nvSpPr>
          <p:spPr>
            <a:xfrm>
              <a:off x="4936358"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42</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4" name="TextBox 73">
              <a:extLst>
                <a:ext uri="{FF2B5EF4-FFF2-40B4-BE49-F238E27FC236}">
                  <a16:creationId xmlns:a16="http://schemas.microsoft.com/office/drawing/2014/main" id="{67C2F1ED-370B-4D96-879D-CE81CEE93AA2}"/>
                </a:ext>
              </a:extLst>
            </p:cNvPr>
            <p:cNvSpPr txBox="1"/>
            <p:nvPr/>
          </p:nvSpPr>
          <p:spPr>
            <a:xfrm>
              <a:off x="5355161"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48</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5" name="TextBox 74">
              <a:extLst>
                <a:ext uri="{FF2B5EF4-FFF2-40B4-BE49-F238E27FC236}">
                  <a16:creationId xmlns:a16="http://schemas.microsoft.com/office/drawing/2014/main" id="{79FD042A-AC00-4ECC-BF1B-A2DC052C217C}"/>
                </a:ext>
              </a:extLst>
            </p:cNvPr>
            <p:cNvSpPr txBox="1"/>
            <p:nvPr/>
          </p:nvSpPr>
          <p:spPr>
            <a:xfrm>
              <a:off x="5773965"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54</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6" name="TextBox 75">
              <a:extLst>
                <a:ext uri="{FF2B5EF4-FFF2-40B4-BE49-F238E27FC236}">
                  <a16:creationId xmlns:a16="http://schemas.microsoft.com/office/drawing/2014/main" id="{C6EE8D2D-D4C3-43AA-8A48-A9C2062F65DA}"/>
                </a:ext>
              </a:extLst>
            </p:cNvPr>
            <p:cNvSpPr txBox="1"/>
            <p:nvPr/>
          </p:nvSpPr>
          <p:spPr>
            <a:xfrm>
              <a:off x="6192769"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0</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7" name="TextBox 76">
              <a:extLst>
                <a:ext uri="{FF2B5EF4-FFF2-40B4-BE49-F238E27FC236}">
                  <a16:creationId xmlns:a16="http://schemas.microsoft.com/office/drawing/2014/main" id="{266A0B48-DE51-48B7-9F48-2DDA8173BDC7}"/>
                </a:ext>
              </a:extLst>
            </p:cNvPr>
            <p:cNvSpPr txBox="1"/>
            <p:nvPr/>
          </p:nvSpPr>
          <p:spPr>
            <a:xfrm>
              <a:off x="6611573"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66</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8" name="TextBox 77">
              <a:extLst>
                <a:ext uri="{FF2B5EF4-FFF2-40B4-BE49-F238E27FC236}">
                  <a16:creationId xmlns:a16="http://schemas.microsoft.com/office/drawing/2014/main" id="{95B0651D-0558-409B-B3D2-EA230B1E2FFE}"/>
                </a:ext>
              </a:extLst>
            </p:cNvPr>
            <p:cNvSpPr txBox="1"/>
            <p:nvPr/>
          </p:nvSpPr>
          <p:spPr>
            <a:xfrm>
              <a:off x="2374209"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1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79" name="TextBox 78">
              <a:extLst>
                <a:ext uri="{FF2B5EF4-FFF2-40B4-BE49-F238E27FC236}">
                  <a16:creationId xmlns:a16="http://schemas.microsoft.com/office/drawing/2014/main" id="{D5F4F5BF-E7C8-4F7F-980F-1A3939F72577}"/>
                </a:ext>
              </a:extLst>
            </p:cNvPr>
            <p:cNvSpPr txBox="1"/>
            <p:nvPr/>
          </p:nvSpPr>
          <p:spPr>
            <a:xfrm>
              <a:off x="2793013"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9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0" name="TextBox 79">
              <a:extLst>
                <a:ext uri="{FF2B5EF4-FFF2-40B4-BE49-F238E27FC236}">
                  <a16:creationId xmlns:a16="http://schemas.microsoft.com/office/drawing/2014/main" id="{463CAFF4-7CF3-406D-94F4-B97D9F8F73A9}"/>
                </a:ext>
              </a:extLst>
            </p:cNvPr>
            <p:cNvSpPr txBox="1"/>
            <p:nvPr/>
          </p:nvSpPr>
          <p:spPr>
            <a:xfrm>
              <a:off x="3211817"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7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1" name="TextBox 80">
              <a:extLst>
                <a:ext uri="{FF2B5EF4-FFF2-40B4-BE49-F238E27FC236}">
                  <a16:creationId xmlns:a16="http://schemas.microsoft.com/office/drawing/2014/main" id="{777A4152-F57D-4AE8-87F1-E7655E609251}"/>
                </a:ext>
              </a:extLst>
            </p:cNvPr>
            <p:cNvSpPr txBox="1"/>
            <p:nvPr/>
          </p:nvSpPr>
          <p:spPr>
            <a:xfrm>
              <a:off x="3630621"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62</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2" name="TextBox 81">
              <a:extLst>
                <a:ext uri="{FF2B5EF4-FFF2-40B4-BE49-F238E27FC236}">
                  <a16:creationId xmlns:a16="http://schemas.microsoft.com/office/drawing/2014/main" id="{375C0C44-1EC7-46D2-9917-7BE426E09077}"/>
                </a:ext>
              </a:extLst>
            </p:cNvPr>
            <p:cNvSpPr txBox="1"/>
            <p:nvPr/>
          </p:nvSpPr>
          <p:spPr>
            <a:xfrm>
              <a:off x="4049425"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35</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3" name="TextBox 82">
              <a:extLst>
                <a:ext uri="{FF2B5EF4-FFF2-40B4-BE49-F238E27FC236}">
                  <a16:creationId xmlns:a16="http://schemas.microsoft.com/office/drawing/2014/main" id="{2C8FF92E-733B-4942-AB73-8A8E62347978}"/>
                </a:ext>
              </a:extLst>
            </p:cNvPr>
            <p:cNvSpPr txBox="1"/>
            <p:nvPr/>
          </p:nvSpPr>
          <p:spPr>
            <a:xfrm>
              <a:off x="4468229"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25</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4" name="TextBox 83">
              <a:extLst>
                <a:ext uri="{FF2B5EF4-FFF2-40B4-BE49-F238E27FC236}">
                  <a16:creationId xmlns:a16="http://schemas.microsoft.com/office/drawing/2014/main" id="{79BBFAB3-8BC7-4931-8126-03A3D360024A}"/>
                </a:ext>
              </a:extLst>
            </p:cNvPr>
            <p:cNvSpPr txBox="1"/>
            <p:nvPr/>
          </p:nvSpPr>
          <p:spPr>
            <a:xfrm>
              <a:off x="4887033"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08</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5" name="TextBox 84">
              <a:extLst>
                <a:ext uri="{FF2B5EF4-FFF2-40B4-BE49-F238E27FC236}">
                  <a16:creationId xmlns:a16="http://schemas.microsoft.com/office/drawing/2014/main" id="{75E1AE83-5D22-465E-A9F5-2F8634D227E2}"/>
                </a:ext>
              </a:extLst>
            </p:cNvPr>
            <p:cNvSpPr txBox="1"/>
            <p:nvPr/>
          </p:nvSpPr>
          <p:spPr>
            <a:xfrm>
              <a:off x="5305836"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9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6" name="TextBox 85">
              <a:extLst>
                <a:ext uri="{FF2B5EF4-FFF2-40B4-BE49-F238E27FC236}">
                  <a16:creationId xmlns:a16="http://schemas.microsoft.com/office/drawing/2014/main" id="{29361481-89BD-44F5-A4F1-A1401866CFBC}"/>
                </a:ext>
              </a:extLst>
            </p:cNvPr>
            <p:cNvSpPr txBox="1"/>
            <p:nvPr/>
          </p:nvSpPr>
          <p:spPr>
            <a:xfrm>
              <a:off x="5724641"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51</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7" name="TextBox 86">
              <a:extLst>
                <a:ext uri="{FF2B5EF4-FFF2-40B4-BE49-F238E27FC236}">
                  <a16:creationId xmlns:a16="http://schemas.microsoft.com/office/drawing/2014/main" id="{3BA1E49A-7653-4E7C-B6A1-838B5F6ED31B}"/>
                </a:ext>
              </a:extLst>
            </p:cNvPr>
            <p:cNvSpPr txBox="1"/>
            <p:nvPr/>
          </p:nvSpPr>
          <p:spPr>
            <a:xfrm>
              <a:off x="6143445"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79</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8" name="TextBox 87">
              <a:extLst>
                <a:ext uri="{FF2B5EF4-FFF2-40B4-BE49-F238E27FC236}">
                  <a16:creationId xmlns:a16="http://schemas.microsoft.com/office/drawing/2014/main" id="{3885C18D-02D7-41A6-A725-8FB25D8C4400}"/>
                </a:ext>
              </a:extLst>
            </p:cNvPr>
            <p:cNvSpPr txBox="1"/>
            <p:nvPr/>
          </p:nvSpPr>
          <p:spPr>
            <a:xfrm>
              <a:off x="6562248"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89" name="TextBox 88">
              <a:extLst>
                <a:ext uri="{FF2B5EF4-FFF2-40B4-BE49-F238E27FC236}">
                  <a16:creationId xmlns:a16="http://schemas.microsoft.com/office/drawing/2014/main" id="{79B19691-6521-4CA9-96DC-40276175BAFD}"/>
                </a:ext>
              </a:extLst>
            </p:cNvPr>
            <p:cNvSpPr txBox="1"/>
            <p:nvPr/>
          </p:nvSpPr>
          <p:spPr>
            <a:xfrm>
              <a:off x="2374209"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3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0" name="TextBox 89">
              <a:extLst>
                <a:ext uri="{FF2B5EF4-FFF2-40B4-BE49-F238E27FC236}">
                  <a16:creationId xmlns:a16="http://schemas.microsoft.com/office/drawing/2014/main" id="{51E97F8D-69D0-4C0F-BC47-6ECEDC5DCEC8}"/>
                </a:ext>
              </a:extLst>
            </p:cNvPr>
            <p:cNvSpPr txBox="1"/>
            <p:nvPr/>
          </p:nvSpPr>
          <p:spPr>
            <a:xfrm>
              <a:off x="2793013"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310</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1" name="TextBox 90">
              <a:extLst>
                <a:ext uri="{FF2B5EF4-FFF2-40B4-BE49-F238E27FC236}">
                  <a16:creationId xmlns:a16="http://schemas.microsoft.com/office/drawing/2014/main" id="{99CCBBF3-2831-40DF-8B38-78BDBE4CC439}"/>
                </a:ext>
              </a:extLst>
            </p:cNvPr>
            <p:cNvSpPr txBox="1"/>
            <p:nvPr/>
          </p:nvSpPr>
          <p:spPr>
            <a:xfrm>
              <a:off x="3211817"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9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2" name="TextBox 91">
              <a:extLst>
                <a:ext uri="{FF2B5EF4-FFF2-40B4-BE49-F238E27FC236}">
                  <a16:creationId xmlns:a16="http://schemas.microsoft.com/office/drawing/2014/main" id="{356F050D-3070-4589-9C78-4328B6D3E74E}"/>
                </a:ext>
              </a:extLst>
            </p:cNvPr>
            <p:cNvSpPr txBox="1"/>
            <p:nvPr/>
          </p:nvSpPr>
          <p:spPr>
            <a:xfrm>
              <a:off x="3630621"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71</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3" name="TextBox 92">
              <a:extLst>
                <a:ext uri="{FF2B5EF4-FFF2-40B4-BE49-F238E27FC236}">
                  <a16:creationId xmlns:a16="http://schemas.microsoft.com/office/drawing/2014/main" id="{0683209B-6BDD-4A42-97C3-7FD26CCCF115}"/>
                </a:ext>
              </a:extLst>
            </p:cNvPr>
            <p:cNvSpPr txBox="1"/>
            <p:nvPr/>
          </p:nvSpPr>
          <p:spPr>
            <a:xfrm>
              <a:off x="4049425"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5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4" name="TextBox 93">
              <a:extLst>
                <a:ext uri="{FF2B5EF4-FFF2-40B4-BE49-F238E27FC236}">
                  <a16:creationId xmlns:a16="http://schemas.microsoft.com/office/drawing/2014/main" id="{99D90647-CB3E-4966-82D1-752C6B1A18F9}"/>
                </a:ext>
              </a:extLst>
            </p:cNvPr>
            <p:cNvSpPr txBox="1"/>
            <p:nvPr/>
          </p:nvSpPr>
          <p:spPr>
            <a:xfrm>
              <a:off x="4468229"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36</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5" name="TextBox 94">
              <a:extLst>
                <a:ext uri="{FF2B5EF4-FFF2-40B4-BE49-F238E27FC236}">
                  <a16:creationId xmlns:a16="http://schemas.microsoft.com/office/drawing/2014/main" id="{02988BD4-A46B-4253-AE86-E67C6C7A7DD9}"/>
                </a:ext>
              </a:extLst>
            </p:cNvPr>
            <p:cNvSpPr txBox="1"/>
            <p:nvPr/>
          </p:nvSpPr>
          <p:spPr>
            <a:xfrm>
              <a:off x="4887033"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22</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6" name="TextBox 95">
              <a:extLst>
                <a:ext uri="{FF2B5EF4-FFF2-40B4-BE49-F238E27FC236}">
                  <a16:creationId xmlns:a16="http://schemas.microsoft.com/office/drawing/2014/main" id="{1DA09079-553C-43E9-9742-93A2E0659885}"/>
                </a:ext>
              </a:extLst>
            </p:cNvPr>
            <p:cNvSpPr txBox="1"/>
            <p:nvPr/>
          </p:nvSpPr>
          <p:spPr>
            <a:xfrm>
              <a:off x="5305836"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20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7" name="TextBox 96">
              <a:extLst>
                <a:ext uri="{FF2B5EF4-FFF2-40B4-BE49-F238E27FC236}">
                  <a16:creationId xmlns:a16="http://schemas.microsoft.com/office/drawing/2014/main" id="{F455325C-1FF5-4FC1-9808-25567AE94A9E}"/>
                </a:ext>
              </a:extLst>
            </p:cNvPr>
            <p:cNvSpPr txBox="1"/>
            <p:nvPr/>
          </p:nvSpPr>
          <p:spPr>
            <a:xfrm>
              <a:off x="5724641"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158</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8" name="TextBox 97">
              <a:extLst>
                <a:ext uri="{FF2B5EF4-FFF2-40B4-BE49-F238E27FC236}">
                  <a16:creationId xmlns:a16="http://schemas.microsoft.com/office/drawing/2014/main" id="{370EDEAB-C3C8-444A-A3D6-C906AA7DC99D}"/>
                </a:ext>
              </a:extLst>
            </p:cNvPr>
            <p:cNvSpPr txBox="1"/>
            <p:nvPr/>
          </p:nvSpPr>
          <p:spPr>
            <a:xfrm>
              <a:off x="6143445"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83</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99" name="TextBox 98">
              <a:extLst>
                <a:ext uri="{FF2B5EF4-FFF2-40B4-BE49-F238E27FC236}">
                  <a16:creationId xmlns:a16="http://schemas.microsoft.com/office/drawing/2014/main" id="{1FEA71F5-3775-48BD-9DCF-6016682F8A4F}"/>
                </a:ext>
              </a:extLst>
            </p:cNvPr>
            <p:cNvSpPr txBox="1"/>
            <p:nvPr/>
          </p:nvSpPr>
          <p:spPr>
            <a:xfrm>
              <a:off x="6562248"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43</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0" name="TextBox 99">
              <a:extLst>
                <a:ext uri="{FF2B5EF4-FFF2-40B4-BE49-F238E27FC236}">
                  <a16:creationId xmlns:a16="http://schemas.microsoft.com/office/drawing/2014/main" id="{E2550E70-3711-4B4F-BB2A-B46F34EA1DC7}"/>
                </a:ext>
              </a:extLst>
            </p:cNvPr>
            <p:cNvSpPr txBox="1"/>
            <p:nvPr/>
          </p:nvSpPr>
          <p:spPr>
            <a:xfrm>
              <a:off x="7030377" y="3707885"/>
              <a:ext cx="173890"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72</a:t>
              </a:r>
              <a:endParaRPr kumimoji="0" lang="x-none" sz="120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1" name="TextBox 100">
              <a:extLst>
                <a:ext uri="{FF2B5EF4-FFF2-40B4-BE49-F238E27FC236}">
                  <a16:creationId xmlns:a16="http://schemas.microsoft.com/office/drawing/2014/main" id="{D93673A0-8518-400A-ADD1-C76521F86BED}"/>
                </a:ext>
              </a:extLst>
            </p:cNvPr>
            <p:cNvSpPr txBox="1"/>
            <p:nvPr/>
          </p:nvSpPr>
          <p:spPr>
            <a:xfrm>
              <a:off x="1138813" y="4138040"/>
              <a:ext cx="667218" cy="153017"/>
            </a:xfrm>
            <a:prstGeom prst="rect">
              <a:avLst/>
            </a:prstGeom>
            <a:noFill/>
          </p:spPr>
          <p:txBody>
            <a:bodyPr wrap="none" lIns="0" tIns="0" rIns="0" bIns="0" rtlCol="0" anchor="ctr">
              <a:noAutofit/>
            </a:body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Ixazomib-Rd</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2" name="TextBox 101">
              <a:extLst>
                <a:ext uri="{FF2B5EF4-FFF2-40B4-BE49-F238E27FC236}">
                  <a16:creationId xmlns:a16="http://schemas.microsoft.com/office/drawing/2014/main" id="{861B0D93-1717-4CE9-8A3D-15B1C9B4F6D0}"/>
                </a:ext>
              </a:extLst>
            </p:cNvPr>
            <p:cNvSpPr txBox="1"/>
            <p:nvPr/>
          </p:nvSpPr>
          <p:spPr>
            <a:xfrm>
              <a:off x="1200663" y="4274605"/>
              <a:ext cx="605369" cy="153017"/>
            </a:xfrm>
            <a:prstGeom prst="rect">
              <a:avLst/>
            </a:prstGeom>
            <a:noFill/>
          </p:spPr>
          <p:txBody>
            <a:bodyPr wrap="none" lIns="0" tIns="0" rIns="0" bIns="0" rtlCol="0" anchor="ctr">
              <a:noAutofit/>
            </a:body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Placebo</a:t>
              </a: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Rd</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3" name="TextBox 102">
              <a:extLst>
                <a:ext uri="{FF2B5EF4-FFF2-40B4-BE49-F238E27FC236}">
                  <a16:creationId xmlns:a16="http://schemas.microsoft.com/office/drawing/2014/main" id="{1C4B8909-2C3A-44D3-A615-A955E40BCC9A}"/>
                </a:ext>
              </a:extLst>
            </p:cNvPr>
            <p:cNvSpPr txBox="1"/>
            <p:nvPr/>
          </p:nvSpPr>
          <p:spPr>
            <a:xfrm>
              <a:off x="6981053" y="4138040"/>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4</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4" name="TextBox 103">
              <a:extLst>
                <a:ext uri="{FF2B5EF4-FFF2-40B4-BE49-F238E27FC236}">
                  <a16:creationId xmlns:a16="http://schemas.microsoft.com/office/drawing/2014/main" id="{EF2258E1-F73A-4D7D-9695-DDCBC641688F}"/>
                </a:ext>
              </a:extLst>
            </p:cNvPr>
            <p:cNvSpPr txBox="1"/>
            <p:nvPr/>
          </p:nvSpPr>
          <p:spPr>
            <a:xfrm>
              <a:off x="6981053" y="4274606"/>
              <a:ext cx="272539" cy="153016"/>
            </a:xfrm>
            <a:prstGeom prst="rect">
              <a:avLst/>
            </a:prstGeom>
            <a:noFill/>
          </p:spPr>
          <p:txBody>
            <a:bodyPr wrap="none" lIns="0" tIns="0" rIns="0" bIns="0" rtlCol="0" anchor="ctr">
              <a:no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7</a:t>
              </a:r>
              <a:endParaRPr kumimoji="0" lang="x-none" sz="1050" b="0"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5" name="TextBox 104">
              <a:extLst>
                <a:ext uri="{FF2B5EF4-FFF2-40B4-BE49-F238E27FC236}">
                  <a16:creationId xmlns:a16="http://schemas.microsoft.com/office/drawing/2014/main" id="{D404797B-371C-4FDF-B9BC-BA63F1D543B6}"/>
                </a:ext>
              </a:extLst>
            </p:cNvPr>
            <p:cNvSpPr txBox="1"/>
            <p:nvPr/>
          </p:nvSpPr>
          <p:spPr>
            <a:xfrm>
              <a:off x="3720373" y="1111506"/>
              <a:ext cx="943685" cy="433526"/>
            </a:xfrm>
            <a:prstGeom prst="rect">
              <a:avLst/>
            </a:prstGeom>
            <a:noFill/>
          </p:spPr>
          <p:txBody>
            <a:bodyPr wrap="non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edian</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OS</a:t>
              </a:r>
              <a:br>
                <a:rPr kumimoji="0" lang="en-GB" sz="120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b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NE</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sp>
          <p:nvSpPr>
            <p:cNvPr id="106" name="TextBox 105">
              <a:extLst>
                <a:ext uri="{FF2B5EF4-FFF2-40B4-BE49-F238E27FC236}">
                  <a16:creationId xmlns:a16="http://schemas.microsoft.com/office/drawing/2014/main" id="{9A44D8C8-203E-497D-B268-FBA062D8D996}"/>
                </a:ext>
              </a:extLst>
            </p:cNvPr>
            <p:cNvSpPr txBox="1"/>
            <p:nvPr/>
          </p:nvSpPr>
          <p:spPr>
            <a:xfrm>
              <a:off x="3046296" y="1623896"/>
              <a:ext cx="943685" cy="433526"/>
            </a:xfrm>
            <a:prstGeom prst="rect">
              <a:avLst/>
            </a:prstGeom>
            <a:noFill/>
          </p:spPr>
          <p:txBody>
            <a:bodyPr wrap="non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Median</a:t>
              </a: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 OS</a:t>
              </a:r>
              <a:br>
                <a:rPr kumimoji="0" lang="en-GB" sz="1200" b="0" i="1"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br>
              <a:r>
                <a:rPr kumimoji="0" lang="en-GB"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rPr>
                <a:t>NE</a:t>
              </a:r>
              <a:endParaRPr kumimoji="0" lang="x-none" sz="1200" b="1" i="0" u="none" strike="noStrike" kern="0" cap="none" spc="0" normalizeH="0" baseline="0" noProof="0">
                <a:ln>
                  <a:noFill/>
                </a:ln>
                <a:solidFill>
                  <a:srgbClr val="000000"/>
                </a:solidFill>
                <a:effectLst/>
                <a:uLnTx/>
                <a:uFillTx/>
                <a:latin typeface="Calibri"/>
                <a:ea typeface="Geneva" charset="0"/>
                <a:cs typeface="Arial" panose="020B0604020202020204" pitchFamily="34" charset="0"/>
              </a:endParaRPr>
            </a:p>
          </p:txBody>
        </p:sp>
      </p:grpSp>
      <p:pic>
        <p:nvPicPr>
          <p:cNvPr id="325" name="Picture 324" descr="Qr code&#10;&#10;Description automatically generated">
            <a:extLst>
              <a:ext uri="{FF2B5EF4-FFF2-40B4-BE49-F238E27FC236}">
                <a16:creationId xmlns:a16="http://schemas.microsoft.com/office/drawing/2014/main" id="{E1905952-31FF-4A33-8575-42611004F1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63467" y="75609"/>
            <a:ext cx="763198" cy="763198"/>
          </a:xfrm>
          <a:prstGeom prst="rect">
            <a:avLst/>
          </a:prstGeom>
        </p:spPr>
      </p:pic>
      <p:sp>
        <p:nvSpPr>
          <p:cNvPr id="324" name="Text Placeholder 4">
            <a:extLst>
              <a:ext uri="{FF2B5EF4-FFF2-40B4-BE49-F238E27FC236}">
                <a16:creationId xmlns:a16="http://schemas.microsoft.com/office/drawing/2014/main" id="{4D10004D-0E89-4830-AA28-3D9431E4900C}"/>
              </a:ext>
            </a:extLst>
          </p:cNvPr>
          <p:cNvSpPr txBox="1">
            <a:spLocks/>
          </p:cNvSpPr>
          <p:nvPr/>
        </p:nvSpPr>
        <p:spPr>
          <a:xfrm>
            <a:off x="4675632" y="4523872"/>
            <a:ext cx="4468368" cy="193027"/>
          </a:xfrm>
          <a:prstGeom prst="rect">
            <a:avLst/>
          </a:prstGeom>
        </p:spPr>
        <p:txBody>
          <a:bodyPr wrap="square" tIns="27000" bIns="27000" anchor="b">
            <a:spAutoFit/>
          </a:bodyPr>
          <a:lstStyle>
            <a:lvl1pPr marL="0" indent="0" algn="r" defTabSz="609585" rtl="0" eaLnBrk="0" fontAlgn="base" hangingPunct="0">
              <a:spcBef>
                <a:spcPts val="0"/>
              </a:spcBef>
              <a:spcAft>
                <a:spcPct val="0"/>
              </a:spcAft>
              <a:buFont typeface="Arial" charset="0"/>
              <a:buNone/>
              <a:defRPr sz="933" kern="1200">
                <a:solidFill>
                  <a:schemeClr val="tx1"/>
                </a:solidFill>
                <a:latin typeface="Arial" panose="020B0604020202020204" pitchFamily="34" charset="0"/>
                <a:ea typeface="Geneva" pitchFamily="37" charset="-128"/>
                <a:cs typeface="Arial" panose="020B0604020202020204" pitchFamily="34" charset="0"/>
              </a:defRPr>
            </a:lvl1pPr>
            <a:lvl2pPr marL="609585" indent="0" algn="r" defTabSz="609585" rtl="0" eaLnBrk="0" fontAlgn="base" hangingPunct="0">
              <a:spcBef>
                <a:spcPct val="20000"/>
              </a:spcBef>
              <a:spcAft>
                <a:spcPct val="0"/>
              </a:spcAft>
              <a:buFont typeface="Arial" charset="0"/>
              <a:buNone/>
              <a:defRPr sz="2667" kern="1200">
                <a:solidFill>
                  <a:schemeClr val="tx1"/>
                </a:solidFill>
                <a:latin typeface="+mn-lt"/>
                <a:ea typeface="Geneva" pitchFamily="37" charset="-128"/>
                <a:cs typeface="+mn-cs"/>
              </a:defRPr>
            </a:lvl2pPr>
            <a:lvl3pPr marL="1219170" indent="0" algn="r" defTabSz="609585" rtl="0" eaLnBrk="0" fontAlgn="base" hangingPunct="0">
              <a:spcBef>
                <a:spcPct val="20000"/>
              </a:spcBef>
              <a:spcAft>
                <a:spcPct val="0"/>
              </a:spcAft>
              <a:buFont typeface="Arial" charset="0"/>
              <a:buNone/>
              <a:defRPr kern="1200">
                <a:solidFill>
                  <a:schemeClr val="tx1"/>
                </a:solidFill>
                <a:latin typeface="+mn-lt"/>
                <a:ea typeface="Geneva" pitchFamily="37" charset="-128"/>
                <a:cs typeface="+mn-cs"/>
              </a:defRPr>
            </a:lvl3pPr>
            <a:lvl4pPr marL="1828754" indent="0" algn="r" defTabSz="609585" rtl="0" eaLnBrk="0" fontAlgn="base" hangingPunct="0">
              <a:spcBef>
                <a:spcPct val="20000"/>
              </a:spcBef>
              <a:spcAft>
                <a:spcPct val="0"/>
              </a:spcAft>
              <a:buFont typeface="Arial" charset="0"/>
              <a:buNone/>
              <a:defRPr sz="2133" kern="1200">
                <a:solidFill>
                  <a:schemeClr val="tx1"/>
                </a:solidFill>
                <a:latin typeface="+mn-lt"/>
                <a:ea typeface="Geneva" pitchFamily="37" charset="-128"/>
                <a:cs typeface="+mn-cs"/>
              </a:defRPr>
            </a:lvl4pPr>
            <a:lvl5pPr marL="2438339" indent="0" algn="r" defTabSz="609585" rtl="0" eaLnBrk="0" fontAlgn="base" hangingPunct="0">
              <a:spcBef>
                <a:spcPct val="20000"/>
              </a:spcBef>
              <a:spcAft>
                <a:spcPct val="0"/>
              </a:spcAft>
              <a:buFont typeface="Arial" charset="0"/>
              <a:buNone/>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457189" rtl="0" eaLnBrk="0" fontAlgn="base" latinLnBrk="0" hangingPunct="0">
              <a:lnSpc>
                <a:spcPct val="100000"/>
              </a:lnSpc>
              <a:spcBef>
                <a:spcPts val="0"/>
              </a:spcBef>
              <a:spcAft>
                <a:spcPct val="0"/>
              </a:spcAft>
              <a:buClrTx/>
              <a:buSzTx/>
              <a:buFont typeface="Arial" charset="0"/>
              <a:buNone/>
              <a:tabLst/>
              <a:defRPr/>
            </a:pPr>
            <a:r>
              <a:rPr kumimoji="0" lang="en-US" sz="900" b="0" i="0" u="none" strike="noStrike" kern="1200" cap="none" spc="0" normalizeH="0" baseline="0" noProof="0">
                <a:ln>
                  <a:noFill/>
                </a:ln>
                <a:solidFill>
                  <a:srgbClr val="000000"/>
                </a:solidFill>
                <a:effectLst/>
                <a:uLnTx/>
                <a:uFillTx/>
                <a:latin typeface="Calibri"/>
                <a:ea typeface="Geneva" pitchFamily="37" charset="-128"/>
                <a:cs typeface="Arial" panose="020B0604020202020204" pitchFamily="34" charset="0"/>
              </a:rPr>
              <a:t>Facon T, et al. ASH 2020. Oral presentation 551.</a:t>
            </a:r>
          </a:p>
        </p:txBody>
      </p:sp>
    </p:spTree>
    <p:extLst>
      <p:ext uri="{BB962C8B-B14F-4D97-AF65-F5344CB8AC3E}">
        <p14:creationId xmlns:p14="http://schemas.microsoft.com/office/powerpoint/2010/main" val="26940027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iagram&#10;&#10;Description automatically generated">
            <a:extLst>
              <a:ext uri="{FF2B5EF4-FFF2-40B4-BE49-F238E27FC236}">
                <a16:creationId xmlns:a16="http://schemas.microsoft.com/office/drawing/2014/main" id="{51EB2880-EE16-4826-8C65-B35AACC711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07339" y="606572"/>
            <a:ext cx="5729323" cy="3898359"/>
          </a:xfrm>
          <a:prstGeom prst="rect">
            <a:avLst/>
          </a:prstGeom>
          <a:ln w="28575">
            <a:solidFill>
              <a:schemeClr val="tx1"/>
            </a:solidFill>
          </a:ln>
        </p:spPr>
      </p:pic>
      <p:sp>
        <p:nvSpPr>
          <p:cNvPr id="74753" name="Text Box 8">
            <a:extLst>
              <a:ext uri="{FF2B5EF4-FFF2-40B4-BE49-F238E27FC236}">
                <a16:creationId xmlns:a16="http://schemas.microsoft.com/office/drawing/2014/main" id="{DE40216F-C875-2B46-9B88-949F8690F9B1}"/>
              </a:ext>
            </a:extLst>
          </p:cNvPr>
          <p:cNvSpPr txBox="1">
            <a:spLocks noChangeArrowheads="1"/>
          </p:cNvSpPr>
          <p:nvPr/>
        </p:nvSpPr>
        <p:spPr bwMode="auto">
          <a:xfrm>
            <a:off x="917576" y="101389"/>
            <a:ext cx="73088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37931725" indent="-37474525">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fontAlgn="base">
              <a:spcBef>
                <a:spcPct val="0"/>
              </a:spcBef>
              <a:spcAft>
                <a:spcPct val="0"/>
              </a:spcAft>
              <a:defRPr/>
            </a:pPr>
            <a:r>
              <a:rPr lang="es-ES" altLang="es-ES_tradnl" sz="2400" b="1">
                <a:solidFill>
                  <a:srgbClr val="0070C0"/>
                </a:solidFill>
                <a:ea typeface="ＭＳ Ｐゴシック" panose="020B0600070205080204" pitchFamily="34" charset="-128"/>
                <a:cs typeface="ＭＳ Ｐゴシック" panose="020B0600070205080204" pitchFamily="34" charset="-128"/>
              </a:rPr>
              <a:t> </a:t>
            </a:r>
            <a:r>
              <a:rPr lang="es-ES_tradnl" altLang="es-ES_tradnl" sz="2400" b="1">
                <a:solidFill>
                  <a:srgbClr val="0070C0"/>
                </a:solidFill>
                <a:ea typeface="ＭＳ Ｐゴシック" panose="020B0600070205080204" pitchFamily="34" charset="-128"/>
                <a:cs typeface="ＭＳ Ｐゴシック" panose="020B0600070205080204" pitchFamily="34" charset="-128"/>
              </a:rPr>
              <a:t>R</a:t>
            </a:r>
            <a:r>
              <a:rPr lang="es-ES" altLang="es-ES_tradnl" sz="2400" b="1">
                <a:solidFill>
                  <a:srgbClr val="0070C0"/>
                </a:solidFill>
                <a:ea typeface="ＭＳ Ｐゴシック" panose="020B0600070205080204" pitchFamily="34" charset="-128"/>
                <a:cs typeface="ＭＳ Ｐゴシック" panose="020B0600070205080204" pitchFamily="34" charset="-128"/>
              </a:rPr>
              <a:t>isk of progression of SMM to active disease</a:t>
            </a:r>
          </a:p>
        </p:txBody>
      </p:sp>
      <p:sp>
        <p:nvSpPr>
          <p:cNvPr id="74754" name="Text Box 10">
            <a:extLst>
              <a:ext uri="{FF2B5EF4-FFF2-40B4-BE49-F238E27FC236}">
                <a16:creationId xmlns:a16="http://schemas.microsoft.com/office/drawing/2014/main" id="{8B110DCB-025A-CD41-875A-59C49EFF630B}"/>
              </a:ext>
            </a:extLst>
          </p:cNvPr>
          <p:cNvSpPr txBox="1">
            <a:spLocks noChangeArrowheads="1"/>
          </p:cNvSpPr>
          <p:nvPr/>
        </p:nvSpPr>
        <p:spPr bwMode="auto">
          <a:xfrm>
            <a:off x="6071249" y="4896679"/>
            <a:ext cx="30716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37931725" indent="-37474525">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r" defTabSz="457189" fontAlgn="base">
              <a:spcBef>
                <a:spcPct val="0"/>
              </a:spcBef>
              <a:spcAft>
                <a:spcPct val="0"/>
              </a:spcAft>
              <a:defRPr/>
            </a:pPr>
            <a:r>
              <a:rPr lang="es-ES" altLang="es-ES_tradnl" sz="1000">
                <a:solidFill>
                  <a:prstClr val="black"/>
                </a:solidFill>
                <a:ea typeface="ＭＳ Ｐゴシック" panose="020B0600070205080204" pitchFamily="34" charset="-128"/>
                <a:cs typeface="ＭＳ Ｐゴシック" panose="020B0600070205080204" pitchFamily="34" charset="-128"/>
              </a:rPr>
              <a:t>Kyle RA, et al. </a:t>
            </a:r>
            <a:r>
              <a:rPr lang="es-ES" altLang="es-ES_tradnl" sz="1000" i="1">
                <a:solidFill>
                  <a:prstClr val="black"/>
                </a:solidFill>
                <a:ea typeface="ＭＳ Ｐゴシック" panose="020B0600070205080204" pitchFamily="34" charset="-128"/>
                <a:cs typeface="ＭＳ Ｐゴシック" panose="020B0600070205080204" pitchFamily="34" charset="-128"/>
              </a:rPr>
              <a:t>N Engl J Med. </a:t>
            </a:r>
            <a:r>
              <a:rPr lang="es-ES" altLang="es-ES_tradnl" sz="1000">
                <a:solidFill>
                  <a:prstClr val="black"/>
                </a:solidFill>
                <a:ea typeface="ＭＳ Ｐゴシック" panose="020B0600070205080204" pitchFamily="34" charset="-128"/>
                <a:cs typeface="ＭＳ Ｐゴシック" panose="020B0600070205080204" pitchFamily="34" charset="-128"/>
              </a:rPr>
              <a:t>2007;356:2582-2590.</a:t>
            </a:r>
          </a:p>
        </p:txBody>
      </p:sp>
      <p:sp>
        <p:nvSpPr>
          <p:cNvPr id="74760" name="Oval 20">
            <a:extLst>
              <a:ext uri="{FF2B5EF4-FFF2-40B4-BE49-F238E27FC236}">
                <a16:creationId xmlns:a16="http://schemas.microsoft.com/office/drawing/2014/main" id="{275DFACF-53E4-034C-AFFD-A427DFA803F4}"/>
              </a:ext>
            </a:extLst>
          </p:cNvPr>
          <p:cNvSpPr>
            <a:spLocks noChangeArrowheads="1"/>
          </p:cNvSpPr>
          <p:nvPr/>
        </p:nvSpPr>
        <p:spPr bwMode="auto">
          <a:xfrm>
            <a:off x="2579975" y="1752820"/>
            <a:ext cx="762621" cy="481345"/>
          </a:xfrm>
          <a:prstGeom prst="ellipse">
            <a:avLst/>
          </a:prstGeom>
          <a:noFill/>
          <a:ln w="7">
            <a:solidFill>
              <a:srgbClr val="003399"/>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fontAlgn="base">
              <a:spcBef>
                <a:spcPct val="0"/>
              </a:spcBef>
              <a:spcAft>
                <a:spcPct val="0"/>
              </a:spcAft>
              <a:defRPr/>
            </a:pPr>
            <a:r>
              <a:rPr lang="es-ES" altLang="es-ES_tradnl" sz="1200" b="1">
                <a:solidFill>
                  <a:srgbClr val="336699"/>
                </a:solidFill>
              </a:rPr>
              <a:t>10%</a:t>
            </a:r>
          </a:p>
        </p:txBody>
      </p:sp>
      <p:sp>
        <p:nvSpPr>
          <p:cNvPr id="74761" name="Rectangle 23">
            <a:extLst>
              <a:ext uri="{FF2B5EF4-FFF2-40B4-BE49-F238E27FC236}">
                <a16:creationId xmlns:a16="http://schemas.microsoft.com/office/drawing/2014/main" id="{F7AFB7F1-F7BA-DF46-8DBE-79EF80A70EE8}"/>
              </a:ext>
            </a:extLst>
          </p:cNvPr>
          <p:cNvSpPr>
            <a:spLocks noChangeArrowheads="1"/>
          </p:cNvSpPr>
          <p:nvPr/>
        </p:nvSpPr>
        <p:spPr bwMode="auto">
          <a:xfrm>
            <a:off x="2500063" y="2229700"/>
            <a:ext cx="911726" cy="1685204"/>
          </a:xfrm>
          <a:prstGeom prst="rect">
            <a:avLst/>
          </a:prstGeom>
          <a:noFill/>
          <a:ln w="38100">
            <a:solidFill>
              <a:srgbClr val="0033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fontAlgn="base">
              <a:spcBef>
                <a:spcPct val="0"/>
              </a:spcBef>
              <a:spcAft>
                <a:spcPct val="0"/>
              </a:spcAft>
              <a:defRPr/>
            </a:pPr>
            <a:endParaRPr lang="es-ES_tradnl" altLang="es-ES_tradnl">
              <a:solidFill>
                <a:prstClr val="black"/>
              </a:solidFill>
            </a:endParaRPr>
          </a:p>
        </p:txBody>
      </p:sp>
      <p:sp>
        <p:nvSpPr>
          <p:cNvPr id="74762" name="Rectangle 24">
            <a:extLst>
              <a:ext uri="{FF2B5EF4-FFF2-40B4-BE49-F238E27FC236}">
                <a16:creationId xmlns:a16="http://schemas.microsoft.com/office/drawing/2014/main" id="{95C155EE-45BB-794D-BD77-0840D3F545E7}"/>
              </a:ext>
            </a:extLst>
          </p:cNvPr>
          <p:cNvSpPr>
            <a:spLocks noChangeArrowheads="1"/>
          </p:cNvSpPr>
          <p:nvPr/>
        </p:nvSpPr>
        <p:spPr bwMode="auto">
          <a:xfrm>
            <a:off x="3417690" y="1770022"/>
            <a:ext cx="970314" cy="2144882"/>
          </a:xfrm>
          <a:prstGeom prst="rect">
            <a:avLst/>
          </a:prstGeom>
          <a:noFill/>
          <a:ln w="38100">
            <a:solidFill>
              <a:srgbClr val="FF0066"/>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fontAlgn="base">
              <a:spcBef>
                <a:spcPct val="0"/>
              </a:spcBef>
              <a:spcAft>
                <a:spcPct val="0"/>
              </a:spcAft>
              <a:defRPr/>
            </a:pPr>
            <a:endParaRPr lang="es-ES_tradnl" altLang="es-ES_tradnl">
              <a:solidFill>
                <a:prstClr val="black"/>
              </a:solidFill>
            </a:endParaRPr>
          </a:p>
        </p:txBody>
      </p:sp>
      <p:sp>
        <p:nvSpPr>
          <p:cNvPr id="74763" name="Rectangle 25">
            <a:extLst>
              <a:ext uri="{FF2B5EF4-FFF2-40B4-BE49-F238E27FC236}">
                <a16:creationId xmlns:a16="http://schemas.microsoft.com/office/drawing/2014/main" id="{484D122C-A4E2-6240-8DEE-9025F835E78D}"/>
              </a:ext>
            </a:extLst>
          </p:cNvPr>
          <p:cNvSpPr>
            <a:spLocks noChangeArrowheads="1"/>
          </p:cNvSpPr>
          <p:nvPr/>
        </p:nvSpPr>
        <p:spPr bwMode="auto">
          <a:xfrm>
            <a:off x="4386009" y="1405928"/>
            <a:ext cx="1879620" cy="2504347"/>
          </a:xfrm>
          <a:prstGeom prst="rect">
            <a:avLst/>
          </a:prstGeom>
          <a:noFill/>
          <a:ln w="38100">
            <a:solidFill>
              <a:srgbClr val="33CC33"/>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fontAlgn="base">
              <a:lnSpc>
                <a:spcPct val="70000"/>
              </a:lnSpc>
              <a:spcBef>
                <a:spcPct val="0"/>
              </a:spcBef>
              <a:spcAft>
                <a:spcPct val="0"/>
              </a:spcAft>
              <a:defRPr/>
            </a:pPr>
            <a:endParaRPr lang="es-ES" altLang="es-ES_tradnl" b="1">
              <a:solidFill>
                <a:srgbClr val="66CCFF"/>
              </a:solidFill>
            </a:endParaRPr>
          </a:p>
        </p:txBody>
      </p:sp>
      <p:sp>
        <p:nvSpPr>
          <p:cNvPr id="74764" name="Oval 27">
            <a:extLst>
              <a:ext uri="{FF2B5EF4-FFF2-40B4-BE49-F238E27FC236}">
                <a16:creationId xmlns:a16="http://schemas.microsoft.com/office/drawing/2014/main" id="{739D7315-CBD7-594D-9F5A-85213B1E405E}"/>
              </a:ext>
            </a:extLst>
          </p:cNvPr>
          <p:cNvSpPr>
            <a:spLocks noChangeArrowheads="1"/>
          </p:cNvSpPr>
          <p:nvPr/>
        </p:nvSpPr>
        <p:spPr bwMode="auto">
          <a:xfrm>
            <a:off x="3502586" y="1275940"/>
            <a:ext cx="747286" cy="481345"/>
          </a:xfrm>
          <a:prstGeom prst="ellipse">
            <a:avLst/>
          </a:prstGeom>
          <a:noFill/>
          <a:ln w="7">
            <a:solidFill>
              <a:srgbClr val="FF00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fontAlgn="base">
              <a:spcBef>
                <a:spcPct val="0"/>
              </a:spcBef>
              <a:spcAft>
                <a:spcPct val="0"/>
              </a:spcAft>
              <a:defRPr/>
            </a:pPr>
            <a:r>
              <a:rPr lang="es-ES" altLang="es-ES_tradnl" sz="1200" b="1">
                <a:solidFill>
                  <a:srgbClr val="FF0066"/>
                </a:solidFill>
              </a:rPr>
              <a:t>3%</a:t>
            </a:r>
          </a:p>
        </p:txBody>
      </p:sp>
      <p:sp>
        <p:nvSpPr>
          <p:cNvPr id="74765" name="Oval 28">
            <a:extLst>
              <a:ext uri="{FF2B5EF4-FFF2-40B4-BE49-F238E27FC236}">
                <a16:creationId xmlns:a16="http://schemas.microsoft.com/office/drawing/2014/main" id="{400C8BE6-ADEF-B249-990C-B557290F2825}"/>
              </a:ext>
            </a:extLst>
          </p:cNvPr>
          <p:cNvSpPr>
            <a:spLocks noChangeArrowheads="1"/>
          </p:cNvSpPr>
          <p:nvPr/>
        </p:nvSpPr>
        <p:spPr bwMode="auto">
          <a:xfrm>
            <a:off x="4301711" y="924583"/>
            <a:ext cx="747286" cy="481345"/>
          </a:xfrm>
          <a:prstGeom prst="ellipse">
            <a:avLst/>
          </a:prstGeom>
          <a:noFill/>
          <a:ln w="7">
            <a:solidFill>
              <a:srgbClr val="33CC33"/>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fontAlgn="base">
              <a:spcBef>
                <a:spcPct val="0"/>
              </a:spcBef>
              <a:spcAft>
                <a:spcPct val="0"/>
              </a:spcAft>
              <a:defRPr/>
            </a:pPr>
            <a:r>
              <a:rPr lang="es-ES" altLang="es-ES_tradnl" sz="1200" b="1">
                <a:solidFill>
                  <a:srgbClr val="33CC33"/>
                </a:solidFill>
              </a:rPr>
              <a:t>1%</a:t>
            </a:r>
            <a:r>
              <a:rPr lang="es-ES" altLang="es-ES_tradnl" sz="1200" b="1">
                <a:solidFill>
                  <a:srgbClr val="66FFCC"/>
                </a:solidFill>
              </a:rPr>
              <a:t> </a:t>
            </a:r>
          </a:p>
        </p:txBody>
      </p:sp>
      <p:sp>
        <p:nvSpPr>
          <p:cNvPr id="74756" name="CuadroTexto 15">
            <a:extLst>
              <a:ext uri="{FF2B5EF4-FFF2-40B4-BE49-F238E27FC236}">
                <a16:creationId xmlns:a16="http://schemas.microsoft.com/office/drawing/2014/main" id="{9ABE70C1-F98F-2C4F-AFD1-DF983D7C4DC2}"/>
              </a:ext>
            </a:extLst>
          </p:cNvPr>
          <p:cNvSpPr txBox="1">
            <a:spLocks noChangeArrowheads="1"/>
          </p:cNvSpPr>
          <p:nvPr/>
        </p:nvSpPr>
        <p:spPr bwMode="auto">
          <a:xfrm>
            <a:off x="1280160" y="4540354"/>
            <a:ext cx="658368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37931725" indent="-37474525">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fontAlgn="base">
              <a:spcBef>
                <a:spcPct val="0"/>
              </a:spcBef>
              <a:spcAft>
                <a:spcPct val="0"/>
              </a:spcAft>
              <a:defRPr/>
            </a:pPr>
            <a:r>
              <a:rPr lang="es-ES_tradnl" altLang="es-ES_tradnl" sz="1500">
                <a:solidFill>
                  <a:prstClr val="black"/>
                </a:solidFill>
                <a:ea typeface="ＭＳ Ｐゴシック" panose="020B0600070205080204" pitchFamily="34" charset="-128"/>
                <a:cs typeface="ＭＳ Ｐゴシック" panose="020B0600070205080204" pitchFamily="34" charset="-128"/>
              </a:rPr>
              <a:t>Can we predict high risk of progression to active disease?</a:t>
            </a:r>
          </a:p>
        </p:txBody>
      </p:sp>
      <p:sp>
        <p:nvSpPr>
          <p:cNvPr id="2" name="TextBox 1">
            <a:extLst>
              <a:ext uri="{FF2B5EF4-FFF2-40B4-BE49-F238E27FC236}">
                <a16:creationId xmlns:a16="http://schemas.microsoft.com/office/drawing/2014/main" id="{C830B935-CAE6-DF4E-825B-2BD6478E92CE}"/>
              </a:ext>
            </a:extLst>
          </p:cNvPr>
          <p:cNvSpPr txBox="1"/>
          <p:nvPr/>
        </p:nvSpPr>
        <p:spPr>
          <a:xfrm>
            <a:off x="0" y="4901168"/>
            <a:ext cx="2805112" cy="246221"/>
          </a:xfrm>
          <a:prstGeom prst="rect">
            <a:avLst/>
          </a:prstGeom>
          <a:noFill/>
        </p:spPr>
        <p:txBody>
          <a:bodyPr anchor="b">
            <a:spAutoFit/>
          </a:bodyPr>
          <a:lstStyle/>
          <a:p>
            <a:pPr defTabSz="457189" eaLnBrk="0" fontAlgn="base" hangingPunct="0">
              <a:spcBef>
                <a:spcPct val="0"/>
              </a:spcBef>
              <a:spcAft>
                <a:spcPct val="0"/>
              </a:spcAft>
              <a:defRPr/>
            </a:pPr>
            <a:r>
              <a:rPr lang="en-US" sz="1000">
                <a:solidFill>
                  <a:prstClr val="black"/>
                </a:solidFill>
                <a:latin typeface="Arial" panose="020B0604020202020204" pitchFamily="34" charset="0"/>
              </a:rPr>
              <a:t>Slides courtesy of Dr San Miguel. </a:t>
            </a:r>
          </a:p>
        </p:txBody>
      </p:sp>
    </p:spTree>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E46BA83-B827-4409-A341-45019240860F}"/>
              </a:ext>
            </a:extLst>
          </p:cNvPr>
          <p:cNvSpPr>
            <a:spLocks noGrp="1"/>
          </p:cNvSpPr>
          <p:nvPr>
            <p:ph type="title"/>
          </p:nvPr>
        </p:nvSpPr>
        <p:spPr>
          <a:xfrm>
            <a:off x="601267" y="95694"/>
            <a:ext cx="8011715" cy="770334"/>
          </a:xfrm>
        </p:spPr>
        <p:txBody>
          <a:bodyPr rtlCol="0" anchor="t">
            <a:normAutofit/>
          </a:bodyPr>
          <a:lstStyle/>
          <a:p>
            <a:pPr eaLnBrk="1" fontAlgn="auto" hangingPunct="1">
              <a:spcAft>
                <a:spcPts val="0"/>
              </a:spcAft>
              <a:defRPr/>
            </a:pPr>
            <a:r>
              <a:rPr lang="en-US" sz="3000" b="1" noProof="0">
                <a:solidFill>
                  <a:srgbClr val="000090"/>
                </a:solidFill>
                <a:ea typeface="+mj-ea"/>
                <a:cs typeface="+mj-cs"/>
              </a:rPr>
              <a:t>ALCYONE: Study Design</a:t>
            </a:r>
          </a:p>
        </p:txBody>
      </p:sp>
      <p:grpSp>
        <p:nvGrpSpPr>
          <p:cNvPr id="57347" name="Group 6">
            <a:extLst>
              <a:ext uri="{FF2B5EF4-FFF2-40B4-BE49-F238E27FC236}">
                <a16:creationId xmlns:a16="http://schemas.microsoft.com/office/drawing/2014/main" id="{EC48812B-D42F-4762-8DC8-0C2EEFB7F2E7}"/>
              </a:ext>
            </a:extLst>
          </p:cNvPr>
          <p:cNvGrpSpPr>
            <a:grpSpLocks/>
          </p:cNvGrpSpPr>
          <p:nvPr/>
        </p:nvGrpSpPr>
        <p:grpSpPr bwMode="auto">
          <a:xfrm>
            <a:off x="221224" y="985446"/>
            <a:ext cx="8751771" cy="3793770"/>
            <a:chOff x="-36216" y="980102"/>
            <a:chExt cx="8751140" cy="3793770"/>
          </a:xfrm>
        </p:grpSpPr>
        <p:cxnSp>
          <p:nvCxnSpPr>
            <p:cNvPr id="46" name="Straight Arrow Connector 45">
              <a:extLst>
                <a:ext uri="{FF2B5EF4-FFF2-40B4-BE49-F238E27FC236}">
                  <a16:creationId xmlns:a16="http://schemas.microsoft.com/office/drawing/2014/main" id="{E5826334-C32A-493D-A49C-9906E267A06B}"/>
                </a:ext>
              </a:extLst>
            </p:cNvPr>
            <p:cNvCxnSpPr/>
            <p:nvPr/>
          </p:nvCxnSpPr>
          <p:spPr>
            <a:xfrm>
              <a:off x="6118836" y="3223218"/>
              <a:ext cx="207154" cy="0"/>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303C446D-1E19-43F0-8322-CA65DA4095B5}"/>
                </a:ext>
              </a:extLst>
            </p:cNvPr>
            <p:cNvCxnSpPr/>
            <p:nvPr/>
          </p:nvCxnSpPr>
          <p:spPr>
            <a:xfrm>
              <a:off x="4927106" y="3223218"/>
              <a:ext cx="207154" cy="0"/>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57352" name="Group 5">
              <a:extLst>
                <a:ext uri="{FF2B5EF4-FFF2-40B4-BE49-F238E27FC236}">
                  <a16:creationId xmlns:a16="http://schemas.microsoft.com/office/drawing/2014/main" id="{ED90DD8A-F9F1-4386-B5E5-9A2A7C6A9527}"/>
                </a:ext>
              </a:extLst>
            </p:cNvPr>
            <p:cNvGrpSpPr>
              <a:grpSpLocks/>
            </p:cNvGrpSpPr>
            <p:nvPr/>
          </p:nvGrpSpPr>
          <p:grpSpPr bwMode="auto">
            <a:xfrm>
              <a:off x="-36216" y="980102"/>
              <a:ext cx="8751140" cy="3793770"/>
              <a:chOff x="-36216" y="1007398"/>
              <a:chExt cx="8751140" cy="3793770"/>
            </a:xfrm>
          </p:grpSpPr>
          <p:cxnSp>
            <p:nvCxnSpPr>
              <p:cNvPr id="25" name="Straight Arrow Connector 24">
                <a:extLst>
                  <a:ext uri="{FF2B5EF4-FFF2-40B4-BE49-F238E27FC236}">
                    <a16:creationId xmlns:a16="http://schemas.microsoft.com/office/drawing/2014/main" id="{BA323CDA-5D2B-4D19-AEF8-1031A2ADC188}"/>
                  </a:ext>
                </a:extLst>
              </p:cNvPr>
              <p:cNvCxnSpPr/>
              <p:nvPr/>
            </p:nvCxnSpPr>
            <p:spPr>
              <a:xfrm>
                <a:off x="4959251" y="1675332"/>
                <a:ext cx="1366739" cy="0"/>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57354" name="Group 2">
                <a:extLst>
                  <a:ext uri="{FF2B5EF4-FFF2-40B4-BE49-F238E27FC236}">
                    <a16:creationId xmlns:a16="http://schemas.microsoft.com/office/drawing/2014/main" id="{D7D2E7C9-D3F9-48D6-998E-328EF19D36C7}"/>
                  </a:ext>
                </a:extLst>
              </p:cNvPr>
              <p:cNvGrpSpPr>
                <a:grpSpLocks/>
              </p:cNvGrpSpPr>
              <p:nvPr/>
            </p:nvGrpSpPr>
            <p:grpSpPr bwMode="auto">
              <a:xfrm>
                <a:off x="-36216" y="1007398"/>
                <a:ext cx="8751140" cy="3793770"/>
                <a:chOff x="-36216" y="1007398"/>
                <a:chExt cx="8751140" cy="3793770"/>
              </a:xfrm>
            </p:grpSpPr>
            <p:cxnSp>
              <p:nvCxnSpPr>
                <p:cNvPr id="9" name="Straight Arrow Connector 8">
                  <a:extLst>
                    <a:ext uri="{FF2B5EF4-FFF2-40B4-BE49-F238E27FC236}">
                      <a16:creationId xmlns:a16="http://schemas.microsoft.com/office/drawing/2014/main" id="{E979F0E2-6A06-4CE6-870D-12C487994DA8}"/>
                    </a:ext>
                  </a:extLst>
                </p:cNvPr>
                <p:cNvCxnSpPr/>
                <p:nvPr/>
              </p:nvCxnSpPr>
              <p:spPr>
                <a:xfrm>
                  <a:off x="1819799" y="1681285"/>
                  <a:ext cx="207154" cy="0"/>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50121C54-B41B-4642-8B55-BA6B7767793D}"/>
                    </a:ext>
                  </a:extLst>
                </p:cNvPr>
                <p:cNvCxnSpPr/>
                <p:nvPr/>
              </p:nvCxnSpPr>
              <p:spPr>
                <a:xfrm>
                  <a:off x="1819799" y="3255276"/>
                  <a:ext cx="207154" cy="0"/>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57357" name="Group 52">
                  <a:extLst>
                    <a:ext uri="{FF2B5EF4-FFF2-40B4-BE49-F238E27FC236}">
                      <a16:creationId xmlns:a16="http://schemas.microsoft.com/office/drawing/2014/main" id="{908DDC9F-AF0A-46D3-95C0-781D0B328E30}"/>
                    </a:ext>
                  </a:extLst>
                </p:cNvPr>
                <p:cNvGrpSpPr>
                  <a:grpSpLocks/>
                </p:cNvGrpSpPr>
                <p:nvPr/>
              </p:nvGrpSpPr>
              <p:grpSpPr bwMode="auto">
                <a:xfrm>
                  <a:off x="-36216" y="1007398"/>
                  <a:ext cx="8751140" cy="3793770"/>
                  <a:chOff x="-36216" y="948023"/>
                  <a:chExt cx="8751140" cy="3793770"/>
                </a:xfrm>
              </p:grpSpPr>
              <p:grpSp>
                <p:nvGrpSpPr>
                  <p:cNvPr id="57358" name="Group 16">
                    <a:extLst>
                      <a:ext uri="{FF2B5EF4-FFF2-40B4-BE49-F238E27FC236}">
                        <a16:creationId xmlns:a16="http://schemas.microsoft.com/office/drawing/2014/main" id="{2DD3BA14-4676-4DC5-9996-7A625CEFA221}"/>
                      </a:ext>
                    </a:extLst>
                  </p:cNvPr>
                  <p:cNvGrpSpPr>
                    <a:grpSpLocks/>
                  </p:cNvGrpSpPr>
                  <p:nvPr/>
                </p:nvGrpSpPr>
                <p:grpSpPr bwMode="auto">
                  <a:xfrm>
                    <a:off x="-36216" y="948023"/>
                    <a:ext cx="8751139" cy="3793770"/>
                    <a:chOff x="-148710" y="1430333"/>
                    <a:chExt cx="8751139" cy="5058334"/>
                  </a:xfrm>
                </p:grpSpPr>
                <p:sp>
                  <p:nvSpPr>
                    <p:cNvPr id="31" name="Rectangle 30">
                      <a:extLst>
                        <a:ext uri="{FF2B5EF4-FFF2-40B4-BE49-F238E27FC236}">
                          <a16:creationId xmlns:a16="http://schemas.microsoft.com/office/drawing/2014/main" id="{12A8EC2E-64D8-450B-A843-E2708F46AACD}"/>
                        </a:ext>
                      </a:extLst>
                    </p:cNvPr>
                    <p:cNvSpPr/>
                    <p:nvPr/>
                  </p:nvSpPr>
                  <p:spPr bwMode="auto">
                    <a:xfrm>
                      <a:off x="-148710" y="1430333"/>
                      <a:ext cx="1427017" cy="4056100"/>
                    </a:xfrm>
                    <a:prstGeom prst="rect">
                      <a:avLst/>
                    </a:prstGeom>
                    <a:solidFill>
                      <a:schemeClr val="bg2">
                        <a:lumMod val="75000"/>
                      </a:schemeClr>
                    </a:solidFill>
                    <a:ln w="9525" cap="flat" cmpd="sng" algn="ctr">
                      <a:noFill/>
                      <a:prstDash val="solid"/>
                      <a:round/>
                      <a:headEnd type="none" w="med" len="med"/>
                      <a:tailEnd type="none" w="med" len="med"/>
                    </a:ln>
                    <a:effectLst/>
                    <a:scene3d>
                      <a:camera prst="orthographicFront"/>
                      <a:lightRig rig="threePt" dir="t"/>
                    </a:scene3d>
                    <a:sp3d>
                      <a:bevelT/>
                    </a:sp3d>
                  </p:spPr>
                  <p:txBody>
                    <a:bodyPr lIns="91440" tIns="45720" rIns="91440" bIns="45720" anchor="ctr"/>
                    <a:lstStyle>
                      <a:lvl1pPr defTabSz="1217613"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defTabSz="1217613"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ctr" defTabSz="913210" rtl="0" eaLnBrk="1" fontAlgn="base" latinLnBrk="0" hangingPunct="1">
                        <a:lnSpc>
                          <a:spcPct val="100000"/>
                        </a:lnSpc>
                        <a:spcBef>
                          <a:spcPct val="0"/>
                        </a:spcBef>
                        <a:spcAft>
                          <a:spcPts val="600"/>
                        </a:spcAft>
                        <a:buClrTx/>
                        <a:buSzTx/>
                        <a:buFontTx/>
                        <a:buNone/>
                        <a:tabLst/>
                        <a:defRPr/>
                      </a:pPr>
                      <a:r>
                        <a:rPr kumimoji="0" lang="en-US" altLang="en-US" sz="105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Key eligibility criteria</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Transplant- ineligible NDMM</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ECOG 0-2</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Creatinine clearance </a:t>
                      </a:r>
                    </a:p>
                    <a:p>
                      <a:pPr marL="127397" marR="0" lvl="0" indent="-127397" algn="l" defTabSz="913210" rtl="0" eaLnBrk="1" fontAlgn="base" latinLnBrk="0" hangingPunct="1">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    ≥40 mL/min</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No grade ≥2 peripheral neuropathy or grade ≥2 neuropathic pain</a:t>
                      </a:r>
                      <a:endParaRPr kumimoji="0" lang="en-US" altLang="en-US" sz="60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p:txBody>
                </p:sp>
                <p:sp>
                  <p:nvSpPr>
                    <p:cNvPr id="67603" name="Rectangle 34">
                      <a:extLst>
                        <a:ext uri="{FF2B5EF4-FFF2-40B4-BE49-F238E27FC236}">
                          <a16:creationId xmlns:a16="http://schemas.microsoft.com/office/drawing/2014/main" id="{32AAFF3C-5B15-455A-97CD-9787FA83A0E7}"/>
                        </a:ext>
                      </a:extLst>
                    </p:cNvPr>
                    <p:cNvSpPr>
                      <a:spLocks noChangeArrowheads="1"/>
                    </p:cNvSpPr>
                    <p:nvPr/>
                  </p:nvSpPr>
                  <p:spPr bwMode="auto">
                    <a:xfrm>
                      <a:off x="13168" y="5503796"/>
                      <a:ext cx="1782237" cy="98487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12176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12176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12176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12176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ctr" defTabSz="91321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1" i="0" u="sng"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Stratification factors</a:t>
                      </a:r>
                    </a:p>
                    <a:p>
                      <a:pPr marL="175022" marR="0" lvl="0" indent="-175022"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ISS (I vs II vs III)</a:t>
                      </a:r>
                    </a:p>
                    <a:p>
                      <a:pPr marL="175022" marR="0" lvl="0" indent="-175022"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Region (EU vs other)</a:t>
                      </a:r>
                    </a:p>
                    <a:p>
                      <a:pPr marL="175022" marR="0" lvl="0" indent="-175022"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Age (&lt;75 vs ≥75 years)</a:t>
                      </a:r>
                    </a:p>
                  </p:txBody>
                </p:sp>
                <p:sp>
                  <p:nvSpPr>
                    <p:cNvPr id="24" name="TextBox 23">
                      <a:extLst>
                        <a:ext uri="{FF2B5EF4-FFF2-40B4-BE49-F238E27FC236}">
                          <a16:creationId xmlns:a16="http://schemas.microsoft.com/office/drawing/2014/main" id="{08FA7E58-B136-42C1-B97A-3651A645FB9E}"/>
                        </a:ext>
                      </a:extLst>
                    </p:cNvPr>
                    <p:cNvSpPr txBox="1"/>
                    <p:nvPr/>
                  </p:nvSpPr>
                  <p:spPr>
                    <a:xfrm rot="16200000">
                      <a:off x="-439723" y="3319890"/>
                      <a:ext cx="4056092" cy="276979"/>
                    </a:xfrm>
                    <a:prstGeom prst="rect">
                      <a:avLst/>
                    </a:prstGeom>
                    <a:solidFill>
                      <a:schemeClr val="tx1">
                        <a:lumMod val="75000"/>
                        <a:lumOff val="25000"/>
                      </a:schemeClr>
                    </a:solidFill>
                    <a:ln>
                      <a:noFill/>
                    </a:ln>
                    <a:effectLst/>
                    <a:scene3d>
                      <a:camera prst="orthographicFront"/>
                      <a:lightRig rig="threePt" dir="t"/>
                    </a:scene3d>
                    <a:sp3d>
                      <a:bevelT/>
                    </a:sp3d>
                  </p:spPr>
                  <p:txBody>
                    <a:bodyPr anchor="ctr">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Calibri"/>
                          <a:ea typeface="Arial" charset="0"/>
                          <a:cs typeface="Arial" charset="0"/>
                        </a:rPr>
                        <a:t>1:1 Randomization (N = 706)</a:t>
                      </a:r>
                    </a:p>
                  </p:txBody>
                </p:sp>
                <p:sp>
                  <p:nvSpPr>
                    <p:cNvPr id="26" name="Rectangle 25">
                      <a:extLst>
                        <a:ext uri="{FF2B5EF4-FFF2-40B4-BE49-F238E27FC236}">
                          <a16:creationId xmlns:a16="http://schemas.microsoft.com/office/drawing/2014/main" id="{CD700597-94FE-4B27-98B1-241347135517}"/>
                        </a:ext>
                      </a:extLst>
                    </p:cNvPr>
                    <p:cNvSpPr/>
                    <p:nvPr/>
                  </p:nvSpPr>
                  <p:spPr bwMode="auto">
                    <a:xfrm>
                      <a:off x="1909192" y="3367398"/>
                      <a:ext cx="2950225" cy="2119029"/>
                    </a:xfrm>
                    <a:prstGeom prst="rect">
                      <a:avLst/>
                    </a:prstGeom>
                    <a:solidFill>
                      <a:srgbClr val="7030A0"/>
                    </a:solidFill>
                    <a:ln w="9525" cap="flat" cmpd="sng" algn="ctr">
                      <a:noFill/>
                      <a:prstDash val="solid"/>
                      <a:round/>
                      <a:headEnd type="none" w="med" len="med"/>
                      <a:tailEnd type="none" w="med" len="med"/>
                    </a:ln>
                    <a:effectLst/>
                    <a:scene3d>
                      <a:camera prst="orthographicFront"/>
                      <a:lightRig rig="threePt" dir="t"/>
                    </a:scene3d>
                    <a:sp3d>
                      <a:bevelT/>
                    </a:sp3d>
                  </p:spPr>
                  <p:txBody>
                    <a:bodyPr lIns="91440" tIns="45720" rIns="91440" bIns="45720" anchor="ctr"/>
                    <a:lstStyle>
                      <a:lvl1pPr defTabSz="1217613"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defTabSz="1217613"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ctr" defTabSz="913210" rtl="0" eaLnBrk="1" fontAlgn="base" latinLnBrk="0" hangingPunct="1">
                        <a:lnSpc>
                          <a:spcPct val="100000"/>
                        </a:lnSpc>
                        <a:spcBef>
                          <a:spcPct val="0"/>
                        </a:spcBef>
                        <a:spcAft>
                          <a:spcPct val="0"/>
                        </a:spcAft>
                        <a:buClrTx/>
                        <a:buSzTx/>
                        <a:buFontTx/>
                        <a:buNone/>
                        <a:tabLst/>
                        <a:defRPr/>
                      </a:pPr>
                      <a:r>
                        <a:rPr kumimoji="0" lang="en-GB" altLang="en-US" sz="1350" b="1" i="0" u="none" strike="noStrike" kern="1200" cap="none" spc="0" normalizeH="0" baseline="0" noProof="0">
                          <a:ln>
                            <a:noFill/>
                          </a:ln>
                          <a:solidFill>
                            <a:srgbClr val="F2F2F2"/>
                          </a:solidFill>
                          <a:effectLst/>
                          <a:uLnTx/>
                          <a:uFillTx/>
                          <a:latin typeface="Calibri"/>
                          <a:ea typeface="ＭＳ Ｐゴシック" panose="020B0600070205080204" pitchFamily="34" charset="-128"/>
                          <a:cs typeface="Arial" panose="020B0604020202020204" pitchFamily="34" charset="0"/>
                        </a:rPr>
                        <a:t>D-VMP × 9 </a:t>
                      </a:r>
                      <a:r>
                        <a:rPr kumimoji="0" lang="en-GB" altLang="en-US" sz="1350" b="1" i="0" u="none" strike="noStrike" kern="1200" cap="none" spc="0" normalizeH="0" baseline="0" noProof="0">
                          <a:ln>
                            <a:noFill/>
                          </a:ln>
                          <a:solidFill>
                            <a:srgbClr val="FFFFFF"/>
                          </a:solidFill>
                          <a:effectLst/>
                          <a:uLnTx/>
                          <a:uFillTx/>
                          <a:latin typeface="Calibri"/>
                          <a:ea typeface="ＭＳ Ｐゴシック" panose="020B0600070205080204" pitchFamily="34" charset="-128"/>
                          <a:cs typeface="Arial" panose="020B0604020202020204" pitchFamily="34" charset="0"/>
                        </a:rPr>
                        <a:t>cycles </a:t>
                      </a:r>
                      <a:r>
                        <a:rPr kumimoji="0" lang="en-GB" altLang="en-US" sz="1350" b="1" i="0" u="none" strike="noStrike" kern="1200" cap="none" spc="0" normalizeH="0" baseline="0" noProof="0">
                          <a:ln>
                            <a:noFill/>
                          </a:ln>
                          <a:solidFill>
                            <a:srgbClr val="F2F2F2"/>
                          </a:solidFill>
                          <a:effectLst/>
                          <a:uLnTx/>
                          <a:uFillTx/>
                          <a:latin typeface="Calibri"/>
                          <a:ea typeface="ＭＳ Ｐゴシック" panose="020B0600070205080204" pitchFamily="34" charset="-128"/>
                          <a:cs typeface="Arial" panose="020B0604020202020204" pitchFamily="34" charset="0"/>
                        </a:rPr>
                        <a:t>(n = 350)</a:t>
                      </a:r>
                    </a:p>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1" i="0" u="none" strike="noStrike" kern="1200" cap="none" spc="0" normalizeH="0" baseline="0" noProof="0">
                        <a:ln>
                          <a:noFill/>
                        </a:ln>
                        <a:solidFill>
                          <a:srgbClr val="F2F2F2"/>
                        </a:solidFill>
                        <a:effectLst/>
                        <a:uLnTx/>
                        <a:uFillTx/>
                        <a:latin typeface="Calibri"/>
                        <a:ea typeface="ＭＳ Ｐゴシック" panose="020B0600070205080204" pitchFamily="34" charset="-128"/>
                        <a:cs typeface="Arial" panose="020B0604020202020204" pitchFamily="34" charset="0"/>
                      </a:endParaRPr>
                    </a:p>
                    <a:p>
                      <a:pPr marL="0" marR="0" lvl="0" indent="0" algn="l" defTabSz="913210" rtl="0" eaLnBrk="1" fontAlgn="base" latinLnBrk="0" hangingPunct="1">
                        <a:lnSpc>
                          <a:spcPct val="100000"/>
                        </a:lnSpc>
                        <a:spcBef>
                          <a:spcPct val="0"/>
                        </a:spcBef>
                        <a:spcAft>
                          <a:spcPct val="0"/>
                        </a:spcAft>
                        <a:buClrTx/>
                        <a:buSzTx/>
                        <a:buFontTx/>
                        <a:buNone/>
                        <a:tabLst/>
                        <a:defRPr/>
                      </a:pPr>
                      <a:r>
                        <a:rPr kumimoji="0" lang="en-GB" altLang="en-US" sz="1050" b="1" i="0" u="none" strike="noStrike" kern="1200" cap="none" spc="0" normalizeH="0" baseline="0" noProof="0">
                          <a:ln>
                            <a:noFill/>
                          </a:ln>
                          <a:solidFill>
                            <a:srgbClr val="F2F2F2"/>
                          </a:solidFill>
                          <a:effectLst/>
                          <a:uLnTx/>
                          <a:uFillTx/>
                          <a:latin typeface="Calibri"/>
                          <a:ea typeface="ＭＳ Ｐゴシック" panose="020B0600070205080204" pitchFamily="34" charset="-128"/>
                          <a:cs typeface="Arial" panose="020B0604020202020204" pitchFamily="34" charset="0"/>
                        </a:rPr>
                        <a:t>Daratumumab:</a:t>
                      </a:r>
                      <a:r>
                        <a:rPr kumimoji="0" lang="en-GB" altLang="en-US" sz="1050" b="0" i="0" u="none" strike="noStrike" kern="1200" cap="none" spc="0" normalizeH="0" baseline="0" noProof="0">
                          <a:ln>
                            <a:noFill/>
                          </a:ln>
                          <a:solidFill>
                            <a:srgbClr val="F2F2F2"/>
                          </a:solidFill>
                          <a:effectLst/>
                          <a:uLnTx/>
                          <a:uFillTx/>
                          <a:latin typeface="Calibri"/>
                          <a:ea typeface="ＭＳ Ｐゴシック" panose="020B0600070205080204" pitchFamily="34" charset="-128"/>
                          <a:cs typeface="Arial" panose="020B0604020202020204" pitchFamily="34" charset="0"/>
                        </a:rPr>
                        <a:t> 16 mg/kg IV</a:t>
                      </a:r>
                    </a:p>
                    <a:p>
                      <a:pPr marL="0" marR="0" lvl="0" indent="0" algn="l" defTabSz="913210" rtl="0" eaLnBrk="1" fontAlgn="base" latinLnBrk="0" hangingPunct="1">
                        <a:lnSpc>
                          <a:spcPct val="100000"/>
                        </a:lnSpc>
                        <a:spcBef>
                          <a:spcPct val="0"/>
                        </a:spcBef>
                        <a:spcAft>
                          <a:spcPct val="0"/>
                        </a:spcAft>
                        <a:buClrTx/>
                        <a:buSzTx/>
                        <a:buFontTx/>
                        <a:buNone/>
                        <a:tabLst/>
                        <a:defRPr/>
                      </a:pPr>
                      <a:r>
                        <a:rPr kumimoji="0" lang="en-GB" altLang="en-US" sz="1050" b="0" i="1" u="none" strike="noStrike" kern="1200" cap="none" spc="0" normalizeH="0" baseline="0" noProof="0">
                          <a:ln>
                            <a:noFill/>
                          </a:ln>
                          <a:solidFill>
                            <a:srgbClr val="F2F2F2"/>
                          </a:solidFill>
                          <a:effectLst/>
                          <a:uLnTx/>
                          <a:uFillTx/>
                          <a:latin typeface="Calibri"/>
                          <a:ea typeface="ＭＳ Ｐゴシック" panose="020B0600070205080204" pitchFamily="34" charset="-128"/>
                          <a:cs typeface="Arial" panose="020B0604020202020204" pitchFamily="34" charset="0"/>
                        </a:rPr>
                        <a:t>	Cycle 1: once weekly</a:t>
                      </a:r>
                    </a:p>
                    <a:p>
                      <a:pPr marL="0" marR="0" lvl="0" indent="0" algn="l" defTabSz="913210" rtl="0" eaLnBrk="1" fontAlgn="base" latinLnBrk="0" hangingPunct="1">
                        <a:lnSpc>
                          <a:spcPct val="100000"/>
                        </a:lnSpc>
                        <a:spcBef>
                          <a:spcPct val="0"/>
                        </a:spcBef>
                        <a:spcAft>
                          <a:spcPct val="0"/>
                        </a:spcAft>
                        <a:buClrTx/>
                        <a:buSzTx/>
                        <a:buFontTx/>
                        <a:buNone/>
                        <a:tabLst/>
                        <a:defRPr/>
                      </a:pPr>
                      <a:r>
                        <a:rPr kumimoji="0" lang="en-GB" altLang="en-US" sz="1050" b="0" i="1" u="none" strike="noStrike" kern="1200" cap="none" spc="0" normalizeH="0" baseline="0" noProof="0">
                          <a:ln>
                            <a:noFill/>
                          </a:ln>
                          <a:solidFill>
                            <a:srgbClr val="F2F2F2"/>
                          </a:solidFill>
                          <a:effectLst/>
                          <a:uLnTx/>
                          <a:uFillTx/>
                          <a:latin typeface="Calibri"/>
                          <a:ea typeface="ＭＳ Ｐゴシック" panose="020B0600070205080204" pitchFamily="34" charset="-128"/>
                          <a:cs typeface="Arial" panose="020B0604020202020204" pitchFamily="34" charset="0"/>
                        </a:rPr>
                        <a:t>	</a:t>
                      </a:r>
                      <a:r>
                        <a:rPr kumimoji="0" lang="en-GB" altLang="en-US" sz="1050" b="0" i="1" u="none" strike="noStrike" kern="1200" cap="none" spc="0" normalizeH="0" baseline="0" noProof="0">
                          <a:ln>
                            <a:noFill/>
                          </a:ln>
                          <a:solidFill>
                            <a:srgbClr val="FFFFFF"/>
                          </a:solidFill>
                          <a:effectLst/>
                          <a:uLnTx/>
                          <a:uFillTx/>
                          <a:latin typeface="Calibri"/>
                          <a:ea typeface="ＭＳ Ｐゴシック" panose="020B0600070205080204" pitchFamily="34" charset="-128"/>
                          <a:cs typeface="Arial" panose="020B0604020202020204" pitchFamily="34" charset="0"/>
                        </a:rPr>
                        <a:t>Cycles 2–9: every 3</a:t>
                      </a:r>
                      <a:r>
                        <a:rPr kumimoji="0" lang="en-GB" altLang="en-US" sz="1050" b="0" i="1" u="none" strike="noStrike" kern="1200" cap="none" spc="0" normalizeH="0" baseline="30000" noProof="0">
                          <a:ln>
                            <a:noFill/>
                          </a:ln>
                          <a:solidFill>
                            <a:srgbClr val="FFFFFF"/>
                          </a:solidFill>
                          <a:effectLst/>
                          <a:uLnTx/>
                          <a:uFillTx/>
                          <a:latin typeface="Calibri"/>
                          <a:ea typeface="ＭＳ Ｐゴシック" panose="020B0600070205080204" pitchFamily="34" charset="-128"/>
                          <a:cs typeface="Arial" panose="020B0604020202020204" pitchFamily="34" charset="0"/>
                        </a:rPr>
                        <a:t> </a:t>
                      </a:r>
                      <a:r>
                        <a:rPr kumimoji="0" lang="en-GB" altLang="en-US" sz="1050" b="0" i="1" u="none" strike="noStrike" kern="1200" cap="none" spc="0" normalizeH="0" baseline="0" noProof="0">
                          <a:ln>
                            <a:noFill/>
                          </a:ln>
                          <a:solidFill>
                            <a:srgbClr val="FFFFFF"/>
                          </a:solidFill>
                          <a:effectLst/>
                          <a:uLnTx/>
                          <a:uFillTx/>
                          <a:latin typeface="Calibri"/>
                          <a:ea typeface="ＭＳ Ｐゴシック" panose="020B0600070205080204" pitchFamily="34" charset="-128"/>
                          <a:cs typeface="Arial" panose="020B0604020202020204" pitchFamily="34" charset="0"/>
                        </a:rPr>
                        <a:t>weeks</a:t>
                      </a:r>
                    </a:p>
                    <a:p>
                      <a:pPr marL="0" marR="0" lvl="0" indent="0" algn="ctr" defTabSz="913210" rtl="0" eaLnBrk="1" fontAlgn="base" latinLnBrk="0" hangingPunct="1">
                        <a:lnSpc>
                          <a:spcPct val="100000"/>
                        </a:lnSpc>
                        <a:spcBef>
                          <a:spcPct val="0"/>
                        </a:spcBef>
                        <a:spcAft>
                          <a:spcPct val="0"/>
                        </a:spcAft>
                        <a:buClrTx/>
                        <a:buSzTx/>
                        <a:buFontTx/>
                        <a:buNone/>
                        <a:tabLst/>
                        <a:defRPr/>
                      </a:pPr>
                      <a:r>
                        <a:rPr kumimoji="0" lang="en-GB" altLang="en-US" sz="1050" b="1" i="1" u="none" strike="noStrike" kern="1200" cap="none" spc="0" normalizeH="0" baseline="0" noProof="0">
                          <a:ln>
                            <a:noFill/>
                          </a:ln>
                          <a:solidFill>
                            <a:srgbClr val="FFFFFF"/>
                          </a:solidFill>
                          <a:effectLst/>
                          <a:uLnTx/>
                          <a:uFillTx/>
                          <a:latin typeface="Calibri"/>
                          <a:ea typeface="ＭＳ Ｐゴシック" panose="020B0600070205080204" pitchFamily="34" charset="-128"/>
                          <a:cs typeface="Arial" panose="020B0604020202020204" pitchFamily="34" charset="0"/>
                        </a:rPr>
                        <a:t>+</a:t>
                      </a:r>
                    </a:p>
                    <a:p>
                      <a:pPr marL="0" marR="0" lvl="0" indent="0" algn="l" defTabSz="91321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a:ln>
                            <a:noFill/>
                          </a:ln>
                          <a:solidFill>
                            <a:srgbClr val="FFFFFF"/>
                          </a:solidFill>
                          <a:effectLst/>
                          <a:uLnTx/>
                          <a:uFillTx/>
                          <a:latin typeface="Calibri"/>
                          <a:ea typeface="ＭＳ Ｐゴシック" panose="020B0600070205080204" pitchFamily="34" charset="-128"/>
                          <a:cs typeface="Arial" panose="020B0604020202020204" pitchFamily="34" charset="0"/>
                        </a:rPr>
                        <a:t>Same VMP schedule</a:t>
                      </a:r>
                      <a:endParaRPr kumimoji="0" lang="en-US" altLang="en-US" sz="1050" b="0" i="0" u="none" strike="noStrike" kern="1200" cap="none" spc="0" normalizeH="0" baseline="0" noProof="0">
                        <a:ln>
                          <a:noFill/>
                        </a:ln>
                        <a:solidFill>
                          <a:srgbClr val="FFFFFF"/>
                        </a:solidFill>
                        <a:effectLst/>
                        <a:uLnTx/>
                        <a:uFillTx/>
                        <a:latin typeface="Calibri"/>
                        <a:ea typeface="ＭＳ Ｐゴシック" panose="020B0600070205080204" pitchFamily="34" charset="-128"/>
                        <a:cs typeface="Arial" panose="020B0604020202020204" pitchFamily="34" charset="0"/>
                      </a:endParaRPr>
                    </a:p>
                  </p:txBody>
                </p:sp>
                <p:sp>
                  <p:nvSpPr>
                    <p:cNvPr id="28" name="Rectangle 27">
                      <a:extLst>
                        <a:ext uri="{FF2B5EF4-FFF2-40B4-BE49-F238E27FC236}">
                          <a16:creationId xmlns:a16="http://schemas.microsoft.com/office/drawing/2014/main" id="{8F086BFB-A44C-465B-9D23-AAA9FF55F4AA}"/>
                        </a:ext>
                      </a:extLst>
                    </p:cNvPr>
                    <p:cNvSpPr/>
                    <p:nvPr/>
                  </p:nvSpPr>
                  <p:spPr bwMode="auto">
                    <a:xfrm>
                      <a:off x="6207653" y="1430334"/>
                      <a:ext cx="822960" cy="4056095"/>
                    </a:xfrm>
                    <a:prstGeom prst="rect">
                      <a:avLst/>
                    </a:prstGeom>
                    <a:solidFill>
                      <a:srgbClr val="002060"/>
                    </a:solidFill>
                    <a:ln w="9525" cap="flat" cmpd="sng" algn="ctr">
                      <a:noFill/>
                      <a:prstDash val="solid"/>
                      <a:round/>
                      <a:headEnd type="none" w="med" len="med"/>
                      <a:tailEnd type="none" w="med" len="med"/>
                    </a:ln>
                    <a:effectLst/>
                    <a:scene3d>
                      <a:camera prst="orthographicFront"/>
                      <a:lightRig rig="threePt" dir="t"/>
                    </a:scene3d>
                    <a:sp3d>
                      <a:bevelT/>
                    </a:sp3d>
                  </p:spPr>
                  <p:txBody>
                    <a:bodyPr lIns="91440" tIns="45720" rIns="91440" bIns="4572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a:ea typeface="Arial" charset="0"/>
                          <a:cs typeface="Arial" charset="0"/>
                        </a:rPr>
                        <a:t>Follow-up for PD and survival</a:t>
                      </a: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a:ea typeface="Arial" charset="0"/>
                        <a:cs typeface="Arial" charset="0"/>
                      </a:endParaRPr>
                    </a:p>
                  </p:txBody>
                </p:sp>
                <p:sp>
                  <p:nvSpPr>
                    <p:cNvPr id="30" name="Rectangle 29">
                      <a:extLst>
                        <a:ext uri="{FF2B5EF4-FFF2-40B4-BE49-F238E27FC236}">
                          <a16:creationId xmlns:a16="http://schemas.microsoft.com/office/drawing/2014/main" id="{B63713AC-4997-4A46-9F85-D5F3FC3269A0}"/>
                        </a:ext>
                      </a:extLst>
                    </p:cNvPr>
                    <p:cNvSpPr/>
                    <p:nvPr/>
                  </p:nvSpPr>
                  <p:spPr bwMode="auto">
                    <a:xfrm>
                      <a:off x="7175411" y="1430334"/>
                      <a:ext cx="1427018" cy="4056096"/>
                    </a:xfrm>
                    <a:prstGeom prst="rect">
                      <a:avLst/>
                    </a:prstGeom>
                    <a:solidFill>
                      <a:schemeClr val="bg2">
                        <a:lumMod val="75000"/>
                      </a:schemeClr>
                    </a:solidFill>
                    <a:ln w="9525" cap="flat" cmpd="sng" algn="ctr">
                      <a:noFill/>
                      <a:prstDash val="solid"/>
                      <a:round/>
                      <a:headEnd type="none" w="med" len="med"/>
                      <a:tailEnd type="none" w="med" len="med"/>
                    </a:ln>
                    <a:effectLst/>
                    <a:scene3d>
                      <a:camera prst="orthographicFront"/>
                      <a:lightRig rig="threePt" dir="t"/>
                    </a:scene3d>
                    <a:sp3d>
                      <a:bevelT/>
                    </a:sp3d>
                  </p:spPr>
                  <p:txBody>
                    <a:bodyPr lIns="91440" tIns="45720" rIns="91440" bIns="45720" anchor="ctr"/>
                    <a:lstStyle>
                      <a:lvl1pPr defTabSz="1217613"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defTabSz="1217613"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l" defTabSz="913210" rtl="0" eaLnBrk="1" fontAlgn="base" latinLnBrk="0" hangingPunct="1">
                        <a:lnSpc>
                          <a:spcPct val="100000"/>
                        </a:lnSpc>
                        <a:spcBef>
                          <a:spcPct val="0"/>
                        </a:spcBef>
                        <a:spcAft>
                          <a:spcPts val="600"/>
                        </a:spcAft>
                        <a:buClrTx/>
                        <a:buSzTx/>
                        <a:buFontTx/>
                        <a:buNone/>
                        <a:tabLst/>
                        <a:defRPr/>
                      </a:pPr>
                      <a:r>
                        <a:rPr kumimoji="0" lang="en-GB" altLang="en-US" sz="105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Primary endpoint</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PFS</a:t>
                      </a:r>
                    </a:p>
                    <a:p>
                      <a:pPr marL="0" marR="0" lvl="0" indent="0"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l" defTabSz="913210" rtl="0" eaLnBrk="1" fontAlgn="base" latinLnBrk="0" hangingPunct="1">
                        <a:lnSpc>
                          <a:spcPct val="100000"/>
                        </a:lnSpc>
                        <a:spcBef>
                          <a:spcPct val="0"/>
                        </a:spcBef>
                        <a:spcAft>
                          <a:spcPts val="600"/>
                        </a:spcAft>
                        <a:buClrTx/>
                        <a:buSzTx/>
                        <a:buFontTx/>
                        <a:buNone/>
                        <a:tabLst/>
                        <a:defRPr/>
                      </a:pPr>
                      <a:r>
                        <a:rPr kumimoji="0" lang="en-GB" altLang="en-US" sz="105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Secondary endpoints</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ORR</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VGPR rate</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CR rate</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MRD (NGS; 10</a:t>
                      </a:r>
                      <a:r>
                        <a:rPr kumimoji="0" lang="en-GB" altLang="en-US" sz="1050" b="0" i="0" u="none" strike="noStrike" kern="1200" cap="none" spc="0" normalizeH="0" baseline="3000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5</a:t>
                      </a: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OS</a:t>
                      </a:r>
                    </a:p>
                    <a:p>
                      <a:pPr marL="127397" marR="0" lvl="0" indent="-127397" algn="l" defTabSz="9132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Safety</a:t>
                      </a:r>
                    </a:p>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p:txBody>
                </p:sp>
                <p:sp>
                  <p:nvSpPr>
                    <p:cNvPr id="37" name="Rectangle 36">
                      <a:extLst>
                        <a:ext uri="{FF2B5EF4-FFF2-40B4-BE49-F238E27FC236}">
                          <a16:creationId xmlns:a16="http://schemas.microsoft.com/office/drawing/2014/main" id="{7D2F518B-C0DC-43A6-A600-A5CE1C6110CB}"/>
                        </a:ext>
                      </a:extLst>
                    </p:cNvPr>
                    <p:cNvSpPr/>
                    <p:nvPr/>
                  </p:nvSpPr>
                  <p:spPr bwMode="auto">
                    <a:xfrm>
                      <a:off x="1909193" y="1430336"/>
                      <a:ext cx="2950224" cy="1780200"/>
                    </a:xfrm>
                    <a:prstGeom prst="rect">
                      <a:avLst/>
                    </a:prstGeom>
                    <a:solidFill>
                      <a:schemeClr val="accent6"/>
                    </a:solidFill>
                    <a:ln w="9525" cap="flat" cmpd="sng" algn="ctr">
                      <a:noFill/>
                      <a:prstDash val="solid"/>
                      <a:round/>
                      <a:headEnd type="none" w="med" len="med"/>
                      <a:tailEnd type="none" w="med" len="med"/>
                    </a:ln>
                    <a:effectLst/>
                    <a:scene3d>
                      <a:camera prst="orthographicFront"/>
                      <a:lightRig rig="threePt" dir="t"/>
                    </a:scene3d>
                    <a:sp3d>
                      <a:bevelT/>
                    </a:sp3d>
                  </p:spPr>
                  <p:txBody>
                    <a:bodyPr lIns="91440" tIns="45720" rIns="91440" bIns="45720" anchor="ctr"/>
                    <a:lstStyle>
                      <a:lvl1pPr defTabSz="1217613"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defTabSz="1217613"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defTabSz="1217613"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ctr" defTabSz="913210" rtl="0" eaLnBrk="1" fontAlgn="base" latinLnBrk="0" hangingPunct="1">
                        <a:lnSpc>
                          <a:spcPct val="100000"/>
                        </a:lnSpc>
                        <a:spcBef>
                          <a:spcPct val="0"/>
                        </a:spcBef>
                        <a:spcAft>
                          <a:spcPct val="0"/>
                        </a:spcAft>
                        <a:buClrTx/>
                        <a:buSzTx/>
                        <a:buFontTx/>
                        <a:buNone/>
                        <a:tabLst/>
                        <a:defRPr/>
                      </a:pPr>
                      <a:r>
                        <a:rPr kumimoji="0" lang="en-GB" altLang="en-US" sz="135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VMP × 9 cycles</a:t>
                      </a:r>
                      <a:r>
                        <a:rPr kumimoji="0" lang="en-GB" altLang="en-US" sz="120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 </a:t>
                      </a:r>
                      <a:r>
                        <a:rPr kumimoji="0" lang="en-GB" altLang="en-US" sz="135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n = 356)</a:t>
                      </a:r>
                    </a:p>
                    <a:p>
                      <a:pPr marL="0" marR="0" lvl="0" indent="0" algn="ctr" defTabSz="913210" rtl="0" eaLnBrk="1" fontAlgn="base" latinLnBrk="0" hangingPunct="1">
                        <a:lnSpc>
                          <a:spcPct val="100000"/>
                        </a:lnSpc>
                        <a:spcBef>
                          <a:spcPct val="0"/>
                        </a:spcBef>
                        <a:spcAft>
                          <a:spcPct val="0"/>
                        </a:spcAft>
                        <a:buClrTx/>
                        <a:buSzTx/>
                        <a:buFontTx/>
                        <a:buNone/>
                        <a:tabLst/>
                        <a:defRPr/>
                      </a:pPr>
                      <a:endParaRPr kumimoji="0" lang="en-GB" altLang="en-US" sz="105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l" defTabSz="913210" rtl="0" eaLnBrk="1" fontAlgn="base" latinLnBrk="0" hangingPunct="1">
                        <a:lnSpc>
                          <a:spcPct val="100000"/>
                        </a:lnSpc>
                        <a:spcBef>
                          <a:spcPct val="0"/>
                        </a:spcBef>
                        <a:spcAft>
                          <a:spcPct val="0"/>
                        </a:spcAft>
                        <a:buClrTx/>
                        <a:buSzTx/>
                        <a:buFontTx/>
                        <a:buNone/>
                        <a:tabLst/>
                        <a:defRPr/>
                      </a:pPr>
                      <a:r>
                        <a:rPr kumimoji="0" lang="en-GB" altLang="en-US" sz="105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Bortezomib:</a:t>
                      </a: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 1.3 mg/m</a:t>
                      </a:r>
                      <a:r>
                        <a:rPr kumimoji="0" lang="en-GB" altLang="en-US" sz="1050" b="0" i="0" u="none" strike="noStrike" kern="1200" cap="none" spc="0" normalizeH="0" baseline="3000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2</a:t>
                      </a: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 SC </a:t>
                      </a:r>
                    </a:p>
                    <a:p>
                      <a:pPr marL="0" marR="0" lvl="0" indent="0" algn="l" defTabSz="913210" rtl="0" eaLnBrk="1" fontAlgn="base" latinLnBrk="0" hangingPunct="1">
                        <a:lnSpc>
                          <a:spcPct val="100000"/>
                        </a:lnSpc>
                        <a:spcBef>
                          <a:spcPct val="0"/>
                        </a:spcBef>
                        <a:spcAft>
                          <a:spcPct val="0"/>
                        </a:spcAft>
                        <a:buClrTx/>
                        <a:buSzTx/>
                        <a:buFontTx/>
                        <a:buNone/>
                        <a:tabLst/>
                        <a:defRPr/>
                      </a:pPr>
                      <a:r>
                        <a:rPr kumimoji="0" lang="en-GB" altLang="en-US" sz="1050" b="0" i="1"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Cycle 1: twice weekly</a:t>
                      </a:r>
                      <a:endParaRPr kumimoji="0" lang="en-US" altLang="en-US" sz="1050" b="0" i="1"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a:p>
                      <a:pPr marL="0" marR="0" lvl="0" indent="0" algn="l" defTabSz="913210" rtl="0" eaLnBrk="1" fontAlgn="base" latinLnBrk="0" hangingPunct="1">
                        <a:lnSpc>
                          <a:spcPct val="100000"/>
                        </a:lnSpc>
                        <a:spcBef>
                          <a:spcPct val="0"/>
                        </a:spcBef>
                        <a:spcAft>
                          <a:spcPct val="0"/>
                        </a:spcAft>
                        <a:buClrTx/>
                        <a:buSzTx/>
                        <a:buFontTx/>
                        <a:buNone/>
                        <a:tabLst/>
                        <a:defRPr/>
                      </a:pPr>
                      <a:r>
                        <a:rPr kumimoji="0" lang="en-GB" altLang="en-US" sz="1050" b="0" i="1"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Cycles 2–9</a:t>
                      </a:r>
                      <a:r>
                        <a:rPr kumimoji="0" lang="en-US" altLang="en-US" sz="1050" b="0" i="1"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 once weekly </a:t>
                      </a:r>
                    </a:p>
                    <a:p>
                      <a:pPr marL="0" marR="0" lvl="0" indent="0" algn="l" defTabSz="913210" rtl="0" eaLnBrk="1" fontAlgn="base" latinLnBrk="0" hangingPunct="1">
                        <a:lnSpc>
                          <a:spcPct val="100000"/>
                        </a:lnSpc>
                        <a:spcBef>
                          <a:spcPct val="0"/>
                        </a:spcBef>
                        <a:spcAft>
                          <a:spcPct val="0"/>
                        </a:spcAft>
                        <a:buClrTx/>
                        <a:buSzTx/>
                        <a:buFontTx/>
                        <a:buNone/>
                        <a:tabLst/>
                        <a:defRPr/>
                      </a:pPr>
                      <a:r>
                        <a:rPr kumimoji="0" lang="en-GB" altLang="en-US" sz="105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Melphalan</a:t>
                      </a: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 9 mg/m</a:t>
                      </a:r>
                      <a:r>
                        <a:rPr kumimoji="0" lang="en-GB" altLang="en-US" sz="1050" b="0" i="0" u="none" strike="noStrike" kern="1200" cap="none" spc="0" normalizeH="0" baseline="3000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2</a:t>
                      </a: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 PO on days 1–4 </a:t>
                      </a:r>
                    </a:p>
                    <a:p>
                      <a:pPr marL="0" marR="0" lvl="0" indent="0" algn="l" defTabSz="913210" rtl="0" eaLnBrk="1" fontAlgn="base" latinLnBrk="0" hangingPunct="1">
                        <a:lnSpc>
                          <a:spcPct val="100000"/>
                        </a:lnSpc>
                        <a:spcBef>
                          <a:spcPct val="0"/>
                        </a:spcBef>
                        <a:spcAft>
                          <a:spcPct val="0"/>
                        </a:spcAft>
                        <a:buClrTx/>
                        <a:buSzTx/>
                        <a:buFontTx/>
                        <a:buNone/>
                        <a:tabLst/>
                        <a:defRPr/>
                      </a:pPr>
                      <a:r>
                        <a:rPr kumimoji="0" lang="en-GB" altLang="en-US" sz="1050" b="1"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Prednisone</a:t>
                      </a: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 60 mg/m</a:t>
                      </a:r>
                      <a:r>
                        <a:rPr kumimoji="0" lang="en-GB" altLang="en-US" sz="1050" b="0" i="0" u="none" strike="noStrike" kern="1200" cap="none" spc="0" normalizeH="0" baseline="3000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2</a:t>
                      </a:r>
                      <a:r>
                        <a:rPr kumimoji="0" lang="en-GB"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rPr>
                        <a:t> PO on days 1–4 </a:t>
                      </a:r>
                      <a:endPar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Arial" panose="020B0604020202020204" pitchFamily="34" charset="0"/>
                      </a:endParaRPr>
                    </a:p>
                  </p:txBody>
                </p:sp>
                <p:sp>
                  <p:nvSpPr>
                    <p:cNvPr id="40" name="Rectangle 39">
                      <a:extLst>
                        <a:ext uri="{FF2B5EF4-FFF2-40B4-BE49-F238E27FC236}">
                          <a16:creationId xmlns:a16="http://schemas.microsoft.com/office/drawing/2014/main" id="{0CA65541-C0CB-41B7-A049-488D332C4A5A}"/>
                        </a:ext>
                      </a:extLst>
                    </p:cNvPr>
                    <p:cNvSpPr/>
                    <p:nvPr/>
                  </p:nvSpPr>
                  <p:spPr bwMode="auto">
                    <a:xfrm>
                      <a:off x="5021317" y="3367394"/>
                      <a:ext cx="1031628" cy="2119034"/>
                    </a:xfrm>
                    <a:prstGeom prst="rect">
                      <a:avLst/>
                    </a:prstGeom>
                    <a:solidFill>
                      <a:srgbClr val="7030A0"/>
                    </a:solidFill>
                    <a:ln w="9525" cap="flat" cmpd="sng" algn="ctr">
                      <a:noFill/>
                      <a:prstDash val="solid"/>
                      <a:round/>
                      <a:headEnd type="none" w="med" len="med"/>
                      <a:tailEnd type="none" w="med" len="med"/>
                    </a:ln>
                    <a:effectLst/>
                    <a:scene3d>
                      <a:camera prst="orthographicFront"/>
                      <a:lightRig rig="threePt" dir="t"/>
                    </a:scene3d>
                    <a:sp3d>
                      <a:bevelT/>
                    </a:sp3d>
                  </p:spPr>
                  <p:txBody>
                    <a:bodyPr lIns="91440" tIns="45720" rIns="91440" bIns="4572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0000"/>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0000"/>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F2F2F2"/>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F2F2F2"/>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2F2F2"/>
                          </a:solidFill>
                          <a:effectLst/>
                          <a:uLnTx/>
                          <a:uFillTx/>
                          <a:latin typeface="Calibri"/>
                          <a:ea typeface="Arial" charset="0"/>
                          <a:cs typeface="Arial" charset="0"/>
                        </a:rPr>
                        <a:t>D</a:t>
                      </a:r>
                    </a:p>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2F2F2"/>
                          </a:solidFill>
                          <a:effectLst/>
                          <a:uLnTx/>
                          <a:uFillTx/>
                          <a:latin typeface="Calibri"/>
                          <a:ea typeface="Arial" charset="0"/>
                          <a:cs typeface="Arial" charset="0"/>
                        </a:rPr>
                        <a:t>Cycles 10+</a:t>
                      </a: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2F2F2"/>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2F2F2"/>
                          </a:solidFill>
                          <a:effectLst/>
                          <a:uLnTx/>
                          <a:uFillTx/>
                          <a:latin typeface="Calibri"/>
                          <a:ea typeface="Arial" charset="0"/>
                          <a:cs typeface="Arial" charset="0"/>
                        </a:rPr>
                        <a:t>16 mg/kg IV</a:t>
                      </a: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2F2F2"/>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2F2F2"/>
                          </a:solidFill>
                          <a:effectLst/>
                          <a:uLnTx/>
                          <a:uFillTx/>
                          <a:latin typeface="Calibri"/>
                          <a:ea typeface="Arial" charset="0"/>
                          <a:cs typeface="Arial" charset="0"/>
                        </a:rPr>
                        <a:t>Every</a:t>
                      </a:r>
                      <a:br>
                        <a:rPr kumimoji="0" lang="en-GB" sz="1050" b="0" i="0" u="none" strike="noStrike" kern="1200" cap="none" spc="0" normalizeH="0" baseline="0" noProof="0">
                          <a:ln>
                            <a:noFill/>
                          </a:ln>
                          <a:solidFill>
                            <a:srgbClr val="F2F2F2"/>
                          </a:solidFill>
                          <a:effectLst/>
                          <a:uLnTx/>
                          <a:uFillTx/>
                          <a:latin typeface="Calibri"/>
                          <a:ea typeface="Arial" charset="0"/>
                          <a:cs typeface="Arial" charset="0"/>
                        </a:rPr>
                      </a:br>
                      <a:r>
                        <a:rPr kumimoji="0" lang="en-GB" sz="1050" b="0" i="0" u="none" strike="noStrike" kern="1200" cap="none" spc="0" normalizeH="0" baseline="0" noProof="0">
                          <a:ln>
                            <a:noFill/>
                          </a:ln>
                          <a:solidFill>
                            <a:srgbClr val="F2F2F2"/>
                          </a:solidFill>
                          <a:effectLst/>
                          <a:uLnTx/>
                          <a:uFillTx/>
                          <a:latin typeface="Calibri"/>
                          <a:ea typeface="Arial" charset="0"/>
                          <a:cs typeface="Arial" charset="0"/>
                        </a:rPr>
                        <a:t>4 weeks: </a:t>
                      </a:r>
                      <a:br>
                        <a:rPr kumimoji="0" lang="en-GB" sz="1050" b="0" i="0" u="none" strike="noStrike" kern="1200" cap="none" spc="0" normalizeH="0" baseline="0" noProof="0">
                          <a:ln>
                            <a:noFill/>
                          </a:ln>
                          <a:solidFill>
                            <a:srgbClr val="F2F2F2"/>
                          </a:solidFill>
                          <a:effectLst/>
                          <a:uLnTx/>
                          <a:uFillTx/>
                          <a:latin typeface="Calibri"/>
                          <a:ea typeface="Arial" charset="0"/>
                          <a:cs typeface="Arial" charset="0"/>
                        </a:rPr>
                      </a:br>
                      <a:r>
                        <a:rPr kumimoji="0" lang="en-GB" sz="1050" b="0" i="0" u="none" strike="noStrike" kern="1200" cap="none" spc="0" normalizeH="0" baseline="0" noProof="0">
                          <a:ln>
                            <a:noFill/>
                          </a:ln>
                          <a:solidFill>
                            <a:srgbClr val="F2F2F2"/>
                          </a:solidFill>
                          <a:effectLst/>
                          <a:uLnTx/>
                          <a:uFillTx/>
                          <a:latin typeface="Calibri"/>
                          <a:ea typeface="Arial" charset="0"/>
                          <a:cs typeface="Arial" charset="0"/>
                        </a:rPr>
                        <a:t>until PD</a:t>
                      </a: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2F2F2"/>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2F2F2"/>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0000"/>
                        </a:solidFill>
                        <a:effectLst/>
                        <a:uLnTx/>
                        <a:uFillTx/>
                        <a:latin typeface="Calibri"/>
                        <a:ea typeface="Arial" charset="0"/>
                        <a:cs typeface="Arial" charset="0"/>
                      </a:endParaRPr>
                    </a:p>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prstClr val="white"/>
                        </a:solidFill>
                        <a:effectLst/>
                        <a:uLnTx/>
                        <a:uFillTx/>
                        <a:latin typeface="Calibri"/>
                        <a:ea typeface="Arial" charset="0"/>
                        <a:cs typeface="Arial" charset="0"/>
                      </a:endParaRPr>
                    </a:p>
                  </p:txBody>
                </p:sp>
              </p:grpSp>
              <p:sp>
                <p:nvSpPr>
                  <p:cNvPr id="5" name="Rectangle 4">
                    <a:extLst>
                      <a:ext uri="{FF2B5EF4-FFF2-40B4-BE49-F238E27FC236}">
                        <a16:creationId xmlns:a16="http://schemas.microsoft.com/office/drawing/2014/main" id="{40F24F2D-9281-4B43-A42D-AA56B6098919}"/>
                      </a:ext>
                    </a:extLst>
                  </p:cNvPr>
                  <p:cNvSpPr/>
                  <p:nvPr/>
                </p:nvSpPr>
                <p:spPr>
                  <a:xfrm>
                    <a:off x="6654579" y="4003137"/>
                    <a:ext cx="2060345" cy="577075"/>
                  </a:xfrm>
                  <a:prstGeom prst="rect">
                    <a:avLst/>
                  </a:prstGeom>
                </p:spPr>
                <p:txBody>
                  <a:bodyPr wrap="square">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050" b="1" i="0" u="sng" strike="noStrike" kern="1200" cap="none" spc="0" normalizeH="0" baseline="0" noProof="0">
                        <a:ln>
                          <a:noFill/>
                        </a:ln>
                        <a:solidFill>
                          <a:srgbClr val="000000"/>
                        </a:solidFill>
                        <a:effectLst/>
                        <a:uLnTx/>
                        <a:uFillTx/>
                        <a:latin typeface="Calibri"/>
                        <a:ea typeface="Geneva" charset="0"/>
                        <a:cs typeface="Arial" panose="020B0604020202020204" pitchFamily="34" charset="0"/>
                      </a:rPr>
                      <a:t>Statistical analyses</a:t>
                    </a:r>
                  </a:p>
                  <a:p>
                    <a:pPr marL="171442" marR="0" lvl="0" indent="-171442" algn="l" defTabSz="4571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rPr>
                      <a:t>360 PFS events: 85% power for </a:t>
                    </a:r>
                    <a:br>
                      <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rPr>
                    </a:br>
                    <a:r>
                      <a:rPr kumimoji="0" lang="en-US" sz="1050" b="0" i="0" u="none" strike="noStrike" kern="1200" cap="none" spc="0" normalizeH="0" baseline="0" noProof="0">
                        <a:ln>
                          <a:noFill/>
                        </a:ln>
                        <a:solidFill>
                          <a:srgbClr val="000000"/>
                        </a:solidFill>
                        <a:effectLst/>
                        <a:uLnTx/>
                        <a:uFillTx/>
                        <a:latin typeface="Calibri"/>
                        <a:ea typeface="Geneva" charset="0"/>
                        <a:cs typeface="Arial" panose="020B0604020202020204" pitchFamily="34" charset="0"/>
                      </a:rPr>
                      <a:t>8-month PFS improvement</a:t>
                    </a:r>
                    <a:endParaRPr kumimoji="0" lang="en-US" sz="1050" b="0" i="0" u="none" strike="noStrike" kern="1200" cap="none" spc="0" normalizeH="0" baseline="30000" noProof="0">
                      <a:ln>
                        <a:noFill/>
                      </a:ln>
                      <a:solidFill>
                        <a:srgbClr val="000000"/>
                      </a:solidFill>
                      <a:effectLst/>
                      <a:uLnTx/>
                      <a:uFillTx/>
                      <a:latin typeface="Calibri"/>
                      <a:ea typeface="Geneva" charset="0"/>
                      <a:cs typeface="Arial" panose="020B0604020202020204" pitchFamily="34" charset="0"/>
                    </a:endParaRPr>
                  </a:p>
                </p:txBody>
              </p:sp>
            </p:grpSp>
          </p:grpSp>
        </p:grpSp>
      </p:grpSp>
      <p:sp>
        <p:nvSpPr>
          <p:cNvPr id="67588" name="TextBox 9">
            <a:extLst>
              <a:ext uri="{FF2B5EF4-FFF2-40B4-BE49-F238E27FC236}">
                <a16:creationId xmlns:a16="http://schemas.microsoft.com/office/drawing/2014/main" id="{3F35CF3A-1A39-46D0-A6A7-6A1AF608CDB2}"/>
              </a:ext>
            </a:extLst>
          </p:cNvPr>
          <p:cNvSpPr txBox="1">
            <a:spLocks noChangeArrowheads="1"/>
          </p:cNvSpPr>
          <p:nvPr/>
        </p:nvSpPr>
        <p:spPr bwMode="auto">
          <a:xfrm>
            <a:off x="3143250" y="4151171"/>
            <a:ext cx="1759136"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marL="227013" indent="-227013"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170260" marR="0" lvl="0" indent="-170260" algn="l" defTabSz="4560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Cycles 1-9: 6-week cycles</a:t>
            </a:r>
          </a:p>
          <a:p>
            <a:pPr marL="170260" marR="0" lvl="0" indent="-170260" algn="l" defTabSz="4560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Cycles 10+: 4-week cycles</a:t>
            </a:r>
          </a:p>
        </p:txBody>
      </p:sp>
      <p:sp>
        <p:nvSpPr>
          <p:cNvPr id="27" name="Footer Placeholder 11">
            <a:extLst>
              <a:ext uri="{FF2B5EF4-FFF2-40B4-BE49-F238E27FC236}">
                <a16:creationId xmlns:a16="http://schemas.microsoft.com/office/drawing/2014/main" id="{052F6374-9B35-49E8-99FE-602EBF34E8FE}"/>
              </a:ext>
            </a:extLst>
          </p:cNvPr>
          <p:cNvSpPr txBox="1">
            <a:spLocks/>
          </p:cNvSpPr>
          <p:nvPr/>
        </p:nvSpPr>
        <p:spPr bwMode="auto">
          <a:xfrm>
            <a:off x="1" y="4862283"/>
            <a:ext cx="5637914" cy="2738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tIns="0" rIns="0" anchor="b"/>
          <a:lstStyle>
            <a:lvl1pPr defTabSz="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l" defTabSz="3429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Mateos MV, et al. </a:t>
            </a:r>
            <a:r>
              <a:rPr kumimoji="0" lang="en-US" altLang="en-US" sz="900" b="0" i="1"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N Engl J Med. </a:t>
            </a:r>
            <a:r>
              <a:rPr kumimoji="0" lang="en-US" altLang="en-US" sz="90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2018;378(6):518-528.</a:t>
            </a:r>
          </a:p>
        </p:txBody>
      </p:sp>
    </p:spTree>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05477" y="29497"/>
            <a:ext cx="5106695" cy="5114003"/>
          </a:xfrm>
          <a:prstGeom prst="rect">
            <a:avLst/>
          </a:prstGeom>
        </p:spPr>
      </p:pic>
      <p:sp>
        <p:nvSpPr>
          <p:cNvPr id="5" name="Title 1">
            <a:extLst>
              <a:ext uri="{FF2B5EF4-FFF2-40B4-BE49-F238E27FC236}">
                <a16:creationId xmlns:a16="http://schemas.microsoft.com/office/drawing/2014/main" id="{FAF643E0-C35C-4683-AA7D-68239267BE27}"/>
              </a:ext>
            </a:extLst>
          </p:cNvPr>
          <p:cNvSpPr>
            <a:spLocks noGrp="1"/>
          </p:cNvSpPr>
          <p:nvPr>
            <p:ph type="title"/>
          </p:nvPr>
        </p:nvSpPr>
        <p:spPr>
          <a:xfrm>
            <a:off x="604682" y="96943"/>
            <a:ext cx="7405739" cy="994172"/>
          </a:xfrm>
        </p:spPr>
        <p:txBody>
          <a:bodyPr rtlCol="0" anchor="t">
            <a:normAutofit/>
          </a:bodyPr>
          <a:lstStyle/>
          <a:p>
            <a:pPr eaLnBrk="1" fontAlgn="auto" hangingPunct="1">
              <a:spcAft>
                <a:spcPts val="0"/>
              </a:spcAft>
              <a:defRPr/>
            </a:pPr>
            <a:r>
              <a:rPr lang="en-US" sz="3000" b="1" noProof="0">
                <a:solidFill>
                  <a:srgbClr val="000090"/>
                </a:solidFill>
                <a:ea typeface="+mj-ea"/>
                <a:cs typeface="+mj-cs"/>
              </a:rPr>
              <a:t>ALCYONE</a:t>
            </a:r>
          </a:p>
        </p:txBody>
      </p:sp>
      <p:sp>
        <p:nvSpPr>
          <p:cNvPr id="7" name="Footer Placeholder 11">
            <a:extLst>
              <a:ext uri="{FF2B5EF4-FFF2-40B4-BE49-F238E27FC236}">
                <a16:creationId xmlns:a16="http://schemas.microsoft.com/office/drawing/2014/main" id="{762A8A09-34ED-4FD7-875A-B93191663B8D}"/>
              </a:ext>
            </a:extLst>
          </p:cNvPr>
          <p:cNvSpPr txBox="1">
            <a:spLocks/>
          </p:cNvSpPr>
          <p:nvPr/>
        </p:nvSpPr>
        <p:spPr bwMode="auto">
          <a:xfrm>
            <a:off x="1" y="4862283"/>
            <a:ext cx="5637914" cy="2738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tIns="0" rIns="0" anchor="b"/>
          <a:lstStyle>
            <a:lvl1pPr defTabSz="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l" defTabSz="3429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Mateos MV, et al. </a:t>
            </a:r>
            <a:r>
              <a:rPr kumimoji="0" lang="en-US" altLang="en-US" sz="900" b="0" i="1"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N Engl J Med. </a:t>
            </a:r>
            <a:r>
              <a:rPr kumimoji="0" lang="en-US" altLang="en-US" sz="90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2018;378(6):518-528.</a:t>
            </a:r>
          </a:p>
        </p:txBody>
      </p:sp>
    </p:spTree>
    <p:extLst>
      <p:ext uri="{BB962C8B-B14F-4D97-AF65-F5344CB8AC3E}">
        <p14:creationId xmlns:p14="http://schemas.microsoft.com/office/powerpoint/2010/main" val="159861105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Chart 261">
            <a:extLst>
              <a:ext uri="{FF2B5EF4-FFF2-40B4-BE49-F238E27FC236}">
                <a16:creationId xmlns:a16="http://schemas.microsoft.com/office/drawing/2014/main" id="{FDC08114-0F1C-49B5-8AAD-50FC99AB52FD}"/>
              </a:ext>
            </a:extLst>
          </p:cNvPr>
          <p:cNvGraphicFramePr>
            <a:graphicFrameLocks/>
          </p:cNvGraphicFramePr>
          <p:nvPr/>
        </p:nvGraphicFramePr>
        <p:xfrm>
          <a:off x="266133" y="1757119"/>
          <a:ext cx="3384868"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AA979B0D-0AD7-43E2-8210-3FD6DF8F5AF9}"/>
              </a:ext>
            </a:extLst>
          </p:cNvPr>
          <p:cNvSpPr>
            <a:spLocks noGrp="1"/>
          </p:cNvSpPr>
          <p:nvPr>
            <p:ph type="title"/>
          </p:nvPr>
        </p:nvSpPr>
        <p:spPr>
          <a:xfrm>
            <a:off x="603878" y="96278"/>
            <a:ext cx="7886700" cy="994172"/>
          </a:xfrm>
        </p:spPr>
        <p:txBody>
          <a:bodyPr rtlCol="0" anchor="t">
            <a:normAutofit/>
          </a:bodyPr>
          <a:lstStyle/>
          <a:p>
            <a:pPr eaLnBrk="1" fontAlgn="auto" hangingPunct="1">
              <a:spcAft>
                <a:spcPts val="0"/>
              </a:spcAft>
              <a:defRPr/>
            </a:pPr>
            <a:r>
              <a:rPr lang="en-US" sz="3000" b="1" noProof="0">
                <a:solidFill>
                  <a:srgbClr val="000090"/>
                </a:solidFill>
                <a:ea typeface="+mj-ea"/>
                <a:cs typeface="+mj-cs"/>
              </a:rPr>
              <a:t>ALCYONE: MRD Status (10</a:t>
            </a:r>
            <a:r>
              <a:rPr lang="en-US" sz="3000" b="1" baseline="30000" noProof="0">
                <a:solidFill>
                  <a:srgbClr val="000090"/>
                </a:solidFill>
                <a:ea typeface="+mj-ea"/>
                <a:cs typeface="+mj-cs"/>
              </a:rPr>
              <a:t>-5</a:t>
            </a:r>
            <a:r>
              <a:rPr lang="en-US" sz="3000" b="1" noProof="0">
                <a:solidFill>
                  <a:srgbClr val="000090"/>
                </a:solidFill>
                <a:ea typeface="+mj-ea"/>
                <a:cs typeface="+mj-cs"/>
              </a:rPr>
              <a:t>)</a:t>
            </a:r>
          </a:p>
        </p:txBody>
      </p:sp>
      <p:sp>
        <p:nvSpPr>
          <p:cNvPr id="61444" name="TextBox 378">
            <a:extLst>
              <a:ext uri="{FF2B5EF4-FFF2-40B4-BE49-F238E27FC236}">
                <a16:creationId xmlns:a16="http://schemas.microsoft.com/office/drawing/2014/main" id="{EE4E12C9-68A8-4051-BC8E-32FC8A2C89CD}"/>
              </a:ext>
            </a:extLst>
          </p:cNvPr>
          <p:cNvSpPr txBox="1">
            <a:spLocks noChangeArrowheads="1"/>
          </p:cNvSpPr>
          <p:nvPr/>
        </p:nvSpPr>
        <p:spPr bwMode="auto">
          <a:xfrm>
            <a:off x="593910" y="953744"/>
            <a:ext cx="7109222"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287338" indent="-287338"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215504" marR="0" lvl="0" indent="-215504" algn="l" defTabSz="45601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5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mn-cs"/>
              </a:rPr>
              <a:t>Median (range) follow-up: 27.8 (0–39.2) months</a:t>
            </a:r>
          </a:p>
        </p:txBody>
      </p:sp>
      <p:grpSp>
        <p:nvGrpSpPr>
          <p:cNvPr id="61445" name="Group 2">
            <a:extLst>
              <a:ext uri="{FF2B5EF4-FFF2-40B4-BE49-F238E27FC236}">
                <a16:creationId xmlns:a16="http://schemas.microsoft.com/office/drawing/2014/main" id="{A47A20A4-238E-4D0D-A9A6-F69894DB7854}"/>
              </a:ext>
            </a:extLst>
          </p:cNvPr>
          <p:cNvGrpSpPr>
            <a:grpSpLocks/>
          </p:cNvGrpSpPr>
          <p:nvPr/>
        </p:nvGrpSpPr>
        <p:grpSpPr bwMode="auto">
          <a:xfrm>
            <a:off x="1479949" y="1515664"/>
            <a:ext cx="1177529" cy="253916"/>
            <a:chOff x="1351126" y="878122"/>
            <a:chExt cx="1176971" cy="254009"/>
          </a:xfrm>
        </p:grpSpPr>
        <p:sp>
          <p:nvSpPr>
            <p:cNvPr id="71775" name="TextBox 18">
              <a:extLst>
                <a:ext uri="{FF2B5EF4-FFF2-40B4-BE49-F238E27FC236}">
                  <a16:creationId xmlns:a16="http://schemas.microsoft.com/office/drawing/2014/main" id="{22C7A88B-F6AE-4A03-A520-AC52F55DD791}"/>
                </a:ext>
              </a:extLst>
            </p:cNvPr>
            <p:cNvSpPr txBox="1">
              <a:spLocks noChangeArrowheads="1"/>
            </p:cNvSpPr>
            <p:nvPr/>
          </p:nvSpPr>
          <p:spPr bwMode="auto">
            <a:xfrm>
              <a:off x="1537965" y="878122"/>
              <a:ext cx="660445" cy="2540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l" defTabSz="45601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1"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P </a:t>
              </a:r>
              <a:r>
                <a:rPr kumimoji="0" lang="en-US" altLang="en-US" sz="105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lt;.0001</a:t>
              </a:r>
            </a:p>
          </p:txBody>
        </p:sp>
        <p:cxnSp>
          <p:nvCxnSpPr>
            <p:cNvPr id="21" name="Straight Connector 20">
              <a:extLst>
                <a:ext uri="{FF2B5EF4-FFF2-40B4-BE49-F238E27FC236}">
                  <a16:creationId xmlns:a16="http://schemas.microsoft.com/office/drawing/2014/main" id="{A93480C0-CDF6-4C29-BA66-365E5D691083}"/>
                </a:ext>
              </a:extLst>
            </p:cNvPr>
            <p:cNvCxnSpPr/>
            <p:nvPr/>
          </p:nvCxnSpPr>
          <p:spPr>
            <a:xfrm>
              <a:off x="1351126" y="1130627"/>
              <a:ext cx="1176971"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5" name="TextBox 4">
            <a:extLst>
              <a:ext uri="{FF2B5EF4-FFF2-40B4-BE49-F238E27FC236}">
                <a16:creationId xmlns:a16="http://schemas.microsoft.com/office/drawing/2014/main" id="{649A4934-88E8-46F2-AC12-68F2C359910A}"/>
              </a:ext>
            </a:extLst>
          </p:cNvPr>
          <p:cNvSpPr txBox="1"/>
          <p:nvPr/>
        </p:nvSpPr>
        <p:spPr>
          <a:xfrm>
            <a:off x="1250156" y="1872854"/>
            <a:ext cx="409086" cy="246221"/>
          </a:xfrm>
          <a:prstGeom prst="rect">
            <a:avLst/>
          </a:prstGeom>
          <a:noFill/>
        </p:spPr>
        <p:txBody>
          <a:bodyPr wrap="none">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a:ea typeface="Geneva" charset="0"/>
                <a:cs typeface="+mn-cs"/>
              </a:rPr>
              <a:t>27%</a:t>
            </a:r>
          </a:p>
        </p:txBody>
      </p:sp>
      <p:sp>
        <p:nvSpPr>
          <p:cNvPr id="263" name="TextBox 262">
            <a:extLst>
              <a:ext uri="{FF2B5EF4-FFF2-40B4-BE49-F238E27FC236}">
                <a16:creationId xmlns:a16="http://schemas.microsoft.com/office/drawing/2014/main" id="{8DC791D6-D2BC-4E8F-811C-F04609147C5B}"/>
              </a:ext>
            </a:extLst>
          </p:cNvPr>
          <p:cNvSpPr txBox="1"/>
          <p:nvPr/>
        </p:nvSpPr>
        <p:spPr>
          <a:xfrm>
            <a:off x="2491979" y="3407569"/>
            <a:ext cx="343364" cy="246221"/>
          </a:xfrm>
          <a:prstGeom prst="rect">
            <a:avLst/>
          </a:prstGeom>
          <a:noFill/>
        </p:spPr>
        <p:txBody>
          <a:bodyPr wrap="none">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a:ea typeface="Geneva" charset="0"/>
                <a:cs typeface="+mn-cs"/>
              </a:rPr>
              <a:t>7%</a:t>
            </a:r>
          </a:p>
        </p:txBody>
      </p:sp>
      <p:grpSp>
        <p:nvGrpSpPr>
          <p:cNvPr id="61513" name="Group 7">
            <a:extLst>
              <a:ext uri="{FF2B5EF4-FFF2-40B4-BE49-F238E27FC236}">
                <a16:creationId xmlns:a16="http://schemas.microsoft.com/office/drawing/2014/main" id="{F7035354-B609-48C9-A446-E4FBB5E1AAAC}"/>
              </a:ext>
            </a:extLst>
          </p:cNvPr>
          <p:cNvGrpSpPr>
            <a:grpSpLocks/>
          </p:cNvGrpSpPr>
          <p:nvPr/>
        </p:nvGrpSpPr>
        <p:grpSpPr bwMode="auto">
          <a:xfrm>
            <a:off x="2016919" y="2130029"/>
            <a:ext cx="1157288" cy="741759"/>
            <a:chOff x="2671603" y="2110299"/>
            <a:chExt cx="1157699" cy="742950"/>
          </a:xfrm>
        </p:grpSpPr>
        <p:sp>
          <p:nvSpPr>
            <p:cNvPr id="264" name="Rectangle 263">
              <a:extLst>
                <a:ext uri="{FF2B5EF4-FFF2-40B4-BE49-F238E27FC236}">
                  <a16:creationId xmlns:a16="http://schemas.microsoft.com/office/drawing/2014/main" id="{B74898D2-2908-4B29-85DE-2A7F570B7122}"/>
                </a:ext>
              </a:extLst>
            </p:cNvPr>
            <p:cNvSpPr/>
            <p:nvPr/>
          </p:nvSpPr>
          <p:spPr bwMode="auto">
            <a:xfrm>
              <a:off x="3192092" y="2156808"/>
              <a:ext cx="152454" cy="133564"/>
            </a:xfrm>
            <a:prstGeom prst="rect">
              <a:avLst/>
            </a:prstGeom>
            <a:solidFill>
              <a:srgbClr val="6D2687"/>
            </a:solidFill>
            <a:ln w="12700" cap="flat" cmpd="sng" algn="ctr">
              <a:solidFill>
                <a:schemeClr val="tx1"/>
              </a:solidFill>
              <a:prstDash val="solid"/>
              <a:round/>
              <a:headEnd type="none" w="med" len="med"/>
              <a:tailEnd type="none" w="med" len="med"/>
            </a:ln>
            <a:effectLst/>
          </p:spPr>
          <p:txBody>
            <a:bodyPr lIns="91440" tIns="45720" rIns="91440" bIns="4572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
          <p:nvSpPr>
            <p:cNvPr id="265" name="Rectangle 264">
              <a:extLst>
                <a:ext uri="{FF2B5EF4-FFF2-40B4-BE49-F238E27FC236}">
                  <a16:creationId xmlns:a16="http://schemas.microsoft.com/office/drawing/2014/main" id="{753CE0AF-5898-4572-9006-2D22194FD268}"/>
                </a:ext>
              </a:extLst>
            </p:cNvPr>
            <p:cNvSpPr/>
            <p:nvPr/>
          </p:nvSpPr>
          <p:spPr bwMode="auto">
            <a:xfrm>
              <a:off x="3192092" y="2514569"/>
              <a:ext cx="152454" cy="133564"/>
            </a:xfrm>
            <a:prstGeom prst="rect">
              <a:avLst/>
            </a:prstGeom>
            <a:solidFill>
              <a:srgbClr val="E46C0A"/>
            </a:solidFill>
            <a:ln w="12700" cap="flat" cmpd="sng" algn="ctr">
              <a:solidFill>
                <a:schemeClr val="tx1"/>
              </a:solidFill>
              <a:prstDash val="solid"/>
              <a:round/>
              <a:headEnd type="none" w="med" len="med"/>
              <a:tailEnd type="none" w="med" len="med"/>
            </a:ln>
            <a:effectLst/>
          </p:spPr>
          <p:txBody>
            <a:bodyPr lIns="91440" tIns="45720" rIns="91440" bIns="4572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
          <p:nvSpPr>
            <p:cNvPr id="266" name="TextBox 5">
              <a:extLst>
                <a:ext uri="{FF2B5EF4-FFF2-40B4-BE49-F238E27FC236}">
                  <a16:creationId xmlns:a16="http://schemas.microsoft.com/office/drawing/2014/main" id="{635ED324-7EBD-461D-87B7-93EEF6B1C016}"/>
                </a:ext>
              </a:extLst>
            </p:cNvPr>
            <p:cNvSpPr txBox="1"/>
            <p:nvPr/>
          </p:nvSpPr>
          <p:spPr>
            <a:xfrm>
              <a:off x="2671603" y="2110299"/>
              <a:ext cx="525253" cy="193191"/>
            </a:xfrm>
            <a:prstGeom prst="rect">
              <a:avLst/>
            </a:prstGeom>
          </p:spPr>
          <p:txBody>
            <a:bodyPr wrap="non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D-VMP</a:t>
              </a:r>
            </a:p>
          </p:txBody>
        </p:sp>
        <p:sp>
          <p:nvSpPr>
            <p:cNvPr id="267" name="TextBox 1">
              <a:extLst>
                <a:ext uri="{FF2B5EF4-FFF2-40B4-BE49-F238E27FC236}">
                  <a16:creationId xmlns:a16="http://schemas.microsoft.com/office/drawing/2014/main" id="{49D075BF-3082-4651-9084-463B7CC06EE2}"/>
                </a:ext>
              </a:extLst>
            </p:cNvPr>
            <p:cNvSpPr txBox="1"/>
            <p:nvPr/>
          </p:nvSpPr>
          <p:spPr>
            <a:xfrm>
              <a:off x="2806192" y="2468060"/>
              <a:ext cx="524061" cy="219427"/>
            </a:xfrm>
            <a:prstGeom prst="rect">
              <a:avLst/>
            </a:prstGeom>
          </p:spPr>
          <p:txBody>
            <a:bodyPr wrap="non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VMP</a:t>
              </a:r>
            </a:p>
          </p:txBody>
        </p:sp>
        <p:sp>
          <p:nvSpPr>
            <p:cNvPr id="268" name="Rectangle 267">
              <a:extLst>
                <a:ext uri="{FF2B5EF4-FFF2-40B4-BE49-F238E27FC236}">
                  <a16:creationId xmlns:a16="http://schemas.microsoft.com/office/drawing/2014/main" id="{4072BA4A-3EAF-4ABE-93AD-DC25C8A3A02C}"/>
                </a:ext>
              </a:extLst>
            </p:cNvPr>
            <p:cNvSpPr/>
            <p:nvPr/>
          </p:nvSpPr>
          <p:spPr bwMode="auto">
            <a:xfrm>
              <a:off x="3192092" y="2334496"/>
              <a:ext cx="152454" cy="134756"/>
            </a:xfrm>
            <a:prstGeom prst="rect">
              <a:avLst/>
            </a:prstGeom>
            <a:solidFill>
              <a:srgbClr val="B3A2C7"/>
            </a:solidFill>
            <a:ln w="12700" cap="flat" cmpd="sng" algn="ctr">
              <a:solidFill>
                <a:schemeClr val="tx1"/>
              </a:solidFill>
              <a:prstDash val="solid"/>
              <a:round/>
              <a:headEnd type="none" w="med" len="med"/>
              <a:tailEnd type="none" w="med" len="med"/>
            </a:ln>
            <a:effectLst/>
          </p:spPr>
          <p:txBody>
            <a:bodyPr lIns="91440" tIns="45720" rIns="91440" bIns="4572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
          <p:nvSpPr>
            <p:cNvPr id="269" name="TextBox 5">
              <a:extLst>
                <a:ext uri="{FF2B5EF4-FFF2-40B4-BE49-F238E27FC236}">
                  <a16:creationId xmlns:a16="http://schemas.microsoft.com/office/drawing/2014/main" id="{BC6DA970-FEBE-4FF9-986E-872E66CCEC2B}"/>
                </a:ext>
              </a:extLst>
            </p:cNvPr>
            <p:cNvSpPr txBox="1"/>
            <p:nvPr/>
          </p:nvSpPr>
          <p:spPr>
            <a:xfrm>
              <a:off x="3304050" y="2118646"/>
              <a:ext cx="525252" cy="193191"/>
            </a:xfrm>
            <a:prstGeom prst="rect">
              <a:avLst/>
            </a:prstGeom>
          </p:spPr>
          <p:txBody>
            <a:bodyPr wrap="non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Primary</a:t>
              </a:r>
            </a:p>
          </p:txBody>
        </p:sp>
        <p:sp>
          <p:nvSpPr>
            <p:cNvPr id="270" name="TextBox 5">
              <a:extLst>
                <a:ext uri="{FF2B5EF4-FFF2-40B4-BE49-F238E27FC236}">
                  <a16:creationId xmlns:a16="http://schemas.microsoft.com/office/drawing/2014/main" id="{5AF5F959-1BF4-4667-AD52-792EA5240FC0}"/>
                </a:ext>
              </a:extLst>
            </p:cNvPr>
            <p:cNvSpPr txBox="1"/>
            <p:nvPr/>
          </p:nvSpPr>
          <p:spPr>
            <a:xfrm>
              <a:off x="3300477" y="2468060"/>
              <a:ext cx="525253" cy="219427"/>
            </a:xfrm>
            <a:prstGeom prst="rect">
              <a:avLst/>
            </a:prstGeom>
          </p:spPr>
          <p:txBody>
            <a:bodyPr wrap="non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Primary</a:t>
              </a:r>
            </a:p>
          </p:txBody>
        </p:sp>
        <p:sp>
          <p:nvSpPr>
            <p:cNvPr id="271" name="TextBox 5">
              <a:extLst>
                <a:ext uri="{FF2B5EF4-FFF2-40B4-BE49-F238E27FC236}">
                  <a16:creationId xmlns:a16="http://schemas.microsoft.com/office/drawing/2014/main" id="{2D9D30D7-E4C8-4240-B6D9-0495DE56B4A2}"/>
                </a:ext>
              </a:extLst>
            </p:cNvPr>
            <p:cNvSpPr txBox="1"/>
            <p:nvPr/>
          </p:nvSpPr>
          <p:spPr>
            <a:xfrm>
              <a:off x="3304050" y="2292757"/>
              <a:ext cx="525252" cy="193191"/>
            </a:xfrm>
            <a:prstGeom prst="rect">
              <a:avLst/>
            </a:prstGeom>
          </p:spPr>
          <p:txBody>
            <a:bodyPr wrap="non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Updated</a:t>
              </a:r>
            </a:p>
          </p:txBody>
        </p:sp>
        <p:sp>
          <p:nvSpPr>
            <p:cNvPr id="272" name="Rectangle 271">
              <a:extLst>
                <a:ext uri="{FF2B5EF4-FFF2-40B4-BE49-F238E27FC236}">
                  <a16:creationId xmlns:a16="http://schemas.microsoft.com/office/drawing/2014/main" id="{7D9D3D96-600B-4894-8AD0-EF0A1BBD2C27}"/>
                </a:ext>
              </a:extLst>
            </p:cNvPr>
            <p:cNvSpPr/>
            <p:nvPr/>
          </p:nvSpPr>
          <p:spPr bwMode="auto">
            <a:xfrm>
              <a:off x="3189709" y="2701797"/>
              <a:ext cx="153645" cy="133564"/>
            </a:xfrm>
            <a:prstGeom prst="rect">
              <a:avLst/>
            </a:prstGeom>
            <a:solidFill>
              <a:srgbClr val="FFC000"/>
            </a:solidFill>
            <a:ln w="12700" cap="flat" cmpd="sng" algn="ctr">
              <a:solidFill>
                <a:schemeClr val="tx1"/>
              </a:solidFill>
              <a:prstDash val="solid"/>
              <a:round/>
              <a:headEnd type="none" w="med" len="med"/>
              <a:tailEnd type="none" w="med" len="med"/>
            </a:ln>
            <a:effectLst/>
          </p:spPr>
          <p:txBody>
            <a:bodyPr lIns="91440" tIns="45720" rIns="91440" bIns="4572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
          <p:nvSpPr>
            <p:cNvPr id="273" name="TextBox 5">
              <a:extLst>
                <a:ext uri="{FF2B5EF4-FFF2-40B4-BE49-F238E27FC236}">
                  <a16:creationId xmlns:a16="http://schemas.microsoft.com/office/drawing/2014/main" id="{6DC6577A-2DB3-4FC3-998E-CEE339071659}"/>
                </a:ext>
              </a:extLst>
            </p:cNvPr>
            <p:cNvSpPr txBox="1"/>
            <p:nvPr/>
          </p:nvSpPr>
          <p:spPr>
            <a:xfrm>
              <a:off x="3302859" y="2660058"/>
              <a:ext cx="525253" cy="193191"/>
            </a:xfrm>
            <a:prstGeom prst="rect">
              <a:avLst/>
            </a:prstGeom>
          </p:spPr>
          <p:txBody>
            <a:bodyPr wrap="non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Updated</a:t>
              </a:r>
            </a:p>
          </p:txBody>
        </p:sp>
      </p:grpSp>
      <p:sp>
        <p:nvSpPr>
          <p:cNvPr id="275" name="Footer Placeholder 11">
            <a:extLst>
              <a:ext uri="{FF2B5EF4-FFF2-40B4-BE49-F238E27FC236}">
                <a16:creationId xmlns:a16="http://schemas.microsoft.com/office/drawing/2014/main" id="{2B4FCFEF-A4D9-46BF-B8E0-A085E93CC2BD}"/>
              </a:ext>
            </a:extLst>
          </p:cNvPr>
          <p:cNvSpPr txBox="1">
            <a:spLocks/>
          </p:cNvSpPr>
          <p:nvPr/>
        </p:nvSpPr>
        <p:spPr bwMode="auto">
          <a:xfrm>
            <a:off x="1" y="4862283"/>
            <a:ext cx="5637914" cy="2738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tIns="0" rIns="0" anchor="b"/>
          <a:lstStyle>
            <a:lvl1pPr defTabSz="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l" defTabSz="3429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Mateos MV, et al. </a:t>
            </a:r>
            <a:r>
              <a:rPr kumimoji="0" lang="en-US" altLang="en-US" sz="900" b="0" i="1"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N Engl J Med. </a:t>
            </a:r>
            <a:r>
              <a:rPr kumimoji="0" lang="en-US" altLang="en-US" sz="900" b="0" i="0" u="none" strike="noStrike" kern="1200" cap="none" spc="0" normalizeH="0" baseline="0" noProof="0">
                <a:ln>
                  <a:noFill/>
                </a:ln>
                <a:solidFill>
                  <a:srgbClr val="000000"/>
                </a:solidFill>
                <a:effectLst/>
                <a:uLnTx/>
                <a:uFillTx/>
                <a:latin typeface="Calibri"/>
                <a:ea typeface="ＭＳ Ｐゴシック" panose="020B0600070205080204" pitchFamily="34" charset="-128"/>
                <a:cs typeface="+mn-cs"/>
              </a:rPr>
              <a:t>2018;378(6):518-528.</a:t>
            </a:r>
          </a:p>
        </p:txBody>
      </p:sp>
      <p:sp>
        <p:nvSpPr>
          <p:cNvPr id="522" name="Rectangle 521">
            <a:extLst>
              <a:ext uri="{FF2B5EF4-FFF2-40B4-BE49-F238E27FC236}">
                <a16:creationId xmlns:a16="http://schemas.microsoft.com/office/drawing/2014/main" id="{2694DA26-8031-44C0-AB85-C5063908DB98}"/>
              </a:ext>
            </a:extLst>
          </p:cNvPr>
          <p:cNvSpPr/>
          <p:nvPr/>
        </p:nvSpPr>
        <p:spPr>
          <a:xfrm>
            <a:off x="5238750" y="3994547"/>
            <a:ext cx="188119" cy="266700"/>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78">
              <a:defRPr/>
            </a:pPr>
            <a:endParaRPr lang="en-US">
              <a:solidFill>
                <a:prstClr val="white"/>
              </a:solidFill>
              <a:latin typeface="Calibri"/>
            </a:endParaRPr>
          </a:p>
        </p:txBody>
      </p:sp>
      <p:grpSp>
        <p:nvGrpSpPr>
          <p:cNvPr id="523" name="Group 756">
            <a:extLst>
              <a:ext uri="{FF2B5EF4-FFF2-40B4-BE49-F238E27FC236}">
                <a16:creationId xmlns:a16="http://schemas.microsoft.com/office/drawing/2014/main" id="{D2621331-D893-462F-8A31-A04530CF5319}"/>
              </a:ext>
            </a:extLst>
          </p:cNvPr>
          <p:cNvGrpSpPr>
            <a:grpSpLocks/>
          </p:cNvGrpSpPr>
          <p:nvPr/>
        </p:nvGrpSpPr>
        <p:grpSpPr bwMode="auto">
          <a:xfrm>
            <a:off x="5297092" y="1547985"/>
            <a:ext cx="2431256" cy="2006031"/>
            <a:chOff x="2924808" y="979043"/>
            <a:chExt cx="2898204" cy="2403495"/>
          </a:xfrm>
        </p:grpSpPr>
        <p:cxnSp>
          <p:nvCxnSpPr>
            <p:cNvPr id="524" name="Straight Connector 994">
              <a:extLst>
                <a:ext uri="{FF2B5EF4-FFF2-40B4-BE49-F238E27FC236}">
                  <a16:creationId xmlns:a16="http://schemas.microsoft.com/office/drawing/2014/main" id="{0B56E471-C36D-42E3-ACDB-D2290235FE64}"/>
                </a:ext>
              </a:extLst>
            </p:cNvPr>
            <p:cNvCxnSpPr>
              <a:cxnSpLocks noChangeShapeType="1"/>
            </p:cNvCxnSpPr>
            <p:nvPr/>
          </p:nvCxnSpPr>
          <p:spPr bwMode="auto">
            <a:xfrm>
              <a:off x="2973152" y="3379522"/>
              <a:ext cx="2849860" cy="0"/>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25" name="Straight Connector 995">
              <a:extLst>
                <a:ext uri="{FF2B5EF4-FFF2-40B4-BE49-F238E27FC236}">
                  <a16:creationId xmlns:a16="http://schemas.microsoft.com/office/drawing/2014/main" id="{81AACE19-B473-4949-B5DC-F68E6047BAB8}"/>
                </a:ext>
              </a:extLst>
            </p:cNvPr>
            <p:cNvCxnSpPr>
              <a:cxnSpLocks noChangeShapeType="1"/>
            </p:cNvCxnSpPr>
            <p:nvPr/>
          </p:nvCxnSpPr>
          <p:spPr bwMode="auto">
            <a:xfrm flipH="1">
              <a:off x="2974369" y="979043"/>
              <a:ext cx="1" cy="2403495"/>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26" name="Straight Connector 996">
              <a:extLst>
                <a:ext uri="{FF2B5EF4-FFF2-40B4-BE49-F238E27FC236}">
                  <a16:creationId xmlns:a16="http://schemas.microsoft.com/office/drawing/2014/main" id="{1AD70A5A-D16A-41C6-BCA3-CCD54E766B04}"/>
                </a:ext>
              </a:extLst>
            </p:cNvPr>
            <p:cNvCxnSpPr>
              <a:cxnSpLocks noChangeShapeType="1"/>
            </p:cNvCxnSpPr>
            <p:nvPr/>
          </p:nvCxnSpPr>
          <p:spPr bwMode="auto">
            <a:xfrm flipH="1" flipV="1">
              <a:off x="2924808" y="3379707"/>
              <a:ext cx="49562" cy="1"/>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27" name="Straight Connector 997">
              <a:extLst>
                <a:ext uri="{FF2B5EF4-FFF2-40B4-BE49-F238E27FC236}">
                  <a16:creationId xmlns:a16="http://schemas.microsoft.com/office/drawing/2014/main" id="{649B73B9-149C-4A69-B1C8-C554AE49A9E8}"/>
                </a:ext>
              </a:extLst>
            </p:cNvPr>
            <p:cNvCxnSpPr>
              <a:cxnSpLocks noChangeShapeType="1"/>
            </p:cNvCxnSpPr>
            <p:nvPr/>
          </p:nvCxnSpPr>
          <p:spPr bwMode="auto">
            <a:xfrm flipH="1" flipV="1">
              <a:off x="2924808" y="2905295"/>
              <a:ext cx="49562" cy="1"/>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28" name="Straight Connector 998">
              <a:extLst>
                <a:ext uri="{FF2B5EF4-FFF2-40B4-BE49-F238E27FC236}">
                  <a16:creationId xmlns:a16="http://schemas.microsoft.com/office/drawing/2014/main" id="{B9C8016D-5A74-4622-B817-6CFA465A42AB}"/>
                </a:ext>
              </a:extLst>
            </p:cNvPr>
            <p:cNvCxnSpPr>
              <a:cxnSpLocks noChangeShapeType="1"/>
            </p:cNvCxnSpPr>
            <p:nvPr/>
          </p:nvCxnSpPr>
          <p:spPr bwMode="auto">
            <a:xfrm flipH="1" flipV="1">
              <a:off x="2924808" y="2444257"/>
              <a:ext cx="49562" cy="1"/>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29" name="Straight Connector 999">
              <a:extLst>
                <a:ext uri="{FF2B5EF4-FFF2-40B4-BE49-F238E27FC236}">
                  <a16:creationId xmlns:a16="http://schemas.microsoft.com/office/drawing/2014/main" id="{30078C95-38B8-49B2-A354-448D20748172}"/>
                </a:ext>
              </a:extLst>
            </p:cNvPr>
            <p:cNvCxnSpPr>
              <a:cxnSpLocks noChangeShapeType="1"/>
            </p:cNvCxnSpPr>
            <p:nvPr/>
          </p:nvCxnSpPr>
          <p:spPr bwMode="auto">
            <a:xfrm flipH="1" flipV="1">
              <a:off x="2924808" y="1973999"/>
              <a:ext cx="49562" cy="1"/>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30" name="Straight Connector 1000">
              <a:extLst>
                <a:ext uri="{FF2B5EF4-FFF2-40B4-BE49-F238E27FC236}">
                  <a16:creationId xmlns:a16="http://schemas.microsoft.com/office/drawing/2014/main" id="{06C77B5F-A41B-4068-8183-38DDE30B2A7F}"/>
                </a:ext>
              </a:extLst>
            </p:cNvPr>
            <p:cNvCxnSpPr>
              <a:cxnSpLocks noChangeShapeType="1"/>
            </p:cNvCxnSpPr>
            <p:nvPr/>
          </p:nvCxnSpPr>
          <p:spPr bwMode="auto">
            <a:xfrm flipH="1" flipV="1">
              <a:off x="2924808" y="1495989"/>
              <a:ext cx="49562" cy="1"/>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31" name="Straight Connector 1001">
              <a:extLst>
                <a:ext uri="{FF2B5EF4-FFF2-40B4-BE49-F238E27FC236}">
                  <a16:creationId xmlns:a16="http://schemas.microsoft.com/office/drawing/2014/main" id="{FE3ED9E9-6057-418E-BBC4-53E95CF2D6D2}"/>
                </a:ext>
              </a:extLst>
            </p:cNvPr>
            <p:cNvCxnSpPr>
              <a:cxnSpLocks noChangeShapeType="1"/>
            </p:cNvCxnSpPr>
            <p:nvPr/>
          </p:nvCxnSpPr>
          <p:spPr bwMode="auto">
            <a:xfrm flipH="1" flipV="1">
              <a:off x="2924808" y="1027758"/>
              <a:ext cx="49562" cy="1"/>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532" name="TextBox 757">
            <a:extLst>
              <a:ext uri="{FF2B5EF4-FFF2-40B4-BE49-F238E27FC236}">
                <a16:creationId xmlns:a16="http://schemas.microsoft.com/office/drawing/2014/main" id="{AAD66ECF-DB4D-435E-B9A0-FC5CFBE4D542}"/>
              </a:ext>
            </a:extLst>
          </p:cNvPr>
          <p:cNvSpPr txBox="1">
            <a:spLocks noChangeArrowheads="1"/>
          </p:cNvSpPr>
          <p:nvPr/>
        </p:nvSpPr>
        <p:spPr bwMode="auto">
          <a:xfrm rot="16200000">
            <a:off x="3887233" y="2423591"/>
            <a:ext cx="213391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Percentage surviving without progression</a:t>
            </a:r>
          </a:p>
        </p:txBody>
      </p:sp>
      <p:sp>
        <p:nvSpPr>
          <p:cNvPr id="533" name="TextBox 758">
            <a:extLst>
              <a:ext uri="{FF2B5EF4-FFF2-40B4-BE49-F238E27FC236}">
                <a16:creationId xmlns:a16="http://schemas.microsoft.com/office/drawing/2014/main" id="{50E95931-61C5-45FB-A446-4006FA54BEB1}"/>
              </a:ext>
            </a:extLst>
          </p:cNvPr>
          <p:cNvSpPr txBox="1">
            <a:spLocks noChangeArrowheads="1"/>
          </p:cNvSpPr>
          <p:nvPr/>
        </p:nvSpPr>
        <p:spPr bwMode="auto">
          <a:xfrm>
            <a:off x="5210807" y="3501629"/>
            <a:ext cx="57709"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r" defTabSz="456010" fontAlgn="base">
              <a:lnSpc>
                <a:spcPct val="100000"/>
              </a:lnSpc>
              <a:spcBef>
                <a:spcPct val="0"/>
              </a:spcBef>
              <a:spcAft>
                <a:spcPct val="0"/>
              </a:spcAft>
              <a:buNone/>
              <a:defRPr/>
            </a:pPr>
            <a:r>
              <a:rPr lang="en-US" altLang="en-US" sz="900">
                <a:solidFill>
                  <a:srgbClr val="000000"/>
                </a:solidFill>
                <a:latin typeface="Calibri"/>
              </a:rPr>
              <a:t>0</a:t>
            </a:r>
          </a:p>
        </p:txBody>
      </p:sp>
      <p:sp>
        <p:nvSpPr>
          <p:cNvPr id="534" name="TextBox 759">
            <a:extLst>
              <a:ext uri="{FF2B5EF4-FFF2-40B4-BE49-F238E27FC236}">
                <a16:creationId xmlns:a16="http://schemas.microsoft.com/office/drawing/2014/main" id="{D75D8D59-CE4A-4EA7-8CE0-C53F8A03270D}"/>
              </a:ext>
            </a:extLst>
          </p:cNvPr>
          <p:cNvSpPr txBox="1">
            <a:spLocks noChangeArrowheads="1"/>
          </p:cNvSpPr>
          <p:nvPr/>
        </p:nvSpPr>
        <p:spPr bwMode="auto">
          <a:xfrm>
            <a:off x="5153100" y="3108723"/>
            <a:ext cx="115416"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r" defTabSz="456010" fontAlgn="base">
              <a:lnSpc>
                <a:spcPct val="100000"/>
              </a:lnSpc>
              <a:spcBef>
                <a:spcPct val="0"/>
              </a:spcBef>
              <a:spcAft>
                <a:spcPct val="0"/>
              </a:spcAft>
              <a:buNone/>
              <a:defRPr/>
            </a:pPr>
            <a:r>
              <a:rPr lang="en-US" altLang="en-US" sz="900">
                <a:solidFill>
                  <a:srgbClr val="000000"/>
                </a:solidFill>
                <a:latin typeface="Calibri"/>
              </a:rPr>
              <a:t>20</a:t>
            </a:r>
          </a:p>
        </p:txBody>
      </p:sp>
      <p:sp>
        <p:nvSpPr>
          <p:cNvPr id="535" name="TextBox 760">
            <a:extLst>
              <a:ext uri="{FF2B5EF4-FFF2-40B4-BE49-F238E27FC236}">
                <a16:creationId xmlns:a16="http://schemas.microsoft.com/office/drawing/2014/main" id="{80864514-3778-4F1E-A3E7-741E6170EB63}"/>
              </a:ext>
            </a:extLst>
          </p:cNvPr>
          <p:cNvSpPr txBox="1">
            <a:spLocks noChangeArrowheads="1"/>
          </p:cNvSpPr>
          <p:nvPr/>
        </p:nvSpPr>
        <p:spPr bwMode="auto">
          <a:xfrm>
            <a:off x="5153100" y="2719388"/>
            <a:ext cx="115416"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r" defTabSz="456010" fontAlgn="base">
              <a:lnSpc>
                <a:spcPct val="100000"/>
              </a:lnSpc>
              <a:spcBef>
                <a:spcPct val="0"/>
              </a:spcBef>
              <a:spcAft>
                <a:spcPct val="0"/>
              </a:spcAft>
              <a:buNone/>
              <a:defRPr/>
            </a:pPr>
            <a:r>
              <a:rPr lang="en-US" altLang="en-US" sz="900">
                <a:solidFill>
                  <a:srgbClr val="000000"/>
                </a:solidFill>
                <a:latin typeface="Calibri"/>
              </a:rPr>
              <a:t>40</a:t>
            </a:r>
          </a:p>
        </p:txBody>
      </p:sp>
      <p:sp>
        <p:nvSpPr>
          <p:cNvPr id="536" name="TextBox 761">
            <a:extLst>
              <a:ext uri="{FF2B5EF4-FFF2-40B4-BE49-F238E27FC236}">
                <a16:creationId xmlns:a16="http://schemas.microsoft.com/office/drawing/2014/main" id="{7E9CCF0F-2F6F-4F9E-893D-4D9C79D70426}"/>
              </a:ext>
            </a:extLst>
          </p:cNvPr>
          <p:cNvSpPr txBox="1">
            <a:spLocks noChangeArrowheads="1"/>
          </p:cNvSpPr>
          <p:nvPr/>
        </p:nvSpPr>
        <p:spPr bwMode="auto">
          <a:xfrm>
            <a:off x="5153100" y="2322910"/>
            <a:ext cx="115416"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r" defTabSz="456010" fontAlgn="base">
              <a:lnSpc>
                <a:spcPct val="100000"/>
              </a:lnSpc>
              <a:spcBef>
                <a:spcPct val="0"/>
              </a:spcBef>
              <a:spcAft>
                <a:spcPct val="0"/>
              </a:spcAft>
              <a:buNone/>
              <a:defRPr/>
            </a:pPr>
            <a:r>
              <a:rPr lang="en-US" altLang="en-US" sz="900">
                <a:solidFill>
                  <a:srgbClr val="000000"/>
                </a:solidFill>
                <a:latin typeface="Calibri"/>
              </a:rPr>
              <a:t>60</a:t>
            </a:r>
          </a:p>
        </p:txBody>
      </p:sp>
      <p:sp>
        <p:nvSpPr>
          <p:cNvPr id="537" name="TextBox 762">
            <a:extLst>
              <a:ext uri="{FF2B5EF4-FFF2-40B4-BE49-F238E27FC236}">
                <a16:creationId xmlns:a16="http://schemas.microsoft.com/office/drawing/2014/main" id="{2FBF0DAB-CE45-450A-A029-B03E63F9AF90}"/>
              </a:ext>
            </a:extLst>
          </p:cNvPr>
          <p:cNvSpPr txBox="1">
            <a:spLocks noChangeArrowheads="1"/>
          </p:cNvSpPr>
          <p:nvPr/>
        </p:nvSpPr>
        <p:spPr bwMode="auto">
          <a:xfrm>
            <a:off x="5150719" y="1926432"/>
            <a:ext cx="115416"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r" defTabSz="456010" fontAlgn="base">
              <a:lnSpc>
                <a:spcPct val="100000"/>
              </a:lnSpc>
              <a:spcBef>
                <a:spcPct val="0"/>
              </a:spcBef>
              <a:spcAft>
                <a:spcPct val="0"/>
              </a:spcAft>
              <a:buNone/>
              <a:defRPr/>
            </a:pPr>
            <a:r>
              <a:rPr lang="en-US" altLang="en-US" sz="900">
                <a:solidFill>
                  <a:srgbClr val="000000"/>
                </a:solidFill>
                <a:latin typeface="Calibri"/>
              </a:rPr>
              <a:t>80</a:t>
            </a:r>
          </a:p>
        </p:txBody>
      </p:sp>
      <p:sp>
        <p:nvSpPr>
          <p:cNvPr id="538" name="TextBox 763">
            <a:extLst>
              <a:ext uri="{FF2B5EF4-FFF2-40B4-BE49-F238E27FC236}">
                <a16:creationId xmlns:a16="http://schemas.microsoft.com/office/drawing/2014/main" id="{F715088B-2808-4CC0-81AF-D1C080DB5F4B}"/>
              </a:ext>
            </a:extLst>
          </p:cNvPr>
          <p:cNvSpPr txBox="1">
            <a:spLocks noChangeArrowheads="1"/>
          </p:cNvSpPr>
          <p:nvPr/>
        </p:nvSpPr>
        <p:spPr bwMode="auto">
          <a:xfrm>
            <a:off x="5093010" y="1529954"/>
            <a:ext cx="173125"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r" defTabSz="456010" fontAlgn="base">
              <a:lnSpc>
                <a:spcPct val="100000"/>
              </a:lnSpc>
              <a:spcBef>
                <a:spcPct val="0"/>
              </a:spcBef>
              <a:spcAft>
                <a:spcPct val="0"/>
              </a:spcAft>
              <a:buNone/>
              <a:defRPr/>
            </a:pPr>
            <a:r>
              <a:rPr lang="en-US" altLang="en-US" sz="900">
                <a:solidFill>
                  <a:srgbClr val="000000"/>
                </a:solidFill>
                <a:latin typeface="Calibri"/>
              </a:rPr>
              <a:t>100</a:t>
            </a:r>
          </a:p>
        </p:txBody>
      </p:sp>
      <p:sp>
        <p:nvSpPr>
          <p:cNvPr id="539" name="TextBox 764">
            <a:extLst>
              <a:ext uri="{FF2B5EF4-FFF2-40B4-BE49-F238E27FC236}">
                <a16:creationId xmlns:a16="http://schemas.microsoft.com/office/drawing/2014/main" id="{4A023A1B-7495-49ED-AD8E-0E13D5FF7127}"/>
              </a:ext>
            </a:extLst>
          </p:cNvPr>
          <p:cNvSpPr txBox="1">
            <a:spLocks noChangeArrowheads="1"/>
          </p:cNvSpPr>
          <p:nvPr/>
        </p:nvSpPr>
        <p:spPr bwMode="auto">
          <a:xfrm>
            <a:off x="5310505" y="3611167"/>
            <a:ext cx="57708"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0</a:t>
            </a:r>
          </a:p>
        </p:txBody>
      </p:sp>
      <p:sp>
        <p:nvSpPr>
          <p:cNvPr id="540" name="TextBox 765">
            <a:extLst>
              <a:ext uri="{FF2B5EF4-FFF2-40B4-BE49-F238E27FC236}">
                <a16:creationId xmlns:a16="http://schemas.microsoft.com/office/drawing/2014/main" id="{FA5BABD3-7EFA-4096-A5F2-FC891F9EB56F}"/>
              </a:ext>
            </a:extLst>
          </p:cNvPr>
          <p:cNvSpPr txBox="1">
            <a:spLocks noChangeArrowheads="1"/>
          </p:cNvSpPr>
          <p:nvPr/>
        </p:nvSpPr>
        <p:spPr bwMode="auto">
          <a:xfrm>
            <a:off x="5490884" y="3611167"/>
            <a:ext cx="57708"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3</a:t>
            </a:r>
          </a:p>
        </p:txBody>
      </p:sp>
      <p:sp>
        <p:nvSpPr>
          <p:cNvPr id="541" name="TextBox 766">
            <a:extLst>
              <a:ext uri="{FF2B5EF4-FFF2-40B4-BE49-F238E27FC236}">
                <a16:creationId xmlns:a16="http://schemas.microsoft.com/office/drawing/2014/main" id="{84DF8E51-9478-4CDF-880D-93DCA52A9081}"/>
              </a:ext>
            </a:extLst>
          </p:cNvPr>
          <p:cNvSpPr txBox="1">
            <a:spLocks noChangeArrowheads="1"/>
          </p:cNvSpPr>
          <p:nvPr/>
        </p:nvSpPr>
        <p:spPr bwMode="auto">
          <a:xfrm>
            <a:off x="5671264" y="3611167"/>
            <a:ext cx="57708"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6</a:t>
            </a:r>
          </a:p>
        </p:txBody>
      </p:sp>
      <p:sp>
        <p:nvSpPr>
          <p:cNvPr id="542" name="TextBox 767">
            <a:extLst>
              <a:ext uri="{FF2B5EF4-FFF2-40B4-BE49-F238E27FC236}">
                <a16:creationId xmlns:a16="http://schemas.microsoft.com/office/drawing/2014/main" id="{9F72801A-4FC8-4093-99FA-7A7A9F9F267F}"/>
              </a:ext>
            </a:extLst>
          </p:cNvPr>
          <p:cNvSpPr txBox="1">
            <a:spLocks noChangeArrowheads="1"/>
          </p:cNvSpPr>
          <p:nvPr/>
        </p:nvSpPr>
        <p:spPr bwMode="auto">
          <a:xfrm>
            <a:off x="5851643" y="3611167"/>
            <a:ext cx="57708"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9</a:t>
            </a:r>
          </a:p>
        </p:txBody>
      </p:sp>
      <p:sp>
        <p:nvSpPr>
          <p:cNvPr id="543" name="TextBox 768">
            <a:extLst>
              <a:ext uri="{FF2B5EF4-FFF2-40B4-BE49-F238E27FC236}">
                <a16:creationId xmlns:a16="http://schemas.microsoft.com/office/drawing/2014/main" id="{A3AACDC0-4C46-4563-B607-255273760A6D}"/>
              </a:ext>
            </a:extLst>
          </p:cNvPr>
          <p:cNvSpPr txBox="1">
            <a:spLocks noChangeArrowheads="1"/>
          </p:cNvSpPr>
          <p:nvPr/>
        </p:nvSpPr>
        <p:spPr bwMode="auto">
          <a:xfrm>
            <a:off x="6003169"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12</a:t>
            </a:r>
          </a:p>
        </p:txBody>
      </p:sp>
      <p:sp>
        <p:nvSpPr>
          <p:cNvPr id="544" name="TextBox 769">
            <a:extLst>
              <a:ext uri="{FF2B5EF4-FFF2-40B4-BE49-F238E27FC236}">
                <a16:creationId xmlns:a16="http://schemas.microsoft.com/office/drawing/2014/main" id="{A6BF5ABB-D6C6-4579-8E5C-6FC0A07E0405}"/>
              </a:ext>
            </a:extLst>
          </p:cNvPr>
          <p:cNvSpPr txBox="1">
            <a:spLocks noChangeArrowheads="1"/>
          </p:cNvSpPr>
          <p:nvPr/>
        </p:nvSpPr>
        <p:spPr bwMode="auto">
          <a:xfrm>
            <a:off x="6182953"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15</a:t>
            </a:r>
          </a:p>
        </p:txBody>
      </p:sp>
      <p:sp>
        <p:nvSpPr>
          <p:cNvPr id="545" name="TextBox 770">
            <a:extLst>
              <a:ext uri="{FF2B5EF4-FFF2-40B4-BE49-F238E27FC236}">
                <a16:creationId xmlns:a16="http://schemas.microsoft.com/office/drawing/2014/main" id="{6359A4D0-7A0A-49BB-BE44-391EA53B81F7}"/>
              </a:ext>
            </a:extLst>
          </p:cNvPr>
          <p:cNvSpPr txBox="1">
            <a:spLocks noChangeArrowheads="1"/>
          </p:cNvSpPr>
          <p:nvPr/>
        </p:nvSpPr>
        <p:spPr bwMode="auto">
          <a:xfrm>
            <a:off x="6363928"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18</a:t>
            </a:r>
          </a:p>
        </p:txBody>
      </p:sp>
      <p:sp>
        <p:nvSpPr>
          <p:cNvPr id="546" name="TextBox 771">
            <a:extLst>
              <a:ext uri="{FF2B5EF4-FFF2-40B4-BE49-F238E27FC236}">
                <a16:creationId xmlns:a16="http://schemas.microsoft.com/office/drawing/2014/main" id="{0F395FD4-CB6B-4B74-824C-CA87BEE9781B}"/>
              </a:ext>
            </a:extLst>
          </p:cNvPr>
          <p:cNvSpPr txBox="1">
            <a:spLocks noChangeArrowheads="1"/>
          </p:cNvSpPr>
          <p:nvPr/>
        </p:nvSpPr>
        <p:spPr bwMode="auto">
          <a:xfrm>
            <a:off x="7625990"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39</a:t>
            </a:r>
          </a:p>
        </p:txBody>
      </p:sp>
      <p:sp>
        <p:nvSpPr>
          <p:cNvPr id="547" name="TextBox 772">
            <a:extLst>
              <a:ext uri="{FF2B5EF4-FFF2-40B4-BE49-F238E27FC236}">
                <a16:creationId xmlns:a16="http://schemas.microsoft.com/office/drawing/2014/main" id="{DC846584-4251-42DB-937E-F229073ACF49}"/>
              </a:ext>
            </a:extLst>
          </p:cNvPr>
          <p:cNvSpPr txBox="1">
            <a:spLocks noChangeArrowheads="1"/>
          </p:cNvSpPr>
          <p:nvPr/>
        </p:nvSpPr>
        <p:spPr bwMode="auto">
          <a:xfrm>
            <a:off x="6237644" y="3740944"/>
            <a:ext cx="5501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Months</a:t>
            </a:r>
          </a:p>
        </p:txBody>
      </p:sp>
      <p:sp>
        <p:nvSpPr>
          <p:cNvPr id="548" name="TextBox 773">
            <a:extLst>
              <a:ext uri="{FF2B5EF4-FFF2-40B4-BE49-F238E27FC236}">
                <a16:creationId xmlns:a16="http://schemas.microsoft.com/office/drawing/2014/main" id="{7692E27C-173A-4C9D-BF56-D487DF6EF3C5}"/>
              </a:ext>
            </a:extLst>
          </p:cNvPr>
          <p:cNvSpPr txBox="1">
            <a:spLocks noChangeArrowheads="1"/>
          </p:cNvSpPr>
          <p:nvPr/>
        </p:nvSpPr>
        <p:spPr bwMode="auto">
          <a:xfrm>
            <a:off x="6904472"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27</a:t>
            </a:r>
          </a:p>
        </p:txBody>
      </p:sp>
      <p:cxnSp>
        <p:nvCxnSpPr>
          <p:cNvPr id="549" name="Straight Connector 774">
            <a:extLst>
              <a:ext uri="{FF2B5EF4-FFF2-40B4-BE49-F238E27FC236}">
                <a16:creationId xmlns:a16="http://schemas.microsoft.com/office/drawing/2014/main" id="{DE463098-44A9-4242-943D-68190A75244D}"/>
              </a:ext>
            </a:extLst>
          </p:cNvPr>
          <p:cNvCxnSpPr>
            <a:cxnSpLocks noChangeShapeType="1"/>
          </p:cNvCxnSpPr>
          <p:nvPr/>
        </p:nvCxnSpPr>
        <p:spPr bwMode="auto">
          <a:xfrm flipV="1">
            <a:off x="5339954"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50" name="Straight Connector 775">
            <a:extLst>
              <a:ext uri="{FF2B5EF4-FFF2-40B4-BE49-F238E27FC236}">
                <a16:creationId xmlns:a16="http://schemas.microsoft.com/office/drawing/2014/main" id="{71590C54-3AF0-42C7-8A0B-AFD7906EFA2E}"/>
              </a:ext>
            </a:extLst>
          </p:cNvPr>
          <p:cNvCxnSpPr>
            <a:cxnSpLocks noChangeShapeType="1"/>
          </p:cNvCxnSpPr>
          <p:nvPr/>
        </p:nvCxnSpPr>
        <p:spPr bwMode="auto">
          <a:xfrm flipV="1">
            <a:off x="5519738"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51" name="Straight Connector 776">
            <a:extLst>
              <a:ext uri="{FF2B5EF4-FFF2-40B4-BE49-F238E27FC236}">
                <a16:creationId xmlns:a16="http://schemas.microsoft.com/office/drawing/2014/main" id="{42F1B9BB-0477-43DC-8853-3B70CACDAA7A}"/>
              </a:ext>
            </a:extLst>
          </p:cNvPr>
          <p:cNvCxnSpPr>
            <a:cxnSpLocks noChangeShapeType="1"/>
          </p:cNvCxnSpPr>
          <p:nvPr/>
        </p:nvCxnSpPr>
        <p:spPr bwMode="auto">
          <a:xfrm flipV="1">
            <a:off x="5700713"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52" name="Straight Connector 777">
            <a:extLst>
              <a:ext uri="{FF2B5EF4-FFF2-40B4-BE49-F238E27FC236}">
                <a16:creationId xmlns:a16="http://schemas.microsoft.com/office/drawing/2014/main" id="{DAD1EF37-33F7-4EF8-8127-D23EF87059A2}"/>
              </a:ext>
            </a:extLst>
          </p:cNvPr>
          <p:cNvCxnSpPr>
            <a:cxnSpLocks noChangeShapeType="1"/>
          </p:cNvCxnSpPr>
          <p:nvPr/>
        </p:nvCxnSpPr>
        <p:spPr bwMode="auto">
          <a:xfrm flipV="1">
            <a:off x="5880497"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53" name="Straight Connector 778">
            <a:extLst>
              <a:ext uri="{FF2B5EF4-FFF2-40B4-BE49-F238E27FC236}">
                <a16:creationId xmlns:a16="http://schemas.microsoft.com/office/drawing/2014/main" id="{1C18B385-1F4E-4F06-9AD4-6305C7F7AC8A}"/>
              </a:ext>
            </a:extLst>
          </p:cNvPr>
          <p:cNvCxnSpPr>
            <a:cxnSpLocks noChangeShapeType="1"/>
          </p:cNvCxnSpPr>
          <p:nvPr/>
        </p:nvCxnSpPr>
        <p:spPr bwMode="auto">
          <a:xfrm flipV="1">
            <a:off x="6061472"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54" name="Straight Connector 779">
            <a:extLst>
              <a:ext uri="{FF2B5EF4-FFF2-40B4-BE49-F238E27FC236}">
                <a16:creationId xmlns:a16="http://schemas.microsoft.com/office/drawing/2014/main" id="{5FD563D0-7E9C-47E1-924B-32EFE3E0D8E8}"/>
              </a:ext>
            </a:extLst>
          </p:cNvPr>
          <p:cNvCxnSpPr>
            <a:cxnSpLocks noChangeShapeType="1"/>
          </p:cNvCxnSpPr>
          <p:nvPr/>
        </p:nvCxnSpPr>
        <p:spPr bwMode="auto">
          <a:xfrm flipV="1">
            <a:off x="6241256"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55" name="Straight Connector 780">
            <a:extLst>
              <a:ext uri="{FF2B5EF4-FFF2-40B4-BE49-F238E27FC236}">
                <a16:creationId xmlns:a16="http://schemas.microsoft.com/office/drawing/2014/main" id="{29F34B1F-6E5B-4331-9A4E-13DB0B6B9444}"/>
              </a:ext>
            </a:extLst>
          </p:cNvPr>
          <p:cNvCxnSpPr>
            <a:cxnSpLocks noChangeShapeType="1"/>
          </p:cNvCxnSpPr>
          <p:nvPr/>
        </p:nvCxnSpPr>
        <p:spPr bwMode="auto">
          <a:xfrm flipV="1">
            <a:off x="6422231"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56" name="Straight Connector 781">
            <a:extLst>
              <a:ext uri="{FF2B5EF4-FFF2-40B4-BE49-F238E27FC236}">
                <a16:creationId xmlns:a16="http://schemas.microsoft.com/office/drawing/2014/main" id="{234E266D-859B-43E3-AAA3-DEDE523356D8}"/>
              </a:ext>
            </a:extLst>
          </p:cNvPr>
          <p:cNvCxnSpPr>
            <a:cxnSpLocks noChangeShapeType="1"/>
          </p:cNvCxnSpPr>
          <p:nvPr/>
        </p:nvCxnSpPr>
        <p:spPr bwMode="auto">
          <a:xfrm flipV="1">
            <a:off x="7684294"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57" name="Straight Connector 782">
            <a:extLst>
              <a:ext uri="{FF2B5EF4-FFF2-40B4-BE49-F238E27FC236}">
                <a16:creationId xmlns:a16="http://schemas.microsoft.com/office/drawing/2014/main" id="{B10EAFF5-8C97-436F-82A2-D46BD2EFCC47}"/>
              </a:ext>
            </a:extLst>
          </p:cNvPr>
          <p:cNvCxnSpPr>
            <a:cxnSpLocks noChangeShapeType="1"/>
          </p:cNvCxnSpPr>
          <p:nvPr/>
        </p:nvCxnSpPr>
        <p:spPr bwMode="auto">
          <a:xfrm flipV="1">
            <a:off x="6602016"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58" name="TextBox 557">
            <a:extLst>
              <a:ext uri="{FF2B5EF4-FFF2-40B4-BE49-F238E27FC236}">
                <a16:creationId xmlns:a16="http://schemas.microsoft.com/office/drawing/2014/main" id="{0DBC7EF4-5F45-44F6-9466-84DF511B92F0}"/>
              </a:ext>
            </a:extLst>
          </p:cNvPr>
          <p:cNvSpPr txBox="1"/>
          <p:nvPr/>
        </p:nvSpPr>
        <p:spPr>
          <a:xfrm>
            <a:off x="5270108" y="4011217"/>
            <a:ext cx="138500"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5</a:t>
            </a:r>
          </a:p>
          <a:p>
            <a:pPr algn="ctr" defTabSz="457178">
              <a:defRPr/>
            </a:pPr>
            <a:r>
              <a:rPr lang="en-US" sz="800" spc="-40">
                <a:solidFill>
                  <a:prstClr val="black"/>
                </a:solidFill>
                <a:latin typeface="Calibri"/>
                <a:ea typeface="Geneva" charset="0"/>
              </a:rPr>
              <a:t>96</a:t>
            </a:r>
          </a:p>
          <a:p>
            <a:pPr algn="ctr" defTabSz="457178">
              <a:defRPr/>
            </a:pPr>
            <a:r>
              <a:rPr lang="en-US" sz="800" spc="-40">
                <a:solidFill>
                  <a:prstClr val="black"/>
                </a:solidFill>
                <a:latin typeface="Calibri"/>
                <a:ea typeface="Geneva" charset="0"/>
              </a:rPr>
              <a:t>331</a:t>
            </a:r>
          </a:p>
          <a:p>
            <a:pPr algn="ctr" defTabSz="457178">
              <a:defRPr/>
            </a:pPr>
            <a:r>
              <a:rPr lang="en-US" sz="800" spc="-40">
                <a:solidFill>
                  <a:prstClr val="black"/>
                </a:solidFill>
                <a:latin typeface="Calibri"/>
                <a:ea typeface="Geneva" charset="0"/>
              </a:rPr>
              <a:t>254</a:t>
            </a:r>
          </a:p>
        </p:txBody>
      </p:sp>
      <p:sp>
        <p:nvSpPr>
          <p:cNvPr id="559" name="TextBox 558">
            <a:extLst>
              <a:ext uri="{FF2B5EF4-FFF2-40B4-BE49-F238E27FC236}">
                <a16:creationId xmlns:a16="http://schemas.microsoft.com/office/drawing/2014/main" id="{DC81A17D-5B8B-49D5-AEF5-2D4C857E50DB}"/>
              </a:ext>
            </a:extLst>
          </p:cNvPr>
          <p:cNvSpPr txBox="1"/>
          <p:nvPr/>
        </p:nvSpPr>
        <p:spPr>
          <a:xfrm>
            <a:off x="5450488" y="4011217"/>
            <a:ext cx="138500"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5</a:t>
            </a:r>
          </a:p>
          <a:p>
            <a:pPr algn="ctr" defTabSz="457178">
              <a:defRPr/>
            </a:pPr>
            <a:r>
              <a:rPr lang="en-US" sz="800" spc="-40">
                <a:solidFill>
                  <a:prstClr val="black"/>
                </a:solidFill>
                <a:latin typeface="Calibri"/>
                <a:ea typeface="Geneva" charset="0"/>
              </a:rPr>
              <a:t>96</a:t>
            </a:r>
          </a:p>
          <a:p>
            <a:pPr algn="ctr" defTabSz="457178">
              <a:defRPr/>
            </a:pPr>
            <a:r>
              <a:rPr lang="en-US" sz="800" spc="-40">
                <a:solidFill>
                  <a:prstClr val="black"/>
                </a:solidFill>
                <a:latin typeface="Calibri"/>
                <a:ea typeface="Geneva" charset="0"/>
              </a:rPr>
              <a:t>279</a:t>
            </a:r>
          </a:p>
          <a:p>
            <a:pPr algn="ctr" defTabSz="457178">
              <a:defRPr/>
            </a:pPr>
            <a:r>
              <a:rPr lang="en-US" sz="800" spc="-40">
                <a:solidFill>
                  <a:prstClr val="black"/>
                </a:solidFill>
                <a:latin typeface="Calibri"/>
                <a:ea typeface="Geneva" charset="0"/>
              </a:rPr>
              <a:t>226</a:t>
            </a:r>
          </a:p>
        </p:txBody>
      </p:sp>
      <p:sp>
        <p:nvSpPr>
          <p:cNvPr id="560" name="TextBox 559">
            <a:extLst>
              <a:ext uri="{FF2B5EF4-FFF2-40B4-BE49-F238E27FC236}">
                <a16:creationId xmlns:a16="http://schemas.microsoft.com/office/drawing/2014/main" id="{D6763E57-0571-480D-915F-4A361DF3B627}"/>
              </a:ext>
            </a:extLst>
          </p:cNvPr>
          <p:cNvSpPr txBox="1"/>
          <p:nvPr/>
        </p:nvSpPr>
        <p:spPr>
          <a:xfrm>
            <a:off x="5630868" y="4011217"/>
            <a:ext cx="138500"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5</a:t>
            </a:r>
          </a:p>
          <a:p>
            <a:pPr algn="ctr" defTabSz="457178">
              <a:defRPr/>
            </a:pPr>
            <a:r>
              <a:rPr lang="en-US" sz="800" spc="-40">
                <a:solidFill>
                  <a:prstClr val="black"/>
                </a:solidFill>
                <a:latin typeface="Calibri"/>
                <a:ea typeface="Geneva" charset="0"/>
              </a:rPr>
              <a:t>96</a:t>
            </a:r>
          </a:p>
          <a:p>
            <a:pPr algn="ctr" defTabSz="457178">
              <a:defRPr/>
            </a:pPr>
            <a:r>
              <a:rPr lang="en-US" sz="800" spc="-40">
                <a:solidFill>
                  <a:prstClr val="black"/>
                </a:solidFill>
                <a:latin typeface="Calibri"/>
                <a:ea typeface="Geneva" charset="0"/>
              </a:rPr>
              <a:t>252</a:t>
            </a:r>
          </a:p>
          <a:p>
            <a:pPr algn="ctr" defTabSz="457178">
              <a:defRPr/>
            </a:pPr>
            <a:r>
              <a:rPr lang="en-US" sz="800" spc="-40">
                <a:solidFill>
                  <a:prstClr val="black"/>
                </a:solidFill>
                <a:latin typeface="Calibri"/>
                <a:ea typeface="Geneva" charset="0"/>
              </a:rPr>
              <a:t>216</a:t>
            </a:r>
          </a:p>
        </p:txBody>
      </p:sp>
      <p:sp>
        <p:nvSpPr>
          <p:cNvPr id="561" name="TextBox 560">
            <a:extLst>
              <a:ext uri="{FF2B5EF4-FFF2-40B4-BE49-F238E27FC236}">
                <a16:creationId xmlns:a16="http://schemas.microsoft.com/office/drawing/2014/main" id="{A8BB2CA6-6026-4C54-96F5-99990A8B83D1}"/>
              </a:ext>
            </a:extLst>
          </p:cNvPr>
          <p:cNvSpPr txBox="1"/>
          <p:nvPr/>
        </p:nvSpPr>
        <p:spPr>
          <a:xfrm>
            <a:off x="5811247" y="4011217"/>
            <a:ext cx="138500"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5</a:t>
            </a:r>
          </a:p>
          <a:p>
            <a:pPr algn="ctr" defTabSz="457178">
              <a:defRPr/>
            </a:pPr>
            <a:r>
              <a:rPr lang="en-US" sz="800" spc="-40">
                <a:solidFill>
                  <a:prstClr val="black"/>
                </a:solidFill>
                <a:latin typeface="Calibri"/>
                <a:ea typeface="Geneva" charset="0"/>
              </a:rPr>
              <a:t>95</a:t>
            </a:r>
          </a:p>
          <a:p>
            <a:pPr algn="ctr" defTabSz="457178">
              <a:defRPr/>
            </a:pPr>
            <a:r>
              <a:rPr lang="en-US" sz="800" spc="-40">
                <a:solidFill>
                  <a:prstClr val="black"/>
                </a:solidFill>
                <a:latin typeface="Calibri"/>
                <a:ea typeface="Geneva" charset="0"/>
              </a:rPr>
              <a:t>237</a:t>
            </a:r>
          </a:p>
          <a:p>
            <a:pPr algn="ctr" defTabSz="457178">
              <a:defRPr/>
            </a:pPr>
            <a:r>
              <a:rPr lang="en-US" sz="800" spc="-40">
                <a:solidFill>
                  <a:prstClr val="black"/>
                </a:solidFill>
                <a:latin typeface="Calibri"/>
                <a:ea typeface="Geneva" charset="0"/>
              </a:rPr>
              <a:t>203</a:t>
            </a:r>
          </a:p>
        </p:txBody>
      </p:sp>
      <p:sp>
        <p:nvSpPr>
          <p:cNvPr id="562" name="TextBox 561">
            <a:extLst>
              <a:ext uri="{FF2B5EF4-FFF2-40B4-BE49-F238E27FC236}">
                <a16:creationId xmlns:a16="http://schemas.microsoft.com/office/drawing/2014/main" id="{90000241-5427-47B8-8B63-ADF21709934A}"/>
              </a:ext>
            </a:extLst>
          </p:cNvPr>
          <p:cNvSpPr txBox="1"/>
          <p:nvPr/>
        </p:nvSpPr>
        <p:spPr>
          <a:xfrm>
            <a:off x="5991627" y="4011217"/>
            <a:ext cx="138500"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5</a:t>
            </a:r>
          </a:p>
          <a:p>
            <a:pPr algn="ctr" defTabSz="457178">
              <a:defRPr/>
            </a:pPr>
            <a:r>
              <a:rPr lang="en-US" sz="800" spc="-40">
                <a:solidFill>
                  <a:prstClr val="black"/>
                </a:solidFill>
                <a:latin typeface="Calibri"/>
                <a:ea typeface="Geneva" charset="0"/>
              </a:rPr>
              <a:t>93</a:t>
            </a:r>
          </a:p>
          <a:p>
            <a:pPr algn="ctr" defTabSz="457178">
              <a:defRPr/>
            </a:pPr>
            <a:r>
              <a:rPr lang="en-US" sz="800" spc="-40">
                <a:solidFill>
                  <a:prstClr val="black"/>
                </a:solidFill>
                <a:latin typeface="Calibri"/>
                <a:ea typeface="Geneva" charset="0"/>
              </a:rPr>
              <a:t>220</a:t>
            </a:r>
          </a:p>
          <a:p>
            <a:pPr algn="ctr" defTabSz="457178">
              <a:defRPr/>
            </a:pPr>
            <a:r>
              <a:rPr lang="en-US" sz="800" spc="-40">
                <a:solidFill>
                  <a:prstClr val="black"/>
                </a:solidFill>
                <a:latin typeface="Calibri"/>
                <a:ea typeface="Geneva" charset="0"/>
              </a:rPr>
              <a:t>199</a:t>
            </a:r>
          </a:p>
        </p:txBody>
      </p:sp>
      <p:sp>
        <p:nvSpPr>
          <p:cNvPr id="563" name="TextBox 562">
            <a:extLst>
              <a:ext uri="{FF2B5EF4-FFF2-40B4-BE49-F238E27FC236}">
                <a16:creationId xmlns:a16="http://schemas.microsoft.com/office/drawing/2014/main" id="{D5B84C05-4B5E-470A-9C44-C9067298CF66}"/>
              </a:ext>
            </a:extLst>
          </p:cNvPr>
          <p:cNvSpPr txBox="1"/>
          <p:nvPr/>
        </p:nvSpPr>
        <p:spPr>
          <a:xfrm>
            <a:off x="6172007" y="4011217"/>
            <a:ext cx="138500"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4</a:t>
            </a:r>
          </a:p>
          <a:p>
            <a:pPr algn="ctr" defTabSz="457178">
              <a:defRPr/>
            </a:pPr>
            <a:r>
              <a:rPr lang="en-US" sz="800" spc="-40">
                <a:solidFill>
                  <a:prstClr val="black"/>
                </a:solidFill>
                <a:latin typeface="Calibri"/>
                <a:ea typeface="Geneva" charset="0"/>
              </a:rPr>
              <a:t>92</a:t>
            </a:r>
          </a:p>
          <a:p>
            <a:pPr algn="ctr" defTabSz="457178">
              <a:defRPr/>
            </a:pPr>
            <a:r>
              <a:rPr lang="en-US" sz="800" spc="-40">
                <a:solidFill>
                  <a:prstClr val="black"/>
                </a:solidFill>
                <a:latin typeface="Calibri"/>
                <a:ea typeface="Geneva" charset="0"/>
              </a:rPr>
              <a:t>182</a:t>
            </a:r>
          </a:p>
          <a:p>
            <a:pPr algn="ctr" defTabSz="457178">
              <a:defRPr/>
            </a:pPr>
            <a:r>
              <a:rPr lang="en-US" sz="800" spc="-40">
                <a:solidFill>
                  <a:prstClr val="black"/>
                </a:solidFill>
                <a:latin typeface="Calibri"/>
                <a:ea typeface="Geneva" charset="0"/>
              </a:rPr>
              <a:t>173</a:t>
            </a:r>
          </a:p>
        </p:txBody>
      </p:sp>
      <p:sp>
        <p:nvSpPr>
          <p:cNvPr id="564" name="TextBox 563">
            <a:extLst>
              <a:ext uri="{FF2B5EF4-FFF2-40B4-BE49-F238E27FC236}">
                <a16:creationId xmlns:a16="http://schemas.microsoft.com/office/drawing/2014/main" id="{D2FC3D70-FFF1-4AA1-ACCB-21B6903E46A7}"/>
              </a:ext>
            </a:extLst>
          </p:cNvPr>
          <p:cNvSpPr txBox="1"/>
          <p:nvPr/>
        </p:nvSpPr>
        <p:spPr>
          <a:xfrm>
            <a:off x="6352387" y="4011217"/>
            <a:ext cx="138500"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4</a:t>
            </a:r>
          </a:p>
          <a:p>
            <a:pPr algn="ctr" defTabSz="457178">
              <a:defRPr/>
            </a:pPr>
            <a:r>
              <a:rPr lang="en-US" sz="800" spc="-40">
                <a:solidFill>
                  <a:prstClr val="black"/>
                </a:solidFill>
                <a:latin typeface="Calibri"/>
                <a:ea typeface="Geneva" charset="0"/>
              </a:rPr>
              <a:t>89</a:t>
            </a:r>
          </a:p>
          <a:p>
            <a:pPr algn="ctr" defTabSz="457178">
              <a:defRPr/>
            </a:pPr>
            <a:r>
              <a:rPr lang="en-US" sz="800" spc="-40">
                <a:solidFill>
                  <a:prstClr val="black"/>
                </a:solidFill>
                <a:latin typeface="Calibri"/>
                <a:ea typeface="Geneva" charset="0"/>
              </a:rPr>
              <a:t>145</a:t>
            </a:r>
          </a:p>
          <a:p>
            <a:pPr algn="ctr" defTabSz="457178">
              <a:defRPr/>
            </a:pPr>
            <a:r>
              <a:rPr lang="en-US" sz="800" spc="-40">
                <a:solidFill>
                  <a:prstClr val="black"/>
                </a:solidFill>
                <a:latin typeface="Calibri"/>
                <a:ea typeface="Geneva" charset="0"/>
              </a:rPr>
              <a:t>154</a:t>
            </a:r>
          </a:p>
        </p:txBody>
      </p:sp>
      <p:sp>
        <p:nvSpPr>
          <p:cNvPr id="565" name="TextBox 564">
            <a:extLst>
              <a:ext uri="{FF2B5EF4-FFF2-40B4-BE49-F238E27FC236}">
                <a16:creationId xmlns:a16="http://schemas.microsoft.com/office/drawing/2014/main" id="{050444FE-4DAE-4E67-8F83-A7EFF1829A17}"/>
              </a:ext>
            </a:extLst>
          </p:cNvPr>
          <p:cNvSpPr txBox="1"/>
          <p:nvPr/>
        </p:nvSpPr>
        <p:spPr>
          <a:xfrm>
            <a:off x="7660615" y="4011217"/>
            <a:ext cx="46167"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0</a:t>
            </a:r>
          </a:p>
          <a:p>
            <a:pPr algn="ctr" defTabSz="457178">
              <a:defRPr/>
            </a:pPr>
            <a:r>
              <a:rPr lang="en-US" sz="800" spc="-40">
                <a:solidFill>
                  <a:prstClr val="black"/>
                </a:solidFill>
                <a:latin typeface="Calibri"/>
                <a:ea typeface="Geneva" charset="0"/>
              </a:rPr>
              <a:t>0</a:t>
            </a:r>
          </a:p>
          <a:p>
            <a:pPr algn="ctr" defTabSz="457178">
              <a:defRPr/>
            </a:pPr>
            <a:r>
              <a:rPr lang="en-US" sz="800" spc="-40">
                <a:solidFill>
                  <a:prstClr val="black"/>
                </a:solidFill>
                <a:latin typeface="Calibri"/>
                <a:ea typeface="Geneva" charset="0"/>
              </a:rPr>
              <a:t>0</a:t>
            </a:r>
          </a:p>
          <a:p>
            <a:pPr algn="ctr" defTabSz="457178">
              <a:defRPr/>
            </a:pPr>
            <a:r>
              <a:rPr lang="en-US" sz="800" spc="-40">
                <a:solidFill>
                  <a:prstClr val="black"/>
                </a:solidFill>
                <a:latin typeface="Calibri"/>
                <a:ea typeface="Geneva" charset="0"/>
              </a:rPr>
              <a:t>0</a:t>
            </a:r>
          </a:p>
        </p:txBody>
      </p:sp>
      <p:sp>
        <p:nvSpPr>
          <p:cNvPr id="566" name="TextBox 565">
            <a:extLst>
              <a:ext uri="{FF2B5EF4-FFF2-40B4-BE49-F238E27FC236}">
                <a16:creationId xmlns:a16="http://schemas.microsoft.com/office/drawing/2014/main" id="{FACF7B47-E269-4B47-BF5D-5FFE3941AE71}"/>
              </a:ext>
            </a:extLst>
          </p:cNvPr>
          <p:cNvSpPr txBox="1"/>
          <p:nvPr/>
        </p:nvSpPr>
        <p:spPr>
          <a:xfrm>
            <a:off x="6713146" y="4011217"/>
            <a:ext cx="138500"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0</a:t>
            </a:r>
          </a:p>
          <a:p>
            <a:pPr algn="ctr" defTabSz="457178">
              <a:defRPr/>
            </a:pPr>
            <a:r>
              <a:rPr lang="en-US" sz="800" spc="-40">
                <a:solidFill>
                  <a:prstClr val="black"/>
                </a:solidFill>
                <a:latin typeface="Calibri"/>
                <a:ea typeface="Geneva" charset="0"/>
              </a:rPr>
              <a:t>77</a:t>
            </a:r>
          </a:p>
          <a:p>
            <a:pPr algn="ctr" defTabSz="457178">
              <a:defRPr/>
            </a:pPr>
            <a:r>
              <a:rPr lang="en-US" sz="800" spc="-40">
                <a:solidFill>
                  <a:prstClr val="black"/>
                </a:solidFill>
                <a:latin typeface="Calibri"/>
                <a:ea typeface="Geneva" charset="0"/>
              </a:rPr>
              <a:t>82</a:t>
            </a:r>
          </a:p>
          <a:p>
            <a:pPr algn="ctr" defTabSz="457178">
              <a:defRPr/>
            </a:pPr>
            <a:r>
              <a:rPr lang="en-US" sz="800" spc="-40">
                <a:solidFill>
                  <a:prstClr val="black"/>
                </a:solidFill>
                <a:latin typeface="Calibri"/>
                <a:ea typeface="Geneva" charset="0"/>
              </a:rPr>
              <a:t>126</a:t>
            </a:r>
          </a:p>
        </p:txBody>
      </p:sp>
      <p:sp>
        <p:nvSpPr>
          <p:cNvPr id="567" name="TextBox 566">
            <a:extLst>
              <a:ext uri="{FF2B5EF4-FFF2-40B4-BE49-F238E27FC236}">
                <a16:creationId xmlns:a16="http://schemas.microsoft.com/office/drawing/2014/main" id="{BA186EF8-A2B1-4197-B35B-6172816DFD0C}"/>
              </a:ext>
            </a:extLst>
          </p:cNvPr>
          <p:cNvSpPr txBox="1"/>
          <p:nvPr/>
        </p:nvSpPr>
        <p:spPr>
          <a:xfrm>
            <a:off x="4299565" y="3895725"/>
            <a:ext cx="873702" cy="738664"/>
          </a:xfrm>
          <a:prstGeom prst="rect">
            <a:avLst/>
          </a:prstGeom>
          <a:noFill/>
          <a:ln>
            <a:noFill/>
          </a:ln>
        </p:spPr>
        <p:txBody>
          <a:bodyPr wrap="none" lIns="0" tIns="0" rIns="0" bIns="0">
            <a:spAutoFit/>
          </a:bodyPr>
          <a:lstStyle/>
          <a:p>
            <a:pPr algn="r" defTabSz="457178">
              <a:defRPr/>
            </a:pPr>
            <a:r>
              <a:rPr lang="en-US" sz="800">
                <a:solidFill>
                  <a:prstClr val="black"/>
                </a:solidFill>
                <a:latin typeface="Calibri"/>
                <a:ea typeface="Geneva" charset="0"/>
              </a:rPr>
              <a:t>No. at risk</a:t>
            </a:r>
          </a:p>
          <a:p>
            <a:pPr algn="r" defTabSz="457178">
              <a:defRPr/>
            </a:pPr>
            <a:r>
              <a:rPr lang="en-US" sz="800">
                <a:solidFill>
                  <a:prstClr val="black"/>
                </a:solidFill>
                <a:latin typeface="Calibri"/>
                <a:ea typeface="Geneva" charset="0"/>
              </a:rPr>
              <a:t>VMP MRD negative</a:t>
            </a:r>
          </a:p>
          <a:p>
            <a:pPr algn="r" defTabSz="457178">
              <a:defRPr/>
            </a:pPr>
            <a:r>
              <a:rPr lang="en-US" sz="800">
                <a:solidFill>
                  <a:prstClr val="black"/>
                </a:solidFill>
                <a:latin typeface="Calibri"/>
                <a:ea typeface="Geneva" charset="0"/>
              </a:rPr>
              <a:t>DVMP MRD negative</a:t>
            </a:r>
          </a:p>
          <a:p>
            <a:pPr algn="r" defTabSz="457178">
              <a:defRPr/>
            </a:pPr>
            <a:r>
              <a:rPr lang="en-US" sz="800">
                <a:solidFill>
                  <a:prstClr val="black"/>
                </a:solidFill>
                <a:latin typeface="Calibri"/>
                <a:ea typeface="Geneva" charset="0"/>
              </a:rPr>
              <a:t>VMP MRD positive</a:t>
            </a:r>
          </a:p>
          <a:p>
            <a:pPr algn="r" defTabSz="457178">
              <a:defRPr/>
            </a:pPr>
            <a:r>
              <a:rPr lang="en-US" sz="800">
                <a:solidFill>
                  <a:prstClr val="black"/>
                </a:solidFill>
                <a:latin typeface="Calibri"/>
                <a:ea typeface="Geneva" charset="0"/>
              </a:rPr>
              <a:t>D-VMP MRD positive</a:t>
            </a:r>
          </a:p>
          <a:p>
            <a:pPr algn="r" defTabSz="457178">
              <a:defRPr/>
            </a:pPr>
            <a:endParaRPr lang="en-US" sz="800">
              <a:solidFill>
                <a:prstClr val="black"/>
              </a:solidFill>
              <a:latin typeface="Calibri"/>
              <a:ea typeface="Geneva" charset="0"/>
            </a:endParaRPr>
          </a:p>
        </p:txBody>
      </p:sp>
      <p:sp>
        <p:nvSpPr>
          <p:cNvPr id="568" name="TextBox 793">
            <a:extLst>
              <a:ext uri="{FF2B5EF4-FFF2-40B4-BE49-F238E27FC236}">
                <a16:creationId xmlns:a16="http://schemas.microsoft.com/office/drawing/2014/main" id="{99C46994-3B5E-4348-99AB-F8DACFDCBAD1}"/>
              </a:ext>
            </a:extLst>
          </p:cNvPr>
          <p:cNvSpPr txBox="1">
            <a:spLocks noChangeArrowheads="1"/>
          </p:cNvSpPr>
          <p:nvPr/>
        </p:nvSpPr>
        <p:spPr bwMode="auto">
          <a:xfrm>
            <a:off x="6543713"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21</a:t>
            </a:r>
          </a:p>
        </p:txBody>
      </p:sp>
      <p:cxnSp>
        <p:nvCxnSpPr>
          <p:cNvPr id="569" name="Straight Connector 794">
            <a:extLst>
              <a:ext uri="{FF2B5EF4-FFF2-40B4-BE49-F238E27FC236}">
                <a16:creationId xmlns:a16="http://schemas.microsoft.com/office/drawing/2014/main" id="{A2A8C7D0-06F4-4896-911F-E9160C39E131}"/>
              </a:ext>
            </a:extLst>
          </p:cNvPr>
          <p:cNvCxnSpPr>
            <a:cxnSpLocks noChangeShapeType="1"/>
          </p:cNvCxnSpPr>
          <p:nvPr/>
        </p:nvCxnSpPr>
        <p:spPr bwMode="auto">
          <a:xfrm flipV="1">
            <a:off x="6782991"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70" name="TextBox 795">
            <a:extLst>
              <a:ext uri="{FF2B5EF4-FFF2-40B4-BE49-F238E27FC236}">
                <a16:creationId xmlns:a16="http://schemas.microsoft.com/office/drawing/2014/main" id="{46BC1800-6B4E-4B9D-A294-D121693C7F79}"/>
              </a:ext>
            </a:extLst>
          </p:cNvPr>
          <p:cNvSpPr txBox="1">
            <a:spLocks noChangeArrowheads="1"/>
          </p:cNvSpPr>
          <p:nvPr/>
        </p:nvSpPr>
        <p:spPr bwMode="auto">
          <a:xfrm>
            <a:off x="6724688"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24</a:t>
            </a:r>
          </a:p>
        </p:txBody>
      </p:sp>
      <p:cxnSp>
        <p:nvCxnSpPr>
          <p:cNvPr id="571" name="Straight Connector 796">
            <a:extLst>
              <a:ext uri="{FF2B5EF4-FFF2-40B4-BE49-F238E27FC236}">
                <a16:creationId xmlns:a16="http://schemas.microsoft.com/office/drawing/2014/main" id="{014A22B7-72D4-44A6-9A58-37A5626D3A11}"/>
              </a:ext>
            </a:extLst>
          </p:cNvPr>
          <p:cNvCxnSpPr>
            <a:cxnSpLocks noChangeShapeType="1"/>
          </p:cNvCxnSpPr>
          <p:nvPr/>
        </p:nvCxnSpPr>
        <p:spPr bwMode="auto">
          <a:xfrm flipV="1">
            <a:off x="6962775"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72" name="TextBox 797">
            <a:extLst>
              <a:ext uri="{FF2B5EF4-FFF2-40B4-BE49-F238E27FC236}">
                <a16:creationId xmlns:a16="http://schemas.microsoft.com/office/drawing/2014/main" id="{6F3E6E87-21F4-40AF-B5BB-945712DFB330}"/>
              </a:ext>
            </a:extLst>
          </p:cNvPr>
          <p:cNvSpPr txBox="1">
            <a:spLocks noChangeArrowheads="1"/>
          </p:cNvSpPr>
          <p:nvPr/>
        </p:nvSpPr>
        <p:spPr bwMode="auto">
          <a:xfrm>
            <a:off x="7085447"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30</a:t>
            </a:r>
          </a:p>
        </p:txBody>
      </p:sp>
      <p:cxnSp>
        <p:nvCxnSpPr>
          <p:cNvPr id="573" name="Straight Connector 798">
            <a:extLst>
              <a:ext uri="{FF2B5EF4-FFF2-40B4-BE49-F238E27FC236}">
                <a16:creationId xmlns:a16="http://schemas.microsoft.com/office/drawing/2014/main" id="{19D8596D-B1BB-4ABD-BF35-585EBF5F5FEF}"/>
              </a:ext>
            </a:extLst>
          </p:cNvPr>
          <p:cNvCxnSpPr>
            <a:cxnSpLocks noChangeShapeType="1"/>
          </p:cNvCxnSpPr>
          <p:nvPr/>
        </p:nvCxnSpPr>
        <p:spPr bwMode="auto">
          <a:xfrm flipV="1">
            <a:off x="7143750"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74" name="TextBox 573">
            <a:extLst>
              <a:ext uri="{FF2B5EF4-FFF2-40B4-BE49-F238E27FC236}">
                <a16:creationId xmlns:a16="http://schemas.microsoft.com/office/drawing/2014/main" id="{4975C148-5F2A-4E8E-9F6B-A4C1703CBE70}"/>
              </a:ext>
            </a:extLst>
          </p:cNvPr>
          <p:cNvSpPr txBox="1"/>
          <p:nvPr/>
        </p:nvSpPr>
        <p:spPr>
          <a:xfrm>
            <a:off x="6916610" y="4011217"/>
            <a:ext cx="92333"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12</a:t>
            </a:r>
          </a:p>
          <a:p>
            <a:pPr algn="ctr" defTabSz="457178">
              <a:defRPr/>
            </a:pPr>
            <a:r>
              <a:rPr lang="en-US" sz="800" spc="-40">
                <a:solidFill>
                  <a:prstClr val="black"/>
                </a:solidFill>
                <a:latin typeface="Calibri"/>
                <a:ea typeface="Geneva" charset="0"/>
              </a:rPr>
              <a:t>57</a:t>
            </a:r>
          </a:p>
          <a:p>
            <a:pPr algn="ctr" defTabSz="457178">
              <a:defRPr/>
            </a:pPr>
            <a:r>
              <a:rPr lang="en-US" sz="800" spc="-40">
                <a:solidFill>
                  <a:prstClr val="black"/>
                </a:solidFill>
                <a:latin typeface="Calibri"/>
                <a:ea typeface="Geneva" charset="0"/>
              </a:rPr>
              <a:t>47</a:t>
            </a:r>
          </a:p>
          <a:p>
            <a:pPr algn="ctr" defTabSz="457178">
              <a:defRPr/>
            </a:pPr>
            <a:r>
              <a:rPr lang="en-US" sz="800" spc="-40">
                <a:solidFill>
                  <a:prstClr val="black"/>
                </a:solidFill>
                <a:latin typeface="Calibri"/>
                <a:ea typeface="Geneva" charset="0"/>
              </a:rPr>
              <a:t>81</a:t>
            </a:r>
          </a:p>
        </p:txBody>
      </p:sp>
      <p:sp>
        <p:nvSpPr>
          <p:cNvPr id="575" name="TextBox 574">
            <a:extLst>
              <a:ext uri="{FF2B5EF4-FFF2-40B4-BE49-F238E27FC236}">
                <a16:creationId xmlns:a16="http://schemas.microsoft.com/office/drawing/2014/main" id="{661A5AC9-0F43-45DD-9083-3A262B8AAA2B}"/>
              </a:ext>
            </a:extLst>
          </p:cNvPr>
          <p:cNvSpPr txBox="1"/>
          <p:nvPr/>
        </p:nvSpPr>
        <p:spPr>
          <a:xfrm>
            <a:off x="7277369" y="4011217"/>
            <a:ext cx="92333"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a:t>
            </a:r>
          </a:p>
          <a:p>
            <a:pPr algn="ctr" defTabSz="457178">
              <a:defRPr/>
            </a:pPr>
            <a:r>
              <a:rPr lang="en-US" sz="800" spc="-40">
                <a:solidFill>
                  <a:prstClr val="black"/>
                </a:solidFill>
                <a:latin typeface="Calibri"/>
                <a:ea typeface="Geneva" charset="0"/>
              </a:rPr>
              <a:t>14</a:t>
            </a:r>
          </a:p>
          <a:p>
            <a:pPr algn="ctr" defTabSz="457178">
              <a:defRPr/>
            </a:pPr>
            <a:r>
              <a:rPr lang="en-US" sz="800" spc="-40">
                <a:solidFill>
                  <a:prstClr val="black"/>
                </a:solidFill>
                <a:latin typeface="Calibri"/>
                <a:ea typeface="Geneva" charset="0"/>
              </a:rPr>
              <a:t>3</a:t>
            </a:r>
          </a:p>
          <a:p>
            <a:pPr algn="ctr" defTabSz="457178">
              <a:defRPr/>
            </a:pPr>
            <a:r>
              <a:rPr lang="en-US" sz="800" spc="-40">
                <a:solidFill>
                  <a:prstClr val="black"/>
                </a:solidFill>
                <a:latin typeface="Calibri"/>
                <a:ea typeface="Geneva" charset="0"/>
              </a:rPr>
              <a:t>17</a:t>
            </a:r>
          </a:p>
        </p:txBody>
      </p:sp>
      <p:sp>
        <p:nvSpPr>
          <p:cNvPr id="576" name="TextBox 575">
            <a:extLst>
              <a:ext uri="{FF2B5EF4-FFF2-40B4-BE49-F238E27FC236}">
                <a16:creationId xmlns:a16="http://schemas.microsoft.com/office/drawing/2014/main" id="{71393F1C-B704-4963-BC88-6B872C6115E9}"/>
              </a:ext>
            </a:extLst>
          </p:cNvPr>
          <p:cNvSpPr txBox="1"/>
          <p:nvPr/>
        </p:nvSpPr>
        <p:spPr>
          <a:xfrm>
            <a:off x="6532766" y="4011217"/>
            <a:ext cx="138500"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23</a:t>
            </a:r>
          </a:p>
          <a:p>
            <a:pPr algn="ctr" defTabSz="457178">
              <a:defRPr/>
            </a:pPr>
            <a:r>
              <a:rPr lang="en-US" sz="800" spc="-40">
                <a:solidFill>
                  <a:prstClr val="black"/>
                </a:solidFill>
                <a:latin typeface="Calibri"/>
                <a:ea typeface="Geneva" charset="0"/>
              </a:rPr>
              <a:t>84</a:t>
            </a:r>
          </a:p>
          <a:p>
            <a:pPr algn="ctr" defTabSz="457178">
              <a:defRPr/>
            </a:pPr>
            <a:r>
              <a:rPr lang="en-US" sz="800" spc="-40">
                <a:solidFill>
                  <a:prstClr val="black"/>
                </a:solidFill>
                <a:latin typeface="Calibri"/>
                <a:ea typeface="Geneva" charset="0"/>
              </a:rPr>
              <a:t>104</a:t>
            </a:r>
          </a:p>
          <a:p>
            <a:pPr algn="ctr" defTabSz="457178">
              <a:defRPr/>
            </a:pPr>
            <a:r>
              <a:rPr lang="en-US" sz="800" spc="-40">
                <a:solidFill>
                  <a:prstClr val="black"/>
                </a:solidFill>
                <a:latin typeface="Calibri"/>
                <a:ea typeface="Geneva" charset="0"/>
              </a:rPr>
              <a:t>136</a:t>
            </a:r>
          </a:p>
        </p:txBody>
      </p:sp>
      <p:sp>
        <p:nvSpPr>
          <p:cNvPr id="577" name="TextBox 802">
            <a:extLst>
              <a:ext uri="{FF2B5EF4-FFF2-40B4-BE49-F238E27FC236}">
                <a16:creationId xmlns:a16="http://schemas.microsoft.com/office/drawing/2014/main" id="{B422D48B-2F9A-428C-9CD4-E5BFC65156D0}"/>
              </a:ext>
            </a:extLst>
          </p:cNvPr>
          <p:cNvSpPr txBox="1">
            <a:spLocks noChangeArrowheads="1"/>
          </p:cNvSpPr>
          <p:nvPr/>
        </p:nvSpPr>
        <p:spPr bwMode="auto">
          <a:xfrm>
            <a:off x="7522369" y="2121694"/>
            <a:ext cx="912109"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defTabSz="456010" fontAlgn="base">
              <a:lnSpc>
                <a:spcPct val="100000"/>
              </a:lnSpc>
              <a:spcBef>
                <a:spcPct val="0"/>
              </a:spcBef>
              <a:spcAft>
                <a:spcPts val="797"/>
              </a:spcAft>
              <a:buNone/>
              <a:defRPr/>
            </a:pPr>
            <a:r>
              <a:rPr lang="en-US" altLang="en-US" sz="900">
                <a:solidFill>
                  <a:srgbClr val="000000"/>
                </a:solidFill>
                <a:latin typeface="Calibri"/>
              </a:rPr>
              <a:t>VMP MRD negative</a:t>
            </a:r>
          </a:p>
        </p:txBody>
      </p:sp>
      <p:sp>
        <p:nvSpPr>
          <p:cNvPr id="578" name="TextBox 803">
            <a:extLst>
              <a:ext uri="{FF2B5EF4-FFF2-40B4-BE49-F238E27FC236}">
                <a16:creationId xmlns:a16="http://schemas.microsoft.com/office/drawing/2014/main" id="{C7157FC2-41F4-45D7-95EF-ADE9A0CCCA6B}"/>
              </a:ext>
            </a:extLst>
          </p:cNvPr>
          <p:cNvSpPr txBox="1">
            <a:spLocks noChangeArrowheads="1"/>
          </p:cNvSpPr>
          <p:nvPr/>
        </p:nvSpPr>
        <p:spPr bwMode="auto">
          <a:xfrm>
            <a:off x="7491412" y="3151585"/>
            <a:ext cx="878446"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defTabSz="456010" fontAlgn="base">
              <a:lnSpc>
                <a:spcPct val="100000"/>
              </a:lnSpc>
              <a:spcBef>
                <a:spcPct val="0"/>
              </a:spcBef>
              <a:spcAft>
                <a:spcPts val="797"/>
              </a:spcAft>
              <a:buNone/>
              <a:defRPr/>
            </a:pPr>
            <a:r>
              <a:rPr lang="en-US" altLang="en-US" sz="900">
                <a:solidFill>
                  <a:srgbClr val="000000"/>
                </a:solidFill>
                <a:latin typeface="Calibri"/>
              </a:rPr>
              <a:t>VMP MRD positive</a:t>
            </a:r>
          </a:p>
        </p:txBody>
      </p:sp>
      <p:sp>
        <p:nvSpPr>
          <p:cNvPr id="579" name="TextBox 804">
            <a:extLst>
              <a:ext uri="{FF2B5EF4-FFF2-40B4-BE49-F238E27FC236}">
                <a16:creationId xmlns:a16="http://schemas.microsoft.com/office/drawing/2014/main" id="{27062FE2-AA8F-455F-8239-80F64702FF01}"/>
              </a:ext>
            </a:extLst>
          </p:cNvPr>
          <p:cNvSpPr txBox="1">
            <a:spLocks noChangeArrowheads="1"/>
          </p:cNvSpPr>
          <p:nvPr/>
        </p:nvSpPr>
        <p:spPr bwMode="auto">
          <a:xfrm>
            <a:off x="7670007" y="1985963"/>
            <a:ext cx="101790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defTabSz="456010" fontAlgn="base">
              <a:lnSpc>
                <a:spcPct val="100000"/>
              </a:lnSpc>
              <a:spcBef>
                <a:spcPct val="0"/>
              </a:spcBef>
              <a:spcAft>
                <a:spcPts val="797"/>
              </a:spcAft>
              <a:buNone/>
              <a:defRPr/>
            </a:pPr>
            <a:r>
              <a:rPr lang="en-US" altLang="en-US" sz="900">
                <a:solidFill>
                  <a:srgbClr val="000000"/>
                </a:solidFill>
                <a:latin typeface="Calibri"/>
              </a:rPr>
              <a:t>D-VMP MRD negative</a:t>
            </a:r>
          </a:p>
        </p:txBody>
      </p:sp>
      <p:sp>
        <p:nvSpPr>
          <p:cNvPr id="580" name="TextBox 805">
            <a:extLst>
              <a:ext uri="{FF2B5EF4-FFF2-40B4-BE49-F238E27FC236}">
                <a16:creationId xmlns:a16="http://schemas.microsoft.com/office/drawing/2014/main" id="{C8C201A4-4424-45EF-A72C-C8E8DB2FB5FC}"/>
              </a:ext>
            </a:extLst>
          </p:cNvPr>
          <p:cNvSpPr txBox="1">
            <a:spLocks noChangeArrowheads="1"/>
          </p:cNvSpPr>
          <p:nvPr/>
        </p:nvSpPr>
        <p:spPr bwMode="auto">
          <a:xfrm>
            <a:off x="7654529" y="2537223"/>
            <a:ext cx="984244"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defTabSz="456010" fontAlgn="base">
              <a:lnSpc>
                <a:spcPct val="100000"/>
              </a:lnSpc>
              <a:spcBef>
                <a:spcPct val="0"/>
              </a:spcBef>
              <a:spcAft>
                <a:spcPts val="797"/>
              </a:spcAft>
              <a:buNone/>
              <a:defRPr/>
            </a:pPr>
            <a:r>
              <a:rPr lang="en-US" altLang="en-US" sz="900">
                <a:solidFill>
                  <a:srgbClr val="000000"/>
                </a:solidFill>
                <a:latin typeface="Calibri"/>
              </a:rPr>
              <a:t>D-VMP MRD positive</a:t>
            </a:r>
          </a:p>
        </p:txBody>
      </p:sp>
      <p:sp>
        <p:nvSpPr>
          <p:cNvPr id="581" name="TextBox 806">
            <a:extLst>
              <a:ext uri="{FF2B5EF4-FFF2-40B4-BE49-F238E27FC236}">
                <a16:creationId xmlns:a16="http://schemas.microsoft.com/office/drawing/2014/main" id="{B08DB1C0-2B07-4AB5-8677-EFC395BFFA48}"/>
              </a:ext>
            </a:extLst>
          </p:cNvPr>
          <p:cNvSpPr txBox="1">
            <a:spLocks noChangeArrowheads="1"/>
          </p:cNvSpPr>
          <p:nvPr/>
        </p:nvSpPr>
        <p:spPr bwMode="auto">
          <a:xfrm>
            <a:off x="7265231"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33</a:t>
            </a:r>
          </a:p>
        </p:txBody>
      </p:sp>
      <p:cxnSp>
        <p:nvCxnSpPr>
          <p:cNvPr id="582" name="Straight Connector 807">
            <a:extLst>
              <a:ext uri="{FF2B5EF4-FFF2-40B4-BE49-F238E27FC236}">
                <a16:creationId xmlns:a16="http://schemas.microsoft.com/office/drawing/2014/main" id="{A0879793-F5A7-4508-8EA7-15A804AE57DF}"/>
              </a:ext>
            </a:extLst>
          </p:cNvPr>
          <p:cNvCxnSpPr>
            <a:cxnSpLocks noChangeShapeType="1"/>
          </p:cNvCxnSpPr>
          <p:nvPr/>
        </p:nvCxnSpPr>
        <p:spPr bwMode="auto">
          <a:xfrm flipV="1">
            <a:off x="7323535"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83" name="TextBox 808">
            <a:extLst>
              <a:ext uri="{FF2B5EF4-FFF2-40B4-BE49-F238E27FC236}">
                <a16:creationId xmlns:a16="http://schemas.microsoft.com/office/drawing/2014/main" id="{1CF3873D-860D-411A-B973-B7631E423BCD}"/>
              </a:ext>
            </a:extLst>
          </p:cNvPr>
          <p:cNvSpPr txBox="1">
            <a:spLocks noChangeArrowheads="1"/>
          </p:cNvSpPr>
          <p:nvPr/>
        </p:nvSpPr>
        <p:spPr bwMode="auto">
          <a:xfrm>
            <a:off x="7446206" y="3611167"/>
            <a:ext cx="115417"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6080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742950" indent="-285750" defTabSz="608013">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3000" indent="-228600" defTabSz="608013">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6002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7400" indent="-228600" defTabSz="608013">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46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18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90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6200" indent="-228600" defTabSz="6080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ctr" defTabSz="456010" fontAlgn="base">
              <a:lnSpc>
                <a:spcPct val="100000"/>
              </a:lnSpc>
              <a:spcBef>
                <a:spcPct val="0"/>
              </a:spcBef>
              <a:spcAft>
                <a:spcPct val="0"/>
              </a:spcAft>
              <a:buNone/>
              <a:defRPr/>
            </a:pPr>
            <a:r>
              <a:rPr lang="en-US" altLang="en-US" sz="900">
                <a:solidFill>
                  <a:srgbClr val="000000"/>
                </a:solidFill>
                <a:latin typeface="Calibri"/>
              </a:rPr>
              <a:t>36</a:t>
            </a:r>
          </a:p>
        </p:txBody>
      </p:sp>
      <p:cxnSp>
        <p:nvCxnSpPr>
          <p:cNvPr id="584" name="Straight Connector 809">
            <a:extLst>
              <a:ext uri="{FF2B5EF4-FFF2-40B4-BE49-F238E27FC236}">
                <a16:creationId xmlns:a16="http://schemas.microsoft.com/office/drawing/2014/main" id="{C92590BB-9322-4C03-8184-484CCC07E184}"/>
              </a:ext>
            </a:extLst>
          </p:cNvPr>
          <p:cNvCxnSpPr>
            <a:cxnSpLocks noChangeShapeType="1"/>
          </p:cNvCxnSpPr>
          <p:nvPr/>
        </p:nvCxnSpPr>
        <p:spPr bwMode="auto">
          <a:xfrm flipV="1">
            <a:off x="7504510" y="3561160"/>
            <a:ext cx="0" cy="51197"/>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85" name="TextBox 584">
            <a:extLst>
              <a:ext uri="{FF2B5EF4-FFF2-40B4-BE49-F238E27FC236}">
                <a16:creationId xmlns:a16="http://schemas.microsoft.com/office/drawing/2014/main" id="{66D06625-5693-4EE2-B159-CD01CEF759F8}"/>
              </a:ext>
            </a:extLst>
          </p:cNvPr>
          <p:cNvSpPr txBox="1"/>
          <p:nvPr/>
        </p:nvSpPr>
        <p:spPr>
          <a:xfrm>
            <a:off x="7480831" y="4011217"/>
            <a:ext cx="46167"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0</a:t>
            </a:r>
          </a:p>
          <a:p>
            <a:pPr algn="ctr" defTabSz="457178">
              <a:defRPr/>
            </a:pPr>
            <a:r>
              <a:rPr lang="en-US" sz="800" spc="-40">
                <a:solidFill>
                  <a:prstClr val="black"/>
                </a:solidFill>
                <a:latin typeface="Calibri"/>
                <a:ea typeface="Geneva" charset="0"/>
              </a:rPr>
              <a:t>2</a:t>
            </a:r>
          </a:p>
          <a:p>
            <a:pPr algn="ctr" defTabSz="457178">
              <a:defRPr/>
            </a:pPr>
            <a:r>
              <a:rPr lang="en-US" sz="800" spc="-40">
                <a:solidFill>
                  <a:prstClr val="black"/>
                </a:solidFill>
                <a:latin typeface="Calibri"/>
                <a:ea typeface="Geneva" charset="0"/>
              </a:rPr>
              <a:t>0</a:t>
            </a:r>
          </a:p>
          <a:p>
            <a:pPr algn="ctr" defTabSz="457178">
              <a:defRPr/>
            </a:pPr>
            <a:r>
              <a:rPr lang="en-US" sz="800" spc="-40">
                <a:solidFill>
                  <a:prstClr val="black"/>
                </a:solidFill>
                <a:latin typeface="Calibri"/>
                <a:ea typeface="Geneva" charset="0"/>
              </a:rPr>
              <a:t>7</a:t>
            </a:r>
          </a:p>
        </p:txBody>
      </p:sp>
      <p:sp>
        <p:nvSpPr>
          <p:cNvPr id="586" name="TextBox 585">
            <a:extLst>
              <a:ext uri="{FF2B5EF4-FFF2-40B4-BE49-F238E27FC236}">
                <a16:creationId xmlns:a16="http://schemas.microsoft.com/office/drawing/2014/main" id="{1CB902DC-012F-41E2-A3BD-C69CBFBB6386}"/>
              </a:ext>
            </a:extLst>
          </p:cNvPr>
          <p:cNvSpPr txBox="1"/>
          <p:nvPr/>
        </p:nvSpPr>
        <p:spPr>
          <a:xfrm>
            <a:off x="7096394" y="4011217"/>
            <a:ext cx="92333" cy="492443"/>
          </a:xfrm>
          <a:prstGeom prst="rect">
            <a:avLst/>
          </a:prstGeom>
          <a:noFill/>
          <a:ln>
            <a:noFill/>
          </a:ln>
        </p:spPr>
        <p:txBody>
          <a:bodyPr wrap="none" lIns="0" tIns="0" rIns="0" bIns="0">
            <a:spAutoFit/>
          </a:bodyPr>
          <a:lstStyle/>
          <a:p>
            <a:pPr algn="ctr" defTabSz="457178">
              <a:defRPr/>
            </a:pPr>
            <a:r>
              <a:rPr lang="en-US" sz="800" spc="-40">
                <a:solidFill>
                  <a:prstClr val="black"/>
                </a:solidFill>
                <a:latin typeface="Calibri"/>
                <a:ea typeface="Geneva" charset="0"/>
              </a:rPr>
              <a:t>6</a:t>
            </a:r>
          </a:p>
          <a:p>
            <a:pPr algn="ctr" defTabSz="457178">
              <a:defRPr/>
            </a:pPr>
            <a:r>
              <a:rPr lang="en-US" sz="800" spc="-40">
                <a:solidFill>
                  <a:prstClr val="black"/>
                </a:solidFill>
                <a:latin typeface="Calibri"/>
                <a:ea typeface="Geneva" charset="0"/>
              </a:rPr>
              <a:t>28</a:t>
            </a:r>
          </a:p>
          <a:p>
            <a:pPr algn="ctr" defTabSz="457178">
              <a:defRPr/>
            </a:pPr>
            <a:r>
              <a:rPr lang="en-US" sz="800" spc="-40">
                <a:solidFill>
                  <a:prstClr val="black"/>
                </a:solidFill>
                <a:latin typeface="Calibri"/>
                <a:ea typeface="Geneva" charset="0"/>
              </a:rPr>
              <a:t>21</a:t>
            </a:r>
          </a:p>
          <a:p>
            <a:pPr algn="ctr" defTabSz="457178">
              <a:defRPr/>
            </a:pPr>
            <a:r>
              <a:rPr lang="en-US" sz="800" spc="-40">
                <a:solidFill>
                  <a:prstClr val="black"/>
                </a:solidFill>
                <a:latin typeface="Calibri"/>
                <a:ea typeface="Geneva" charset="0"/>
              </a:rPr>
              <a:t>45</a:t>
            </a:r>
          </a:p>
        </p:txBody>
      </p:sp>
      <p:sp>
        <p:nvSpPr>
          <p:cNvPr id="587" name="Freeform 812">
            <a:extLst>
              <a:ext uri="{FF2B5EF4-FFF2-40B4-BE49-F238E27FC236}">
                <a16:creationId xmlns:a16="http://schemas.microsoft.com/office/drawing/2014/main" id="{2FE62203-3A4B-42A5-A5B6-0C1905087DE2}"/>
              </a:ext>
            </a:extLst>
          </p:cNvPr>
          <p:cNvSpPr/>
          <p:nvPr/>
        </p:nvSpPr>
        <p:spPr>
          <a:xfrm>
            <a:off x="5342335" y="1597819"/>
            <a:ext cx="2256234" cy="473869"/>
          </a:xfrm>
          <a:custGeom>
            <a:avLst/>
            <a:gdLst>
              <a:gd name="connsiteX0" fmla="*/ 2256609 w 2256609"/>
              <a:gd name="connsiteY0" fmla="*/ 473529 h 473529"/>
              <a:gd name="connsiteX1" fmla="*/ 1926772 w 2256609"/>
              <a:gd name="connsiteY1" fmla="*/ 473529 h 473529"/>
              <a:gd name="connsiteX2" fmla="*/ 1926772 w 2256609"/>
              <a:gd name="connsiteY2" fmla="*/ 369026 h 473529"/>
              <a:gd name="connsiteX3" fmla="*/ 1734095 w 2256609"/>
              <a:gd name="connsiteY3" fmla="*/ 369026 h 473529"/>
              <a:gd name="connsiteX4" fmla="*/ 1734095 w 2256609"/>
              <a:gd name="connsiteY4" fmla="*/ 333103 h 473529"/>
              <a:gd name="connsiteX5" fmla="*/ 1453243 w 2256609"/>
              <a:gd name="connsiteY5" fmla="*/ 333103 h 473529"/>
              <a:gd name="connsiteX6" fmla="*/ 1453243 w 2256609"/>
              <a:gd name="connsiteY6" fmla="*/ 316774 h 473529"/>
              <a:gd name="connsiteX7" fmla="*/ 1423852 w 2256609"/>
              <a:gd name="connsiteY7" fmla="*/ 316774 h 473529"/>
              <a:gd name="connsiteX8" fmla="*/ 1423852 w 2256609"/>
              <a:gd name="connsiteY8" fmla="*/ 287383 h 473529"/>
              <a:gd name="connsiteX9" fmla="*/ 1361803 w 2256609"/>
              <a:gd name="connsiteY9" fmla="*/ 287383 h 473529"/>
              <a:gd name="connsiteX10" fmla="*/ 1361803 w 2256609"/>
              <a:gd name="connsiteY10" fmla="*/ 267789 h 473529"/>
              <a:gd name="connsiteX11" fmla="*/ 1309552 w 2256609"/>
              <a:gd name="connsiteY11" fmla="*/ 267789 h 473529"/>
              <a:gd name="connsiteX12" fmla="*/ 1309552 w 2256609"/>
              <a:gd name="connsiteY12" fmla="*/ 244929 h 473529"/>
              <a:gd name="connsiteX13" fmla="*/ 1296489 w 2256609"/>
              <a:gd name="connsiteY13" fmla="*/ 244929 h 473529"/>
              <a:gd name="connsiteX14" fmla="*/ 1296489 w 2256609"/>
              <a:gd name="connsiteY14" fmla="*/ 225334 h 473529"/>
              <a:gd name="connsiteX15" fmla="*/ 1165860 w 2256609"/>
              <a:gd name="connsiteY15" fmla="*/ 225334 h 473529"/>
              <a:gd name="connsiteX16" fmla="*/ 1165860 w 2256609"/>
              <a:gd name="connsiteY16" fmla="*/ 195943 h 473529"/>
              <a:gd name="connsiteX17" fmla="*/ 1149532 w 2256609"/>
              <a:gd name="connsiteY17" fmla="*/ 195943 h 473529"/>
              <a:gd name="connsiteX18" fmla="*/ 1149532 w 2256609"/>
              <a:gd name="connsiteY18" fmla="*/ 186146 h 473529"/>
              <a:gd name="connsiteX19" fmla="*/ 1136469 w 2256609"/>
              <a:gd name="connsiteY19" fmla="*/ 186146 h 473529"/>
              <a:gd name="connsiteX20" fmla="*/ 1136469 w 2256609"/>
              <a:gd name="connsiteY20" fmla="*/ 166552 h 473529"/>
              <a:gd name="connsiteX21" fmla="*/ 1080952 w 2256609"/>
              <a:gd name="connsiteY21" fmla="*/ 166552 h 473529"/>
              <a:gd name="connsiteX22" fmla="*/ 1080952 w 2256609"/>
              <a:gd name="connsiteY22" fmla="*/ 140426 h 473529"/>
              <a:gd name="connsiteX23" fmla="*/ 1067889 w 2256609"/>
              <a:gd name="connsiteY23" fmla="*/ 140426 h 473529"/>
              <a:gd name="connsiteX24" fmla="*/ 1067889 w 2256609"/>
              <a:gd name="connsiteY24" fmla="*/ 127363 h 473529"/>
              <a:gd name="connsiteX25" fmla="*/ 999309 w 2256609"/>
              <a:gd name="connsiteY25" fmla="*/ 127363 h 473529"/>
              <a:gd name="connsiteX26" fmla="*/ 999309 w 2256609"/>
              <a:gd name="connsiteY26" fmla="*/ 104503 h 473529"/>
              <a:gd name="connsiteX27" fmla="*/ 963386 w 2256609"/>
              <a:gd name="connsiteY27" fmla="*/ 104503 h 473529"/>
              <a:gd name="connsiteX28" fmla="*/ 963386 w 2256609"/>
              <a:gd name="connsiteY28" fmla="*/ 78377 h 473529"/>
              <a:gd name="connsiteX29" fmla="*/ 937260 w 2256609"/>
              <a:gd name="connsiteY29" fmla="*/ 78377 h 473529"/>
              <a:gd name="connsiteX30" fmla="*/ 937260 w 2256609"/>
              <a:gd name="connsiteY30" fmla="*/ 62049 h 473529"/>
              <a:gd name="connsiteX31" fmla="*/ 584563 w 2256609"/>
              <a:gd name="connsiteY31" fmla="*/ 62049 h 473529"/>
              <a:gd name="connsiteX32" fmla="*/ 584563 w 2256609"/>
              <a:gd name="connsiteY32" fmla="*/ 42454 h 473529"/>
              <a:gd name="connsiteX33" fmla="*/ 564969 w 2256609"/>
              <a:gd name="connsiteY33" fmla="*/ 42454 h 473529"/>
              <a:gd name="connsiteX34" fmla="*/ 564969 w 2256609"/>
              <a:gd name="connsiteY34" fmla="*/ 22860 h 473529"/>
              <a:gd name="connsiteX35" fmla="*/ 431075 w 2256609"/>
              <a:gd name="connsiteY35" fmla="*/ 22860 h 473529"/>
              <a:gd name="connsiteX36" fmla="*/ 431075 w 2256609"/>
              <a:gd name="connsiteY36" fmla="*/ 0 h 473529"/>
              <a:gd name="connsiteX37" fmla="*/ 0 w 2256609"/>
              <a:gd name="connsiteY37" fmla="*/ 0 h 4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56609" h="473529">
                <a:moveTo>
                  <a:pt x="2256609" y="473529"/>
                </a:moveTo>
                <a:lnTo>
                  <a:pt x="1926772" y="473529"/>
                </a:lnTo>
                <a:lnTo>
                  <a:pt x="1926772" y="369026"/>
                </a:lnTo>
                <a:lnTo>
                  <a:pt x="1734095" y="369026"/>
                </a:lnTo>
                <a:lnTo>
                  <a:pt x="1734095" y="333103"/>
                </a:lnTo>
                <a:lnTo>
                  <a:pt x="1453243" y="333103"/>
                </a:lnTo>
                <a:lnTo>
                  <a:pt x="1453243" y="316774"/>
                </a:lnTo>
                <a:lnTo>
                  <a:pt x="1423852" y="316774"/>
                </a:lnTo>
                <a:lnTo>
                  <a:pt x="1423852" y="287383"/>
                </a:lnTo>
                <a:lnTo>
                  <a:pt x="1361803" y="287383"/>
                </a:lnTo>
                <a:lnTo>
                  <a:pt x="1361803" y="267789"/>
                </a:lnTo>
                <a:lnTo>
                  <a:pt x="1309552" y="267789"/>
                </a:lnTo>
                <a:lnTo>
                  <a:pt x="1309552" y="244929"/>
                </a:lnTo>
                <a:lnTo>
                  <a:pt x="1296489" y="244929"/>
                </a:lnTo>
                <a:lnTo>
                  <a:pt x="1296489" y="225334"/>
                </a:lnTo>
                <a:lnTo>
                  <a:pt x="1165860" y="225334"/>
                </a:lnTo>
                <a:lnTo>
                  <a:pt x="1165860" y="195943"/>
                </a:lnTo>
                <a:lnTo>
                  <a:pt x="1149532" y="195943"/>
                </a:lnTo>
                <a:lnTo>
                  <a:pt x="1149532" y="186146"/>
                </a:lnTo>
                <a:lnTo>
                  <a:pt x="1136469" y="186146"/>
                </a:lnTo>
                <a:lnTo>
                  <a:pt x="1136469" y="166552"/>
                </a:lnTo>
                <a:lnTo>
                  <a:pt x="1080952" y="166552"/>
                </a:lnTo>
                <a:lnTo>
                  <a:pt x="1080952" y="140426"/>
                </a:lnTo>
                <a:lnTo>
                  <a:pt x="1067889" y="140426"/>
                </a:lnTo>
                <a:lnTo>
                  <a:pt x="1067889" y="127363"/>
                </a:lnTo>
                <a:lnTo>
                  <a:pt x="999309" y="127363"/>
                </a:lnTo>
                <a:lnTo>
                  <a:pt x="999309" y="104503"/>
                </a:lnTo>
                <a:lnTo>
                  <a:pt x="963386" y="104503"/>
                </a:lnTo>
                <a:lnTo>
                  <a:pt x="963386" y="78377"/>
                </a:lnTo>
                <a:lnTo>
                  <a:pt x="937260" y="78377"/>
                </a:lnTo>
                <a:lnTo>
                  <a:pt x="937260" y="62049"/>
                </a:lnTo>
                <a:lnTo>
                  <a:pt x="584563" y="62049"/>
                </a:lnTo>
                <a:lnTo>
                  <a:pt x="584563" y="42454"/>
                </a:lnTo>
                <a:lnTo>
                  <a:pt x="564969" y="42454"/>
                </a:lnTo>
                <a:lnTo>
                  <a:pt x="564969" y="22860"/>
                </a:lnTo>
                <a:lnTo>
                  <a:pt x="431075" y="22860"/>
                </a:lnTo>
                <a:lnTo>
                  <a:pt x="431075" y="0"/>
                </a:lnTo>
                <a:lnTo>
                  <a:pt x="0" y="0"/>
                </a:lnTo>
              </a:path>
            </a:pathLst>
          </a:custGeom>
          <a:noFill/>
          <a:ln w="28575">
            <a:solidFill>
              <a:srgbClr val="7030A0"/>
            </a:solid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78">
              <a:defRPr/>
            </a:pPr>
            <a:endParaRPr lang="en-US">
              <a:solidFill>
                <a:prstClr val="white"/>
              </a:solidFill>
              <a:latin typeface="Calibri"/>
            </a:endParaRPr>
          </a:p>
        </p:txBody>
      </p:sp>
      <p:grpSp>
        <p:nvGrpSpPr>
          <p:cNvPr id="588" name="Group 587">
            <a:extLst>
              <a:ext uri="{FF2B5EF4-FFF2-40B4-BE49-F238E27FC236}">
                <a16:creationId xmlns:a16="http://schemas.microsoft.com/office/drawing/2014/main" id="{8A850EB9-AFBE-4B79-9095-63F171FECD6A}"/>
              </a:ext>
            </a:extLst>
          </p:cNvPr>
          <p:cNvGrpSpPr/>
          <p:nvPr/>
        </p:nvGrpSpPr>
        <p:grpSpPr>
          <a:xfrm>
            <a:off x="6172203" y="1630785"/>
            <a:ext cx="1454280" cy="469044"/>
            <a:chOff x="6140304" y="1071309"/>
            <a:chExt cx="1454280" cy="469044"/>
          </a:xfrm>
          <a:noFill/>
        </p:grpSpPr>
        <p:sp>
          <p:nvSpPr>
            <p:cNvPr id="589" name="Freeform 76">
              <a:extLst>
                <a:ext uri="{FF2B5EF4-FFF2-40B4-BE49-F238E27FC236}">
                  <a16:creationId xmlns:a16="http://schemas.microsoft.com/office/drawing/2014/main" id="{9EC380B7-6C0A-4600-AE49-F40064673895}"/>
                </a:ext>
              </a:extLst>
            </p:cNvPr>
            <p:cNvSpPr>
              <a:spLocks/>
            </p:cNvSpPr>
            <p:nvPr/>
          </p:nvSpPr>
          <p:spPr bwMode="auto">
            <a:xfrm>
              <a:off x="7540884"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0" name="Freeform 76">
              <a:extLst>
                <a:ext uri="{FF2B5EF4-FFF2-40B4-BE49-F238E27FC236}">
                  <a16:creationId xmlns:a16="http://schemas.microsoft.com/office/drawing/2014/main" id="{65358BEC-60A2-4204-9F18-0BE3125B04E0}"/>
                </a:ext>
              </a:extLst>
            </p:cNvPr>
            <p:cNvSpPr>
              <a:spLocks/>
            </p:cNvSpPr>
            <p:nvPr/>
          </p:nvSpPr>
          <p:spPr bwMode="auto">
            <a:xfrm>
              <a:off x="7524785"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1" name="Freeform 76">
              <a:extLst>
                <a:ext uri="{FF2B5EF4-FFF2-40B4-BE49-F238E27FC236}">
                  <a16:creationId xmlns:a16="http://schemas.microsoft.com/office/drawing/2014/main" id="{2814E2EA-2733-4D53-A7A6-4655865AA764}"/>
                </a:ext>
              </a:extLst>
            </p:cNvPr>
            <p:cNvSpPr>
              <a:spLocks/>
            </p:cNvSpPr>
            <p:nvPr/>
          </p:nvSpPr>
          <p:spPr bwMode="auto">
            <a:xfrm>
              <a:off x="7434633"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2" name="Freeform 76">
              <a:extLst>
                <a:ext uri="{FF2B5EF4-FFF2-40B4-BE49-F238E27FC236}">
                  <a16:creationId xmlns:a16="http://schemas.microsoft.com/office/drawing/2014/main" id="{8A9DDD87-78EF-4627-B3C3-F71B8CE28A71}"/>
                </a:ext>
              </a:extLst>
            </p:cNvPr>
            <p:cNvSpPr>
              <a:spLocks/>
            </p:cNvSpPr>
            <p:nvPr/>
          </p:nvSpPr>
          <p:spPr bwMode="auto">
            <a:xfrm>
              <a:off x="7383118"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3" name="Freeform 76">
              <a:extLst>
                <a:ext uri="{FF2B5EF4-FFF2-40B4-BE49-F238E27FC236}">
                  <a16:creationId xmlns:a16="http://schemas.microsoft.com/office/drawing/2014/main" id="{35C562DD-A4B5-4042-9DD3-280280A36BA7}"/>
                </a:ext>
              </a:extLst>
            </p:cNvPr>
            <p:cNvSpPr>
              <a:spLocks/>
            </p:cNvSpPr>
            <p:nvPr/>
          </p:nvSpPr>
          <p:spPr bwMode="auto">
            <a:xfrm>
              <a:off x="7338042"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4" name="Freeform 76">
              <a:extLst>
                <a:ext uri="{FF2B5EF4-FFF2-40B4-BE49-F238E27FC236}">
                  <a16:creationId xmlns:a16="http://schemas.microsoft.com/office/drawing/2014/main" id="{14CA4081-BCF3-48A3-A81A-B7BEABCB9A0C}"/>
                </a:ext>
              </a:extLst>
            </p:cNvPr>
            <p:cNvSpPr>
              <a:spLocks/>
            </p:cNvSpPr>
            <p:nvPr/>
          </p:nvSpPr>
          <p:spPr bwMode="auto">
            <a:xfrm>
              <a:off x="7312284"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5" name="Freeform 76">
              <a:extLst>
                <a:ext uri="{FF2B5EF4-FFF2-40B4-BE49-F238E27FC236}">
                  <a16:creationId xmlns:a16="http://schemas.microsoft.com/office/drawing/2014/main" id="{DCEC8234-ABDB-4333-B228-502D6D73D61F}"/>
                </a:ext>
              </a:extLst>
            </p:cNvPr>
            <p:cNvSpPr>
              <a:spLocks/>
            </p:cNvSpPr>
            <p:nvPr/>
          </p:nvSpPr>
          <p:spPr bwMode="auto">
            <a:xfrm>
              <a:off x="7302625"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6" name="Freeform 76">
              <a:extLst>
                <a:ext uri="{FF2B5EF4-FFF2-40B4-BE49-F238E27FC236}">
                  <a16:creationId xmlns:a16="http://schemas.microsoft.com/office/drawing/2014/main" id="{E670E5AE-2AA3-4B35-92E1-145B580FA483}"/>
                </a:ext>
              </a:extLst>
            </p:cNvPr>
            <p:cNvSpPr>
              <a:spLocks/>
            </p:cNvSpPr>
            <p:nvPr/>
          </p:nvSpPr>
          <p:spPr bwMode="auto">
            <a:xfrm>
              <a:off x="7283307"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7" name="Freeform 76">
              <a:extLst>
                <a:ext uri="{FF2B5EF4-FFF2-40B4-BE49-F238E27FC236}">
                  <a16:creationId xmlns:a16="http://schemas.microsoft.com/office/drawing/2014/main" id="{E7DF3C3B-681F-433E-8969-391CD4CC4886}"/>
                </a:ext>
              </a:extLst>
            </p:cNvPr>
            <p:cNvSpPr>
              <a:spLocks/>
            </p:cNvSpPr>
            <p:nvPr/>
          </p:nvSpPr>
          <p:spPr bwMode="auto">
            <a:xfrm>
              <a:off x="7276867"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8" name="Freeform 76">
              <a:extLst>
                <a:ext uri="{FF2B5EF4-FFF2-40B4-BE49-F238E27FC236}">
                  <a16:creationId xmlns:a16="http://schemas.microsoft.com/office/drawing/2014/main" id="{B1211FB3-24C2-43E9-8391-0EAEC66CD353}"/>
                </a:ext>
              </a:extLst>
            </p:cNvPr>
            <p:cNvSpPr>
              <a:spLocks/>
            </p:cNvSpPr>
            <p:nvPr/>
          </p:nvSpPr>
          <p:spPr bwMode="auto">
            <a:xfrm>
              <a:off x="7412095"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599" name="Freeform 76">
              <a:extLst>
                <a:ext uri="{FF2B5EF4-FFF2-40B4-BE49-F238E27FC236}">
                  <a16:creationId xmlns:a16="http://schemas.microsoft.com/office/drawing/2014/main" id="{CD71AA07-61D5-44A3-870A-F6111E68C4F1}"/>
                </a:ext>
              </a:extLst>
            </p:cNvPr>
            <p:cNvSpPr>
              <a:spLocks/>
            </p:cNvSpPr>
            <p:nvPr/>
          </p:nvSpPr>
          <p:spPr bwMode="auto">
            <a:xfrm>
              <a:off x="7360580" y="148665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0" name="Freeform 76">
              <a:extLst>
                <a:ext uri="{FF2B5EF4-FFF2-40B4-BE49-F238E27FC236}">
                  <a16:creationId xmlns:a16="http://schemas.microsoft.com/office/drawing/2014/main" id="{B687F60B-0C77-490B-B776-570B09EEED63}"/>
                </a:ext>
              </a:extLst>
            </p:cNvPr>
            <p:cNvSpPr>
              <a:spLocks/>
            </p:cNvSpPr>
            <p:nvPr/>
          </p:nvSpPr>
          <p:spPr bwMode="auto">
            <a:xfrm>
              <a:off x="7209253"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1" name="Freeform 76">
              <a:extLst>
                <a:ext uri="{FF2B5EF4-FFF2-40B4-BE49-F238E27FC236}">
                  <a16:creationId xmlns:a16="http://schemas.microsoft.com/office/drawing/2014/main" id="{DBF07599-96C9-44EC-84E5-AF990E242455}"/>
                </a:ext>
              </a:extLst>
            </p:cNvPr>
            <p:cNvSpPr>
              <a:spLocks/>
            </p:cNvSpPr>
            <p:nvPr/>
          </p:nvSpPr>
          <p:spPr bwMode="auto">
            <a:xfrm>
              <a:off x="7193154"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2" name="Freeform 76">
              <a:extLst>
                <a:ext uri="{FF2B5EF4-FFF2-40B4-BE49-F238E27FC236}">
                  <a16:creationId xmlns:a16="http://schemas.microsoft.com/office/drawing/2014/main" id="{BAC43E63-B280-4DE3-B84C-57D951FDBF5B}"/>
                </a:ext>
              </a:extLst>
            </p:cNvPr>
            <p:cNvSpPr>
              <a:spLocks/>
            </p:cNvSpPr>
            <p:nvPr/>
          </p:nvSpPr>
          <p:spPr bwMode="auto">
            <a:xfrm>
              <a:off x="7135199"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3" name="Freeform 76">
              <a:extLst>
                <a:ext uri="{FF2B5EF4-FFF2-40B4-BE49-F238E27FC236}">
                  <a16:creationId xmlns:a16="http://schemas.microsoft.com/office/drawing/2014/main" id="{0D0F56B9-7F58-4AA4-A490-8DF74D94833E}"/>
                </a:ext>
              </a:extLst>
            </p:cNvPr>
            <p:cNvSpPr>
              <a:spLocks/>
            </p:cNvSpPr>
            <p:nvPr/>
          </p:nvSpPr>
          <p:spPr bwMode="auto">
            <a:xfrm>
              <a:off x="7119101"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4" name="Freeform 76">
              <a:extLst>
                <a:ext uri="{FF2B5EF4-FFF2-40B4-BE49-F238E27FC236}">
                  <a16:creationId xmlns:a16="http://schemas.microsoft.com/office/drawing/2014/main" id="{927B7BE6-167F-4072-909E-37ED66D3A09A}"/>
                </a:ext>
              </a:extLst>
            </p:cNvPr>
            <p:cNvSpPr>
              <a:spLocks/>
            </p:cNvSpPr>
            <p:nvPr/>
          </p:nvSpPr>
          <p:spPr bwMode="auto">
            <a:xfrm>
              <a:off x="7080464"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5" name="Freeform 76">
              <a:extLst>
                <a:ext uri="{FF2B5EF4-FFF2-40B4-BE49-F238E27FC236}">
                  <a16:creationId xmlns:a16="http://schemas.microsoft.com/office/drawing/2014/main" id="{023FE529-EE5F-4543-A3B6-A4FC471E4F4C}"/>
                </a:ext>
              </a:extLst>
            </p:cNvPr>
            <p:cNvSpPr>
              <a:spLocks/>
            </p:cNvSpPr>
            <p:nvPr/>
          </p:nvSpPr>
          <p:spPr bwMode="auto">
            <a:xfrm>
              <a:off x="7067585"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6" name="Freeform 76">
              <a:extLst>
                <a:ext uri="{FF2B5EF4-FFF2-40B4-BE49-F238E27FC236}">
                  <a16:creationId xmlns:a16="http://schemas.microsoft.com/office/drawing/2014/main" id="{66423FA8-5E7E-45A4-9C2D-F6C9E0310061}"/>
                </a:ext>
              </a:extLst>
            </p:cNvPr>
            <p:cNvSpPr>
              <a:spLocks/>
            </p:cNvSpPr>
            <p:nvPr/>
          </p:nvSpPr>
          <p:spPr bwMode="auto">
            <a:xfrm>
              <a:off x="7057926"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7" name="Freeform 76">
              <a:extLst>
                <a:ext uri="{FF2B5EF4-FFF2-40B4-BE49-F238E27FC236}">
                  <a16:creationId xmlns:a16="http://schemas.microsoft.com/office/drawing/2014/main" id="{05C5FFE5-B350-4805-BD1C-E5DBAC612D0D}"/>
                </a:ext>
              </a:extLst>
            </p:cNvPr>
            <p:cNvSpPr>
              <a:spLocks/>
            </p:cNvSpPr>
            <p:nvPr/>
          </p:nvSpPr>
          <p:spPr bwMode="auto">
            <a:xfrm>
              <a:off x="7045047"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8" name="Freeform 76">
              <a:extLst>
                <a:ext uri="{FF2B5EF4-FFF2-40B4-BE49-F238E27FC236}">
                  <a16:creationId xmlns:a16="http://schemas.microsoft.com/office/drawing/2014/main" id="{5F3661B9-8A02-4007-86D3-BCB880C5546D}"/>
                </a:ext>
              </a:extLst>
            </p:cNvPr>
            <p:cNvSpPr>
              <a:spLocks/>
            </p:cNvSpPr>
            <p:nvPr/>
          </p:nvSpPr>
          <p:spPr bwMode="auto">
            <a:xfrm>
              <a:off x="7022509"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09" name="Freeform 76">
              <a:extLst>
                <a:ext uri="{FF2B5EF4-FFF2-40B4-BE49-F238E27FC236}">
                  <a16:creationId xmlns:a16="http://schemas.microsoft.com/office/drawing/2014/main" id="{79FB37E0-872E-4A51-A463-D7D139D1968D}"/>
                </a:ext>
              </a:extLst>
            </p:cNvPr>
            <p:cNvSpPr>
              <a:spLocks/>
            </p:cNvSpPr>
            <p:nvPr/>
          </p:nvSpPr>
          <p:spPr bwMode="auto">
            <a:xfrm>
              <a:off x="7093343" y="138040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0" name="Freeform 76">
              <a:extLst>
                <a:ext uri="{FF2B5EF4-FFF2-40B4-BE49-F238E27FC236}">
                  <a16:creationId xmlns:a16="http://schemas.microsoft.com/office/drawing/2014/main" id="{C997A7FA-729E-41F1-BF43-C7A9A863661B}"/>
                </a:ext>
              </a:extLst>
            </p:cNvPr>
            <p:cNvSpPr>
              <a:spLocks/>
            </p:cNvSpPr>
            <p:nvPr/>
          </p:nvSpPr>
          <p:spPr bwMode="auto">
            <a:xfrm>
              <a:off x="7009630"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1" name="Freeform 76">
              <a:extLst>
                <a:ext uri="{FF2B5EF4-FFF2-40B4-BE49-F238E27FC236}">
                  <a16:creationId xmlns:a16="http://schemas.microsoft.com/office/drawing/2014/main" id="{D2BEF430-8204-4BBC-9948-FAF286C5C1AA}"/>
                </a:ext>
              </a:extLst>
            </p:cNvPr>
            <p:cNvSpPr>
              <a:spLocks/>
            </p:cNvSpPr>
            <p:nvPr/>
          </p:nvSpPr>
          <p:spPr bwMode="auto">
            <a:xfrm>
              <a:off x="6987091"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2" name="Freeform 76">
              <a:extLst>
                <a:ext uri="{FF2B5EF4-FFF2-40B4-BE49-F238E27FC236}">
                  <a16:creationId xmlns:a16="http://schemas.microsoft.com/office/drawing/2014/main" id="{E1114E06-3C53-42B7-A42D-A44FE0692540}"/>
                </a:ext>
              </a:extLst>
            </p:cNvPr>
            <p:cNvSpPr>
              <a:spLocks/>
            </p:cNvSpPr>
            <p:nvPr/>
          </p:nvSpPr>
          <p:spPr bwMode="auto">
            <a:xfrm>
              <a:off x="6967773"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3" name="Freeform 76">
              <a:extLst>
                <a:ext uri="{FF2B5EF4-FFF2-40B4-BE49-F238E27FC236}">
                  <a16:creationId xmlns:a16="http://schemas.microsoft.com/office/drawing/2014/main" id="{61FCB215-EA5B-4508-A428-8013C03315D9}"/>
                </a:ext>
              </a:extLst>
            </p:cNvPr>
            <p:cNvSpPr>
              <a:spLocks/>
            </p:cNvSpPr>
            <p:nvPr/>
          </p:nvSpPr>
          <p:spPr bwMode="auto">
            <a:xfrm>
              <a:off x="6948455"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4" name="Freeform 76">
              <a:extLst>
                <a:ext uri="{FF2B5EF4-FFF2-40B4-BE49-F238E27FC236}">
                  <a16:creationId xmlns:a16="http://schemas.microsoft.com/office/drawing/2014/main" id="{72B079FA-8633-4813-9DC5-9E4AAD3D8244}"/>
                </a:ext>
              </a:extLst>
            </p:cNvPr>
            <p:cNvSpPr>
              <a:spLocks/>
            </p:cNvSpPr>
            <p:nvPr/>
          </p:nvSpPr>
          <p:spPr bwMode="auto">
            <a:xfrm>
              <a:off x="6938796"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5" name="Freeform 76">
              <a:extLst>
                <a:ext uri="{FF2B5EF4-FFF2-40B4-BE49-F238E27FC236}">
                  <a16:creationId xmlns:a16="http://schemas.microsoft.com/office/drawing/2014/main" id="{CA952D8C-EF33-469D-B07E-17B610952EDB}"/>
                </a:ext>
              </a:extLst>
            </p:cNvPr>
            <p:cNvSpPr>
              <a:spLocks/>
            </p:cNvSpPr>
            <p:nvPr/>
          </p:nvSpPr>
          <p:spPr bwMode="auto">
            <a:xfrm>
              <a:off x="6929137"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6" name="Freeform 76">
              <a:extLst>
                <a:ext uri="{FF2B5EF4-FFF2-40B4-BE49-F238E27FC236}">
                  <a16:creationId xmlns:a16="http://schemas.microsoft.com/office/drawing/2014/main" id="{2D888B6F-88CB-441D-B9C2-82C5D3FC0F4B}"/>
                </a:ext>
              </a:extLst>
            </p:cNvPr>
            <p:cNvSpPr>
              <a:spLocks/>
            </p:cNvSpPr>
            <p:nvPr/>
          </p:nvSpPr>
          <p:spPr bwMode="auto">
            <a:xfrm>
              <a:off x="6913038"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7" name="Freeform 76">
              <a:extLst>
                <a:ext uri="{FF2B5EF4-FFF2-40B4-BE49-F238E27FC236}">
                  <a16:creationId xmlns:a16="http://schemas.microsoft.com/office/drawing/2014/main" id="{B5329D50-C986-4B46-A70B-5E5E9EDE60F3}"/>
                </a:ext>
              </a:extLst>
            </p:cNvPr>
            <p:cNvSpPr>
              <a:spLocks/>
            </p:cNvSpPr>
            <p:nvPr/>
          </p:nvSpPr>
          <p:spPr bwMode="auto">
            <a:xfrm>
              <a:off x="6896940"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8" name="Freeform 76">
              <a:extLst>
                <a:ext uri="{FF2B5EF4-FFF2-40B4-BE49-F238E27FC236}">
                  <a16:creationId xmlns:a16="http://schemas.microsoft.com/office/drawing/2014/main" id="{127A9215-4EF3-4843-BA78-10A5F24C2C47}"/>
                </a:ext>
              </a:extLst>
            </p:cNvPr>
            <p:cNvSpPr>
              <a:spLocks/>
            </p:cNvSpPr>
            <p:nvPr/>
          </p:nvSpPr>
          <p:spPr bwMode="auto">
            <a:xfrm>
              <a:off x="6871182"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19" name="Freeform 76">
              <a:extLst>
                <a:ext uri="{FF2B5EF4-FFF2-40B4-BE49-F238E27FC236}">
                  <a16:creationId xmlns:a16="http://schemas.microsoft.com/office/drawing/2014/main" id="{4666FACB-CBB2-4F7B-9475-6D84B4AD7DB3}"/>
                </a:ext>
              </a:extLst>
            </p:cNvPr>
            <p:cNvSpPr>
              <a:spLocks/>
            </p:cNvSpPr>
            <p:nvPr/>
          </p:nvSpPr>
          <p:spPr bwMode="auto">
            <a:xfrm>
              <a:off x="6861523"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0" name="Freeform 76">
              <a:extLst>
                <a:ext uri="{FF2B5EF4-FFF2-40B4-BE49-F238E27FC236}">
                  <a16:creationId xmlns:a16="http://schemas.microsoft.com/office/drawing/2014/main" id="{F2D0B151-2DC6-4D48-A4AA-0651B0024DB5}"/>
                </a:ext>
              </a:extLst>
            </p:cNvPr>
            <p:cNvSpPr>
              <a:spLocks/>
            </p:cNvSpPr>
            <p:nvPr/>
          </p:nvSpPr>
          <p:spPr bwMode="auto">
            <a:xfrm>
              <a:off x="6848644"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1" name="Freeform 76">
              <a:extLst>
                <a:ext uri="{FF2B5EF4-FFF2-40B4-BE49-F238E27FC236}">
                  <a16:creationId xmlns:a16="http://schemas.microsoft.com/office/drawing/2014/main" id="{C299D485-0D6F-4084-A969-74D9F6F92489}"/>
                </a:ext>
              </a:extLst>
            </p:cNvPr>
            <p:cNvSpPr>
              <a:spLocks/>
            </p:cNvSpPr>
            <p:nvPr/>
          </p:nvSpPr>
          <p:spPr bwMode="auto">
            <a:xfrm>
              <a:off x="6832545"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2" name="Freeform 76">
              <a:extLst>
                <a:ext uri="{FF2B5EF4-FFF2-40B4-BE49-F238E27FC236}">
                  <a16:creationId xmlns:a16="http://schemas.microsoft.com/office/drawing/2014/main" id="{8BD19891-207C-4266-B15E-3CBCD7CC313F}"/>
                </a:ext>
              </a:extLst>
            </p:cNvPr>
            <p:cNvSpPr>
              <a:spLocks/>
            </p:cNvSpPr>
            <p:nvPr/>
          </p:nvSpPr>
          <p:spPr bwMode="auto">
            <a:xfrm>
              <a:off x="6822886"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3" name="Freeform 76">
              <a:extLst>
                <a:ext uri="{FF2B5EF4-FFF2-40B4-BE49-F238E27FC236}">
                  <a16:creationId xmlns:a16="http://schemas.microsoft.com/office/drawing/2014/main" id="{3BB86AF6-F219-4F16-87EE-0187A6A9AF25}"/>
                </a:ext>
              </a:extLst>
            </p:cNvPr>
            <p:cNvSpPr>
              <a:spLocks/>
            </p:cNvSpPr>
            <p:nvPr/>
          </p:nvSpPr>
          <p:spPr bwMode="auto">
            <a:xfrm>
              <a:off x="6810007"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4" name="Freeform 76">
              <a:extLst>
                <a:ext uri="{FF2B5EF4-FFF2-40B4-BE49-F238E27FC236}">
                  <a16:creationId xmlns:a16="http://schemas.microsoft.com/office/drawing/2014/main" id="{43396AB3-37D1-4F9A-B56C-6E6647FBB6CD}"/>
                </a:ext>
              </a:extLst>
            </p:cNvPr>
            <p:cNvSpPr>
              <a:spLocks/>
            </p:cNvSpPr>
            <p:nvPr/>
          </p:nvSpPr>
          <p:spPr bwMode="auto">
            <a:xfrm>
              <a:off x="6793909"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5" name="Freeform 76">
              <a:extLst>
                <a:ext uri="{FF2B5EF4-FFF2-40B4-BE49-F238E27FC236}">
                  <a16:creationId xmlns:a16="http://schemas.microsoft.com/office/drawing/2014/main" id="{B0528DB7-C3E0-44EF-A199-22C8A967D2ED}"/>
                </a:ext>
              </a:extLst>
            </p:cNvPr>
            <p:cNvSpPr>
              <a:spLocks/>
            </p:cNvSpPr>
            <p:nvPr/>
          </p:nvSpPr>
          <p:spPr bwMode="auto">
            <a:xfrm>
              <a:off x="6781030"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6" name="Freeform 76">
              <a:extLst>
                <a:ext uri="{FF2B5EF4-FFF2-40B4-BE49-F238E27FC236}">
                  <a16:creationId xmlns:a16="http://schemas.microsoft.com/office/drawing/2014/main" id="{01ABF365-029A-49A2-A9EB-AE9861DC0181}"/>
                </a:ext>
              </a:extLst>
            </p:cNvPr>
            <p:cNvSpPr>
              <a:spLocks/>
            </p:cNvSpPr>
            <p:nvPr/>
          </p:nvSpPr>
          <p:spPr bwMode="auto">
            <a:xfrm>
              <a:off x="6755272" y="1344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7" name="Freeform 76">
              <a:extLst>
                <a:ext uri="{FF2B5EF4-FFF2-40B4-BE49-F238E27FC236}">
                  <a16:creationId xmlns:a16="http://schemas.microsoft.com/office/drawing/2014/main" id="{5AFE39B0-623D-4E42-B7DB-8C47B78024C3}"/>
                </a:ext>
              </a:extLst>
            </p:cNvPr>
            <p:cNvSpPr>
              <a:spLocks/>
            </p:cNvSpPr>
            <p:nvPr/>
          </p:nvSpPr>
          <p:spPr bwMode="auto">
            <a:xfrm>
              <a:off x="6713415" y="131278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8" name="Freeform 76">
              <a:extLst>
                <a:ext uri="{FF2B5EF4-FFF2-40B4-BE49-F238E27FC236}">
                  <a16:creationId xmlns:a16="http://schemas.microsoft.com/office/drawing/2014/main" id="{CA301E74-2E1E-4963-B26F-CF88131DDBEB}"/>
                </a:ext>
              </a:extLst>
            </p:cNvPr>
            <p:cNvSpPr>
              <a:spLocks/>
            </p:cNvSpPr>
            <p:nvPr/>
          </p:nvSpPr>
          <p:spPr bwMode="auto">
            <a:xfrm>
              <a:off x="6658679" y="129990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29" name="Freeform 76">
              <a:extLst>
                <a:ext uri="{FF2B5EF4-FFF2-40B4-BE49-F238E27FC236}">
                  <a16:creationId xmlns:a16="http://schemas.microsoft.com/office/drawing/2014/main" id="{935C001C-C7B5-41BC-93B1-046B3C749B90}"/>
                </a:ext>
              </a:extLst>
            </p:cNvPr>
            <p:cNvSpPr>
              <a:spLocks/>
            </p:cNvSpPr>
            <p:nvPr/>
          </p:nvSpPr>
          <p:spPr bwMode="auto">
            <a:xfrm>
              <a:off x="6140304" y="107130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grpSp>
      <p:sp>
        <p:nvSpPr>
          <p:cNvPr id="630" name="Freeform 814">
            <a:extLst>
              <a:ext uri="{FF2B5EF4-FFF2-40B4-BE49-F238E27FC236}">
                <a16:creationId xmlns:a16="http://schemas.microsoft.com/office/drawing/2014/main" id="{1E21F27B-D888-49B9-859E-0EC13FE791E8}"/>
              </a:ext>
            </a:extLst>
          </p:cNvPr>
          <p:cNvSpPr/>
          <p:nvPr/>
        </p:nvSpPr>
        <p:spPr>
          <a:xfrm>
            <a:off x="5348288" y="1600200"/>
            <a:ext cx="2099072" cy="572691"/>
          </a:xfrm>
          <a:custGeom>
            <a:avLst/>
            <a:gdLst>
              <a:gd name="connsiteX0" fmla="*/ 2099256 w 2099256"/>
              <a:gd name="connsiteY0" fmla="*/ 573110 h 573110"/>
              <a:gd name="connsiteX1" fmla="*/ 1716110 w 2099256"/>
              <a:gd name="connsiteY1" fmla="*/ 573110 h 573110"/>
              <a:gd name="connsiteX2" fmla="*/ 1716110 w 2099256"/>
              <a:gd name="connsiteY2" fmla="*/ 421783 h 573110"/>
              <a:gd name="connsiteX3" fmla="*/ 1522927 w 2099256"/>
              <a:gd name="connsiteY3" fmla="*/ 421783 h 573110"/>
              <a:gd name="connsiteX4" fmla="*/ 1522927 w 2099256"/>
              <a:gd name="connsiteY4" fmla="*/ 312313 h 573110"/>
              <a:gd name="connsiteX5" fmla="*/ 1506828 w 2099256"/>
              <a:gd name="connsiteY5" fmla="*/ 312313 h 573110"/>
              <a:gd name="connsiteX6" fmla="*/ 1506828 w 2099256"/>
              <a:gd name="connsiteY6" fmla="*/ 231820 h 573110"/>
              <a:gd name="connsiteX7" fmla="*/ 1339403 w 2099256"/>
              <a:gd name="connsiteY7" fmla="*/ 231820 h 573110"/>
              <a:gd name="connsiteX8" fmla="*/ 1339403 w 2099256"/>
              <a:gd name="connsiteY8" fmla="*/ 157766 h 573110"/>
              <a:gd name="connsiteX9" fmla="*/ 1181637 w 2099256"/>
              <a:gd name="connsiteY9" fmla="*/ 157766 h 573110"/>
              <a:gd name="connsiteX10" fmla="*/ 1181637 w 2099256"/>
              <a:gd name="connsiteY10" fmla="*/ 77273 h 573110"/>
              <a:gd name="connsiteX11" fmla="*/ 772732 w 2099256"/>
              <a:gd name="connsiteY11" fmla="*/ 77273 h 573110"/>
              <a:gd name="connsiteX12" fmla="*/ 772732 w 2099256"/>
              <a:gd name="connsiteY12" fmla="*/ 0 h 573110"/>
              <a:gd name="connsiteX13" fmla="*/ 0 w 2099256"/>
              <a:gd name="connsiteY13" fmla="*/ 0 h 57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9256" h="573110">
                <a:moveTo>
                  <a:pt x="2099256" y="573110"/>
                </a:moveTo>
                <a:lnTo>
                  <a:pt x="1716110" y="573110"/>
                </a:lnTo>
                <a:lnTo>
                  <a:pt x="1716110" y="421783"/>
                </a:lnTo>
                <a:lnTo>
                  <a:pt x="1522927" y="421783"/>
                </a:lnTo>
                <a:lnTo>
                  <a:pt x="1522927" y="312313"/>
                </a:lnTo>
                <a:lnTo>
                  <a:pt x="1506828" y="312313"/>
                </a:lnTo>
                <a:lnTo>
                  <a:pt x="1506828" y="231820"/>
                </a:lnTo>
                <a:lnTo>
                  <a:pt x="1339403" y="231820"/>
                </a:lnTo>
                <a:lnTo>
                  <a:pt x="1339403" y="157766"/>
                </a:lnTo>
                <a:lnTo>
                  <a:pt x="1181637" y="157766"/>
                </a:lnTo>
                <a:lnTo>
                  <a:pt x="1181637" y="77273"/>
                </a:lnTo>
                <a:lnTo>
                  <a:pt x="772732" y="77273"/>
                </a:lnTo>
                <a:lnTo>
                  <a:pt x="772732" y="0"/>
                </a:lnTo>
                <a:lnTo>
                  <a:pt x="0" y="0"/>
                </a:lnTo>
              </a:path>
            </a:pathLst>
          </a:custGeom>
          <a:noFill/>
          <a:ln w="28575">
            <a:solidFill>
              <a:srgbClr val="E46C0A"/>
            </a:solid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78">
              <a:defRPr/>
            </a:pPr>
            <a:endParaRPr lang="en-US">
              <a:solidFill>
                <a:prstClr val="white"/>
              </a:solidFill>
              <a:latin typeface="Calibri"/>
            </a:endParaRPr>
          </a:p>
        </p:txBody>
      </p:sp>
      <p:grpSp>
        <p:nvGrpSpPr>
          <p:cNvPr id="631" name="Group 630">
            <a:extLst>
              <a:ext uri="{FF2B5EF4-FFF2-40B4-BE49-F238E27FC236}">
                <a16:creationId xmlns:a16="http://schemas.microsoft.com/office/drawing/2014/main" id="{DE04996D-F26F-4AAC-B902-42057658487A}"/>
              </a:ext>
            </a:extLst>
          </p:cNvPr>
          <p:cNvGrpSpPr/>
          <p:nvPr/>
        </p:nvGrpSpPr>
        <p:grpSpPr>
          <a:xfrm>
            <a:off x="6744595" y="1809515"/>
            <a:ext cx="725388" cy="387318"/>
            <a:chOff x="6712696" y="1250039"/>
            <a:chExt cx="725388" cy="387318"/>
          </a:xfrm>
          <a:noFill/>
        </p:grpSpPr>
        <p:sp>
          <p:nvSpPr>
            <p:cNvPr id="632" name="Freeform 76">
              <a:extLst>
                <a:ext uri="{FF2B5EF4-FFF2-40B4-BE49-F238E27FC236}">
                  <a16:creationId xmlns:a16="http://schemas.microsoft.com/office/drawing/2014/main" id="{38648B81-8C59-46C0-8422-BE2298B29B03}"/>
                </a:ext>
              </a:extLst>
            </p:cNvPr>
            <p:cNvSpPr>
              <a:spLocks/>
            </p:cNvSpPr>
            <p:nvPr/>
          </p:nvSpPr>
          <p:spPr bwMode="auto">
            <a:xfrm>
              <a:off x="7392056" y="159132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33" name="Freeform 76">
              <a:extLst>
                <a:ext uri="{FF2B5EF4-FFF2-40B4-BE49-F238E27FC236}">
                  <a16:creationId xmlns:a16="http://schemas.microsoft.com/office/drawing/2014/main" id="{59EC291F-CF20-4596-BAE5-6555C04ECB62}"/>
                </a:ext>
              </a:extLst>
            </p:cNvPr>
            <p:cNvSpPr>
              <a:spLocks/>
            </p:cNvSpPr>
            <p:nvPr/>
          </p:nvSpPr>
          <p:spPr bwMode="auto">
            <a:xfrm>
              <a:off x="7318002" y="159132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34" name="Freeform 76">
              <a:extLst>
                <a:ext uri="{FF2B5EF4-FFF2-40B4-BE49-F238E27FC236}">
                  <a16:creationId xmlns:a16="http://schemas.microsoft.com/office/drawing/2014/main" id="{ADBEB67C-120D-4C36-A288-389660484EA5}"/>
                </a:ext>
              </a:extLst>
            </p:cNvPr>
            <p:cNvSpPr>
              <a:spLocks/>
            </p:cNvSpPr>
            <p:nvPr/>
          </p:nvSpPr>
          <p:spPr bwMode="auto">
            <a:xfrm>
              <a:off x="7250388" y="159132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35" name="Freeform 76">
              <a:extLst>
                <a:ext uri="{FF2B5EF4-FFF2-40B4-BE49-F238E27FC236}">
                  <a16:creationId xmlns:a16="http://schemas.microsoft.com/office/drawing/2014/main" id="{CFFE9001-9671-4259-9FA0-837AB847A3AE}"/>
                </a:ext>
              </a:extLst>
            </p:cNvPr>
            <p:cNvSpPr>
              <a:spLocks/>
            </p:cNvSpPr>
            <p:nvPr/>
          </p:nvSpPr>
          <p:spPr bwMode="auto">
            <a:xfrm>
              <a:off x="7234290" y="159132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36" name="Freeform 76">
              <a:extLst>
                <a:ext uri="{FF2B5EF4-FFF2-40B4-BE49-F238E27FC236}">
                  <a16:creationId xmlns:a16="http://schemas.microsoft.com/office/drawing/2014/main" id="{DAA709A5-4D24-498A-8D79-E17790D3CF23}"/>
                </a:ext>
              </a:extLst>
            </p:cNvPr>
            <p:cNvSpPr>
              <a:spLocks/>
            </p:cNvSpPr>
            <p:nvPr/>
          </p:nvSpPr>
          <p:spPr bwMode="auto">
            <a:xfrm>
              <a:off x="7157017" y="159132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37" name="Freeform 76">
              <a:extLst>
                <a:ext uri="{FF2B5EF4-FFF2-40B4-BE49-F238E27FC236}">
                  <a16:creationId xmlns:a16="http://schemas.microsoft.com/office/drawing/2014/main" id="{9BE29628-BB2D-490F-90C6-7301404AB6A5}"/>
                </a:ext>
              </a:extLst>
            </p:cNvPr>
            <p:cNvSpPr>
              <a:spLocks/>
            </p:cNvSpPr>
            <p:nvPr/>
          </p:nvSpPr>
          <p:spPr bwMode="auto">
            <a:xfrm>
              <a:off x="7111941" y="159132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38" name="Freeform 76">
              <a:extLst>
                <a:ext uri="{FF2B5EF4-FFF2-40B4-BE49-F238E27FC236}">
                  <a16:creationId xmlns:a16="http://schemas.microsoft.com/office/drawing/2014/main" id="{64A6B6A2-1005-44EF-8A3E-9EFA924693C2}"/>
                </a:ext>
              </a:extLst>
            </p:cNvPr>
            <p:cNvSpPr>
              <a:spLocks/>
            </p:cNvSpPr>
            <p:nvPr/>
          </p:nvSpPr>
          <p:spPr bwMode="auto">
            <a:xfrm>
              <a:off x="7034668" y="159132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39" name="Freeform 76">
              <a:extLst>
                <a:ext uri="{FF2B5EF4-FFF2-40B4-BE49-F238E27FC236}">
                  <a16:creationId xmlns:a16="http://schemas.microsoft.com/office/drawing/2014/main" id="{954B5B99-6D12-4915-8C11-EF0691B1636C}"/>
                </a:ext>
              </a:extLst>
            </p:cNvPr>
            <p:cNvSpPr>
              <a:spLocks/>
            </p:cNvSpPr>
            <p:nvPr/>
          </p:nvSpPr>
          <p:spPr bwMode="auto">
            <a:xfrm>
              <a:off x="6934857" y="143678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40" name="Freeform 76">
              <a:extLst>
                <a:ext uri="{FF2B5EF4-FFF2-40B4-BE49-F238E27FC236}">
                  <a16:creationId xmlns:a16="http://schemas.microsoft.com/office/drawing/2014/main" id="{111AB236-A840-493E-BAF5-D8FE91630D2F}"/>
                </a:ext>
              </a:extLst>
            </p:cNvPr>
            <p:cNvSpPr>
              <a:spLocks/>
            </p:cNvSpPr>
            <p:nvPr/>
          </p:nvSpPr>
          <p:spPr bwMode="auto">
            <a:xfrm>
              <a:off x="6905880" y="143678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41" name="Freeform 76">
              <a:extLst>
                <a:ext uri="{FF2B5EF4-FFF2-40B4-BE49-F238E27FC236}">
                  <a16:creationId xmlns:a16="http://schemas.microsoft.com/office/drawing/2014/main" id="{83C22301-3B0E-4A00-ABFB-4BEBEB3509C9}"/>
                </a:ext>
              </a:extLst>
            </p:cNvPr>
            <p:cNvSpPr>
              <a:spLocks/>
            </p:cNvSpPr>
            <p:nvPr/>
          </p:nvSpPr>
          <p:spPr bwMode="auto">
            <a:xfrm>
              <a:off x="6876902" y="143678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42" name="Freeform 76">
              <a:extLst>
                <a:ext uri="{FF2B5EF4-FFF2-40B4-BE49-F238E27FC236}">
                  <a16:creationId xmlns:a16="http://schemas.microsoft.com/office/drawing/2014/main" id="{CC42A1F0-B902-4522-9B01-36F423940B6C}"/>
                </a:ext>
              </a:extLst>
            </p:cNvPr>
            <p:cNvSpPr>
              <a:spLocks/>
            </p:cNvSpPr>
            <p:nvPr/>
          </p:nvSpPr>
          <p:spPr bwMode="auto">
            <a:xfrm>
              <a:off x="6822167" y="143678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43" name="Freeform 76">
              <a:extLst>
                <a:ext uri="{FF2B5EF4-FFF2-40B4-BE49-F238E27FC236}">
                  <a16:creationId xmlns:a16="http://schemas.microsoft.com/office/drawing/2014/main" id="{E235C640-89E9-4C45-B977-A509543FE423}"/>
                </a:ext>
              </a:extLst>
            </p:cNvPr>
            <p:cNvSpPr>
              <a:spLocks/>
            </p:cNvSpPr>
            <p:nvPr/>
          </p:nvSpPr>
          <p:spPr bwMode="auto">
            <a:xfrm>
              <a:off x="6767431" y="125003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44" name="Freeform 76">
              <a:extLst>
                <a:ext uri="{FF2B5EF4-FFF2-40B4-BE49-F238E27FC236}">
                  <a16:creationId xmlns:a16="http://schemas.microsoft.com/office/drawing/2014/main" id="{3A8CE73F-9AD9-482A-8135-CF1E099B79F3}"/>
                </a:ext>
              </a:extLst>
            </p:cNvPr>
            <p:cNvSpPr>
              <a:spLocks/>
            </p:cNvSpPr>
            <p:nvPr/>
          </p:nvSpPr>
          <p:spPr bwMode="auto">
            <a:xfrm>
              <a:off x="6712696" y="125003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grpSp>
      <p:sp>
        <p:nvSpPr>
          <p:cNvPr id="645" name="Freeform 816">
            <a:extLst>
              <a:ext uri="{FF2B5EF4-FFF2-40B4-BE49-F238E27FC236}">
                <a16:creationId xmlns:a16="http://schemas.microsoft.com/office/drawing/2014/main" id="{23622103-18F8-4D6F-8B15-3DA358084535}"/>
              </a:ext>
            </a:extLst>
          </p:cNvPr>
          <p:cNvSpPr/>
          <p:nvPr/>
        </p:nvSpPr>
        <p:spPr>
          <a:xfrm>
            <a:off x="5341144" y="1602581"/>
            <a:ext cx="2257425" cy="1004888"/>
          </a:xfrm>
          <a:custGeom>
            <a:avLst/>
            <a:gdLst>
              <a:gd name="connsiteX0" fmla="*/ 2257023 w 2257023"/>
              <a:gd name="connsiteY0" fmla="*/ 1004552 h 1004552"/>
              <a:gd name="connsiteX1" fmla="*/ 1851339 w 2257023"/>
              <a:gd name="connsiteY1" fmla="*/ 1004552 h 1004552"/>
              <a:gd name="connsiteX2" fmla="*/ 1851339 w 2257023"/>
              <a:gd name="connsiteY2" fmla="*/ 949817 h 1004552"/>
              <a:gd name="connsiteX3" fmla="*/ 1732209 w 2257023"/>
              <a:gd name="connsiteY3" fmla="*/ 949817 h 1004552"/>
              <a:gd name="connsiteX4" fmla="*/ 1732209 w 2257023"/>
              <a:gd name="connsiteY4" fmla="*/ 933718 h 1004552"/>
              <a:gd name="connsiteX5" fmla="*/ 1629178 w 2257023"/>
              <a:gd name="connsiteY5" fmla="*/ 933718 h 1004552"/>
              <a:gd name="connsiteX6" fmla="*/ 1629178 w 2257023"/>
              <a:gd name="connsiteY6" fmla="*/ 914400 h 1004552"/>
              <a:gd name="connsiteX7" fmla="*/ 1577662 w 2257023"/>
              <a:gd name="connsiteY7" fmla="*/ 914400 h 1004552"/>
              <a:gd name="connsiteX8" fmla="*/ 1577662 w 2257023"/>
              <a:gd name="connsiteY8" fmla="*/ 907960 h 1004552"/>
              <a:gd name="connsiteX9" fmla="*/ 1542246 w 2257023"/>
              <a:gd name="connsiteY9" fmla="*/ 907960 h 1004552"/>
              <a:gd name="connsiteX10" fmla="*/ 1542246 w 2257023"/>
              <a:gd name="connsiteY10" fmla="*/ 898301 h 1004552"/>
              <a:gd name="connsiteX11" fmla="*/ 1448874 w 2257023"/>
              <a:gd name="connsiteY11" fmla="*/ 898301 h 1004552"/>
              <a:gd name="connsiteX12" fmla="*/ 1448874 w 2257023"/>
              <a:gd name="connsiteY12" fmla="*/ 882203 h 1004552"/>
              <a:gd name="connsiteX13" fmla="*/ 1397358 w 2257023"/>
              <a:gd name="connsiteY13" fmla="*/ 882203 h 1004552"/>
              <a:gd name="connsiteX14" fmla="*/ 1397358 w 2257023"/>
              <a:gd name="connsiteY14" fmla="*/ 866104 h 1004552"/>
              <a:gd name="connsiteX15" fmla="*/ 1355502 w 2257023"/>
              <a:gd name="connsiteY15" fmla="*/ 866104 h 1004552"/>
              <a:gd name="connsiteX16" fmla="*/ 1355502 w 2257023"/>
              <a:gd name="connsiteY16" fmla="*/ 853225 h 1004552"/>
              <a:gd name="connsiteX17" fmla="*/ 1268570 w 2257023"/>
              <a:gd name="connsiteY17" fmla="*/ 853225 h 1004552"/>
              <a:gd name="connsiteX18" fmla="*/ 1268570 w 2257023"/>
              <a:gd name="connsiteY18" fmla="*/ 833907 h 1004552"/>
              <a:gd name="connsiteX19" fmla="*/ 1255691 w 2257023"/>
              <a:gd name="connsiteY19" fmla="*/ 833907 h 1004552"/>
              <a:gd name="connsiteX20" fmla="*/ 1255691 w 2257023"/>
              <a:gd name="connsiteY20" fmla="*/ 788831 h 1004552"/>
              <a:gd name="connsiteX21" fmla="*/ 1217054 w 2257023"/>
              <a:gd name="connsiteY21" fmla="*/ 788831 h 1004552"/>
              <a:gd name="connsiteX22" fmla="*/ 1217054 w 2257023"/>
              <a:gd name="connsiteY22" fmla="*/ 756634 h 1004552"/>
              <a:gd name="connsiteX23" fmla="*/ 1188077 w 2257023"/>
              <a:gd name="connsiteY23" fmla="*/ 756634 h 1004552"/>
              <a:gd name="connsiteX24" fmla="*/ 1188077 w 2257023"/>
              <a:gd name="connsiteY24" fmla="*/ 730876 h 1004552"/>
              <a:gd name="connsiteX25" fmla="*/ 1146220 w 2257023"/>
              <a:gd name="connsiteY25" fmla="*/ 730876 h 1004552"/>
              <a:gd name="connsiteX26" fmla="*/ 1146220 w 2257023"/>
              <a:gd name="connsiteY26" fmla="*/ 708338 h 1004552"/>
              <a:gd name="connsiteX27" fmla="*/ 1081826 w 2257023"/>
              <a:gd name="connsiteY27" fmla="*/ 708338 h 1004552"/>
              <a:gd name="connsiteX28" fmla="*/ 1081826 w 2257023"/>
              <a:gd name="connsiteY28" fmla="*/ 669701 h 1004552"/>
              <a:gd name="connsiteX29" fmla="*/ 1030310 w 2257023"/>
              <a:gd name="connsiteY29" fmla="*/ 669701 h 1004552"/>
              <a:gd name="connsiteX30" fmla="*/ 1030310 w 2257023"/>
              <a:gd name="connsiteY30" fmla="*/ 621405 h 1004552"/>
              <a:gd name="connsiteX31" fmla="*/ 982015 w 2257023"/>
              <a:gd name="connsiteY31" fmla="*/ 621405 h 1004552"/>
              <a:gd name="connsiteX32" fmla="*/ 982015 w 2257023"/>
              <a:gd name="connsiteY32" fmla="*/ 582769 h 1004552"/>
              <a:gd name="connsiteX33" fmla="*/ 965916 w 2257023"/>
              <a:gd name="connsiteY33" fmla="*/ 582769 h 1004552"/>
              <a:gd name="connsiteX34" fmla="*/ 965916 w 2257023"/>
              <a:gd name="connsiteY34" fmla="*/ 540912 h 1004552"/>
              <a:gd name="connsiteX35" fmla="*/ 917620 w 2257023"/>
              <a:gd name="connsiteY35" fmla="*/ 540912 h 1004552"/>
              <a:gd name="connsiteX36" fmla="*/ 917620 w 2257023"/>
              <a:gd name="connsiteY36" fmla="*/ 524814 h 1004552"/>
              <a:gd name="connsiteX37" fmla="*/ 869324 w 2257023"/>
              <a:gd name="connsiteY37" fmla="*/ 524814 h 1004552"/>
              <a:gd name="connsiteX38" fmla="*/ 869324 w 2257023"/>
              <a:gd name="connsiteY38" fmla="*/ 479738 h 1004552"/>
              <a:gd name="connsiteX39" fmla="*/ 846786 w 2257023"/>
              <a:gd name="connsiteY39" fmla="*/ 479738 h 1004552"/>
              <a:gd name="connsiteX40" fmla="*/ 846786 w 2257023"/>
              <a:gd name="connsiteY40" fmla="*/ 447541 h 1004552"/>
              <a:gd name="connsiteX41" fmla="*/ 824248 w 2257023"/>
              <a:gd name="connsiteY41" fmla="*/ 447541 h 1004552"/>
              <a:gd name="connsiteX42" fmla="*/ 824248 w 2257023"/>
              <a:gd name="connsiteY42" fmla="*/ 415343 h 1004552"/>
              <a:gd name="connsiteX43" fmla="*/ 804930 w 2257023"/>
              <a:gd name="connsiteY43" fmla="*/ 415343 h 1004552"/>
              <a:gd name="connsiteX44" fmla="*/ 804930 w 2257023"/>
              <a:gd name="connsiteY44" fmla="*/ 379926 h 1004552"/>
              <a:gd name="connsiteX45" fmla="*/ 756634 w 2257023"/>
              <a:gd name="connsiteY45" fmla="*/ 379926 h 1004552"/>
              <a:gd name="connsiteX46" fmla="*/ 756634 w 2257023"/>
              <a:gd name="connsiteY46" fmla="*/ 347729 h 1004552"/>
              <a:gd name="connsiteX47" fmla="*/ 737316 w 2257023"/>
              <a:gd name="connsiteY47" fmla="*/ 347729 h 1004552"/>
              <a:gd name="connsiteX48" fmla="*/ 737316 w 2257023"/>
              <a:gd name="connsiteY48" fmla="*/ 334850 h 1004552"/>
              <a:gd name="connsiteX49" fmla="*/ 685800 w 2257023"/>
              <a:gd name="connsiteY49" fmla="*/ 334850 h 1004552"/>
              <a:gd name="connsiteX50" fmla="*/ 685800 w 2257023"/>
              <a:gd name="connsiteY50" fmla="*/ 321972 h 1004552"/>
              <a:gd name="connsiteX51" fmla="*/ 608527 w 2257023"/>
              <a:gd name="connsiteY51" fmla="*/ 321972 h 1004552"/>
              <a:gd name="connsiteX52" fmla="*/ 608527 w 2257023"/>
              <a:gd name="connsiteY52" fmla="*/ 312312 h 1004552"/>
              <a:gd name="connsiteX53" fmla="*/ 531254 w 2257023"/>
              <a:gd name="connsiteY53" fmla="*/ 312312 h 1004552"/>
              <a:gd name="connsiteX54" fmla="*/ 531254 w 2257023"/>
              <a:gd name="connsiteY54" fmla="*/ 299434 h 1004552"/>
              <a:gd name="connsiteX55" fmla="*/ 508716 w 2257023"/>
              <a:gd name="connsiteY55" fmla="*/ 299434 h 1004552"/>
              <a:gd name="connsiteX56" fmla="*/ 508716 w 2257023"/>
              <a:gd name="connsiteY56" fmla="*/ 283335 h 1004552"/>
              <a:gd name="connsiteX57" fmla="*/ 450761 w 2257023"/>
              <a:gd name="connsiteY57" fmla="*/ 283335 h 1004552"/>
              <a:gd name="connsiteX58" fmla="*/ 450761 w 2257023"/>
              <a:gd name="connsiteY58" fmla="*/ 260797 h 1004552"/>
              <a:gd name="connsiteX59" fmla="*/ 421784 w 2257023"/>
              <a:gd name="connsiteY59" fmla="*/ 260797 h 1004552"/>
              <a:gd name="connsiteX60" fmla="*/ 421784 w 2257023"/>
              <a:gd name="connsiteY60" fmla="*/ 235039 h 1004552"/>
              <a:gd name="connsiteX61" fmla="*/ 379927 w 2257023"/>
              <a:gd name="connsiteY61" fmla="*/ 235039 h 1004552"/>
              <a:gd name="connsiteX62" fmla="*/ 379927 w 2257023"/>
              <a:gd name="connsiteY62" fmla="*/ 212501 h 1004552"/>
              <a:gd name="connsiteX63" fmla="*/ 360609 w 2257023"/>
              <a:gd name="connsiteY63" fmla="*/ 212501 h 1004552"/>
              <a:gd name="connsiteX64" fmla="*/ 360609 w 2257023"/>
              <a:gd name="connsiteY64" fmla="*/ 193183 h 1004552"/>
              <a:gd name="connsiteX65" fmla="*/ 331631 w 2257023"/>
              <a:gd name="connsiteY65" fmla="*/ 193183 h 1004552"/>
              <a:gd name="connsiteX66" fmla="*/ 331631 w 2257023"/>
              <a:gd name="connsiteY66" fmla="*/ 177084 h 1004552"/>
              <a:gd name="connsiteX67" fmla="*/ 299434 w 2257023"/>
              <a:gd name="connsiteY67" fmla="*/ 177084 h 1004552"/>
              <a:gd name="connsiteX68" fmla="*/ 299434 w 2257023"/>
              <a:gd name="connsiteY68" fmla="*/ 157766 h 1004552"/>
              <a:gd name="connsiteX69" fmla="*/ 247919 w 2257023"/>
              <a:gd name="connsiteY69" fmla="*/ 157766 h 1004552"/>
              <a:gd name="connsiteX70" fmla="*/ 247919 w 2257023"/>
              <a:gd name="connsiteY70" fmla="*/ 141667 h 1004552"/>
              <a:gd name="connsiteX71" fmla="*/ 215722 w 2257023"/>
              <a:gd name="connsiteY71" fmla="*/ 141667 h 1004552"/>
              <a:gd name="connsiteX72" fmla="*/ 215722 w 2257023"/>
              <a:gd name="connsiteY72" fmla="*/ 132008 h 1004552"/>
              <a:gd name="connsiteX73" fmla="*/ 164206 w 2257023"/>
              <a:gd name="connsiteY73" fmla="*/ 132008 h 1004552"/>
              <a:gd name="connsiteX74" fmla="*/ 164206 w 2257023"/>
              <a:gd name="connsiteY74" fmla="*/ 109470 h 1004552"/>
              <a:gd name="connsiteX75" fmla="*/ 144888 w 2257023"/>
              <a:gd name="connsiteY75" fmla="*/ 109470 h 1004552"/>
              <a:gd name="connsiteX76" fmla="*/ 144888 w 2257023"/>
              <a:gd name="connsiteY76" fmla="*/ 83712 h 1004552"/>
              <a:gd name="connsiteX77" fmla="*/ 119130 w 2257023"/>
              <a:gd name="connsiteY77" fmla="*/ 83712 h 1004552"/>
              <a:gd name="connsiteX78" fmla="*/ 119130 w 2257023"/>
              <a:gd name="connsiteY78" fmla="*/ 57955 h 1004552"/>
              <a:gd name="connsiteX79" fmla="*/ 67615 w 2257023"/>
              <a:gd name="connsiteY79" fmla="*/ 57955 h 1004552"/>
              <a:gd name="connsiteX80" fmla="*/ 67615 w 2257023"/>
              <a:gd name="connsiteY80" fmla="*/ 35417 h 1004552"/>
              <a:gd name="connsiteX81" fmla="*/ 38637 w 2257023"/>
              <a:gd name="connsiteY81" fmla="*/ 35417 h 1004552"/>
              <a:gd name="connsiteX82" fmla="*/ 38637 w 2257023"/>
              <a:gd name="connsiteY82" fmla="*/ 19318 h 1004552"/>
              <a:gd name="connsiteX83" fmla="*/ 19319 w 2257023"/>
              <a:gd name="connsiteY83" fmla="*/ 19318 h 1004552"/>
              <a:gd name="connsiteX84" fmla="*/ 19319 w 2257023"/>
              <a:gd name="connsiteY84" fmla="*/ 0 h 1004552"/>
              <a:gd name="connsiteX85" fmla="*/ 0 w 2257023"/>
              <a:gd name="connsiteY85" fmla="*/ 0 h 100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257023" h="1004552">
                <a:moveTo>
                  <a:pt x="2257023" y="1004552"/>
                </a:moveTo>
                <a:lnTo>
                  <a:pt x="1851339" y="1004552"/>
                </a:lnTo>
                <a:lnTo>
                  <a:pt x="1851339" y="949817"/>
                </a:lnTo>
                <a:lnTo>
                  <a:pt x="1732209" y="949817"/>
                </a:lnTo>
                <a:lnTo>
                  <a:pt x="1732209" y="933718"/>
                </a:lnTo>
                <a:lnTo>
                  <a:pt x="1629178" y="933718"/>
                </a:lnTo>
                <a:lnTo>
                  <a:pt x="1629178" y="914400"/>
                </a:lnTo>
                <a:lnTo>
                  <a:pt x="1577662" y="914400"/>
                </a:lnTo>
                <a:lnTo>
                  <a:pt x="1577662" y="907960"/>
                </a:lnTo>
                <a:lnTo>
                  <a:pt x="1542246" y="907960"/>
                </a:lnTo>
                <a:lnTo>
                  <a:pt x="1542246" y="898301"/>
                </a:lnTo>
                <a:lnTo>
                  <a:pt x="1448874" y="898301"/>
                </a:lnTo>
                <a:lnTo>
                  <a:pt x="1448874" y="882203"/>
                </a:lnTo>
                <a:lnTo>
                  <a:pt x="1397358" y="882203"/>
                </a:lnTo>
                <a:lnTo>
                  <a:pt x="1397358" y="866104"/>
                </a:lnTo>
                <a:lnTo>
                  <a:pt x="1355502" y="866104"/>
                </a:lnTo>
                <a:lnTo>
                  <a:pt x="1355502" y="853225"/>
                </a:lnTo>
                <a:lnTo>
                  <a:pt x="1268570" y="853225"/>
                </a:lnTo>
                <a:lnTo>
                  <a:pt x="1268570" y="833907"/>
                </a:lnTo>
                <a:lnTo>
                  <a:pt x="1255691" y="833907"/>
                </a:lnTo>
                <a:lnTo>
                  <a:pt x="1255691" y="788831"/>
                </a:lnTo>
                <a:lnTo>
                  <a:pt x="1217054" y="788831"/>
                </a:lnTo>
                <a:lnTo>
                  <a:pt x="1217054" y="756634"/>
                </a:lnTo>
                <a:lnTo>
                  <a:pt x="1188077" y="756634"/>
                </a:lnTo>
                <a:lnTo>
                  <a:pt x="1188077" y="730876"/>
                </a:lnTo>
                <a:lnTo>
                  <a:pt x="1146220" y="730876"/>
                </a:lnTo>
                <a:lnTo>
                  <a:pt x="1146220" y="708338"/>
                </a:lnTo>
                <a:lnTo>
                  <a:pt x="1081826" y="708338"/>
                </a:lnTo>
                <a:lnTo>
                  <a:pt x="1081826" y="669701"/>
                </a:lnTo>
                <a:lnTo>
                  <a:pt x="1030310" y="669701"/>
                </a:lnTo>
                <a:lnTo>
                  <a:pt x="1030310" y="621405"/>
                </a:lnTo>
                <a:lnTo>
                  <a:pt x="982015" y="621405"/>
                </a:lnTo>
                <a:lnTo>
                  <a:pt x="982015" y="582769"/>
                </a:lnTo>
                <a:lnTo>
                  <a:pt x="965916" y="582769"/>
                </a:lnTo>
                <a:lnTo>
                  <a:pt x="965916" y="540912"/>
                </a:lnTo>
                <a:lnTo>
                  <a:pt x="917620" y="540912"/>
                </a:lnTo>
                <a:lnTo>
                  <a:pt x="917620" y="524814"/>
                </a:lnTo>
                <a:lnTo>
                  <a:pt x="869324" y="524814"/>
                </a:lnTo>
                <a:lnTo>
                  <a:pt x="869324" y="479738"/>
                </a:lnTo>
                <a:lnTo>
                  <a:pt x="846786" y="479738"/>
                </a:lnTo>
                <a:lnTo>
                  <a:pt x="846786" y="447541"/>
                </a:lnTo>
                <a:lnTo>
                  <a:pt x="824248" y="447541"/>
                </a:lnTo>
                <a:lnTo>
                  <a:pt x="824248" y="415343"/>
                </a:lnTo>
                <a:lnTo>
                  <a:pt x="804930" y="415343"/>
                </a:lnTo>
                <a:lnTo>
                  <a:pt x="804930" y="379926"/>
                </a:lnTo>
                <a:lnTo>
                  <a:pt x="756634" y="379926"/>
                </a:lnTo>
                <a:lnTo>
                  <a:pt x="756634" y="347729"/>
                </a:lnTo>
                <a:lnTo>
                  <a:pt x="737316" y="347729"/>
                </a:lnTo>
                <a:lnTo>
                  <a:pt x="737316" y="334850"/>
                </a:lnTo>
                <a:lnTo>
                  <a:pt x="685800" y="334850"/>
                </a:lnTo>
                <a:lnTo>
                  <a:pt x="685800" y="321972"/>
                </a:lnTo>
                <a:lnTo>
                  <a:pt x="608527" y="321972"/>
                </a:lnTo>
                <a:lnTo>
                  <a:pt x="608527" y="312312"/>
                </a:lnTo>
                <a:lnTo>
                  <a:pt x="531254" y="312312"/>
                </a:lnTo>
                <a:lnTo>
                  <a:pt x="531254" y="299434"/>
                </a:lnTo>
                <a:lnTo>
                  <a:pt x="508716" y="299434"/>
                </a:lnTo>
                <a:lnTo>
                  <a:pt x="508716" y="283335"/>
                </a:lnTo>
                <a:lnTo>
                  <a:pt x="450761" y="283335"/>
                </a:lnTo>
                <a:lnTo>
                  <a:pt x="450761" y="260797"/>
                </a:lnTo>
                <a:lnTo>
                  <a:pt x="421784" y="260797"/>
                </a:lnTo>
                <a:lnTo>
                  <a:pt x="421784" y="235039"/>
                </a:lnTo>
                <a:lnTo>
                  <a:pt x="379927" y="235039"/>
                </a:lnTo>
                <a:lnTo>
                  <a:pt x="379927" y="212501"/>
                </a:lnTo>
                <a:lnTo>
                  <a:pt x="360609" y="212501"/>
                </a:lnTo>
                <a:lnTo>
                  <a:pt x="360609" y="193183"/>
                </a:lnTo>
                <a:lnTo>
                  <a:pt x="331631" y="193183"/>
                </a:lnTo>
                <a:lnTo>
                  <a:pt x="331631" y="177084"/>
                </a:lnTo>
                <a:lnTo>
                  <a:pt x="299434" y="177084"/>
                </a:lnTo>
                <a:lnTo>
                  <a:pt x="299434" y="157766"/>
                </a:lnTo>
                <a:lnTo>
                  <a:pt x="247919" y="157766"/>
                </a:lnTo>
                <a:lnTo>
                  <a:pt x="247919" y="141667"/>
                </a:lnTo>
                <a:lnTo>
                  <a:pt x="215722" y="141667"/>
                </a:lnTo>
                <a:lnTo>
                  <a:pt x="215722" y="132008"/>
                </a:lnTo>
                <a:lnTo>
                  <a:pt x="164206" y="132008"/>
                </a:lnTo>
                <a:lnTo>
                  <a:pt x="164206" y="109470"/>
                </a:lnTo>
                <a:lnTo>
                  <a:pt x="144888" y="109470"/>
                </a:lnTo>
                <a:lnTo>
                  <a:pt x="144888" y="83712"/>
                </a:lnTo>
                <a:lnTo>
                  <a:pt x="119130" y="83712"/>
                </a:lnTo>
                <a:lnTo>
                  <a:pt x="119130" y="57955"/>
                </a:lnTo>
                <a:lnTo>
                  <a:pt x="67615" y="57955"/>
                </a:lnTo>
                <a:lnTo>
                  <a:pt x="67615" y="35417"/>
                </a:lnTo>
                <a:lnTo>
                  <a:pt x="38637" y="35417"/>
                </a:lnTo>
                <a:lnTo>
                  <a:pt x="38637" y="19318"/>
                </a:lnTo>
                <a:lnTo>
                  <a:pt x="19319" y="19318"/>
                </a:lnTo>
                <a:lnTo>
                  <a:pt x="19319" y="0"/>
                </a:lnTo>
                <a:lnTo>
                  <a:pt x="0" y="0"/>
                </a:lnTo>
              </a:path>
            </a:pathLst>
          </a:custGeom>
          <a:noFill/>
          <a:ln w="28575">
            <a:solidFill>
              <a:srgbClr val="7030A0"/>
            </a:solidFill>
            <a:prstDash val="sysDot"/>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78">
              <a:defRPr/>
            </a:pPr>
            <a:endParaRPr lang="en-US">
              <a:solidFill>
                <a:prstClr val="white"/>
              </a:solidFill>
              <a:latin typeface="Calibri"/>
            </a:endParaRPr>
          </a:p>
        </p:txBody>
      </p:sp>
      <p:grpSp>
        <p:nvGrpSpPr>
          <p:cNvPr id="646" name="Group 645">
            <a:extLst>
              <a:ext uri="{FF2B5EF4-FFF2-40B4-BE49-F238E27FC236}">
                <a16:creationId xmlns:a16="http://schemas.microsoft.com/office/drawing/2014/main" id="{338FC4B6-6EB5-4973-A966-6CA9CA44B90C}"/>
              </a:ext>
            </a:extLst>
          </p:cNvPr>
          <p:cNvGrpSpPr/>
          <p:nvPr/>
        </p:nvGrpSpPr>
        <p:grpSpPr>
          <a:xfrm>
            <a:off x="5360825" y="1600625"/>
            <a:ext cx="2262425" cy="1035716"/>
            <a:chOff x="5328924" y="1041148"/>
            <a:chExt cx="2262425" cy="1035716"/>
          </a:xfrm>
          <a:noFill/>
        </p:grpSpPr>
        <p:sp>
          <p:nvSpPr>
            <p:cNvPr id="647" name="Freeform 76">
              <a:extLst>
                <a:ext uri="{FF2B5EF4-FFF2-40B4-BE49-F238E27FC236}">
                  <a16:creationId xmlns:a16="http://schemas.microsoft.com/office/drawing/2014/main" id="{1E74A677-2305-43CF-B7B5-CDE5C829440D}"/>
                </a:ext>
              </a:extLst>
            </p:cNvPr>
            <p:cNvSpPr>
              <a:spLocks/>
            </p:cNvSpPr>
            <p:nvPr/>
          </p:nvSpPr>
          <p:spPr bwMode="auto">
            <a:xfrm>
              <a:off x="7537649"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48" name="Freeform 76">
              <a:extLst>
                <a:ext uri="{FF2B5EF4-FFF2-40B4-BE49-F238E27FC236}">
                  <a16:creationId xmlns:a16="http://schemas.microsoft.com/office/drawing/2014/main" id="{56A1DB3C-0C84-4104-B757-8C0D85755088}"/>
                </a:ext>
              </a:extLst>
            </p:cNvPr>
            <p:cNvSpPr>
              <a:spLocks/>
            </p:cNvSpPr>
            <p:nvPr/>
          </p:nvSpPr>
          <p:spPr bwMode="auto">
            <a:xfrm>
              <a:off x="7482914"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49" name="Freeform 76">
              <a:extLst>
                <a:ext uri="{FF2B5EF4-FFF2-40B4-BE49-F238E27FC236}">
                  <a16:creationId xmlns:a16="http://schemas.microsoft.com/office/drawing/2014/main" id="{766CB62A-A3EC-427E-818B-B77EC13987BF}"/>
                </a:ext>
              </a:extLst>
            </p:cNvPr>
            <p:cNvSpPr>
              <a:spLocks/>
            </p:cNvSpPr>
            <p:nvPr/>
          </p:nvSpPr>
          <p:spPr bwMode="auto">
            <a:xfrm>
              <a:off x="7470036"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0" name="Freeform 76">
              <a:extLst>
                <a:ext uri="{FF2B5EF4-FFF2-40B4-BE49-F238E27FC236}">
                  <a16:creationId xmlns:a16="http://schemas.microsoft.com/office/drawing/2014/main" id="{E146003B-B4F2-4B7E-A09D-20E3E2EC201D}"/>
                </a:ext>
              </a:extLst>
            </p:cNvPr>
            <p:cNvSpPr>
              <a:spLocks/>
            </p:cNvSpPr>
            <p:nvPr/>
          </p:nvSpPr>
          <p:spPr bwMode="auto">
            <a:xfrm>
              <a:off x="7450717"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1" name="Freeform 76">
              <a:extLst>
                <a:ext uri="{FF2B5EF4-FFF2-40B4-BE49-F238E27FC236}">
                  <a16:creationId xmlns:a16="http://schemas.microsoft.com/office/drawing/2014/main" id="{6A3A5895-6BE9-4A22-BDA0-E266E1D6FEE9}"/>
                </a:ext>
              </a:extLst>
            </p:cNvPr>
            <p:cNvSpPr>
              <a:spLocks/>
            </p:cNvSpPr>
            <p:nvPr/>
          </p:nvSpPr>
          <p:spPr bwMode="auto">
            <a:xfrm>
              <a:off x="7412080"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2" name="Freeform 76">
              <a:extLst>
                <a:ext uri="{FF2B5EF4-FFF2-40B4-BE49-F238E27FC236}">
                  <a16:creationId xmlns:a16="http://schemas.microsoft.com/office/drawing/2014/main" id="{FF85AB88-A40C-4616-81BC-A5D061BECED6}"/>
                </a:ext>
              </a:extLst>
            </p:cNvPr>
            <p:cNvSpPr>
              <a:spLocks/>
            </p:cNvSpPr>
            <p:nvPr/>
          </p:nvSpPr>
          <p:spPr bwMode="auto">
            <a:xfrm>
              <a:off x="7347686"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3" name="Freeform 76">
              <a:extLst>
                <a:ext uri="{FF2B5EF4-FFF2-40B4-BE49-F238E27FC236}">
                  <a16:creationId xmlns:a16="http://schemas.microsoft.com/office/drawing/2014/main" id="{A8F8C981-5D9B-4E1D-9DAE-5537A17E5330}"/>
                </a:ext>
              </a:extLst>
            </p:cNvPr>
            <p:cNvSpPr>
              <a:spLocks/>
            </p:cNvSpPr>
            <p:nvPr/>
          </p:nvSpPr>
          <p:spPr bwMode="auto">
            <a:xfrm>
              <a:off x="7341246"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4" name="Freeform 76">
              <a:extLst>
                <a:ext uri="{FF2B5EF4-FFF2-40B4-BE49-F238E27FC236}">
                  <a16:creationId xmlns:a16="http://schemas.microsoft.com/office/drawing/2014/main" id="{5AEE70FF-B624-4BBA-9657-EE89DFD09822}"/>
                </a:ext>
              </a:extLst>
            </p:cNvPr>
            <p:cNvSpPr>
              <a:spLocks/>
            </p:cNvSpPr>
            <p:nvPr/>
          </p:nvSpPr>
          <p:spPr bwMode="auto">
            <a:xfrm>
              <a:off x="7318708"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5" name="Freeform 76">
              <a:extLst>
                <a:ext uri="{FF2B5EF4-FFF2-40B4-BE49-F238E27FC236}">
                  <a16:creationId xmlns:a16="http://schemas.microsoft.com/office/drawing/2014/main" id="{F3820F3A-9768-4B11-B156-6CDFE0E035C9}"/>
                </a:ext>
              </a:extLst>
            </p:cNvPr>
            <p:cNvSpPr>
              <a:spLocks/>
            </p:cNvSpPr>
            <p:nvPr/>
          </p:nvSpPr>
          <p:spPr bwMode="auto">
            <a:xfrm>
              <a:off x="7292951"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6" name="Freeform 76">
              <a:extLst>
                <a:ext uri="{FF2B5EF4-FFF2-40B4-BE49-F238E27FC236}">
                  <a16:creationId xmlns:a16="http://schemas.microsoft.com/office/drawing/2014/main" id="{921235AB-CA22-4B77-98D2-809737FB16EE}"/>
                </a:ext>
              </a:extLst>
            </p:cNvPr>
            <p:cNvSpPr>
              <a:spLocks/>
            </p:cNvSpPr>
            <p:nvPr/>
          </p:nvSpPr>
          <p:spPr bwMode="auto">
            <a:xfrm>
              <a:off x="7283292"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7" name="Freeform 76">
              <a:extLst>
                <a:ext uri="{FF2B5EF4-FFF2-40B4-BE49-F238E27FC236}">
                  <a16:creationId xmlns:a16="http://schemas.microsoft.com/office/drawing/2014/main" id="{6808D362-36D3-450F-838E-9EB750F8BD43}"/>
                </a:ext>
              </a:extLst>
            </p:cNvPr>
            <p:cNvSpPr>
              <a:spLocks/>
            </p:cNvSpPr>
            <p:nvPr/>
          </p:nvSpPr>
          <p:spPr bwMode="auto">
            <a:xfrm>
              <a:off x="7363784"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8" name="Freeform 76">
              <a:extLst>
                <a:ext uri="{FF2B5EF4-FFF2-40B4-BE49-F238E27FC236}">
                  <a16:creationId xmlns:a16="http://schemas.microsoft.com/office/drawing/2014/main" id="{2727399D-B094-46F4-B7AF-62E9EFFB5AF5}"/>
                </a:ext>
              </a:extLst>
            </p:cNvPr>
            <p:cNvSpPr>
              <a:spLocks/>
            </p:cNvSpPr>
            <p:nvPr/>
          </p:nvSpPr>
          <p:spPr bwMode="auto">
            <a:xfrm>
              <a:off x="7263974"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59" name="Freeform 76">
              <a:extLst>
                <a:ext uri="{FF2B5EF4-FFF2-40B4-BE49-F238E27FC236}">
                  <a16:creationId xmlns:a16="http://schemas.microsoft.com/office/drawing/2014/main" id="{9540B0D5-AA3A-4E75-B561-DB2DFE0C31F4}"/>
                </a:ext>
              </a:extLst>
            </p:cNvPr>
            <p:cNvSpPr>
              <a:spLocks/>
            </p:cNvSpPr>
            <p:nvPr/>
          </p:nvSpPr>
          <p:spPr bwMode="auto">
            <a:xfrm>
              <a:off x="7251095"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0" name="Freeform 76">
              <a:extLst>
                <a:ext uri="{FF2B5EF4-FFF2-40B4-BE49-F238E27FC236}">
                  <a16:creationId xmlns:a16="http://schemas.microsoft.com/office/drawing/2014/main" id="{014F9E49-EF63-4771-BAA6-673A42A584DC}"/>
                </a:ext>
              </a:extLst>
            </p:cNvPr>
            <p:cNvSpPr>
              <a:spLocks/>
            </p:cNvSpPr>
            <p:nvPr/>
          </p:nvSpPr>
          <p:spPr bwMode="auto">
            <a:xfrm>
              <a:off x="7241436"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1" name="Freeform 76">
              <a:extLst>
                <a:ext uri="{FF2B5EF4-FFF2-40B4-BE49-F238E27FC236}">
                  <a16:creationId xmlns:a16="http://schemas.microsoft.com/office/drawing/2014/main" id="{65BD14D7-B925-4CC3-BD8B-F04CFCA63B94}"/>
                </a:ext>
              </a:extLst>
            </p:cNvPr>
            <p:cNvSpPr>
              <a:spLocks/>
            </p:cNvSpPr>
            <p:nvPr/>
          </p:nvSpPr>
          <p:spPr bwMode="auto">
            <a:xfrm>
              <a:off x="7231777"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2" name="Freeform 76">
              <a:extLst>
                <a:ext uri="{FF2B5EF4-FFF2-40B4-BE49-F238E27FC236}">
                  <a16:creationId xmlns:a16="http://schemas.microsoft.com/office/drawing/2014/main" id="{05D8242B-1A36-4B75-8994-F69B1D5A68B1}"/>
                </a:ext>
              </a:extLst>
            </p:cNvPr>
            <p:cNvSpPr>
              <a:spLocks/>
            </p:cNvSpPr>
            <p:nvPr/>
          </p:nvSpPr>
          <p:spPr bwMode="auto">
            <a:xfrm>
              <a:off x="7218898"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3" name="Freeform 76">
              <a:extLst>
                <a:ext uri="{FF2B5EF4-FFF2-40B4-BE49-F238E27FC236}">
                  <a16:creationId xmlns:a16="http://schemas.microsoft.com/office/drawing/2014/main" id="{C23C5577-8F8A-40F6-A43F-872D59602838}"/>
                </a:ext>
              </a:extLst>
            </p:cNvPr>
            <p:cNvSpPr>
              <a:spLocks/>
            </p:cNvSpPr>
            <p:nvPr/>
          </p:nvSpPr>
          <p:spPr bwMode="auto">
            <a:xfrm>
              <a:off x="7199580"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4" name="Freeform 76">
              <a:extLst>
                <a:ext uri="{FF2B5EF4-FFF2-40B4-BE49-F238E27FC236}">
                  <a16:creationId xmlns:a16="http://schemas.microsoft.com/office/drawing/2014/main" id="{E733A23B-C92A-4995-8037-88AE2B5AAEA3}"/>
                </a:ext>
              </a:extLst>
            </p:cNvPr>
            <p:cNvSpPr>
              <a:spLocks/>
            </p:cNvSpPr>
            <p:nvPr/>
          </p:nvSpPr>
          <p:spPr bwMode="auto">
            <a:xfrm>
              <a:off x="7186701"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5" name="Freeform 76">
              <a:extLst>
                <a:ext uri="{FF2B5EF4-FFF2-40B4-BE49-F238E27FC236}">
                  <a16:creationId xmlns:a16="http://schemas.microsoft.com/office/drawing/2014/main" id="{F17AFDF6-4EF3-4436-AF06-76507FDD7370}"/>
                </a:ext>
              </a:extLst>
            </p:cNvPr>
            <p:cNvSpPr>
              <a:spLocks/>
            </p:cNvSpPr>
            <p:nvPr/>
          </p:nvSpPr>
          <p:spPr bwMode="auto">
            <a:xfrm>
              <a:off x="7167382"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6" name="Freeform 76">
              <a:extLst>
                <a:ext uri="{FF2B5EF4-FFF2-40B4-BE49-F238E27FC236}">
                  <a16:creationId xmlns:a16="http://schemas.microsoft.com/office/drawing/2014/main" id="{9EC820D5-42AD-409A-8AB3-10D380307626}"/>
                </a:ext>
              </a:extLst>
            </p:cNvPr>
            <p:cNvSpPr>
              <a:spLocks/>
            </p:cNvSpPr>
            <p:nvPr/>
          </p:nvSpPr>
          <p:spPr bwMode="auto">
            <a:xfrm>
              <a:off x="7157723"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7" name="Freeform 76">
              <a:extLst>
                <a:ext uri="{FF2B5EF4-FFF2-40B4-BE49-F238E27FC236}">
                  <a16:creationId xmlns:a16="http://schemas.microsoft.com/office/drawing/2014/main" id="{D3436A0F-A04D-4AA4-8589-03A3D9B17DE2}"/>
                </a:ext>
              </a:extLst>
            </p:cNvPr>
            <p:cNvSpPr>
              <a:spLocks/>
            </p:cNvSpPr>
            <p:nvPr/>
          </p:nvSpPr>
          <p:spPr bwMode="auto">
            <a:xfrm>
              <a:off x="7141625" y="202316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8" name="Freeform 76">
              <a:extLst>
                <a:ext uri="{FF2B5EF4-FFF2-40B4-BE49-F238E27FC236}">
                  <a16:creationId xmlns:a16="http://schemas.microsoft.com/office/drawing/2014/main" id="{7F2C1F6B-0718-4025-9211-C8A521D32D8D}"/>
                </a:ext>
              </a:extLst>
            </p:cNvPr>
            <p:cNvSpPr>
              <a:spLocks/>
            </p:cNvSpPr>
            <p:nvPr/>
          </p:nvSpPr>
          <p:spPr bwMode="auto">
            <a:xfrm>
              <a:off x="7135185" y="1990966"/>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69" name="Freeform 76">
              <a:extLst>
                <a:ext uri="{FF2B5EF4-FFF2-40B4-BE49-F238E27FC236}">
                  <a16:creationId xmlns:a16="http://schemas.microsoft.com/office/drawing/2014/main" id="{D65EECA5-CE49-43F0-8D8A-00D75DCB04E3}"/>
                </a:ext>
              </a:extLst>
            </p:cNvPr>
            <p:cNvSpPr>
              <a:spLocks/>
            </p:cNvSpPr>
            <p:nvPr/>
          </p:nvSpPr>
          <p:spPr bwMode="auto">
            <a:xfrm>
              <a:off x="7128746" y="196520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0" name="Freeform 76">
              <a:extLst>
                <a:ext uri="{FF2B5EF4-FFF2-40B4-BE49-F238E27FC236}">
                  <a16:creationId xmlns:a16="http://schemas.microsoft.com/office/drawing/2014/main" id="{2CFDB783-6F9C-4545-AA5C-EC5B4F1BC089}"/>
                </a:ext>
              </a:extLst>
            </p:cNvPr>
            <p:cNvSpPr>
              <a:spLocks/>
            </p:cNvSpPr>
            <p:nvPr/>
          </p:nvSpPr>
          <p:spPr bwMode="auto">
            <a:xfrm>
              <a:off x="7109428" y="196520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1" name="Freeform 76">
              <a:extLst>
                <a:ext uri="{FF2B5EF4-FFF2-40B4-BE49-F238E27FC236}">
                  <a16:creationId xmlns:a16="http://schemas.microsoft.com/office/drawing/2014/main" id="{684A75AE-B402-499F-9A15-7B09CE1C7A9D}"/>
                </a:ext>
              </a:extLst>
            </p:cNvPr>
            <p:cNvSpPr>
              <a:spLocks/>
            </p:cNvSpPr>
            <p:nvPr/>
          </p:nvSpPr>
          <p:spPr bwMode="auto">
            <a:xfrm>
              <a:off x="7099769" y="196520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2" name="Freeform 76">
              <a:extLst>
                <a:ext uri="{FF2B5EF4-FFF2-40B4-BE49-F238E27FC236}">
                  <a16:creationId xmlns:a16="http://schemas.microsoft.com/office/drawing/2014/main" id="{611C0D45-EE6D-480B-814B-6B6987777119}"/>
                </a:ext>
              </a:extLst>
            </p:cNvPr>
            <p:cNvSpPr>
              <a:spLocks/>
            </p:cNvSpPr>
            <p:nvPr/>
          </p:nvSpPr>
          <p:spPr bwMode="auto">
            <a:xfrm>
              <a:off x="7090110" y="196520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3" name="Freeform 76">
              <a:extLst>
                <a:ext uri="{FF2B5EF4-FFF2-40B4-BE49-F238E27FC236}">
                  <a16:creationId xmlns:a16="http://schemas.microsoft.com/office/drawing/2014/main" id="{442104CA-450A-41FF-AA98-7E814E2B7912}"/>
                </a:ext>
              </a:extLst>
            </p:cNvPr>
            <p:cNvSpPr>
              <a:spLocks/>
            </p:cNvSpPr>
            <p:nvPr/>
          </p:nvSpPr>
          <p:spPr bwMode="auto">
            <a:xfrm>
              <a:off x="7080451" y="196520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4" name="Freeform 76">
              <a:extLst>
                <a:ext uri="{FF2B5EF4-FFF2-40B4-BE49-F238E27FC236}">
                  <a16:creationId xmlns:a16="http://schemas.microsoft.com/office/drawing/2014/main" id="{7CD78AA6-0F7E-4778-A834-4346AB07470B}"/>
                </a:ext>
              </a:extLst>
            </p:cNvPr>
            <p:cNvSpPr>
              <a:spLocks/>
            </p:cNvSpPr>
            <p:nvPr/>
          </p:nvSpPr>
          <p:spPr bwMode="auto">
            <a:xfrm>
              <a:off x="7070792" y="196520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5" name="Freeform 76">
              <a:extLst>
                <a:ext uri="{FF2B5EF4-FFF2-40B4-BE49-F238E27FC236}">
                  <a16:creationId xmlns:a16="http://schemas.microsoft.com/office/drawing/2014/main" id="{3EE04BB8-4769-4C04-A55F-611C5FB76712}"/>
                </a:ext>
              </a:extLst>
            </p:cNvPr>
            <p:cNvSpPr>
              <a:spLocks/>
            </p:cNvSpPr>
            <p:nvPr/>
          </p:nvSpPr>
          <p:spPr bwMode="auto">
            <a:xfrm>
              <a:off x="7057913" y="196520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6" name="Freeform 76">
              <a:extLst>
                <a:ext uri="{FF2B5EF4-FFF2-40B4-BE49-F238E27FC236}">
                  <a16:creationId xmlns:a16="http://schemas.microsoft.com/office/drawing/2014/main" id="{E27A83A7-936F-4F9A-9F62-9E2150292BDE}"/>
                </a:ext>
              </a:extLst>
            </p:cNvPr>
            <p:cNvSpPr>
              <a:spLocks/>
            </p:cNvSpPr>
            <p:nvPr/>
          </p:nvSpPr>
          <p:spPr bwMode="auto">
            <a:xfrm>
              <a:off x="7041814" y="196520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7" name="Freeform 76">
              <a:extLst>
                <a:ext uri="{FF2B5EF4-FFF2-40B4-BE49-F238E27FC236}">
                  <a16:creationId xmlns:a16="http://schemas.microsoft.com/office/drawing/2014/main" id="{04ABE13B-E2CB-48C2-9D7B-716DF44E70BB}"/>
                </a:ext>
              </a:extLst>
            </p:cNvPr>
            <p:cNvSpPr>
              <a:spLocks/>
            </p:cNvSpPr>
            <p:nvPr/>
          </p:nvSpPr>
          <p:spPr bwMode="auto">
            <a:xfrm>
              <a:off x="7032155" y="196520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8" name="Freeform 76">
              <a:extLst>
                <a:ext uri="{FF2B5EF4-FFF2-40B4-BE49-F238E27FC236}">
                  <a16:creationId xmlns:a16="http://schemas.microsoft.com/office/drawing/2014/main" id="{D1246F12-54EB-44F5-A575-9872F01F5540}"/>
                </a:ext>
              </a:extLst>
            </p:cNvPr>
            <p:cNvSpPr>
              <a:spLocks/>
            </p:cNvSpPr>
            <p:nvPr/>
          </p:nvSpPr>
          <p:spPr bwMode="auto">
            <a:xfrm>
              <a:off x="6996738" y="195232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79" name="Freeform 76">
              <a:extLst>
                <a:ext uri="{FF2B5EF4-FFF2-40B4-BE49-F238E27FC236}">
                  <a16:creationId xmlns:a16="http://schemas.microsoft.com/office/drawing/2014/main" id="{F1986D5F-5E4F-4A59-AB57-94FB3F3E0001}"/>
                </a:ext>
              </a:extLst>
            </p:cNvPr>
            <p:cNvSpPr>
              <a:spLocks/>
            </p:cNvSpPr>
            <p:nvPr/>
          </p:nvSpPr>
          <p:spPr bwMode="auto">
            <a:xfrm>
              <a:off x="6974200" y="195232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0" name="Freeform 76">
              <a:extLst>
                <a:ext uri="{FF2B5EF4-FFF2-40B4-BE49-F238E27FC236}">
                  <a16:creationId xmlns:a16="http://schemas.microsoft.com/office/drawing/2014/main" id="{0E1E886F-AF6B-4A19-9766-F7CD00E60BDA}"/>
                </a:ext>
              </a:extLst>
            </p:cNvPr>
            <p:cNvSpPr>
              <a:spLocks/>
            </p:cNvSpPr>
            <p:nvPr/>
          </p:nvSpPr>
          <p:spPr bwMode="auto">
            <a:xfrm>
              <a:off x="6954882" y="195232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1" name="Freeform 76">
              <a:extLst>
                <a:ext uri="{FF2B5EF4-FFF2-40B4-BE49-F238E27FC236}">
                  <a16:creationId xmlns:a16="http://schemas.microsoft.com/office/drawing/2014/main" id="{FC775B80-4380-433B-A4CF-5060DDAB5A4C}"/>
                </a:ext>
              </a:extLst>
            </p:cNvPr>
            <p:cNvSpPr>
              <a:spLocks/>
            </p:cNvSpPr>
            <p:nvPr/>
          </p:nvSpPr>
          <p:spPr bwMode="auto">
            <a:xfrm>
              <a:off x="6948442" y="195232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2" name="Freeform 76">
              <a:extLst>
                <a:ext uri="{FF2B5EF4-FFF2-40B4-BE49-F238E27FC236}">
                  <a16:creationId xmlns:a16="http://schemas.microsoft.com/office/drawing/2014/main" id="{885B1783-DE46-45F3-A4CF-E6B7018F72FB}"/>
                </a:ext>
              </a:extLst>
            </p:cNvPr>
            <p:cNvSpPr>
              <a:spLocks/>
            </p:cNvSpPr>
            <p:nvPr/>
          </p:nvSpPr>
          <p:spPr bwMode="auto">
            <a:xfrm>
              <a:off x="6935563" y="195232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3" name="Freeform 76">
              <a:extLst>
                <a:ext uri="{FF2B5EF4-FFF2-40B4-BE49-F238E27FC236}">
                  <a16:creationId xmlns:a16="http://schemas.microsoft.com/office/drawing/2014/main" id="{F2D7E88A-B381-4F0A-A157-A086B8FB295A}"/>
                </a:ext>
              </a:extLst>
            </p:cNvPr>
            <p:cNvSpPr>
              <a:spLocks/>
            </p:cNvSpPr>
            <p:nvPr/>
          </p:nvSpPr>
          <p:spPr bwMode="auto">
            <a:xfrm>
              <a:off x="6922684" y="195232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4" name="Freeform 76">
              <a:extLst>
                <a:ext uri="{FF2B5EF4-FFF2-40B4-BE49-F238E27FC236}">
                  <a16:creationId xmlns:a16="http://schemas.microsoft.com/office/drawing/2014/main" id="{80BB51AA-6EB1-4FC2-8886-5CEBF4D59C8C}"/>
                </a:ext>
              </a:extLst>
            </p:cNvPr>
            <p:cNvSpPr>
              <a:spLocks/>
            </p:cNvSpPr>
            <p:nvPr/>
          </p:nvSpPr>
          <p:spPr bwMode="auto">
            <a:xfrm>
              <a:off x="6916245" y="1936231"/>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5" name="Freeform 76">
              <a:extLst>
                <a:ext uri="{FF2B5EF4-FFF2-40B4-BE49-F238E27FC236}">
                  <a16:creationId xmlns:a16="http://schemas.microsoft.com/office/drawing/2014/main" id="{8FC64AC1-2F0C-4198-B96A-B550CC06813D}"/>
                </a:ext>
              </a:extLst>
            </p:cNvPr>
            <p:cNvSpPr>
              <a:spLocks/>
            </p:cNvSpPr>
            <p:nvPr/>
          </p:nvSpPr>
          <p:spPr bwMode="auto">
            <a:xfrm>
              <a:off x="6906586" y="1936231"/>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6" name="Freeform 76">
              <a:extLst>
                <a:ext uri="{FF2B5EF4-FFF2-40B4-BE49-F238E27FC236}">
                  <a16:creationId xmlns:a16="http://schemas.microsoft.com/office/drawing/2014/main" id="{11A55AE9-885C-48A9-8C08-A65C3EC32C4D}"/>
                </a:ext>
              </a:extLst>
            </p:cNvPr>
            <p:cNvSpPr>
              <a:spLocks/>
            </p:cNvSpPr>
            <p:nvPr/>
          </p:nvSpPr>
          <p:spPr bwMode="auto">
            <a:xfrm>
              <a:off x="6893707" y="1936231"/>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7" name="Freeform 76">
              <a:extLst>
                <a:ext uri="{FF2B5EF4-FFF2-40B4-BE49-F238E27FC236}">
                  <a16:creationId xmlns:a16="http://schemas.microsoft.com/office/drawing/2014/main" id="{FD98DE4E-5D53-4DC4-BA3B-DE48E25D1F5E}"/>
                </a:ext>
              </a:extLst>
            </p:cNvPr>
            <p:cNvSpPr>
              <a:spLocks/>
            </p:cNvSpPr>
            <p:nvPr/>
          </p:nvSpPr>
          <p:spPr bwMode="auto">
            <a:xfrm>
              <a:off x="6871169" y="1936231"/>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8" name="Freeform 76">
              <a:extLst>
                <a:ext uri="{FF2B5EF4-FFF2-40B4-BE49-F238E27FC236}">
                  <a16:creationId xmlns:a16="http://schemas.microsoft.com/office/drawing/2014/main" id="{1C0B5B3F-1F80-44AA-B34E-3B78C5876432}"/>
                </a:ext>
              </a:extLst>
            </p:cNvPr>
            <p:cNvSpPr>
              <a:spLocks/>
            </p:cNvSpPr>
            <p:nvPr/>
          </p:nvSpPr>
          <p:spPr bwMode="auto">
            <a:xfrm>
              <a:off x="6858290" y="192013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89" name="Freeform 76">
              <a:extLst>
                <a:ext uri="{FF2B5EF4-FFF2-40B4-BE49-F238E27FC236}">
                  <a16:creationId xmlns:a16="http://schemas.microsoft.com/office/drawing/2014/main" id="{ABAC5D14-F4E0-42CD-83EA-6686B399B631}"/>
                </a:ext>
              </a:extLst>
            </p:cNvPr>
            <p:cNvSpPr>
              <a:spLocks/>
            </p:cNvSpPr>
            <p:nvPr/>
          </p:nvSpPr>
          <p:spPr bwMode="auto">
            <a:xfrm>
              <a:off x="6835752" y="192013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0" name="Freeform 76">
              <a:extLst>
                <a:ext uri="{FF2B5EF4-FFF2-40B4-BE49-F238E27FC236}">
                  <a16:creationId xmlns:a16="http://schemas.microsoft.com/office/drawing/2014/main" id="{0B2DD11A-7287-4DA5-ABE0-212AF2165B0C}"/>
                </a:ext>
              </a:extLst>
            </p:cNvPr>
            <p:cNvSpPr>
              <a:spLocks/>
            </p:cNvSpPr>
            <p:nvPr/>
          </p:nvSpPr>
          <p:spPr bwMode="auto">
            <a:xfrm>
              <a:off x="6819654" y="191369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1" name="Freeform 76">
              <a:extLst>
                <a:ext uri="{FF2B5EF4-FFF2-40B4-BE49-F238E27FC236}">
                  <a16:creationId xmlns:a16="http://schemas.microsoft.com/office/drawing/2014/main" id="{50256609-8D1B-4750-B320-590202A058C3}"/>
                </a:ext>
              </a:extLst>
            </p:cNvPr>
            <p:cNvSpPr>
              <a:spLocks/>
            </p:cNvSpPr>
            <p:nvPr/>
          </p:nvSpPr>
          <p:spPr bwMode="auto">
            <a:xfrm>
              <a:off x="6797116" y="191369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2" name="Freeform 76">
              <a:extLst>
                <a:ext uri="{FF2B5EF4-FFF2-40B4-BE49-F238E27FC236}">
                  <a16:creationId xmlns:a16="http://schemas.microsoft.com/office/drawing/2014/main" id="{CE6CC152-1DD5-467F-A023-6655DA58D564}"/>
                </a:ext>
              </a:extLst>
            </p:cNvPr>
            <p:cNvSpPr>
              <a:spLocks/>
            </p:cNvSpPr>
            <p:nvPr/>
          </p:nvSpPr>
          <p:spPr bwMode="auto">
            <a:xfrm>
              <a:off x="6790676" y="191369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3" name="Freeform 76">
              <a:extLst>
                <a:ext uri="{FF2B5EF4-FFF2-40B4-BE49-F238E27FC236}">
                  <a16:creationId xmlns:a16="http://schemas.microsoft.com/office/drawing/2014/main" id="{5660C85A-85AC-4E35-B667-A9E006852071}"/>
                </a:ext>
              </a:extLst>
            </p:cNvPr>
            <p:cNvSpPr>
              <a:spLocks/>
            </p:cNvSpPr>
            <p:nvPr/>
          </p:nvSpPr>
          <p:spPr bwMode="auto">
            <a:xfrm>
              <a:off x="6771357" y="191369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4" name="Freeform 76">
              <a:extLst>
                <a:ext uri="{FF2B5EF4-FFF2-40B4-BE49-F238E27FC236}">
                  <a16:creationId xmlns:a16="http://schemas.microsoft.com/office/drawing/2014/main" id="{CA0E8163-2B3B-499F-820D-70B3B3C16921}"/>
                </a:ext>
              </a:extLst>
            </p:cNvPr>
            <p:cNvSpPr>
              <a:spLocks/>
            </p:cNvSpPr>
            <p:nvPr/>
          </p:nvSpPr>
          <p:spPr bwMode="auto">
            <a:xfrm>
              <a:off x="6752039" y="191369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5" name="Freeform 76">
              <a:extLst>
                <a:ext uri="{FF2B5EF4-FFF2-40B4-BE49-F238E27FC236}">
                  <a16:creationId xmlns:a16="http://schemas.microsoft.com/office/drawing/2014/main" id="{4EB17876-FF01-458F-A96E-EE7E7A246675}"/>
                </a:ext>
              </a:extLst>
            </p:cNvPr>
            <p:cNvSpPr>
              <a:spLocks/>
            </p:cNvSpPr>
            <p:nvPr/>
          </p:nvSpPr>
          <p:spPr bwMode="auto">
            <a:xfrm>
              <a:off x="6735940" y="191369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6" name="Freeform 76">
              <a:extLst>
                <a:ext uri="{FF2B5EF4-FFF2-40B4-BE49-F238E27FC236}">
                  <a16:creationId xmlns:a16="http://schemas.microsoft.com/office/drawing/2014/main" id="{17C56019-9F7F-4621-89BD-47D3B473B9BF}"/>
                </a:ext>
              </a:extLst>
            </p:cNvPr>
            <p:cNvSpPr>
              <a:spLocks/>
            </p:cNvSpPr>
            <p:nvPr/>
          </p:nvSpPr>
          <p:spPr bwMode="auto">
            <a:xfrm>
              <a:off x="6726281" y="189759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7" name="Freeform 76">
              <a:extLst>
                <a:ext uri="{FF2B5EF4-FFF2-40B4-BE49-F238E27FC236}">
                  <a16:creationId xmlns:a16="http://schemas.microsoft.com/office/drawing/2014/main" id="{7F412032-342D-4DF8-A2EA-6EC690ED14C9}"/>
                </a:ext>
              </a:extLst>
            </p:cNvPr>
            <p:cNvSpPr>
              <a:spLocks/>
            </p:cNvSpPr>
            <p:nvPr/>
          </p:nvSpPr>
          <p:spPr bwMode="auto">
            <a:xfrm>
              <a:off x="6719842" y="189759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8" name="Freeform 76">
              <a:extLst>
                <a:ext uri="{FF2B5EF4-FFF2-40B4-BE49-F238E27FC236}">
                  <a16:creationId xmlns:a16="http://schemas.microsoft.com/office/drawing/2014/main" id="{94E8F536-34AA-4F31-8479-7B35356C2280}"/>
                </a:ext>
              </a:extLst>
            </p:cNvPr>
            <p:cNvSpPr>
              <a:spLocks/>
            </p:cNvSpPr>
            <p:nvPr/>
          </p:nvSpPr>
          <p:spPr bwMode="auto">
            <a:xfrm>
              <a:off x="6706963" y="189759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699" name="Freeform 76">
              <a:extLst>
                <a:ext uri="{FF2B5EF4-FFF2-40B4-BE49-F238E27FC236}">
                  <a16:creationId xmlns:a16="http://schemas.microsoft.com/office/drawing/2014/main" id="{AF5333F0-FD27-403C-B373-BA7051F3C23E}"/>
                </a:ext>
              </a:extLst>
            </p:cNvPr>
            <p:cNvSpPr>
              <a:spLocks/>
            </p:cNvSpPr>
            <p:nvPr/>
          </p:nvSpPr>
          <p:spPr bwMode="auto">
            <a:xfrm>
              <a:off x="6694084" y="1887934"/>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00" name="Freeform 76">
              <a:extLst>
                <a:ext uri="{FF2B5EF4-FFF2-40B4-BE49-F238E27FC236}">
                  <a16:creationId xmlns:a16="http://schemas.microsoft.com/office/drawing/2014/main" id="{2A00F0AF-C96B-401A-9A77-B18168B864CF}"/>
                </a:ext>
              </a:extLst>
            </p:cNvPr>
            <p:cNvSpPr>
              <a:spLocks/>
            </p:cNvSpPr>
            <p:nvPr/>
          </p:nvSpPr>
          <p:spPr bwMode="auto">
            <a:xfrm>
              <a:off x="6227225" y="1553083"/>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01" name="Freeform 76">
              <a:extLst>
                <a:ext uri="{FF2B5EF4-FFF2-40B4-BE49-F238E27FC236}">
                  <a16:creationId xmlns:a16="http://schemas.microsoft.com/office/drawing/2014/main" id="{B5F676C1-E40B-4764-A42C-C076C0A02B74}"/>
                </a:ext>
              </a:extLst>
            </p:cNvPr>
            <p:cNvSpPr>
              <a:spLocks/>
            </p:cNvSpPr>
            <p:nvPr/>
          </p:nvSpPr>
          <p:spPr bwMode="auto">
            <a:xfrm>
              <a:off x="6159611" y="1536985"/>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02" name="Freeform 76">
              <a:extLst>
                <a:ext uri="{FF2B5EF4-FFF2-40B4-BE49-F238E27FC236}">
                  <a16:creationId xmlns:a16="http://schemas.microsoft.com/office/drawing/2014/main" id="{5F8C859A-8B5F-48A8-A3C3-B6A2F4EDBA9C}"/>
                </a:ext>
              </a:extLst>
            </p:cNvPr>
            <p:cNvSpPr>
              <a:spLocks/>
            </p:cNvSpPr>
            <p:nvPr/>
          </p:nvSpPr>
          <p:spPr bwMode="auto">
            <a:xfrm>
              <a:off x="6133853" y="148224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03" name="Freeform 76">
              <a:extLst>
                <a:ext uri="{FF2B5EF4-FFF2-40B4-BE49-F238E27FC236}">
                  <a16:creationId xmlns:a16="http://schemas.microsoft.com/office/drawing/2014/main" id="{14D8EB3D-53DD-40E8-87C2-358EE0C8ECFF}"/>
                </a:ext>
              </a:extLst>
            </p:cNvPr>
            <p:cNvSpPr>
              <a:spLocks/>
            </p:cNvSpPr>
            <p:nvPr/>
          </p:nvSpPr>
          <p:spPr bwMode="auto">
            <a:xfrm>
              <a:off x="5573622" y="1176376"/>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04" name="Freeform 76">
              <a:extLst>
                <a:ext uri="{FF2B5EF4-FFF2-40B4-BE49-F238E27FC236}">
                  <a16:creationId xmlns:a16="http://schemas.microsoft.com/office/drawing/2014/main" id="{FEBD5159-DF63-40EE-AFBC-4506FA0E5459}"/>
                </a:ext>
              </a:extLst>
            </p:cNvPr>
            <p:cNvSpPr>
              <a:spLocks/>
            </p:cNvSpPr>
            <p:nvPr/>
          </p:nvSpPr>
          <p:spPr bwMode="auto">
            <a:xfrm>
              <a:off x="5480250" y="1147399"/>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05" name="Freeform 76">
              <a:extLst>
                <a:ext uri="{FF2B5EF4-FFF2-40B4-BE49-F238E27FC236}">
                  <a16:creationId xmlns:a16="http://schemas.microsoft.com/office/drawing/2014/main" id="{632C4D9D-CCD5-476B-B7E3-437DBF55063C}"/>
                </a:ext>
              </a:extLst>
            </p:cNvPr>
            <p:cNvSpPr>
              <a:spLocks/>
            </p:cNvSpPr>
            <p:nvPr/>
          </p:nvSpPr>
          <p:spPr bwMode="auto">
            <a:xfrm>
              <a:off x="5435174" y="1108762"/>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06" name="Freeform 76">
              <a:extLst>
                <a:ext uri="{FF2B5EF4-FFF2-40B4-BE49-F238E27FC236}">
                  <a16:creationId xmlns:a16="http://schemas.microsoft.com/office/drawing/2014/main" id="{2ABB1AC2-0AC8-404D-99B3-3F41CF7B4F00}"/>
                </a:ext>
              </a:extLst>
            </p:cNvPr>
            <p:cNvSpPr>
              <a:spLocks/>
            </p:cNvSpPr>
            <p:nvPr/>
          </p:nvSpPr>
          <p:spPr bwMode="auto">
            <a:xfrm>
              <a:off x="5328924" y="1041148"/>
              <a:ext cx="53700" cy="53700"/>
            </a:xfrm>
            <a:prstGeom prst="triangle">
              <a:avLst/>
            </a:prstGeom>
            <a:grpFill/>
            <a:ln w="12700">
              <a:solidFill>
                <a:srgbClr val="7030A0"/>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grpSp>
      <p:grpSp>
        <p:nvGrpSpPr>
          <p:cNvPr id="707" name="Group 818">
            <a:extLst>
              <a:ext uri="{FF2B5EF4-FFF2-40B4-BE49-F238E27FC236}">
                <a16:creationId xmlns:a16="http://schemas.microsoft.com/office/drawing/2014/main" id="{82C3E19E-61B8-41FA-8546-AF984E1E57D4}"/>
              </a:ext>
            </a:extLst>
          </p:cNvPr>
          <p:cNvGrpSpPr>
            <a:grpSpLocks/>
          </p:cNvGrpSpPr>
          <p:nvPr/>
        </p:nvGrpSpPr>
        <p:grpSpPr bwMode="auto">
          <a:xfrm>
            <a:off x="5348288" y="1600200"/>
            <a:ext cx="2085975" cy="1619250"/>
            <a:chOff x="5315755" y="1039969"/>
            <a:chExt cx="2086377" cy="1619518"/>
          </a:xfrm>
        </p:grpSpPr>
        <p:sp>
          <p:nvSpPr>
            <p:cNvPr id="708" name="Freeform 878">
              <a:extLst>
                <a:ext uri="{FF2B5EF4-FFF2-40B4-BE49-F238E27FC236}">
                  <a16:creationId xmlns:a16="http://schemas.microsoft.com/office/drawing/2014/main" id="{AAFD0623-5BC2-40F4-87E9-D31EAAA05885}"/>
                </a:ext>
              </a:extLst>
            </p:cNvPr>
            <p:cNvSpPr/>
            <p:nvPr/>
          </p:nvSpPr>
          <p:spPr>
            <a:xfrm>
              <a:off x="6642367" y="2292714"/>
              <a:ext cx="759765" cy="366773"/>
            </a:xfrm>
            <a:custGeom>
              <a:avLst/>
              <a:gdLst>
                <a:gd name="connsiteX0" fmla="*/ 759853 w 759853"/>
                <a:gd name="connsiteY0" fmla="*/ 367048 h 367048"/>
                <a:gd name="connsiteX1" fmla="*/ 579549 w 759853"/>
                <a:gd name="connsiteY1" fmla="*/ 367048 h 367048"/>
                <a:gd name="connsiteX2" fmla="*/ 579549 w 759853"/>
                <a:gd name="connsiteY2" fmla="*/ 315533 h 367048"/>
                <a:gd name="connsiteX3" fmla="*/ 550572 w 759853"/>
                <a:gd name="connsiteY3" fmla="*/ 315533 h 367048"/>
                <a:gd name="connsiteX4" fmla="*/ 550572 w 759853"/>
                <a:gd name="connsiteY4" fmla="*/ 260798 h 367048"/>
                <a:gd name="connsiteX5" fmla="*/ 502276 w 759853"/>
                <a:gd name="connsiteY5" fmla="*/ 260798 h 367048"/>
                <a:gd name="connsiteX6" fmla="*/ 502276 w 759853"/>
                <a:gd name="connsiteY6" fmla="*/ 238260 h 367048"/>
                <a:gd name="connsiteX7" fmla="*/ 412124 w 759853"/>
                <a:gd name="connsiteY7" fmla="*/ 238260 h 367048"/>
                <a:gd name="connsiteX8" fmla="*/ 412124 w 759853"/>
                <a:gd name="connsiteY8" fmla="*/ 218941 h 367048"/>
                <a:gd name="connsiteX9" fmla="*/ 399245 w 759853"/>
                <a:gd name="connsiteY9" fmla="*/ 218941 h 367048"/>
                <a:gd name="connsiteX10" fmla="*/ 399245 w 759853"/>
                <a:gd name="connsiteY10" fmla="*/ 199623 h 367048"/>
                <a:gd name="connsiteX11" fmla="*/ 299434 w 759853"/>
                <a:gd name="connsiteY11" fmla="*/ 199623 h 367048"/>
                <a:gd name="connsiteX12" fmla="*/ 299434 w 759853"/>
                <a:gd name="connsiteY12" fmla="*/ 173865 h 367048"/>
                <a:gd name="connsiteX13" fmla="*/ 238259 w 759853"/>
                <a:gd name="connsiteY13" fmla="*/ 173865 h 367048"/>
                <a:gd name="connsiteX14" fmla="*/ 238259 w 759853"/>
                <a:gd name="connsiteY14" fmla="*/ 157767 h 367048"/>
                <a:gd name="connsiteX15" fmla="*/ 215721 w 759853"/>
                <a:gd name="connsiteY15" fmla="*/ 157767 h 367048"/>
                <a:gd name="connsiteX16" fmla="*/ 215721 w 759853"/>
                <a:gd name="connsiteY16" fmla="*/ 141668 h 367048"/>
                <a:gd name="connsiteX17" fmla="*/ 180304 w 759853"/>
                <a:gd name="connsiteY17" fmla="*/ 141668 h 367048"/>
                <a:gd name="connsiteX18" fmla="*/ 180304 w 759853"/>
                <a:gd name="connsiteY18" fmla="*/ 115910 h 367048"/>
                <a:gd name="connsiteX19" fmla="*/ 148107 w 759853"/>
                <a:gd name="connsiteY19" fmla="*/ 115910 h 367048"/>
                <a:gd name="connsiteX20" fmla="*/ 148107 w 759853"/>
                <a:gd name="connsiteY20" fmla="*/ 99812 h 367048"/>
                <a:gd name="connsiteX21" fmla="*/ 115910 w 759853"/>
                <a:gd name="connsiteY21" fmla="*/ 99812 h 367048"/>
                <a:gd name="connsiteX22" fmla="*/ 115910 w 759853"/>
                <a:gd name="connsiteY22" fmla="*/ 83713 h 367048"/>
                <a:gd name="connsiteX23" fmla="*/ 93372 w 759853"/>
                <a:gd name="connsiteY23" fmla="*/ 83713 h 367048"/>
                <a:gd name="connsiteX24" fmla="*/ 93372 w 759853"/>
                <a:gd name="connsiteY24" fmla="*/ 61175 h 367048"/>
                <a:gd name="connsiteX25" fmla="*/ 64394 w 759853"/>
                <a:gd name="connsiteY25" fmla="*/ 61175 h 367048"/>
                <a:gd name="connsiteX26" fmla="*/ 64394 w 759853"/>
                <a:gd name="connsiteY26" fmla="*/ 45076 h 367048"/>
                <a:gd name="connsiteX27" fmla="*/ 45076 w 759853"/>
                <a:gd name="connsiteY27" fmla="*/ 45076 h 367048"/>
                <a:gd name="connsiteX28" fmla="*/ 45076 w 759853"/>
                <a:gd name="connsiteY28" fmla="*/ 19319 h 367048"/>
                <a:gd name="connsiteX29" fmla="*/ 25758 w 759853"/>
                <a:gd name="connsiteY29" fmla="*/ 19319 h 367048"/>
                <a:gd name="connsiteX30" fmla="*/ 25758 w 759853"/>
                <a:gd name="connsiteY30" fmla="*/ 0 h 367048"/>
                <a:gd name="connsiteX31" fmla="*/ 0 w 759853"/>
                <a:gd name="connsiteY31" fmla="*/ 0 h 36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59853" h="367048">
                  <a:moveTo>
                    <a:pt x="759853" y="367048"/>
                  </a:moveTo>
                  <a:lnTo>
                    <a:pt x="579549" y="367048"/>
                  </a:lnTo>
                  <a:lnTo>
                    <a:pt x="579549" y="315533"/>
                  </a:lnTo>
                  <a:lnTo>
                    <a:pt x="550572" y="315533"/>
                  </a:lnTo>
                  <a:lnTo>
                    <a:pt x="550572" y="260798"/>
                  </a:lnTo>
                  <a:lnTo>
                    <a:pt x="502276" y="260798"/>
                  </a:lnTo>
                  <a:lnTo>
                    <a:pt x="502276" y="238260"/>
                  </a:lnTo>
                  <a:lnTo>
                    <a:pt x="412124" y="238260"/>
                  </a:lnTo>
                  <a:lnTo>
                    <a:pt x="412124" y="218941"/>
                  </a:lnTo>
                  <a:lnTo>
                    <a:pt x="399245" y="218941"/>
                  </a:lnTo>
                  <a:lnTo>
                    <a:pt x="399245" y="199623"/>
                  </a:lnTo>
                  <a:lnTo>
                    <a:pt x="299434" y="199623"/>
                  </a:lnTo>
                  <a:lnTo>
                    <a:pt x="299434" y="173865"/>
                  </a:lnTo>
                  <a:lnTo>
                    <a:pt x="238259" y="173865"/>
                  </a:lnTo>
                  <a:lnTo>
                    <a:pt x="238259" y="157767"/>
                  </a:lnTo>
                  <a:lnTo>
                    <a:pt x="215721" y="157767"/>
                  </a:lnTo>
                  <a:lnTo>
                    <a:pt x="215721" y="141668"/>
                  </a:lnTo>
                  <a:lnTo>
                    <a:pt x="180304" y="141668"/>
                  </a:lnTo>
                  <a:lnTo>
                    <a:pt x="180304" y="115910"/>
                  </a:lnTo>
                  <a:lnTo>
                    <a:pt x="148107" y="115910"/>
                  </a:lnTo>
                  <a:lnTo>
                    <a:pt x="148107" y="99812"/>
                  </a:lnTo>
                  <a:lnTo>
                    <a:pt x="115910" y="99812"/>
                  </a:lnTo>
                  <a:lnTo>
                    <a:pt x="115910" y="83713"/>
                  </a:lnTo>
                  <a:lnTo>
                    <a:pt x="93372" y="83713"/>
                  </a:lnTo>
                  <a:lnTo>
                    <a:pt x="93372" y="61175"/>
                  </a:lnTo>
                  <a:lnTo>
                    <a:pt x="64394" y="61175"/>
                  </a:lnTo>
                  <a:lnTo>
                    <a:pt x="64394" y="45076"/>
                  </a:lnTo>
                  <a:lnTo>
                    <a:pt x="45076" y="45076"/>
                  </a:lnTo>
                  <a:lnTo>
                    <a:pt x="45076" y="19319"/>
                  </a:lnTo>
                  <a:lnTo>
                    <a:pt x="25758" y="19319"/>
                  </a:lnTo>
                  <a:lnTo>
                    <a:pt x="25758" y="0"/>
                  </a:lnTo>
                  <a:lnTo>
                    <a:pt x="0" y="0"/>
                  </a:lnTo>
                </a:path>
              </a:pathLst>
            </a:custGeom>
            <a:noFill/>
            <a:ln w="28575">
              <a:solidFill>
                <a:srgbClr val="E46C0A"/>
              </a:solidFill>
              <a:prstDash val="sysDot"/>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78">
                <a:defRPr/>
              </a:pPr>
              <a:endParaRPr lang="en-US">
                <a:solidFill>
                  <a:prstClr val="white"/>
                </a:solidFill>
                <a:latin typeface="Calibri"/>
              </a:endParaRPr>
            </a:p>
          </p:txBody>
        </p:sp>
        <p:sp>
          <p:nvSpPr>
            <p:cNvPr id="709" name="Freeform 879">
              <a:extLst>
                <a:ext uri="{FF2B5EF4-FFF2-40B4-BE49-F238E27FC236}">
                  <a16:creationId xmlns:a16="http://schemas.microsoft.com/office/drawing/2014/main" id="{8BAFE1ED-470A-478C-B6A7-34EB6B890722}"/>
                </a:ext>
              </a:extLst>
            </p:cNvPr>
            <p:cNvSpPr/>
            <p:nvPr/>
          </p:nvSpPr>
          <p:spPr>
            <a:xfrm>
              <a:off x="5315755" y="1039969"/>
              <a:ext cx="1342093" cy="1245600"/>
            </a:xfrm>
            <a:custGeom>
              <a:avLst/>
              <a:gdLst>
                <a:gd name="connsiteX0" fmla="*/ 1326524 w 1326524"/>
                <a:gd name="connsiteY0" fmla="*/ 1246031 h 1246031"/>
                <a:gd name="connsiteX1" fmla="*/ 1275008 w 1326524"/>
                <a:gd name="connsiteY1" fmla="*/ 1246031 h 1246031"/>
                <a:gd name="connsiteX2" fmla="*/ 1275008 w 1326524"/>
                <a:gd name="connsiteY2" fmla="*/ 1226713 h 1246031"/>
                <a:gd name="connsiteX3" fmla="*/ 1246031 w 1326524"/>
                <a:gd name="connsiteY3" fmla="*/ 1226713 h 1246031"/>
                <a:gd name="connsiteX4" fmla="*/ 1246031 w 1326524"/>
                <a:gd name="connsiteY4" fmla="*/ 1194516 h 1246031"/>
                <a:gd name="connsiteX5" fmla="*/ 1226713 w 1326524"/>
                <a:gd name="connsiteY5" fmla="*/ 1194516 h 1246031"/>
                <a:gd name="connsiteX6" fmla="*/ 1226713 w 1326524"/>
                <a:gd name="connsiteY6" fmla="*/ 1175197 h 1246031"/>
                <a:gd name="connsiteX7" fmla="*/ 1210614 w 1326524"/>
                <a:gd name="connsiteY7" fmla="*/ 1175197 h 1246031"/>
                <a:gd name="connsiteX8" fmla="*/ 1210614 w 1326524"/>
                <a:gd name="connsiteY8" fmla="*/ 1139780 h 1246031"/>
                <a:gd name="connsiteX9" fmla="*/ 1181637 w 1326524"/>
                <a:gd name="connsiteY9" fmla="*/ 1139780 h 1246031"/>
                <a:gd name="connsiteX10" fmla="*/ 1181637 w 1326524"/>
                <a:gd name="connsiteY10" fmla="*/ 1107583 h 1246031"/>
                <a:gd name="connsiteX11" fmla="*/ 1162318 w 1326524"/>
                <a:gd name="connsiteY11" fmla="*/ 1107583 h 1246031"/>
                <a:gd name="connsiteX12" fmla="*/ 1162318 w 1326524"/>
                <a:gd name="connsiteY12" fmla="*/ 1072166 h 1246031"/>
                <a:gd name="connsiteX13" fmla="*/ 1149439 w 1326524"/>
                <a:gd name="connsiteY13" fmla="*/ 1072166 h 1246031"/>
                <a:gd name="connsiteX14" fmla="*/ 1149439 w 1326524"/>
                <a:gd name="connsiteY14" fmla="*/ 1052848 h 1246031"/>
                <a:gd name="connsiteX15" fmla="*/ 1133341 w 1326524"/>
                <a:gd name="connsiteY15" fmla="*/ 1052848 h 1246031"/>
                <a:gd name="connsiteX16" fmla="*/ 1133341 w 1326524"/>
                <a:gd name="connsiteY16" fmla="*/ 1027090 h 1246031"/>
                <a:gd name="connsiteX17" fmla="*/ 1117242 w 1326524"/>
                <a:gd name="connsiteY17" fmla="*/ 1027090 h 1246031"/>
                <a:gd name="connsiteX18" fmla="*/ 1117242 w 1326524"/>
                <a:gd name="connsiteY18" fmla="*/ 1004552 h 1246031"/>
                <a:gd name="connsiteX19" fmla="*/ 1085045 w 1326524"/>
                <a:gd name="connsiteY19" fmla="*/ 1004552 h 1246031"/>
                <a:gd name="connsiteX20" fmla="*/ 1085045 w 1326524"/>
                <a:gd name="connsiteY20" fmla="*/ 972355 h 1246031"/>
                <a:gd name="connsiteX21" fmla="*/ 1075386 w 1326524"/>
                <a:gd name="connsiteY21" fmla="*/ 972355 h 1246031"/>
                <a:gd name="connsiteX22" fmla="*/ 1075386 w 1326524"/>
                <a:gd name="connsiteY22" fmla="*/ 946597 h 1246031"/>
                <a:gd name="connsiteX23" fmla="*/ 1046408 w 1326524"/>
                <a:gd name="connsiteY23" fmla="*/ 946597 h 1246031"/>
                <a:gd name="connsiteX24" fmla="*/ 1046408 w 1326524"/>
                <a:gd name="connsiteY24" fmla="*/ 927279 h 1246031"/>
                <a:gd name="connsiteX25" fmla="*/ 1033530 w 1326524"/>
                <a:gd name="connsiteY25" fmla="*/ 927279 h 1246031"/>
                <a:gd name="connsiteX26" fmla="*/ 1033530 w 1326524"/>
                <a:gd name="connsiteY26" fmla="*/ 914400 h 1246031"/>
                <a:gd name="connsiteX27" fmla="*/ 1017431 w 1326524"/>
                <a:gd name="connsiteY27" fmla="*/ 914400 h 1246031"/>
                <a:gd name="connsiteX28" fmla="*/ 1017431 w 1326524"/>
                <a:gd name="connsiteY28" fmla="*/ 895082 h 1246031"/>
                <a:gd name="connsiteX29" fmla="*/ 1004552 w 1326524"/>
                <a:gd name="connsiteY29" fmla="*/ 895082 h 1246031"/>
                <a:gd name="connsiteX30" fmla="*/ 1004552 w 1326524"/>
                <a:gd name="connsiteY30" fmla="*/ 866104 h 1246031"/>
                <a:gd name="connsiteX31" fmla="*/ 988453 w 1326524"/>
                <a:gd name="connsiteY31" fmla="*/ 866104 h 1246031"/>
                <a:gd name="connsiteX32" fmla="*/ 988453 w 1326524"/>
                <a:gd name="connsiteY32" fmla="*/ 840346 h 1246031"/>
                <a:gd name="connsiteX33" fmla="*/ 959476 w 1326524"/>
                <a:gd name="connsiteY33" fmla="*/ 840346 h 1246031"/>
                <a:gd name="connsiteX34" fmla="*/ 959476 w 1326524"/>
                <a:gd name="connsiteY34" fmla="*/ 821028 h 1246031"/>
                <a:gd name="connsiteX35" fmla="*/ 933718 w 1326524"/>
                <a:gd name="connsiteY35" fmla="*/ 821028 h 1246031"/>
                <a:gd name="connsiteX36" fmla="*/ 933718 w 1326524"/>
                <a:gd name="connsiteY36" fmla="*/ 782392 h 1246031"/>
                <a:gd name="connsiteX37" fmla="*/ 914400 w 1326524"/>
                <a:gd name="connsiteY37" fmla="*/ 782392 h 1246031"/>
                <a:gd name="connsiteX38" fmla="*/ 914400 w 1326524"/>
                <a:gd name="connsiteY38" fmla="*/ 753414 h 1246031"/>
                <a:gd name="connsiteX39" fmla="*/ 898301 w 1326524"/>
                <a:gd name="connsiteY39" fmla="*/ 753414 h 1246031"/>
                <a:gd name="connsiteX40" fmla="*/ 898301 w 1326524"/>
                <a:gd name="connsiteY40" fmla="*/ 724437 h 1246031"/>
                <a:gd name="connsiteX41" fmla="*/ 878983 w 1326524"/>
                <a:gd name="connsiteY41" fmla="*/ 724437 h 1246031"/>
                <a:gd name="connsiteX42" fmla="*/ 878983 w 1326524"/>
                <a:gd name="connsiteY42" fmla="*/ 705118 h 1246031"/>
                <a:gd name="connsiteX43" fmla="*/ 859665 w 1326524"/>
                <a:gd name="connsiteY43" fmla="*/ 705118 h 1246031"/>
                <a:gd name="connsiteX44" fmla="*/ 859665 w 1326524"/>
                <a:gd name="connsiteY44" fmla="*/ 679361 h 1246031"/>
                <a:gd name="connsiteX45" fmla="*/ 850006 w 1326524"/>
                <a:gd name="connsiteY45" fmla="*/ 679361 h 1246031"/>
                <a:gd name="connsiteX46" fmla="*/ 850006 w 1326524"/>
                <a:gd name="connsiteY46" fmla="*/ 653603 h 1246031"/>
                <a:gd name="connsiteX47" fmla="*/ 837127 w 1326524"/>
                <a:gd name="connsiteY47" fmla="*/ 653603 h 1246031"/>
                <a:gd name="connsiteX48" fmla="*/ 837127 w 1326524"/>
                <a:gd name="connsiteY48" fmla="*/ 631065 h 1246031"/>
                <a:gd name="connsiteX49" fmla="*/ 827468 w 1326524"/>
                <a:gd name="connsiteY49" fmla="*/ 631065 h 1246031"/>
                <a:gd name="connsiteX50" fmla="*/ 827468 w 1326524"/>
                <a:gd name="connsiteY50" fmla="*/ 589208 h 1246031"/>
                <a:gd name="connsiteX51" fmla="*/ 808149 w 1326524"/>
                <a:gd name="connsiteY51" fmla="*/ 589208 h 1246031"/>
                <a:gd name="connsiteX52" fmla="*/ 808149 w 1326524"/>
                <a:gd name="connsiteY52" fmla="*/ 566670 h 1246031"/>
                <a:gd name="connsiteX53" fmla="*/ 795270 w 1326524"/>
                <a:gd name="connsiteY53" fmla="*/ 566670 h 1246031"/>
                <a:gd name="connsiteX54" fmla="*/ 795270 w 1326524"/>
                <a:gd name="connsiteY54" fmla="*/ 531254 h 1246031"/>
                <a:gd name="connsiteX55" fmla="*/ 766293 w 1326524"/>
                <a:gd name="connsiteY55" fmla="*/ 531254 h 1246031"/>
                <a:gd name="connsiteX56" fmla="*/ 766293 w 1326524"/>
                <a:gd name="connsiteY56" fmla="*/ 515155 h 1246031"/>
                <a:gd name="connsiteX57" fmla="*/ 750194 w 1326524"/>
                <a:gd name="connsiteY57" fmla="*/ 515155 h 1246031"/>
                <a:gd name="connsiteX58" fmla="*/ 750194 w 1326524"/>
                <a:gd name="connsiteY58" fmla="*/ 502276 h 1246031"/>
                <a:gd name="connsiteX59" fmla="*/ 695459 w 1326524"/>
                <a:gd name="connsiteY59" fmla="*/ 502276 h 1246031"/>
                <a:gd name="connsiteX60" fmla="*/ 695459 w 1326524"/>
                <a:gd name="connsiteY60" fmla="*/ 482958 h 1246031"/>
                <a:gd name="connsiteX61" fmla="*/ 666482 w 1326524"/>
                <a:gd name="connsiteY61" fmla="*/ 482958 h 1246031"/>
                <a:gd name="connsiteX62" fmla="*/ 666482 w 1326524"/>
                <a:gd name="connsiteY62" fmla="*/ 463639 h 1246031"/>
                <a:gd name="connsiteX63" fmla="*/ 634284 w 1326524"/>
                <a:gd name="connsiteY63" fmla="*/ 463639 h 1246031"/>
                <a:gd name="connsiteX64" fmla="*/ 634284 w 1326524"/>
                <a:gd name="connsiteY64" fmla="*/ 453980 h 1246031"/>
                <a:gd name="connsiteX65" fmla="*/ 614966 w 1326524"/>
                <a:gd name="connsiteY65" fmla="*/ 453980 h 1246031"/>
                <a:gd name="connsiteX66" fmla="*/ 614966 w 1326524"/>
                <a:gd name="connsiteY66" fmla="*/ 437882 h 1246031"/>
                <a:gd name="connsiteX67" fmla="*/ 585989 w 1326524"/>
                <a:gd name="connsiteY67" fmla="*/ 437882 h 1246031"/>
                <a:gd name="connsiteX68" fmla="*/ 585989 w 1326524"/>
                <a:gd name="connsiteY68" fmla="*/ 415344 h 1246031"/>
                <a:gd name="connsiteX69" fmla="*/ 540913 w 1326524"/>
                <a:gd name="connsiteY69" fmla="*/ 415344 h 1246031"/>
                <a:gd name="connsiteX70" fmla="*/ 540913 w 1326524"/>
                <a:gd name="connsiteY70" fmla="*/ 399245 h 1246031"/>
                <a:gd name="connsiteX71" fmla="*/ 499056 w 1326524"/>
                <a:gd name="connsiteY71" fmla="*/ 399245 h 1246031"/>
                <a:gd name="connsiteX72" fmla="*/ 499056 w 1326524"/>
                <a:gd name="connsiteY72" fmla="*/ 383146 h 1246031"/>
                <a:gd name="connsiteX73" fmla="*/ 431442 w 1326524"/>
                <a:gd name="connsiteY73" fmla="*/ 383146 h 1246031"/>
                <a:gd name="connsiteX74" fmla="*/ 431442 w 1326524"/>
                <a:gd name="connsiteY74" fmla="*/ 367048 h 1246031"/>
                <a:gd name="connsiteX75" fmla="*/ 408904 w 1326524"/>
                <a:gd name="connsiteY75" fmla="*/ 367048 h 1246031"/>
                <a:gd name="connsiteX76" fmla="*/ 408904 w 1326524"/>
                <a:gd name="connsiteY76" fmla="*/ 347730 h 1246031"/>
                <a:gd name="connsiteX77" fmla="*/ 383146 w 1326524"/>
                <a:gd name="connsiteY77" fmla="*/ 347730 h 1246031"/>
                <a:gd name="connsiteX78" fmla="*/ 383146 w 1326524"/>
                <a:gd name="connsiteY78" fmla="*/ 331631 h 1246031"/>
                <a:gd name="connsiteX79" fmla="*/ 350949 w 1326524"/>
                <a:gd name="connsiteY79" fmla="*/ 331631 h 1246031"/>
                <a:gd name="connsiteX80" fmla="*/ 350949 w 1326524"/>
                <a:gd name="connsiteY80" fmla="*/ 312313 h 1246031"/>
                <a:gd name="connsiteX81" fmla="*/ 318752 w 1326524"/>
                <a:gd name="connsiteY81" fmla="*/ 312313 h 1246031"/>
                <a:gd name="connsiteX82" fmla="*/ 318752 w 1326524"/>
                <a:gd name="connsiteY82" fmla="*/ 296214 h 1246031"/>
                <a:gd name="connsiteX83" fmla="*/ 286555 w 1326524"/>
                <a:gd name="connsiteY83" fmla="*/ 296214 h 1246031"/>
                <a:gd name="connsiteX84" fmla="*/ 286555 w 1326524"/>
                <a:gd name="connsiteY84" fmla="*/ 273676 h 1246031"/>
                <a:gd name="connsiteX85" fmla="*/ 244699 w 1326524"/>
                <a:gd name="connsiteY85" fmla="*/ 273676 h 1246031"/>
                <a:gd name="connsiteX86" fmla="*/ 244699 w 1326524"/>
                <a:gd name="connsiteY86" fmla="*/ 247918 h 1246031"/>
                <a:gd name="connsiteX87" fmla="*/ 218941 w 1326524"/>
                <a:gd name="connsiteY87" fmla="*/ 247918 h 1246031"/>
                <a:gd name="connsiteX88" fmla="*/ 218941 w 1326524"/>
                <a:gd name="connsiteY88" fmla="*/ 228600 h 1246031"/>
                <a:gd name="connsiteX89" fmla="*/ 186744 w 1326524"/>
                <a:gd name="connsiteY89" fmla="*/ 228600 h 1246031"/>
                <a:gd name="connsiteX90" fmla="*/ 186744 w 1326524"/>
                <a:gd name="connsiteY90" fmla="*/ 193183 h 1246031"/>
                <a:gd name="connsiteX91" fmla="*/ 157766 w 1326524"/>
                <a:gd name="connsiteY91" fmla="*/ 193183 h 1246031"/>
                <a:gd name="connsiteX92" fmla="*/ 157766 w 1326524"/>
                <a:gd name="connsiteY92" fmla="*/ 154546 h 1246031"/>
                <a:gd name="connsiteX93" fmla="*/ 135228 w 1326524"/>
                <a:gd name="connsiteY93" fmla="*/ 154546 h 1246031"/>
                <a:gd name="connsiteX94" fmla="*/ 135228 w 1326524"/>
                <a:gd name="connsiteY94" fmla="*/ 132008 h 1246031"/>
                <a:gd name="connsiteX95" fmla="*/ 103031 w 1326524"/>
                <a:gd name="connsiteY95" fmla="*/ 132008 h 1246031"/>
                <a:gd name="connsiteX96" fmla="*/ 103031 w 1326524"/>
                <a:gd name="connsiteY96" fmla="*/ 119130 h 1246031"/>
                <a:gd name="connsiteX97" fmla="*/ 83713 w 1326524"/>
                <a:gd name="connsiteY97" fmla="*/ 119130 h 1246031"/>
                <a:gd name="connsiteX98" fmla="*/ 83713 w 1326524"/>
                <a:gd name="connsiteY98" fmla="*/ 90152 h 1246031"/>
                <a:gd name="connsiteX99" fmla="*/ 74053 w 1326524"/>
                <a:gd name="connsiteY99" fmla="*/ 90152 h 1246031"/>
                <a:gd name="connsiteX100" fmla="*/ 74053 w 1326524"/>
                <a:gd name="connsiteY100" fmla="*/ 57955 h 1246031"/>
                <a:gd name="connsiteX101" fmla="*/ 41856 w 1326524"/>
                <a:gd name="connsiteY101" fmla="*/ 57955 h 1246031"/>
                <a:gd name="connsiteX102" fmla="*/ 41856 w 1326524"/>
                <a:gd name="connsiteY102" fmla="*/ 25758 h 1246031"/>
                <a:gd name="connsiteX103" fmla="*/ 0 w 1326524"/>
                <a:gd name="connsiteY103" fmla="*/ 25758 h 1246031"/>
                <a:gd name="connsiteX104" fmla="*/ 0 w 1326524"/>
                <a:gd name="connsiteY104" fmla="*/ 0 h 1246031"/>
                <a:gd name="connsiteX0" fmla="*/ 1342623 w 1342623"/>
                <a:gd name="connsiteY0" fmla="*/ 1246031 h 1246031"/>
                <a:gd name="connsiteX1" fmla="*/ 1275008 w 1342623"/>
                <a:gd name="connsiteY1" fmla="*/ 1246031 h 1246031"/>
                <a:gd name="connsiteX2" fmla="*/ 1275008 w 1342623"/>
                <a:gd name="connsiteY2" fmla="*/ 1226713 h 1246031"/>
                <a:gd name="connsiteX3" fmla="*/ 1246031 w 1342623"/>
                <a:gd name="connsiteY3" fmla="*/ 1226713 h 1246031"/>
                <a:gd name="connsiteX4" fmla="*/ 1246031 w 1342623"/>
                <a:gd name="connsiteY4" fmla="*/ 1194516 h 1246031"/>
                <a:gd name="connsiteX5" fmla="*/ 1226713 w 1342623"/>
                <a:gd name="connsiteY5" fmla="*/ 1194516 h 1246031"/>
                <a:gd name="connsiteX6" fmla="*/ 1226713 w 1342623"/>
                <a:gd name="connsiteY6" fmla="*/ 1175197 h 1246031"/>
                <a:gd name="connsiteX7" fmla="*/ 1210614 w 1342623"/>
                <a:gd name="connsiteY7" fmla="*/ 1175197 h 1246031"/>
                <a:gd name="connsiteX8" fmla="*/ 1210614 w 1342623"/>
                <a:gd name="connsiteY8" fmla="*/ 1139780 h 1246031"/>
                <a:gd name="connsiteX9" fmla="*/ 1181637 w 1342623"/>
                <a:gd name="connsiteY9" fmla="*/ 1139780 h 1246031"/>
                <a:gd name="connsiteX10" fmla="*/ 1181637 w 1342623"/>
                <a:gd name="connsiteY10" fmla="*/ 1107583 h 1246031"/>
                <a:gd name="connsiteX11" fmla="*/ 1162318 w 1342623"/>
                <a:gd name="connsiteY11" fmla="*/ 1107583 h 1246031"/>
                <a:gd name="connsiteX12" fmla="*/ 1162318 w 1342623"/>
                <a:gd name="connsiteY12" fmla="*/ 1072166 h 1246031"/>
                <a:gd name="connsiteX13" fmla="*/ 1149439 w 1342623"/>
                <a:gd name="connsiteY13" fmla="*/ 1072166 h 1246031"/>
                <a:gd name="connsiteX14" fmla="*/ 1149439 w 1342623"/>
                <a:gd name="connsiteY14" fmla="*/ 1052848 h 1246031"/>
                <a:gd name="connsiteX15" fmla="*/ 1133341 w 1342623"/>
                <a:gd name="connsiteY15" fmla="*/ 1052848 h 1246031"/>
                <a:gd name="connsiteX16" fmla="*/ 1133341 w 1342623"/>
                <a:gd name="connsiteY16" fmla="*/ 1027090 h 1246031"/>
                <a:gd name="connsiteX17" fmla="*/ 1117242 w 1342623"/>
                <a:gd name="connsiteY17" fmla="*/ 1027090 h 1246031"/>
                <a:gd name="connsiteX18" fmla="*/ 1117242 w 1342623"/>
                <a:gd name="connsiteY18" fmla="*/ 1004552 h 1246031"/>
                <a:gd name="connsiteX19" fmla="*/ 1085045 w 1342623"/>
                <a:gd name="connsiteY19" fmla="*/ 1004552 h 1246031"/>
                <a:gd name="connsiteX20" fmla="*/ 1085045 w 1342623"/>
                <a:gd name="connsiteY20" fmla="*/ 972355 h 1246031"/>
                <a:gd name="connsiteX21" fmla="*/ 1075386 w 1342623"/>
                <a:gd name="connsiteY21" fmla="*/ 972355 h 1246031"/>
                <a:gd name="connsiteX22" fmla="*/ 1075386 w 1342623"/>
                <a:gd name="connsiteY22" fmla="*/ 946597 h 1246031"/>
                <a:gd name="connsiteX23" fmla="*/ 1046408 w 1342623"/>
                <a:gd name="connsiteY23" fmla="*/ 946597 h 1246031"/>
                <a:gd name="connsiteX24" fmla="*/ 1046408 w 1342623"/>
                <a:gd name="connsiteY24" fmla="*/ 927279 h 1246031"/>
                <a:gd name="connsiteX25" fmla="*/ 1033530 w 1342623"/>
                <a:gd name="connsiteY25" fmla="*/ 927279 h 1246031"/>
                <a:gd name="connsiteX26" fmla="*/ 1033530 w 1342623"/>
                <a:gd name="connsiteY26" fmla="*/ 914400 h 1246031"/>
                <a:gd name="connsiteX27" fmla="*/ 1017431 w 1342623"/>
                <a:gd name="connsiteY27" fmla="*/ 914400 h 1246031"/>
                <a:gd name="connsiteX28" fmla="*/ 1017431 w 1342623"/>
                <a:gd name="connsiteY28" fmla="*/ 895082 h 1246031"/>
                <a:gd name="connsiteX29" fmla="*/ 1004552 w 1342623"/>
                <a:gd name="connsiteY29" fmla="*/ 895082 h 1246031"/>
                <a:gd name="connsiteX30" fmla="*/ 1004552 w 1342623"/>
                <a:gd name="connsiteY30" fmla="*/ 866104 h 1246031"/>
                <a:gd name="connsiteX31" fmla="*/ 988453 w 1342623"/>
                <a:gd name="connsiteY31" fmla="*/ 866104 h 1246031"/>
                <a:gd name="connsiteX32" fmla="*/ 988453 w 1342623"/>
                <a:gd name="connsiteY32" fmla="*/ 840346 h 1246031"/>
                <a:gd name="connsiteX33" fmla="*/ 959476 w 1342623"/>
                <a:gd name="connsiteY33" fmla="*/ 840346 h 1246031"/>
                <a:gd name="connsiteX34" fmla="*/ 959476 w 1342623"/>
                <a:gd name="connsiteY34" fmla="*/ 821028 h 1246031"/>
                <a:gd name="connsiteX35" fmla="*/ 933718 w 1342623"/>
                <a:gd name="connsiteY35" fmla="*/ 821028 h 1246031"/>
                <a:gd name="connsiteX36" fmla="*/ 933718 w 1342623"/>
                <a:gd name="connsiteY36" fmla="*/ 782392 h 1246031"/>
                <a:gd name="connsiteX37" fmla="*/ 914400 w 1342623"/>
                <a:gd name="connsiteY37" fmla="*/ 782392 h 1246031"/>
                <a:gd name="connsiteX38" fmla="*/ 914400 w 1342623"/>
                <a:gd name="connsiteY38" fmla="*/ 753414 h 1246031"/>
                <a:gd name="connsiteX39" fmla="*/ 898301 w 1342623"/>
                <a:gd name="connsiteY39" fmla="*/ 753414 h 1246031"/>
                <a:gd name="connsiteX40" fmla="*/ 898301 w 1342623"/>
                <a:gd name="connsiteY40" fmla="*/ 724437 h 1246031"/>
                <a:gd name="connsiteX41" fmla="*/ 878983 w 1342623"/>
                <a:gd name="connsiteY41" fmla="*/ 724437 h 1246031"/>
                <a:gd name="connsiteX42" fmla="*/ 878983 w 1342623"/>
                <a:gd name="connsiteY42" fmla="*/ 705118 h 1246031"/>
                <a:gd name="connsiteX43" fmla="*/ 859665 w 1342623"/>
                <a:gd name="connsiteY43" fmla="*/ 705118 h 1246031"/>
                <a:gd name="connsiteX44" fmla="*/ 859665 w 1342623"/>
                <a:gd name="connsiteY44" fmla="*/ 679361 h 1246031"/>
                <a:gd name="connsiteX45" fmla="*/ 850006 w 1342623"/>
                <a:gd name="connsiteY45" fmla="*/ 679361 h 1246031"/>
                <a:gd name="connsiteX46" fmla="*/ 850006 w 1342623"/>
                <a:gd name="connsiteY46" fmla="*/ 653603 h 1246031"/>
                <a:gd name="connsiteX47" fmla="*/ 837127 w 1342623"/>
                <a:gd name="connsiteY47" fmla="*/ 653603 h 1246031"/>
                <a:gd name="connsiteX48" fmla="*/ 837127 w 1342623"/>
                <a:gd name="connsiteY48" fmla="*/ 631065 h 1246031"/>
                <a:gd name="connsiteX49" fmla="*/ 827468 w 1342623"/>
                <a:gd name="connsiteY49" fmla="*/ 631065 h 1246031"/>
                <a:gd name="connsiteX50" fmla="*/ 827468 w 1342623"/>
                <a:gd name="connsiteY50" fmla="*/ 589208 h 1246031"/>
                <a:gd name="connsiteX51" fmla="*/ 808149 w 1342623"/>
                <a:gd name="connsiteY51" fmla="*/ 589208 h 1246031"/>
                <a:gd name="connsiteX52" fmla="*/ 808149 w 1342623"/>
                <a:gd name="connsiteY52" fmla="*/ 566670 h 1246031"/>
                <a:gd name="connsiteX53" fmla="*/ 795270 w 1342623"/>
                <a:gd name="connsiteY53" fmla="*/ 566670 h 1246031"/>
                <a:gd name="connsiteX54" fmla="*/ 795270 w 1342623"/>
                <a:gd name="connsiteY54" fmla="*/ 531254 h 1246031"/>
                <a:gd name="connsiteX55" fmla="*/ 766293 w 1342623"/>
                <a:gd name="connsiteY55" fmla="*/ 531254 h 1246031"/>
                <a:gd name="connsiteX56" fmla="*/ 766293 w 1342623"/>
                <a:gd name="connsiteY56" fmla="*/ 515155 h 1246031"/>
                <a:gd name="connsiteX57" fmla="*/ 750194 w 1342623"/>
                <a:gd name="connsiteY57" fmla="*/ 515155 h 1246031"/>
                <a:gd name="connsiteX58" fmla="*/ 750194 w 1342623"/>
                <a:gd name="connsiteY58" fmla="*/ 502276 h 1246031"/>
                <a:gd name="connsiteX59" fmla="*/ 695459 w 1342623"/>
                <a:gd name="connsiteY59" fmla="*/ 502276 h 1246031"/>
                <a:gd name="connsiteX60" fmla="*/ 695459 w 1342623"/>
                <a:gd name="connsiteY60" fmla="*/ 482958 h 1246031"/>
                <a:gd name="connsiteX61" fmla="*/ 666482 w 1342623"/>
                <a:gd name="connsiteY61" fmla="*/ 482958 h 1246031"/>
                <a:gd name="connsiteX62" fmla="*/ 666482 w 1342623"/>
                <a:gd name="connsiteY62" fmla="*/ 463639 h 1246031"/>
                <a:gd name="connsiteX63" fmla="*/ 634284 w 1342623"/>
                <a:gd name="connsiteY63" fmla="*/ 463639 h 1246031"/>
                <a:gd name="connsiteX64" fmla="*/ 634284 w 1342623"/>
                <a:gd name="connsiteY64" fmla="*/ 453980 h 1246031"/>
                <a:gd name="connsiteX65" fmla="*/ 614966 w 1342623"/>
                <a:gd name="connsiteY65" fmla="*/ 453980 h 1246031"/>
                <a:gd name="connsiteX66" fmla="*/ 614966 w 1342623"/>
                <a:gd name="connsiteY66" fmla="*/ 437882 h 1246031"/>
                <a:gd name="connsiteX67" fmla="*/ 585989 w 1342623"/>
                <a:gd name="connsiteY67" fmla="*/ 437882 h 1246031"/>
                <a:gd name="connsiteX68" fmla="*/ 585989 w 1342623"/>
                <a:gd name="connsiteY68" fmla="*/ 415344 h 1246031"/>
                <a:gd name="connsiteX69" fmla="*/ 540913 w 1342623"/>
                <a:gd name="connsiteY69" fmla="*/ 415344 h 1246031"/>
                <a:gd name="connsiteX70" fmla="*/ 540913 w 1342623"/>
                <a:gd name="connsiteY70" fmla="*/ 399245 h 1246031"/>
                <a:gd name="connsiteX71" fmla="*/ 499056 w 1342623"/>
                <a:gd name="connsiteY71" fmla="*/ 399245 h 1246031"/>
                <a:gd name="connsiteX72" fmla="*/ 499056 w 1342623"/>
                <a:gd name="connsiteY72" fmla="*/ 383146 h 1246031"/>
                <a:gd name="connsiteX73" fmla="*/ 431442 w 1342623"/>
                <a:gd name="connsiteY73" fmla="*/ 383146 h 1246031"/>
                <a:gd name="connsiteX74" fmla="*/ 431442 w 1342623"/>
                <a:gd name="connsiteY74" fmla="*/ 367048 h 1246031"/>
                <a:gd name="connsiteX75" fmla="*/ 408904 w 1342623"/>
                <a:gd name="connsiteY75" fmla="*/ 367048 h 1246031"/>
                <a:gd name="connsiteX76" fmla="*/ 408904 w 1342623"/>
                <a:gd name="connsiteY76" fmla="*/ 347730 h 1246031"/>
                <a:gd name="connsiteX77" fmla="*/ 383146 w 1342623"/>
                <a:gd name="connsiteY77" fmla="*/ 347730 h 1246031"/>
                <a:gd name="connsiteX78" fmla="*/ 383146 w 1342623"/>
                <a:gd name="connsiteY78" fmla="*/ 331631 h 1246031"/>
                <a:gd name="connsiteX79" fmla="*/ 350949 w 1342623"/>
                <a:gd name="connsiteY79" fmla="*/ 331631 h 1246031"/>
                <a:gd name="connsiteX80" fmla="*/ 350949 w 1342623"/>
                <a:gd name="connsiteY80" fmla="*/ 312313 h 1246031"/>
                <a:gd name="connsiteX81" fmla="*/ 318752 w 1342623"/>
                <a:gd name="connsiteY81" fmla="*/ 312313 h 1246031"/>
                <a:gd name="connsiteX82" fmla="*/ 318752 w 1342623"/>
                <a:gd name="connsiteY82" fmla="*/ 296214 h 1246031"/>
                <a:gd name="connsiteX83" fmla="*/ 286555 w 1342623"/>
                <a:gd name="connsiteY83" fmla="*/ 296214 h 1246031"/>
                <a:gd name="connsiteX84" fmla="*/ 286555 w 1342623"/>
                <a:gd name="connsiteY84" fmla="*/ 273676 h 1246031"/>
                <a:gd name="connsiteX85" fmla="*/ 244699 w 1342623"/>
                <a:gd name="connsiteY85" fmla="*/ 273676 h 1246031"/>
                <a:gd name="connsiteX86" fmla="*/ 244699 w 1342623"/>
                <a:gd name="connsiteY86" fmla="*/ 247918 h 1246031"/>
                <a:gd name="connsiteX87" fmla="*/ 218941 w 1342623"/>
                <a:gd name="connsiteY87" fmla="*/ 247918 h 1246031"/>
                <a:gd name="connsiteX88" fmla="*/ 218941 w 1342623"/>
                <a:gd name="connsiteY88" fmla="*/ 228600 h 1246031"/>
                <a:gd name="connsiteX89" fmla="*/ 186744 w 1342623"/>
                <a:gd name="connsiteY89" fmla="*/ 228600 h 1246031"/>
                <a:gd name="connsiteX90" fmla="*/ 186744 w 1342623"/>
                <a:gd name="connsiteY90" fmla="*/ 193183 h 1246031"/>
                <a:gd name="connsiteX91" fmla="*/ 157766 w 1342623"/>
                <a:gd name="connsiteY91" fmla="*/ 193183 h 1246031"/>
                <a:gd name="connsiteX92" fmla="*/ 157766 w 1342623"/>
                <a:gd name="connsiteY92" fmla="*/ 154546 h 1246031"/>
                <a:gd name="connsiteX93" fmla="*/ 135228 w 1342623"/>
                <a:gd name="connsiteY93" fmla="*/ 154546 h 1246031"/>
                <a:gd name="connsiteX94" fmla="*/ 135228 w 1342623"/>
                <a:gd name="connsiteY94" fmla="*/ 132008 h 1246031"/>
                <a:gd name="connsiteX95" fmla="*/ 103031 w 1342623"/>
                <a:gd name="connsiteY95" fmla="*/ 132008 h 1246031"/>
                <a:gd name="connsiteX96" fmla="*/ 103031 w 1342623"/>
                <a:gd name="connsiteY96" fmla="*/ 119130 h 1246031"/>
                <a:gd name="connsiteX97" fmla="*/ 83713 w 1342623"/>
                <a:gd name="connsiteY97" fmla="*/ 119130 h 1246031"/>
                <a:gd name="connsiteX98" fmla="*/ 83713 w 1342623"/>
                <a:gd name="connsiteY98" fmla="*/ 90152 h 1246031"/>
                <a:gd name="connsiteX99" fmla="*/ 74053 w 1342623"/>
                <a:gd name="connsiteY99" fmla="*/ 90152 h 1246031"/>
                <a:gd name="connsiteX100" fmla="*/ 74053 w 1342623"/>
                <a:gd name="connsiteY100" fmla="*/ 57955 h 1246031"/>
                <a:gd name="connsiteX101" fmla="*/ 41856 w 1342623"/>
                <a:gd name="connsiteY101" fmla="*/ 57955 h 1246031"/>
                <a:gd name="connsiteX102" fmla="*/ 41856 w 1342623"/>
                <a:gd name="connsiteY102" fmla="*/ 25758 h 1246031"/>
                <a:gd name="connsiteX103" fmla="*/ 0 w 1342623"/>
                <a:gd name="connsiteY103" fmla="*/ 25758 h 1246031"/>
                <a:gd name="connsiteX104" fmla="*/ 0 w 1342623"/>
                <a:gd name="connsiteY104" fmla="*/ 0 h 124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342623" h="1246031">
                  <a:moveTo>
                    <a:pt x="1342623" y="1246031"/>
                  </a:moveTo>
                  <a:lnTo>
                    <a:pt x="1275008" y="1246031"/>
                  </a:lnTo>
                  <a:lnTo>
                    <a:pt x="1275008" y="1226713"/>
                  </a:lnTo>
                  <a:lnTo>
                    <a:pt x="1246031" y="1226713"/>
                  </a:lnTo>
                  <a:lnTo>
                    <a:pt x="1246031" y="1194516"/>
                  </a:lnTo>
                  <a:lnTo>
                    <a:pt x="1226713" y="1194516"/>
                  </a:lnTo>
                  <a:lnTo>
                    <a:pt x="1226713" y="1175197"/>
                  </a:lnTo>
                  <a:lnTo>
                    <a:pt x="1210614" y="1175197"/>
                  </a:lnTo>
                  <a:lnTo>
                    <a:pt x="1210614" y="1139780"/>
                  </a:lnTo>
                  <a:lnTo>
                    <a:pt x="1181637" y="1139780"/>
                  </a:lnTo>
                  <a:lnTo>
                    <a:pt x="1181637" y="1107583"/>
                  </a:lnTo>
                  <a:lnTo>
                    <a:pt x="1162318" y="1107583"/>
                  </a:lnTo>
                  <a:lnTo>
                    <a:pt x="1162318" y="1072166"/>
                  </a:lnTo>
                  <a:lnTo>
                    <a:pt x="1149439" y="1072166"/>
                  </a:lnTo>
                  <a:lnTo>
                    <a:pt x="1149439" y="1052848"/>
                  </a:lnTo>
                  <a:lnTo>
                    <a:pt x="1133341" y="1052848"/>
                  </a:lnTo>
                  <a:lnTo>
                    <a:pt x="1133341" y="1027090"/>
                  </a:lnTo>
                  <a:lnTo>
                    <a:pt x="1117242" y="1027090"/>
                  </a:lnTo>
                  <a:lnTo>
                    <a:pt x="1117242" y="1004552"/>
                  </a:lnTo>
                  <a:lnTo>
                    <a:pt x="1085045" y="1004552"/>
                  </a:lnTo>
                  <a:lnTo>
                    <a:pt x="1085045" y="972355"/>
                  </a:lnTo>
                  <a:lnTo>
                    <a:pt x="1075386" y="972355"/>
                  </a:lnTo>
                  <a:lnTo>
                    <a:pt x="1075386" y="946597"/>
                  </a:lnTo>
                  <a:lnTo>
                    <a:pt x="1046408" y="946597"/>
                  </a:lnTo>
                  <a:lnTo>
                    <a:pt x="1046408" y="927279"/>
                  </a:lnTo>
                  <a:lnTo>
                    <a:pt x="1033530" y="927279"/>
                  </a:lnTo>
                  <a:lnTo>
                    <a:pt x="1033530" y="914400"/>
                  </a:lnTo>
                  <a:lnTo>
                    <a:pt x="1017431" y="914400"/>
                  </a:lnTo>
                  <a:lnTo>
                    <a:pt x="1017431" y="895082"/>
                  </a:lnTo>
                  <a:lnTo>
                    <a:pt x="1004552" y="895082"/>
                  </a:lnTo>
                  <a:lnTo>
                    <a:pt x="1004552" y="866104"/>
                  </a:lnTo>
                  <a:lnTo>
                    <a:pt x="988453" y="866104"/>
                  </a:lnTo>
                  <a:lnTo>
                    <a:pt x="988453" y="840346"/>
                  </a:lnTo>
                  <a:lnTo>
                    <a:pt x="959476" y="840346"/>
                  </a:lnTo>
                  <a:lnTo>
                    <a:pt x="959476" y="821028"/>
                  </a:lnTo>
                  <a:lnTo>
                    <a:pt x="933718" y="821028"/>
                  </a:lnTo>
                  <a:lnTo>
                    <a:pt x="933718" y="782392"/>
                  </a:lnTo>
                  <a:lnTo>
                    <a:pt x="914400" y="782392"/>
                  </a:lnTo>
                  <a:lnTo>
                    <a:pt x="914400" y="753414"/>
                  </a:lnTo>
                  <a:lnTo>
                    <a:pt x="898301" y="753414"/>
                  </a:lnTo>
                  <a:lnTo>
                    <a:pt x="898301" y="724437"/>
                  </a:lnTo>
                  <a:lnTo>
                    <a:pt x="878983" y="724437"/>
                  </a:lnTo>
                  <a:lnTo>
                    <a:pt x="878983" y="705118"/>
                  </a:lnTo>
                  <a:lnTo>
                    <a:pt x="859665" y="705118"/>
                  </a:lnTo>
                  <a:lnTo>
                    <a:pt x="859665" y="679361"/>
                  </a:lnTo>
                  <a:lnTo>
                    <a:pt x="850006" y="679361"/>
                  </a:lnTo>
                  <a:lnTo>
                    <a:pt x="850006" y="653603"/>
                  </a:lnTo>
                  <a:lnTo>
                    <a:pt x="837127" y="653603"/>
                  </a:lnTo>
                  <a:lnTo>
                    <a:pt x="837127" y="631065"/>
                  </a:lnTo>
                  <a:lnTo>
                    <a:pt x="827468" y="631065"/>
                  </a:lnTo>
                  <a:lnTo>
                    <a:pt x="827468" y="589208"/>
                  </a:lnTo>
                  <a:lnTo>
                    <a:pt x="808149" y="589208"/>
                  </a:lnTo>
                  <a:lnTo>
                    <a:pt x="808149" y="566670"/>
                  </a:lnTo>
                  <a:lnTo>
                    <a:pt x="795270" y="566670"/>
                  </a:lnTo>
                  <a:lnTo>
                    <a:pt x="795270" y="531254"/>
                  </a:lnTo>
                  <a:lnTo>
                    <a:pt x="766293" y="531254"/>
                  </a:lnTo>
                  <a:lnTo>
                    <a:pt x="766293" y="515155"/>
                  </a:lnTo>
                  <a:lnTo>
                    <a:pt x="750194" y="515155"/>
                  </a:lnTo>
                  <a:lnTo>
                    <a:pt x="750194" y="502276"/>
                  </a:lnTo>
                  <a:lnTo>
                    <a:pt x="695459" y="502276"/>
                  </a:lnTo>
                  <a:lnTo>
                    <a:pt x="695459" y="482958"/>
                  </a:lnTo>
                  <a:lnTo>
                    <a:pt x="666482" y="482958"/>
                  </a:lnTo>
                  <a:lnTo>
                    <a:pt x="666482" y="463639"/>
                  </a:lnTo>
                  <a:lnTo>
                    <a:pt x="634284" y="463639"/>
                  </a:lnTo>
                  <a:lnTo>
                    <a:pt x="634284" y="453980"/>
                  </a:lnTo>
                  <a:lnTo>
                    <a:pt x="614966" y="453980"/>
                  </a:lnTo>
                  <a:lnTo>
                    <a:pt x="614966" y="437882"/>
                  </a:lnTo>
                  <a:lnTo>
                    <a:pt x="585989" y="437882"/>
                  </a:lnTo>
                  <a:lnTo>
                    <a:pt x="585989" y="415344"/>
                  </a:lnTo>
                  <a:lnTo>
                    <a:pt x="540913" y="415344"/>
                  </a:lnTo>
                  <a:lnTo>
                    <a:pt x="540913" y="399245"/>
                  </a:lnTo>
                  <a:lnTo>
                    <a:pt x="499056" y="399245"/>
                  </a:lnTo>
                  <a:lnTo>
                    <a:pt x="499056" y="383146"/>
                  </a:lnTo>
                  <a:lnTo>
                    <a:pt x="431442" y="383146"/>
                  </a:lnTo>
                  <a:lnTo>
                    <a:pt x="431442" y="367048"/>
                  </a:lnTo>
                  <a:lnTo>
                    <a:pt x="408904" y="367048"/>
                  </a:lnTo>
                  <a:lnTo>
                    <a:pt x="408904" y="347730"/>
                  </a:lnTo>
                  <a:lnTo>
                    <a:pt x="383146" y="347730"/>
                  </a:lnTo>
                  <a:lnTo>
                    <a:pt x="383146" y="331631"/>
                  </a:lnTo>
                  <a:lnTo>
                    <a:pt x="350949" y="331631"/>
                  </a:lnTo>
                  <a:lnTo>
                    <a:pt x="350949" y="312313"/>
                  </a:lnTo>
                  <a:lnTo>
                    <a:pt x="318752" y="312313"/>
                  </a:lnTo>
                  <a:lnTo>
                    <a:pt x="318752" y="296214"/>
                  </a:lnTo>
                  <a:lnTo>
                    <a:pt x="286555" y="296214"/>
                  </a:lnTo>
                  <a:lnTo>
                    <a:pt x="286555" y="273676"/>
                  </a:lnTo>
                  <a:lnTo>
                    <a:pt x="244699" y="273676"/>
                  </a:lnTo>
                  <a:lnTo>
                    <a:pt x="244699" y="247918"/>
                  </a:lnTo>
                  <a:lnTo>
                    <a:pt x="218941" y="247918"/>
                  </a:lnTo>
                  <a:lnTo>
                    <a:pt x="218941" y="228600"/>
                  </a:lnTo>
                  <a:lnTo>
                    <a:pt x="186744" y="228600"/>
                  </a:lnTo>
                  <a:lnTo>
                    <a:pt x="186744" y="193183"/>
                  </a:lnTo>
                  <a:lnTo>
                    <a:pt x="157766" y="193183"/>
                  </a:lnTo>
                  <a:lnTo>
                    <a:pt x="157766" y="154546"/>
                  </a:lnTo>
                  <a:lnTo>
                    <a:pt x="135228" y="154546"/>
                  </a:lnTo>
                  <a:lnTo>
                    <a:pt x="135228" y="132008"/>
                  </a:lnTo>
                  <a:lnTo>
                    <a:pt x="103031" y="132008"/>
                  </a:lnTo>
                  <a:lnTo>
                    <a:pt x="103031" y="119130"/>
                  </a:lnTo>
                  <a:lnTo>
                    <a:pt x="83713" y="119130"/>
                  </a:lnTo>
                  <a:lnTo>
                    <a:pt x="83713" y="90152"/>
                  </a:lnTo>
                  <a:lnTo>
                    <a:pt x="74053" y="90152"/>
                  </a:lnTo>
                  <a:lnTo>
                    <a:pt x="74053" y="57955"/>
                  </a:lnTo>
                  <a:lnTo>
                    <a:pt x="41856" y="57955"/>
                  </a:lnTo>
                  <a:lnTo>
                    <a:pt x="41856" y="25758"/>
                  </a:lnTo>
                  <a:lnTo>
                    <a:pt x="0" y="25758"/>
                  </a:lnTo>
                  <a:lnTo>
                    <a:pt x="0" y="0"/>
                  </a:lnTo>
                </a:path>
              </a:pathLst>
            </a:custGeom>
            <a:noFill/>
            <a:ln w="28575">
              <a:solidFill>
                <a:srgbClr val="E46C0A"/>
              </a:solidFill>
              <a:prstDash val="sysDot"/>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78">
                <a:defRPr/>
              </a:pPr>
              <a:endParaRPr lang="en-US">
                <a:solidFill>
                  <a:prstClr val="white"/>
                </a:solidFill>
                <a:latin typeface="Calibri"/>
              </a:endParaRPr>
            </a:p>
          </p:txBody>
        </p:sp>
      </p:grpSp>
      <p:grpSp>
        <p:nvGrpSpPr>
          <p:cNvPr id="710" name="Group 709">
            <a:extLst>
              <a:ext uri="{FF2B5EF4-FFF2-40B4-BE49-F238E27FC236}">
                <a16:creationId xmlns:a16="http://schemas.microsoft.com/office/drawing/2014/main" id="{CE2DCDEC-116C-4825-98B8-515A6633049D}"/>
              </a:ext>
            </a:extLst>
          </p:cNvPr>
          <p:cNvGrpSpPr/>
          <p:nvPr/>
        </p:nvGrpSpPr>
        <p:grpSpPr>
          <a:xfrm>
            <a:off x="5318289" y="1578372"/>
            <a:ext cx="2138845" cy="1668867"/>
            <a:chOff x="5286388" y="1018894"/>
            <a:chExt cx="2138845" cy="1668867"/>
          </a:xfrm>
          <a:noFill/>
        </p:grpSpPr>
        <p:sp>
          <p:nvSpPr>
            <p:cNvPr id="711" name="Freeform 76">
              <a:extLst>
                <a:ext uri="{FF2B5EF4-FFF2-40B4-BE49-F238E27FC236}">
                  <a16:creationId xmlns:a16="http://schemas.microsoft.com/office/drawing/2014/main" id="{CC384C23-19DF-4A69-BF77-0CA4C12A31E1}"/>
                </a:ext>
              </a:extLst>
            </p:cNvPr>
            <p:cNvSpPr>
              <a:spLocks/>
            </p:cNvSpPr>
            <p:nvPr/>
          </p:nvSpPr>
          <p:spPr bwMode="auto">
            <a:xfrm>
              <a:off x="7379205" y="264173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12" name="Freeform 76">
              <a:extLst>
                <a:ext uri="{FF2B5EF4-FFF2-40B4-BE49-F238E27FC236}">
                  <a16:creationId xmlns:a16="http://schemas.microsoft.com/office/drawing/2014/main" id="{B27C697C-9A10-4633-8DE8-394A2ABB1A29}"/>
                </a:ext>
              </a:extLst>
            </p:cNvPr>
            <p:cNvSpPr>
              <a:spLocks/>
            </p:cNvSpPr>
            <p:nvPr/>
          </p:nvSpPr>
          <p:spPr bwMode="auto">
            <a:xfrm>
              <a:off x="7356667" y="264173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13" name="Freeform 76">
              <a:extLst>
                <a:ext uri="{FF2B5EF4-FFF2-40B4-BE49-F238E27FC236}">
                  <a16:creationId xmlns:a16="http://schemas.microsoft.com/office/drawing/2014/main" id="{809C5B75-4F3C-4233-B37B-8069C227198C}"/>
                </a:ext>
              </a:extLst>
            </p:cNvPr>
            <p:cNvSpPr>
              <a:spLocks/>
            </p:cNvSpPr>
            <p:nvPr/>
          </p:nvSpPr>
          <p:spPr bwMode="auto">
            <a:xfrm>
              <a:off x="7314811" y="264173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14" name="Freeform 76">
              <a:extLst>
                <a:ext uri="{FF2B5EF4-FFF2-40B4-BE49-F238E27FC236}">
                  <a16:creationId xmlns:a16="http://schemas.microsoft.com/office/drawing/2014/main" id="{23EB4504-8FEB-4977-BF1A-3DCA7EBB7758}"/>
                </a:ext>
              </a:extLst>
            </p:cNvPr>
            <p:cNvSpPr>
              <a:spLocks/>
            </p:cNvSpPr>
            <p:nvPr/>
          </p:nvSpPr>
          <p:spPr bwMode="auto">
            <a:xfrm>
              <a:off x="7269735" y="264173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15" name="Freeform 76">
              <a:extLst>
                <a:ext uri="{FF2B5EF4-FFF2-40B4-BE49-F238E27FC236}">
                  <a16:creationId xmlns:a16="http://schemas.microsoft.com/office/drawing/2014/main" id="{A7EDC98C-E643-48FA-85DD-E4FF6E78A046}"/>
                </a:ext>
              </a:extLst>
            </p:cNvPr>
            <p:cNvSpPr>
              <a:spLocks/>
            </p:cNvSpPr>
            <p:nvPr/>
          </p:nvSpPr>
          <p:spPr bwMode="auto">
            <a:xfrm>
              <a:off x="7253636" y="264173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16" name="Freeform 76">
              <a:extLst>
                <a:ext uri="{FF2B5EF4-FFF2-40B4-BE49-F238E27FC236}">
                  <a16:creationId xmlns:a16="http://schemas.microsoft.com/office/drawing/2014/main" id="{51BDC9C8-8F53-4E45-BA6A-519767012C19}"/>
                </a:ext>
              </a:extLst>
            </p:cNvPr>
            <p:cNvSpPr>
              <a:spLocks/>
            </p:cNvSpPr>
            <p:nvPr/>
          </p:nvSpPr>
          <p:spPr bwMode="auto">
            <a:xfrm>
              <a:off x="7231099" y="264173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17" name="Freeform 76">
              <a:extLst>
                <a:ext uri="{FF2B5EF4-FFF2-40B4-BE49-F238E27FC236}">
                  <a16:creationId xmlns:a16="http://schemas.microsoft.com/office/drawing/2014/main" id="{40803983-9CF8-483B-9E28-3954128DBABB}"/>
                </a:ext>
              </a:extLst>
            </p:cNvPr>
            <p:cNvSpPr>
              <a:spLocks/>
            </p:cNvSpPr>
            <p:nvPr/>
          </p:nvSpPr>
          <p:spPr bwMode="auto">
            <a:xfrm>
              <a:off x="7144167" y="252572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18" name="Freeform 76">
              <a:extLst>
                <a:ext uri="{FF2B5EF4-FFF2-40B4-BE49-F238E27FC236}">
                  <a16:creationId xmlns:a16="http://schemas.microsoft.com/office/drawing/2014/main" id="{C0B79A78-EDD9-4346-85A9-214154374AF3}"/>
                </a:ext>
              </a:extLst>
            </p:cNvPr>
            <p:cNvSpPr>
              <a:spLocks/>
            </p:cNvSpPr>
            <p:nvPr/>
          </p:nvSpPr>
          <p:spPr bwMode="auto">
            <a:xfrm>
              <a:off x="7121628" y="250640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19" name="Freeform 76">
              <a:extLst>
                <a:ext uri="{FF2B5EF4-FFF2-40B4-BE49-F238E27FC236}">
                  <a16:creationId xmlns:a16="http://schemas.microsoft.com/office/drawing/2014/main" id="{498C979D-8693-461D-8732-F882C9BE82F1}"/>
                </a:ext>
              </a:extLst>
            </p:cNvPr>
            <p:cNvSpPr>
              <a:spLocks/>
            </p:cNvSpPr>
            <p:nvPr/>
          </p:nvSpPr>
          <p:spPr bwMode="auto">
            <a:xfrm>
              <a:off x="7070112" y="250640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0" name="Freeform 76">
              <a:extLst>
                <a:ext uri="{FF2B5EF4-FFF2-40B4-BE49-F238E27FC236}">
                  <a16:creationId xmlns:a16="http://schemas.microsoft.com/office/drawing/2014/main" id="{9DF54A56-3B73-4159-A8C1-798B12280D1E}"/>
                </a:ext>
              </a:extLst>
            </p:cNvPr>
            <p:cNvSpPr>
              <a:spLocks/>
            </p:cNvSpPr>
            <p:nvPr/>
          </p:nvSpPr>
          <p:spPr bwMode="auto">
            <a:xfrm>
              <a:off x="7050794" y="250640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1" name="Freeform 76">
              <a:extLst>
                <a:ext uri="{FF2B5EF4-FFF2-40B4-BE49-F238E27FC236}">
                  <a16:creationId xmlns:a16="http://schemas.microsoft.com/office/drawing/2014/main" id="{B279920F-E25A-42B0-9FCE-B791CD140258}"/>
                </a:ext>
              </a:extLst>
            </p:cNvPr>
            <p:cNvSpPr>
              <a:spLocks/>
            </p:cNvSpPr>
            <p:nvPr/>
          </p:nvSpPr>
          <p:spPr bwMode="auto">
            <a:xfrm>
              <a:off x="7028256" y="250640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2" name="Freeform 76">
              <a:extLst>
                <a:ext uri="{FF2B5EF4-FFF2-40B4-BE49-F238E27FC236}">
                  <a16:creationId xmlns:a16="http://schemas.microsoft.com/office/drawing/2014/main" id="{66C1F5E4-E1AF-4548-88D3-14E9A9A77626}"/>
                </a:ext>
              </a:extLst>
            </p:cNvPr>
            <p:cNvSpPr>
              <a:spLocks/>
            </p:cNvSpPr>
            <p:nvPr/>
          </p:nvSpPr>
          <p:spPr bwMode="auto">
            <a:xfrm>
              <a:off x="6996059" y="247098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3" name="Freeform 76">
              <a:extLst>
                <a:ext uri="{FF2B5EF4-FFF2-40B4-BE49-F238E27FC236}">
                  <a16:creationId xmlns:a16="http://schemas.microsoft.com/office/drawing/2014/main" id="{94ED562C-20AF-46DD-B771-6364A190D749}"/>
                </a:ext>
              </a:extLst>
            </p:cNvPr>
            <p:cNvSpPr>
              <a:spLocks/>
            </p:cNvSpPr>
            <p:nvPr/>
          </p:nvSpPr>
          <p:spPr bwMode="auto">
            <a:xfrm>
              <a:off x="6979960" y="247098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4" name="Freeform 76">
              <a:extLst>
                <a:ext uri="{FF2B5EF4-FFF2-40B4-BE49-F238E27FC236}">
                  <a16:creationId xmlns:a16="http://schemas.microsoft.com/office/drawing/2014/main" id="{125CD3AD-CB41-4340-8699-456700F8DC9B}"/>
                </a:ext>
              </a:extLst>
            </p:cNvPr>
            <p:cNvSpPr>
              <a:spLocks/>
            </p:cNvSpPr>
            <p:nvPr/>
          </p:nvSpPr>
          <p:spPr bwMode="auto">
            <a:xfrm>
              <a:off x="6970301" y="247098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5" name="Freeform 76">
              <a:extLst>
                <a:ext uri="{FF2B5EF4-FFF2-40B4-BE49-F238E27FC236}">
                  <a16:creationId xmlns:a16="http://schemas.microsoft.com/office/drawing/2014/main" id="{8F108B80-0851-4E02-90A7-6A76448BD022}"/>
                </a:ext>
              </a:extLst>
            </p:cNvPr>
            <p:cNvSpPr>
              <a:spLocks/>
            </p:cNvSpPr>
            <p:nvPr/>
          </p:nvSpPr>
          <p:spPr bwMode="auto">
            <a:xfrm>
              <a:off x="6950983" y="247098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6" name="Freeform 76">
              <a:extLst>
                <a:ext uri="{FF2B5EF4-FFF2-40B4-BE49-F238E27FC236}">
                  <a16:creationId xmlns:a16="http://schemas.microsoft.com/office/drawing/2014/main" id="{374745CB-F406-4D71-8374-04BB52DBBA04}"/>
                </a:ext>
              </a:extLst>
            </p:cNvPr>
            <p:cNvSpPr>
              <a:spLocks/>
            </p:cNvSpPr>
            <p:nvPr/>
          </p:nvSpPr>
          <p:spPr bwMode="auto">
            <a:xfrm>
              <a:off x="6928445" y="247098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7" name="Freeform 76">
              <a:extLst>
                <a:ext uri="{FF2B5EF4-FFF2-40B4-BE49-F238E27FC236}">
                  <a16:creationId xmlns:a16="http://schemas.microsoft.com/office/drawing/2014/main" id="{1975BC0C-4423-43A3-9997-10A55F9A0288}"/>
                </a:ext>
              </a:extLst>
            </p:cNvPr>
            <p:cNvSpPr>
              <a:spLocks/>
            </p:cNvSpPr>
            <p:nvPr/>
          </p:nvSpPr>
          <p:spPr bwMode="auto">
            <a:xfrm>
              <a:off x="6912346" y="244844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8" name="Freeform 76">
              <a:extLst>
                <a:ext uri="{FF2B5EF4-FFF2-40B4-BE49-F238E27FC236}">
                  <a16:creationId xmlns:a16="http://schemas.microsoft.com/office/drawing/2014/main" id="{9949298D-CBBC-4EF2-992B-F60B7E8B0628}"/>
                </a:ext>
              </a:extLst>
            </p:cNvPr>
            <p:cNvSpPr>
              <a:spLocks/>
            </p:cNvSpPr>
            <p:nvPr/>
          </p:nvSpPr>
          <p:spPr bwMode="auto">
            <a:xfrm>
              <a:off x="6902687" y="244844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29" name="Freeform 76">
              <a:extLst>
                <a:ext uri="{FF2B5EF4-FFF2-40B4-BE49-F238E27FC236}">
                  <a16:creationId xmlns:a16="http://schemas.microsoft.com/office/drawing/2014/main" id="{B4498A3A-D1E5-4372-A960-D72C80A5A5D4}"/>
                </a:ext>
              </a:extLst>
            </p:cNvPr>
            <p:cNvSpPr>
              <a:spLocks/>
            </p:cNvSpPr>
            <p:nvPr/>
          </p:nvSpPr>
          <p:spPr bwMode="auto">
            <a:xfrm>
              <a:off x="6893028" y="244844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0" name="Freeform 76">
              <a:extLst>
                <a:ext uri="{FF2B5EF4-FFF2-40B4-BE49-F238E27FC236}">
                  <a16:creationId xmlns:a16="http://schemas.microsoft.com/office/drawing/2014/main" id="{14406B04-F809-4C81-AB60-1166DD746463}"/>
                </a:ext>
              </a:extLst>
            </p:cNvPr>
            <p:cNvSpPr>
              <a:spLocks/>
            </p:cNvSpPr>
            <p:nvPr/>
          </p:nvSpPr>
          <p:spPr bwMode="auto">
            <a:xfrm>
              <a:off x="6870490" y="244844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1" name="Freeform 76">
              <a:extLst>
                <a:ext uri="{FF2B5EF4-FFF2-40B4-BE49-F238E27FC236}">
                  <a16:creationId xmlns:a16="http://schemas.microsoft.com/office/drawing/2014/main" id="{773C2A4D-82F3-4515-9AA1-37357BE04F46}"/>
                </a:ext>
              </a:extLst>
            </p:cNvPr>
            <p:cNvSpPr>
              <a:spLocks/>
            </p:cNvSpPr>
            <p:nvPr/>
          </p:nvSpPr>
          <p:spPr bwMode="auto">
            <a:xfrm>
              <a:off x="6860831" y="2435570"/>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2" name="Freeform 76">
              <a:extLst>
                <a:ext uri="{FF2B5EF4-FFF2-40B4-BE49-F238E27FC236}">
                  <a16:creationId xmlns:a16="http://schemas.microsoft.com/office/drawing/2014/main" id="{CA48ED75-1D1C-4F27-B2FC-0C8B2D563DFF}"/>
                </a:ext>
              </a:extLst>
            </p:cNvPr>
            <p:cNvSpPr>
              <a:spLocks/>
            </p:cNvSpPr>
            <p:nvPr/>
          </p:nvSpPr>
          <p:spPr bwMode="auto">
            <a:xfrm>
              <a:off x="6828633" y="241947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3" name="Freeform 76">
              <a:extLst>
                <a:ext uri="{FF2B5EF4-FFF2-40B4-BE49-F238E27FC236}">
                  <a16:creationId xmlns:a16="http://schemas.microsoft.com/office/drawing/2014/main" id="{A07CA854-758A-497D-98F2-7038666DFC01}"/>
                </a:ext>
              </a:extLst>
            </p:cNvPr>
            <p:cNvSpPr>
              <a:spLocks/>
            </p:cNvSpPr>
            <p:nvPr/>
          </p:nvSpPr>
          <p:spPr bwMode="auto">
            <a:xfrm>
              <a:off x="6812535" y="241625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4" name="Freeform 76">
              <a:extLst>
                <a:ext uri="{FF2B5EF4-FFF2-40B4-BE49-F238E27FC236}">
                  <a16:creationId xmlns:a16="http://schemas.microsoft.com/office/drawing/2014/main" id="{0EE2851C-9D85-455B-A356-B46FFF711A9B}"/>
                </a:ext>
              </a:extLst>
            </p:cNvPr>
            <p:cNvSpPr>
              <a:spLocks/>
            </p:cNvSpPr>
            <p:nvPr/>
          </p:nvSpPr>
          <p:spPr bwMode="auto">
            <a:xfrm>
              <a:off x="6793217" y="239049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5" name="Freeform 76">
              <a:extLst>
                <a:ext uri="{FF2B5EF4-FFF2-40B4-BE49-F238E27FC236}">
                  <a16:creationId xmlns:a16="http://schemas.microsoft.com/office/drawing/2014/main" id="{B6BB836A-B1A7-4B32-BD30-F5887411367C}"/>
                </a:ext>
              </a:extLst>
            </p:cNvPr>
            <p:cNvSpPr>
              <a:spLocks/>
            </p:cNvSpPr>
            <p:nvPr/>
          </p:nvSpPr>
          <p:spPr bwMode="auto">
            <a:xfrm>
              <a:off x="6770679" y="238405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6" name="Freeform 76">
              <a:extLst>
                <a:ext uri="{FF2B5EF4-FFF2-40B4-BE49-F238E27FC236}">
                  <a16:creationId xmlns:a16="http://schemas.microsoft.com/office/drawing/2014/main" id="{3CC7E021-6496-4128-8E12-6B197AEE00A0}"/>
                </a:ext>
              </a:extLst>
            </p:cNvPr>
            <p:cNvSpPr>
              <a:spLocks/>
            </p:cNvSpPr>
            <p:nvPr/>
          </p:nvSpPr>
          <p:spPr bwMode="auto">
            <a:xfrm>
              <a:off x="6757800" y="2374395"/>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7" name="Freeform 76">
              <a:extLst>
                <a:ext uri="{FF2B5EF4-FFF2-40B4-BE49-F238E27FC236}">
                  <a16:creationId xmlns:a16="http://schemas.microsoft.com/office/drawing/2014/main" id="{5692C406-1937-4298-BBD1-DE556D1D5042}"/>
                </a:ext>
              </a:extLst>
            </p:cNvPr>
            <p:cNvSpPr>
              <a:spLocks/>
            </p:cNvSpPr>
            <p:nvPr/>
          </p:nvSpPr>
          <p:spPr bwMode="auto">
            <a:xfrm>
              <a:off x="6741701" y="2367956"/>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8" name="Freeform 76">
              <a:extLst>
                <a:ext uri="{FF2B5EF4-FFF2-40B4-BE49-F238E27FC236}">
                  <a16:creationId xmlns:a16="http://schemas.microsoft.com/office/drawing/2014/main" id="{B0630947-E1D5-4D0E-A509-8F9FB522AF36}"/>
                </a:ext>
              </a:extLst>
            </p:cNvPr>
            <p:cNvSpPr>
              <a:spLocks/>
            </p:cNvSpPr>
            <p:nvPr/>
          </p:nvSpPr>
          <p:spPr bwMode="auto">
            <a:xfrm>
              <a:off x="6719164" y="2358296"/>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39" name="Freeform 76">
              <a:extLst>
                <a:ext uri="{FF2B5EF4-FFF2-40B4-BE49-F238E27FC236}">
                  <a16:creationId xmlns:a16="http://schemas.microsoft.com/office/drawing/2014/main" id="{B9D1002C-7026-41A3-A9BB-62E835746B63}"/>
                </a:ext>
              </a:extLst>
            </p:cNvPr>
            <p:cNvSpPr>
              <a:spLocks/>
            </p:cNvSpPr>
            <p:nvPr/>
          </p:nvSpPr>
          <p:spPr bwMode="auto">
            <a:xfrm>
              <a:off x="6693406" y="233575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0" name="Freeform 76">
              <a:extLst>
                <a:ext uri="{FF2B5EF4-FFF2-40B4-BE49-F238E27FC236}">
                  <a16:creationId xmlns:a16="http://schemas.microsoft.com/office/drawing/2014/main" id="{6B6968F5-F839-48C0-AD5D-328BB3250121}"/>
                </a:ext>
              </a:extLst>
            </p:cNvPr>
            <p:cNvSpPr>
              <a:spLocks/>
            </p:cNvSpPr>
            <p:nvPr/>
          </p:nvSpPr>
          <p:spPr bwMode="auto">
            <a:xfrm>
              <a:off x="6641891" y="228424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1" name="Freeform 76">
              <a:extLst>
                <a:ext uri="{FF2B5EF4-FFF2-40B4-BE49-F238E27FC236}">
                  <a16:creationId xmlns:a16="http://schemas.microsoft.com/office/drawing/2014/main" id="{A8CD9769-0558-4381-B095-75347235E466}"/>
                </a:ext>
              </a:extLst>
            </p:cNvPr>
            <p:cNvSpPr>
              <a:spLocks/>
            </p:cNvSpPr>
            <p:nvPr/>
          </p:nvSpPr>
          <p:spPr bwMode="auto">
            <a:xfrm>
              <a:off x="6625791" y="2271365"/>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2" name="Freeform 76">
              <a:extLst>
                <a:ext uri="{FF2B5EF4-FFF2-40B4-BE49-F238E27FC236}">
                  <a16:creationId xmlns:a16="http://schemas.microsoft.com/office/drawing/2014/main" id="{4ED7FE9C-0A61-46DD-8F38-3A05B26A0A91}"/>
                </a:ext>
              </a:extLst>
            </p:cNvPr>
            <p:cNvSpPr>
              <a:spLocks/>
            </p:cNvSpPr>
            <p:nvPr/>
          </p:nvSpPr>
          <p:spPr bwMode="auto">
            <a:xfrm>
              <a:off x="6587155" y="2258485"/>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3" name="Freeform 76">
              <a:extLst>
                <a:ext uri="{FF2B5EF4-FFF2-40B4-BE49-F238E27FC236}">
                  <a16:creationId xmlns:a16="http://schemas.microsoft.com/office/drawing/2014/main" id="{B626A8C3-8C72-4C01-91E3-ECCF048707BD}"/>
                </a:ext>
              </a:extLst>
            </p:cNvPr>
            <p:cNvSpPr>
              <a:spLocks/>
            </p:cNvSpPr>
            <p:nvPr/>
          </p:nvSpPr>
          <p:spPr bwMode="auto">
            <a:xfrm>
              <a:off x="6535641" y="223594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4" name="Freeform 76">
              <a:extLst>
                <a:ext uri="{FF2B5EF4-FFF2-40B4-BE49-F238E27FC236}">
                  <a16:creationId xmlns:a16="http://schemas.microsoft.com/office/drawing/2014/main" id="{EE477A7C-F04D-4B9F-BA03-54F8DB6B5784}"/>
                </a:ext>
              </a:extLst>
            </p:cNvPr>
            <p:cNvSpPr>
              <a:spLocks/>
            </p:cNvSpPr>
            <p:nvPr/>
          </p:nvSpPr>
          <p:spPr bwMode="auto">
            <a:xfrm>
              <a:off x="6519541" y="2200140"/>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5" name="Freeform 76">
              <a:extLst>
                <a:ext uri="{FF2B5EF4-FFF2-40B4-BE49-F238E27FC236}">
                  <a16:creationId xmlns:a16="http://schemas.microsoft.com/office/drawing/2014/main" id="{AEF9D57D-3379-4479-828A-A59EECCE2473}"/>
                </a:ext>
              </a:extLst>
            </p:cNvPr>
            <p:cNvSpPr>
              <a:spLocks/>
            </p:cNvSpPr>
            <p:nvPr/>
          </p:nvSpPr>
          <p:spPr bwMode="auto">
            <a:xfrm>
              <a:off x="6358555" y="196549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6" name="Freeform 76">
              <a:extLst>
                <a:ext uri="{FF2B5EF4-FFF2-40B4-BE49-F238E27FC236}">
                  <a16:creationId xmlns:a16="http://schemas.microsoft.com/office/drawing/2014/main" id="{EE8CDB8F-A640-4F01-B277-339F10A1B0EA}"/>
                </a:ext>
              </a:extLst>
            </p:cNvPr>
            <p:cNvSpPr>
              <a:spLocks/>
            </p:cNvSpPr>
            <p:nvPr/>
          </p:nvSpPr>
          <p:spPr bwMode="auto">
            <a:xfrm>
              <a:off x="6281282" y="186850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7" name="Freeform 76">
              <a:extLst>
                <a:ext uri="{FF2B5EF4-FFF2-40B4-BE49-F238E27FC236}">
                  <a16:creationId xmlns:a16="http://schemas.microsoft.com/office/drawing/2014/main" id="{590C9ABA-0598-4AC1-882F-3460EF62133D}"/>
                </a:ext>
              </a:extLst>
            </p:cNvPr>
            <p:cNvSpPr>
              <a:spLocks/>
            </p:cNvSpPr>
            <p:nvPr/>
          </p:nvSpPr>
          <p:spPr bwMode="auto">
            <a:xfrm>
              <a:off x="6245865" y="184314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8" name="Freeform 76">
              <a:extLst>
                <a:ext uri="{FF2B5EF4-FFF2-40B4-BE49-F238E27FC236}">
                  <a16:creationId xmlns:a16="http://schemas.microsoft.com/office/drawing/2014/main" id="{08C7806D-4270-4AD6-8FAF-96DF4463B0E9}"/>
                </a:ext>
              </a:extLst>
            </p:cNvPr>
            <p:cNvSpPr>
              <a:spLocks/>
            </p:cNvSpPr>
            <p:nvPr/>
          </p:nvSpPr>
          <p:spPr bwMode="auto">
            <a:xfrm>
              <a:off x="6149274" y="1704695"/>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49" name="Freeform 76">
              <a:extLst>
                <a:ext uri="{FF2B5EF4-FFF2-40B4-BE49-F238E27FC236}">
                  <a16:creationId xmlns:a16="http://schemas.microsoft.com/office/drawing/2014/main" id="{F782F895-F6AB-454C-917C-971F08EBC776}"/>
                </a:ext>
              </a:extLst>
            </p:cNvPr>
            <p:cNvSpPr>
              <a:spLocks/>
            </p:cNvSpPr>
            <p:nvPr/>
          </p:nvSpPr>
          <p:spPr bwMode="auto">
            <a:xfrm>
              <a:off x="6104197" y="159844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0" name="Freeform 76">
              <a:extLst>
                <a:ext uri="{FF2B5EF4-FFF2-40B4-BE49-F238E27FC236}">
                  <a16:creationId xmlns:a16="http://schemas.microsoft.com/office/drawing/2014/main" id="{5F4D5EB2-0EC6-43E7-8DB3-1DC385CB3DF9}"/>
                </a:ext>
              </a:extLst>
            </p:cNvPr>
            <p:cNvSpPr>
              <a:spLocks/>
            </p:cNvSpPr>
            <p:nvPr/>
          </p:nvSpPr>
          <p:spPr bwMode="auto">
            <a:xfrm>
              <a:off x="6065561" y="1553369"/>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1" name="Freeform 76">
              <a:extLst>
                <a:ext uri="{FF2B5EF4-FFF2-40B4-BE49-F238E27FC236}">
                  <a16:creationId xmlns:a16="http://schemas.microsoft.com/office/drawing/2014/main" id="{EB802DCB-7398-487B-A5CE-6666DD36A9A0}"/>
                </a:ext>
              </a:extLst>
            </p:cNvPr>
            <p:cNvSpPr>
              <a:spLocks/>
            </p:cNvSpPr>
            <p:nvPr/>
          </p:nvSpPr>
          <p:spPr bwMode="auto">
            <a:xfrm>
              <a:off x="6049462" y="1543710"/>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2" name="Freeform 76">
              <a:extLst>
                <a:ext uri="{FF2B5EF4-FFF2-40B4-BE49-F238E27FC236}">
                  <a16:creationId xmlns:a16="http://schemas.microsoft.com/office/drawing/2014/main" id="{5DC6938D-CFB0-44CE-BB0F-5AC89501C568}"/>
                </a:ext>
              </a:extLst>
            </p:cNvPr>
            <p:cNvSpPr>
              <a:spLocks/>
            </p:cNvSpPr>
            <p:nvPr/>
          </p:nvSpPr>
          <p:spPr bwMode="auto">
            <a:xfrm>
              <a:off x="6007606" y="1527611"/>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3" name="Freeform 76">
              <a:extLst>
                <a:ext uri="{FF2B5EF4-FFF2-40B4-BE49-F238E27FC236}">
                  <a16:creationId xmlns:a16="http://schemas.microsoft.com/office/drawing/2014/main" id="{960EA50C-D654-49B9-BC66-48151A23B5DF}"/>
                </a:ext>
              </a:extLst>
            </p:cNvPr>
            <p:cNvSpPr>
              <a:spLocks/>
            </p:cNvSpPr>
            <p:nvPr/>
          </p:nvSpPr>
          <p:spPr bwMode="auto">
            <a:xfrm>
              <a:off x="5733929" y="1398821"/>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4" name="Freeform 76">
              <a:extLst>
                <a:ext uri="{FF2B5EF4-FFF2-40B4-BE49-F238E27FC236}">
                  <a16:creationId xmlns:a16="http://schemas.microsoft.com/office/drawing/2014/main" id="{56790E45-A378-4125-8E0E-A12AF3370728}"/>
                </a:ext>
              </a:extLst>
            </p:cNvPr>
            <p:cNvSpPr>
              <a:spLocks/>
            </p:cNvSpPr>
            <p:nvPr/>
          </p:nvSpPr>
          <p:spPr bwMode="auto">
            <a:xfrm>
              <a:off x="5698513" y="137950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5" name="Freeform 76">
              <a:extLst>
                <a:ext uri="{FF2B5EF4-FFF2-40B4-BE49-F238E27FC236}">
                  <a16:creationId xmlns:a16="http://schemas.microsoft.com/office/drawing/2014/main" id="{5328D43F-370B-4DCE-88EC-CCFBA8340B3D}"/>
                </a:ext>
              </a:extLst>
            </p:cNvPr>
            <p:cNvSpPr>
              <a:spLocks/>
            </p:cNvSpPr>
            <p:nvPr/>
          </p:nvSpPr>
          <p:spPr bwMode="auto">
            <a:xfrm>
              <a:off x="5337903" y="106719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6" name="Freeform 76">
              <a:extLst>
                <a:ext uri="{FF2B5EF4-FFF2-40B4-BE49-F238E27FC236}">
                  <a16:creationId xmlns:a16="http://schemas.microsoft.com/office/drawing/2014/main" id="{2139A313-DBE5-4C82-94C1-586CBDB8B1ED}"/>
                </a:ext>
              </a:extLst>
            </p:cNvPr>
            <p:cNvSpPr>
              <a:spLocks/>
            </p:cNvSpPr>
            <p:nvPr/>
          </p:nvSpPr>
          <p:spPr bwMode="auto">
            <a:xfrm>
              <a:off x="5618019" y="132798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7" name="Freeform 76">
              <a:extLst>
                <a:ext uri="{FF2B5EF4-FFF2-40B4-BE49-F238E27FC236}">
                  <a16:creationId xmlns:a16="http://schemas.microsoft.com/office/drawing/2014/main" id="{BED29D32-8F49-420B-851E-AD7DBD4CEA88}"/>
                </a:ext>
              </a:extLst>
            </p:cNvPr>
            <p:cNvSpPr>
              <a:spLocks/>
            </p:cNvSpPr>
            <p:nvPr/>
          </p:nvSpPr>
          <p:spPr bwMode="auto">
            <a:xfrm>
              <a:off x="5572944" y="1295790"/>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8" name="Freeform 76">
              <a:extLst>
                <a:ext uri="{FF2B5EF4-FFF2-40B4-BE49-F238E27FC236}">
                  <a16:creationId xmlns:a16="http://schemas.microsoft.com/office/drawing/2014/main" id="{BD90031E-9129-4035-96E9-5576B87F37AC}"/>
                </a:ext>
              </a:extLst>
            </p:cNvPr>
            <p:cNvSpPr>
              <a:spLocks/>
            </p:cNvSpPr>
            <p:nvPr/>
          </p:nvSpPr>
          <p:spPr bwMode="auto">
            <a:xfrm>
              <a:off x="5534306" y="1279691"/>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59" name="Freeform 76">
              <a:extLst>
                <a:ext uri="{FF2B5EF4-FFF2-40B4-BE49-F238E27FC236}">
                  <a16:creationId xmlns:a16="http://schemas.microsoft.com/office/drawing/2014/main" id="{6C11C190-FB24-4728-AD82-57DF562B3D5A}"/>
                </a:ext>
              </a:extLst>
            </p:cNvPr>
            <p:cNvSpPr>
              <a:spLocks/>
            </p:cNvSpPr>
            <p:nvPr/>
          </p:nvSpPr>
          <p:spPr bwMode="auto">
            <a:xfrm>
              <a:off x="5366881" y="110582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60" name="Freeform 76">
              <a:extLst>
                <a:ext uri="{FF2B5EF4-FFF2-40B4-BE49-F238E27FC236}">
                  <a16:creationId xmlns:a16="http://schemas.microsoft.com/office/drawing/2014/main" id="{8B45647C-7E9F-4308-8EEC-43E51DFCBEBD}"/>
                </a:ext>
              </a:extLst>
            </p:cNvPr>
            <p:cNvSpPr>
              <a:spLocks/>
            </p:cNvSpPr>
            <p:nvPr/>
          </p:nvSpPr>
          <p:spPr bwMode="auto">
            <a:xfrm>
              <a:off x="5463472" y="121529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61" name="Freeform 76">
              <a:extLst>
                <a:ext uri="{FF2B5EF4-FFF2-40B4-BE49-F238E27FC236}">
                  <a16:creationId xmlns:a16="http://schemas.microsoft.com/office/drawing/2014/main" id="{FC8AE7A3-199B-4A32-91DA-ED182B5D2E8A}"/>
                </a:ext>
              </a:extLst>
            </p:cNvPr>
            <p:cNvSpPr>
              <a:spLocks/>
            </p:cNvSpPr>
            <p:nvPr/>
          </p:nvSpPr>
          <p:spPr bwMode="auto">
            <a:xfrm>
              <a:off x="5286388" y="101889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62" name="Freeform 76">
              <a:extLst>
                <a:ext uri="{FF2B5EF4-FFF2-40B4-BE49-F238E27FC236}">
                  <a16:creationId xmlns:a16="http://schemas.microsoft.com/office/drawing/2014/main" id="{A2E79695-0A1A-41AA-BB17-C9F081871311}"/>
                </a:ext>
              </a:extLst>
            </p:cNvPr>
            <p:cNvSpPr>
              <a:spLocks/>
            </p:cNvSpPr>
            <p:nvPr/>
          </p:nvSpPr>
          <p:spPr bwMode="auto">
            <a:xfrm>
              <a:off x="5415178" y="1150904"/>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63" name="Freeform 76">
              <a:extLst>
                <a:ext uri="{FF2B5EF4-FFF2-40B4-BE49-F238E27FC236}">
                  <a16:creationId xmlns:a16="http://schemas.microsoft.com/office/drawing/2014/main" id="{F3B6EF07-3523-458A-8B5D-D7820DDE6BFC}"/>
                </a:ext>
              </a:extLst>
            </p:cNvPr>
            <p:cNvSpPr>
              <a:spLocks/>
            </p:cNvSpPr>
            <p:nvPr/>
          </p:nvSpPr>
          <p:spPr bwMode="auto">
            <a:xfrm>
              <a:off x="5402299" y="114446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64" name="Freeform 76">
              <a:extLst>
                <a:ext uri="{FF2B5EF4-FFF2-40B4-BE49-F238E27FC236}">
                  <a16:creationId xmlns:a16="http://schemas.microsoft.com/office/drawing/2014/main" id="{69388588-022F-466D-A1E1-063F131805ED}"/>
                </a:ext>
              </a:extLst>
            </p:cNvPr>
            <p:cNvSpPr>
              <a:spLocks/>
            </p:cNvSpPr>
            <p:nvPr/>
          </p:nvSpPr>
          <p:spPr bwMode="auto">
            <a:xfrm>
              <a:off x="5646594" y="1340687"/>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65" name="Freeform 76">
              <a:extLst>
                <a:ext uri="{FF2B5EF4-FFF2-40B4-BE49-F238E27FC236}">
                  <a16:creationId xmlns:a16="http://schemas.microsoft.com/office/drawing/2014/main" id="{793AC0BE-FAF8-4977-ABB4-43F182D8E486}"/>
                </a:ext>
              </a:extLst>
            </p:cNvPr>
            <p:cNvSpPr>
              <a:spLocks/>
            </p:cNvSpPr>
            <p:nvPr/>
          </p:nvSpPr>
          <p:spPr bwMode="auto">
            <a:xfrm>
              <a:off x="5492047" y="124387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66" name="Freeform 76">
              <a:extLst>
                <a:ext uri="{FF2B5EF4-FFF2-40B4-BE49-F238E27FC236}">
                  <a16:creationId xmlns:a16="http://schemas.microsoft.com/office/drawing/2014/main" id="{923F58E2-4B3F-450D-8E7A-3F62B3C53AB0}"/>
                </a:ext>
              </a:extLst>
            </p:cNvPr>
            <p:cNvSpPr>
              <a:spLocks/>
            </p:cNvSpPr>
            <p:nvPr/>
          </p:nvSpPr>
          <p:spPr bwMode="auto">
            <a:xfrm>
              <a:off x="5322028" y="1054492"/>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67" name="Freeform 76">
              <a:extLst>
                <a:ext uri="{FF2B5EF4-FFF2-40B4-BE49-F238E27FC236}">
                  <a16:creationId xmlns:a16="http://schemas.microsoft.com/office/drawing/2014/main" id="{DF1E10FA-1685-49DF-888D-6012D5FE208F}"/>
                </a:ext>
              </a:extLst>
            </p:cNvPr>
            <p:cNvSpPr>
              <a:spLocks/>
            </p:cNvSpPr>
            <p:nvPr/>
          </p:nvSpPr>
          <p:spPr bwMode="auto">
            <a:xfrm>
              <a:off x="6239515" y="1830443"/>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sp>
          <p:nvSpPr>
            <p:cNvPr id="768" name="Freeform 76">
              <a:extLst>
                <a:ext uri="{FF2B5EF4-FFF2-40B4-BE49-F238E27FC236}">
                  <a16:creationId xmlns:a16="http://schemas.microsoft.com/office/drawing/2014/main" id="{37E49C3F-86AD-4FC1-81B9-8E7B2E0DF0FB}"/>
                </a:ext>
              </a:extLst>
            </p:cNvPr>
            <p:cNvSpPr>
              <a:spLocks/>
            </p:cNvSpPr>
            <p:nvPr/>
          </p:nvSpPr>
          <p:spPr bwMode="auto">
            <a:xfrm>
              <a:off x="5515256" y="1257466"/>
              <a:ext cx="46028" cy="46028"/>
            </a:xfrm>
            <a:prstGeom prst="ellipse">
              <a:avLst/>
            </a:prstGeom>
            <a:grpFill/>
            <a:ln w="12700">
              <a:solidFill>
                <a:srgbClr val="E46C0A"/>
              </a:solidFill>
              <a:prstDash val="solid"/>
              <a:round/>
              <a:headEnd/>
              <a:tailEnd/>
            </a:ln>
          </p:spPr>
          <p:txBody>
            <a:bodyPr lIns="91440" tIns="45720" rIns="91440" bIns="45720"/>
            <a:lstStyle/>
            <a:p>
              <a:pPr defTabSz="457178">
                <a:defRPr/>
              </a:pPr>
              <a:endParaRPr lang="en-US" sz="900">
                <a:solidFill>
                  <a:prstClr val="black"/>
                </a:solidFill>
                <a:latin typeface="Calibri"/>
                <a:ea typeface="Geneva" charset="0"/>
              </a:endParaRPr>
            </a:p>
          </p:txBody>
        </p:sp>
      </p:grpSp>
    </p:spTree>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a:extLst>
              <a:ext uri="{FF2B5EF4-FFF2-40B4-BE49-F238E27FC236}">
                <a16:creationId xmlns:a16="http://schemas.microsoft.com/office/drawing/2014/main" id="{E9C452F9-B2B3-42E0-8E83-740ADFA22416}"/>
              </a:ext>
            </a:extLst>
          </p:cNvPr>
          <p:cNvSpPr txBox="1">
            <a:spLocks/>
          </p:cNvSpPr>
          <p:nvPr/>
        </p:nvSpPr>
        <p:spPr bwMode="auto">
          <a:xfrm>
            <a:off x="600859" y="3771900"/>
            <a:ext cx="8010794" cy="850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257175" marR="0" lvl="0" indent="-257175" algn="l" defTabSz="685800" rtl="0" eaLnBrk="1" fontAlgn="base" latinLnBrk="0" hangingPunct="1">
              <a:lnSpc>
                <a:spcPct val="90000"/>
              </a:lnSpc>
              <a:spcBef>
                <a:spcPts val="750"/>
              </a:spcBef>
              <a:spcAft>
                <a:spcPts val="525"/>
              </a:spcAft>
              <a:buClr>
                <a:srgbClr val="000000"/>
              </a:buClr>
              <a:buSzTx/>
              <a:buFont typeface="Arial" panose="020B0604020202020204" pitchFamily="34" charset="0"/>
              <a:buChar char="•"/>
              <a:tabLst/>
              <a:defRPr/>
            </a:pPr>
            <a:r>
              <a:rPr kumimoji="0" lang="en-US" alt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rPr>
              <a:t>Primary endpoint: PFS</a:t>
            </a:r>
          </a:p>
          <a:p>
            <a:pPr marL="257175" marR="0" lvl="0" indent="-257175" algn="l" defTabSz="685800" rtl="0" eaLnBrk="1" fontAlgn="base" latinLnBrk="0" hangingPunct="1">
              <a:lnSpc>
                <a:spcPct val="90000"/>
              </a:lnSpc>
              <a:spcBef>
                <a:spcPts val="750"/>
              </a:spcBef>
              <a:spcAft>
                <a:spcPts val="525"/>
              </a:spcAft>
              <a:buClr>
                <a:srgbClr val="000000"/>
              </a:buClr>
              <a:buSzTx/>
              <a:buFont typeface="Arial" panose="020B0604020202020204" pitchFamily="34" charset="0"/>
              <a:buChar char="•"/>
              <a:tabLst/>
              <a:defRPr/>
            </a:pPr>
            <a:r>
              <a:rPr kumimoji="0" lang="en-US" alt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rPr>
              <a:t>Secondary endpoints: TTP, CR/sCR, MRD by NGS (10</a:t>
            </a:r>
            <a:r>
              <a:rPr kumimoji="0" lang="en-US" altLang="en-US" sz="1800" b="0" i="0" u="none" strike="noStrike" kern="0" cap="none" spc="0" normalizeH="0" baseline="30000" noProof="0">
                <a:ln>
                  <a:noFill/>
                </a:ln>
                <a:solidFill>
                  <a:srgbClr val="000000"/>
                </a:solidFill>
                <a:effectLst/>
                <a:uLnTx/>
                <a:uFillTx/>
                <a:latin typeface="Calibri" panose="020F0502020204030204" pitchFamily="34" charset="0"/>
                <a:ea typeface="+mn-ea"/>
                <a:cs typeface="+mn-cs"/>
              </a:rPr>
              <a:t>-5</a:t>
            </a:r>
            <a:r>
              <a:rPr kumimoji="0" lang="en-US" alt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rPr>
              <a:t>), PFS2, OS, ORR, safety</a:t>
            </a:r>
          </a:p>
        </p:txBody>
      </p:sp>
      <p:sp>
        <p:nvSpPr>
          <p:cNvPr id="4" name="Rectangle 2">
            <a:extLst>
              <a:ext uri="{FF2B5EF4-FFF2-40B4-BE49-F238E27FC236}">
                <a16:creationId xmlns:a16="http://schemas.microsoft.com/office/drawing/2014/main" id="{282C3E16-79AD-4E44-9AC2-3AF8EBDB8D88}"/>
              </a:ext>
            </a:extLst>
          </p:cNvPr>
          <p:cNvSpPr txBox="1">
            <a:spLocks noChangeArrowheads="1"/>
          </p:cNvSpPr>
          <p:nvPr/>
        </p:nvSpPr>
        <p:spPr bwMode="auto">
          <a:xfrm>
            <a:off x="622981" y="59031"/>
            <a:ext cx="8154333" cy="827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MAIA</a:t>
            </a:r>
            <a:r>
              <a:rPr kumimoji="0" lang="en-US" altLang="en-US" sz="30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 Study Design</a:t>
            </a:r>
          </a:p>
        </p:txBody>
      </p:sp>
      <p:sp>
        <p:nvSpPr>
          <p:cNvPr id="5" name="Content Placeholder 5">
            <a:extLst>
              <a:ext uri="{FF2B5EF4-FFF2-40B4-BE49-F238E27FC236}">
                <a16:creationId xmlns:a16="http://schemas.microsoft.com/office/drawing/2014/main" id="{E7CD1047-D3D4-446C-A1AA-F16D0E227DA7}"/>
              </a:ext>
            </a:extLst>
          </p:cNvPr>
          <p:cNvSpPr txBox="1">
            <a:spLocks/>
          </p:cNvSpPr>
          <p:nvPr/>
        </p:nvSpPr>
        <p:spPr bwMode="auto">
          <a:xfrm>
            <a:off x="612395" y="967319"/>
            <a:ext cx="8158147" cy="3352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257175" marR="0" lvl="0" indent="-257175" algn="l" defTabSz="685800" rtl="0" eaLnBrk="1" fontAlgn="base" latinLnBrk="0" hangingPunct="1">
              <a:lnSpc>
                <a:spcPct val="90000"/>
              </a:lnSpc>
              <a:spcBef>
                <a:spcPts val="750"/>
              </a:spcBef>
              <a:spcAft>
                <a:spcPts val="525"/>
              </a:spcAft>
              <a:buClr>
                <a:srgbClr val="000000"/>
              </a:buClr>
              <a:buSzTx/>
              <a:buFont typeface="Arial" panose="020B0604020202020204" pitchFamily="34" charset="0"/>
              <a:buChar char="•"/>
              <a:tabLst/>
              <a:defRPr/>
            </a:pPr>
            <a:r>
              <a:rPr kumimoji="0" lang="en-US" alt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rPr>
              <a:t>Multicenter, open-label, randomized phase III trial</a:t>
            </a:r>
          </a:p>
          <a:p>
            <a:pPr marL="257175" marR="0" lvl="0" indent="-257175" algn="l" defTabSz="685800" rtl="0" eaLnBrk="1" fontAlgn="base" latinLnBrk="0" hangingPunct="1">
              <a:lnSpc>
                <a:spcPct val="90000"/>
              </a:lnSpc>
              <a:spcBef>
                <a:spcPts val="750"/>
              </a:spcBef>
              <a:spcAft>
                <a:spcPts val="525"/>
              </a:spcAft>
              <a:buClr>
                <a:srgbClr val="000000"/>
              </a:buClr>
              <a:buSzTx/>
              <a:buFont typeface="Wingdings" panose="05000000000000000000" pitchFamily="2" charset="2"/>
              <a:buChar char="§"/>
              <a:tabLst/>
              <a:defRPr/>
            </a:pPr>
            <a:endParaRPr kumimoji="0" lang="en-US" alt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endParaRPr>
          </a:p>
          <a:p>
            <a:pPr marL="257175" marR="0" lvl="0" indent="-257175" algn="l" defTabSz="685800" rtl="0" eaLnBrk="1" fontAlgn="base" latinLnBrk="0" hangingPunct="1">
              <a:lnSpc>
                <a:spcPct val="90000"/>
              </a:lnSpc>
              <a:spcBef>
                <a:spcPts val="750"/>
              </a:spcBef>
              <a:spcAft>
                <a:spcPts val="525"/>
              </a:spcAft>
              <a:buClr>
                <a:srgbClr val="000000"/>
              </a:buClr>
              <a:buSzTx/>
              <a:buFont typeface="Wingdings" panose="05000000000000000000" pitchFamily="2" charset="2"/>
              <a:buChar char="§"/>
              <a:tabLst/>
              <a:defRPr/>
            </a:pPr>
            <a:endParaRPr kumimoji="0" 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 name="Text Box 45">
            <a:extLst>
              <a:ext uri="{FF2B5EF4-FFF2-40B4-BE49-F238E27FC236}">
                <a16:creationId xmlns:a16="http://schemas.microsoft.com/office/drawing/2014/main" id="{D67A321F-A310-4FE6-A436-F43FE2A15219}"/>
              </a:ext>
            </a:extLst>
          </p:cNvPr>
          <p:cNvSpPr txBox="1">
            <a:spLocks noChangeArrowheads="1"/>
          </p:cNvSpPr>
          <p:nvPr/>
        </p:nvSpPr>
        <p:spPr bwMode="auto">
          <a:xfrm>
            <a:off x="376084" y="2051366"/>
            <a:ext cx="1754113" cy="11310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35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Patients with </a:t>
            </a:r>
          </a:p>
          <a:p>
            <a:pPr marL="0" marR="0" lvl="0" indent="0" algn="ctr" defTabSz="6858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35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ASCT-ineligible NDMM, ECOG PS 0-2, </a:t>
            </a:r>
          </a:p>
          <a:p>
            <a:pPr marL="0" marR="0" lvl="0" indent="0" algn="ctr" defTabSz="6858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35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CrCl ≥30 mL/min</a:t>
            </a:r>
          </a:p>
          <a:p>
            <a:pPr marL="0" marR="0" lvl="0" indent="0" algn="ctr" defTabSz="6858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35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N = 737)</a:t>
            </a:r>
            <a:endParaRPr kumimoji="0" lang="en-US" altLang="en-US" sz="135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0" name="Rectangle 49">
            <a:extLst>
              <a:ext uri="{FF2B5EF4-FFF2-40B4-BE49-F238E27FC236}">
                <a16:creationId xmlns:a16="http://schemas.microsoft.com/office/drawing/2014/main" id="{340E05BE-817F-463B-A7FE-653219A09EB2}"/>
              </a:ext>
            </a:extLst>
          </p:cNvPr>
          <p:cNvSpPr>
            <a:spLocks noChangeArrowheads="1"/>
          </p:cNvSpPr>
          <p:nvPr/>
        </p:nvSpPr>
        <p:spPr bwMode="auto">
          <a:xfrm>
            <a:off x="2718024" y="1999018"/>
            <a:ext cx="3771988" cy="582298"/>
          </a:xfrm>
          <a:prstGeom prst="rect">
            <a:avLst/>
          </a:prstGeom>
          <a:solidFill>
            <a:srgbClr val="01587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350" b="1"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Daratumumab + Lenalidomide</a:t>
            </a:r>
            <a:r>
              <a:rPr kumimoji="0" lang="en-US" altLang="en-US" sz="1350" b="0"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 </a:t>
            </a:r>
            <a:r>
              <a:rPr kumimoji="0" lang="en-US" altLang="en-US" sz="1350" b="1"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 Dexamethasone</a:t>
            </a:r>
            <a:r>
              <a:rPr kumimoji="0" lang="en-US" altLang="en-US" sz="1350" b="0"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 </a:t>
            </a:r>
          </a:p>
          <a:p>
            <a:pPr marL="0" marR="0" lvl="0" indent="0" algn="ctr" defTabSz="6858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350" b="0"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n = 368)</a:t>
            </a:r>
          </a:p>
        </p:txBody>
      </p:sp>
      <p:sp>
        <p:nvSpPr>
          <p:cNvPr id="11" name="Rectangle 50">
            <a:extLst>
              <a:ext uri="{FF2B5EF4-FFF2-40B4-BE49-F238E27FC236}">
                <a16:creationId xmlns:a16="http://schemas.microsoft.com/office/drawing/2014/main" id="{4808B274-DEB1-4F2A-82A2-9D2D664666C0}"/>
              </a:ext>
            </a:extLst>
          </p:cNvPr>
          <p:cNvSpPr>
            <a:spLocks noChangeArrowheads="1"/>
          </p:cNvSpPr>
          <p:nvPr/>
        </p:nvSpPr>
        <p:spPr bwMode="auto">
          <a:xfrm>
            <a:off x="2717654" y="2623768"/>
            <a:ext cx="3771988" cy="582930"/>
          </a:xfrm>
          <a:prstGeom prst="rect">
            <a:avLst/>
          </a:prstGeom>
          <a:solidFill>
            <a:srgbClr val="E1471D"/>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350" b="1"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Lenalidomide</a:t>
            </a:r>
            <a:r>
              <a:rPr kumimoji="0" lang="en-US" altLang="en-US" sz="1350" b="0"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 </a:t>
            </a:r>
            <a:r>
              <a:rPr kumimoji="0" lang="en-US" altLang="en-US" sz="1350" b="1"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 Dexamethasone</a:t>
            </a:r>
            <a:endParaRPr kumimoji="0" lang="en-US" altLang="en-US" sz="1350" b="0"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a:p>
            <a:pPr marL="0" marR="0" lvl="0" indent="0" algn="ctr" defTabSz="6858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350" b="0" i="0" u="none" strike="noStrike" kern="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t>(n = 369)</a:t>
            </a:r>
          </a:p>
        </p:txBody>
      </p:sp>
      <p:sp>
        <p:nvSpPr>
          <p:cNvPr id="12" name="Line 52">
            <a:extLst>
              <a:ext uri="{FF2B5EF4-FFF2-40B4-BE49-F238E27FC236}">
                <a16:creationId xmlns:a16="http://schemas.microsoft.com/office/drawing/2014/main" id="{77A28A35-4894-45C8-8B71-271DE648B3FA}"/>
              </a:ext>
            </a:extLst>
          </p:cNvPr>
          <p:cNvSpPr>
            <a:spLocks noChangeShapeType="1"/>
          </p:cNvSpPr>
          <p:nvPr/>
        </p:nvSpPr>
        <p:spPr bwMode="auto">
          <a:xfrm>
            <a:off x="6584971" y="2605364"/>
            <a:ext cx="342900" cy="0"/>
          </a:xfrm>
          <a:prstGeom prst="line">
            <a:avLst/>
          </a:prstGeom>
          <a:noFill/>
          <a:ln w="28575">
            <a:solidFill>
              <a:srgbClr val="000000"/>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3" name="Line 53">
            <a:extLst>
              <a:ext uri="{FF2B5EF4-FFF2-40B4-BE49-F238E27FC236}">
                <a16:creationId xmlns:a16="http://schemas.microsoft.com/office/drawing/2014/main" id="{2C97ECFE-2A2E-43C8-94C6-7E0E7577481B}"/>
              </a:ext>
            </a:extLst>
          </p:cNvPr>
          <p:cNvSpPr>
            <a:spLocks noChangeShapeType="1"/>
          </p:cNvSpPr>
          <p:nvPr/>
        </p:nvSpPr>
        <p:spPr bwMode="auto">
          <a:xfrm>
            <a:off x="2146302" y="2662689"/>
            <a:ext cx="466725" cy="263128"/>
          </a:xfrm>
          <a:prstGeom prst="line">
            <a:avLst/>
          </a:prstGeom>
          <a:noFill/>
          <a:ln w="28575">
            <a:solidFill>
              <a:srgbClr val="000000"/>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4" name="Line 54">
            <a:extLst>
              <a:ext uri="{FF2B5EF4-FFF2-40B4-BE49-F238E27FC236}">
                <a16:creationId xmlns:a16="http://schemas.microsoft.com/office/drawing/2014/main" id="{DAC910E6-7186-415C-9720-2DFCFE1272C5}"/>
              </a:ext>
            </a:extLst>
          </p:cNvPr>
          <p:cNvSpPr>
            <a:spLocks noChangeShapeType="1"/>
          </p:cNvSpPr>
          <p:nvPr/>
        </p:nvSpPr>
        <p:spPr bwMode="auto">
          <a:xfrm flipV="1">
            <a:off x="2146302" y="2294285"/>
            <a:ext cx="466725" cy="260747"/>
          </a:xfrm>
          <a:prstGeom prst="line">
            <a:avLst/>
          </a:prstGeom>
          <a:noFill/>
          <a:ln w="28575">
            <a:solidFill>
              <a:srgbClr val="000000"/>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5" name="TextBox 14">
            <a:extLst>
              <a:ext uri="{FF2B5EF4-FFF2-40B4-BE49-F238E27FC236}">
                <a16:creationId xmlns:a16="http://schemas.microsoft.com/office/drawing/2014/main" id="{1E5C497E-1DF6-495E-ABED-52F94A6A140A}"/>
              </a:ext>
            </a:extLst>
          </p:cNvPr>
          <p:cNvSpPr txBox="1"/>
          <p:nvPr/>
        </p:nvSpPr>
        <p:spPr bwMode="auto">
          <a:xfrm>
            <a:off x="1519061" y="1509651"/>
            <a:ext cx="2955291"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a:ea typeface="+mn-ea"/>
                <a:cs typeface="Arial" panose="020B0604020202020204" pitchFamily="34" charset="0"/>
              </a:rPr>
              <a:t>Stratified by ISS (I vs II vs III), region (North America vs other), age (&lt; vs ≥75 yr) </a:t>
            </a:r>
          </a:p>
        </p:txBody>
      </p:sp>
      <p:sp>
        <p:nvSpPr>
          <p:cNvPr id="16" name="TextBox 15">
            <a:extLst>
              <a:ext uri="{FF2B5EF4-FFF2-40B4-BE49-F238E27FC236}">
                <a16:creationId xmlns:a16="http://schemas.microsoft.com/office/drawing/2014/main" id="{50F4A7A6-B9A5-418F-B671-815066257006}"/>
              </a:ext>
            </a:extLst>
          </p:cNvPr>
          <p:cNvSpPr txBox="1"/>
          <p:nvPr/>
        </p:nvSpPr>
        <p:spPr bwMode="auto">
          <a:xfrm>
            <a:off x="6914228" y="2152964"/>
            <a:ext cx="1632873"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1" u="none" strike="noStrike" kern="1200" cap="none" spc="0" normalizeH="0" baseline="0" noProof="0">
                <a:ln>
                  <a:noFill/>
                </a:ln>
                <a:solidFill>
                  <a:srgbClr val="000000"/>
                </a:solidFill>
                <a:effectLst/>
                <a:uLnTx/>
                <a:uFillTx/>
                <a:latin typeface="Calibri"/>
                <a:ea typeface="+mn-ea"/>
                <a:cs typeface="Arial" panose="020B0604020202020204" pitchFamily="34" charset="0"/>
              </a:rPr>
              <a:t>28-day cycles until disease progression or unacceptable toxicity</a:t>
            </a:r>
          </a:p>
        </p:txBody>
      </p:sp>
      <p:sp>
        <p:nvSpPr>
          <p:cNvPr id="17" name="TextBox 16">
            <a:extLst>
              <a:ext uri="{FF2B5EF4-FFF2-40B4-BE49-F238E27FC236}">
                <a16:creationId xmlns:a16="http://schemas.microsoft.com/office/drawing/2014/main" id="{7B7BB0F3-F02B-4ADA-87BF-DED105452C31}"/>
              </a:ext>
            </a:extLst>
          </p:cNvPr>
          <p:cNvSpPr txBox="1"/>
          <p:nvPr/>
        </p:nvSpPr>
        <p:spPr bwMode="auto">
          <a:xfrm>
            <a:off x="2714107" y="3220534"/>
            <a:ext cx="5451994"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ts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Dosing: daratumumab, 16 mg/kg IV (QW cycles 1-2, Q2W cycles 3-6, Q4W cycle 7+); lenalidomide, 25 mg QD PO on days 1-21; dexamethasone 40 mg QW PO or IV</a:t>
            </a:r>
          </a:p>
        </p:txBody>
      </p:sp>
      <p:sp>
        <p:nvSpPr>
          <p:cNvPr id="18" name="Line 52">
            <a:extLst>
              <a:ext uri="{FF2B5EF4-FFF2-40B4-BE49-F238E27FC236}">
                <a16:creationId xmlns:a16="http://schemas.microsoft.com/office/drawing/2014/main" id="{81D6CA23-EFF6-4ABB-A93D-DA1C989103E6}"/>
              </a:ext>
            </a:extLst>
          </p:cNvPr>
          <p:cNvSpPr>
            <a:spLocks noChangeShapeType="1"/>
          </p:cNvSpPr>
          <p:nvPr/>
        </p:nvSpPr>
        <p:spPr bwMode="auto">
          <a:xfrm rot="5400000">
            <a:off x="2143851" y="2145501"/>
            <a:ext cx="359569" cy="0"/>
          </a:xfrm>
          <a:prstGeom prst="line">
            <a:avLst/>
          </a:prstGeom>
          <a:noFill/>
          <a:ln w="28575">
            <a:solidFill>
              <a:srgbClr val="000000"/>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9" name="Text Box 15">
            <a:extLst>
              <a:ext uri="{FF2B5EF4-FFF2-40B4-BE49-F238E27FC236}">
                <a16:creationId xmlns:a16="http://schemas.microsoft.com/office/drawing/2014/main" id="{63520769-58C7-4EEC-A4CF-5C99346B0DCA}"/>
              </a:ext>
            </a:extLst>
          </p:cNvPr>
          <p:cNvSpPr txBox="1">
            <a:spLocks noChangeArrowheads="1"/>
          </p:cNvSpPr>
          <p:nvPr/>
        </p:nvSpPr>
        <p:spPr bwMode="auto">
          <a:xfrm>
            <a:off x="0" y="4904672"/>
            <a:ext cx="3771900" cy="230832"/>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da-DK" altLang="en-US" sz="900" b="0" i="0" u="none" strike="noStrike" kern="1200" cap="none" spc="-8"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Kumar SK, et al. </a:t>
            </a:r>
            <a:r>
              <a:rPr kumimoji="0" lang="en-US" altLang="en-US" sz="900" b="0" i="0" u="none" strike="noStrike" kern="1200" cap="none" spc="-8"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ASH 2020. Abstract 2276. Reproduced with permission.</a:t>
            </a:r>
            <a:endParaRPr kumimoji="0" lang="de-DE" altLang="en-US" sz="900" b="0" i="0" u="none" strike="noStrike" kern="1200" cap="none" spc="-8"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92470396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377D9-9D0B-481C-93D4-E13C0823FEDF}"/>
              </a:ext>
            </a:extLst>
          </p:cNvPr>
          <p:cNvSpPr txBox="1">
            <a:spLocks/>
          </p:cNvSpPr>
          <p:nvPr/>
        </p:nvSpPr>
        <p:spPr bwMode="auto">
          <a:xfrm>
            <a:off x="622982" y="60298"/>
            <a:ext cx="8154333" cy="827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30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MAIA</a:t>
            </a:r>
            <a:r>
              <a:rPr kumimoji="0" lang="en-US" sz="30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 ORR </a:t>
            </a:r>
            <a:br>
              <a:rPr kumimoji="0" lang="en-US" sz="33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br>
            <a:r>
              <a:rPr kumimoji="0" lang="en-US" sz="21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ITT population</a:t>
            </a:r>
            <a:endParaRPr kumimoji="0" lang="en-US" sz="33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endParaRPr>
          </a:p>
        </p:txBody>
      </p:sp>
      <p:sp>
        <p:nvSpPr>
          <p:cNvPr id="3" name="Content Placeholder 7">
            <a:extLst>
              <a:ext uri="{FF2B5EF4-FFF2-40B4-BE49-F238E27FC236}">
                <a16:creationId xmlns:a16="http://schemas.microsoft.com/office/drawing/2014/main" id="{BC7B4BC7-2EFF-4F90-8DA4-06C493E2BC85}"/>
              </a:ext>
            </a:extLst>
          </p:cNvPr>
          <p:cNvSpPr txBox="1">
            <a:spLocks/>
          </p:cNvSpPr>
          <p:nvPr/>
        </p:nvSpPr>
        <p:spPr bwMode="auto">
          <a:xfrm>
            <a:off x="6661260" y="1119438"/>
            <a:ext cx="2316955" cy="34880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257175" marR="0" lvl="0" indent="-257175" algn="l" defTabSz="685800" rtl="0" eaLnBrk="1" fontAlgn="base" latinLnBrk="0" hangingPunct="1">
              <a:lnSpc>
                <a:spcPct val="90000"/>
              </a:lnSpc>
              <a:spcBef>
                <a:spcPts val="750"/>
              </a:spcBef>
              <a:spcAft>
                <a:spcPts val="525"/>
              </a:spcAft>
              <a:buClr>
                <a:srgbClr val="000000"/>
              </a:buClr>
              <a:buSzTx/>
              <a:buFont typeface="Arial"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rPr>
              <a:t>Rates of ≥CR and ≥VGPR higher, responses deeper with D-Rd vs Rd</a:t>
            </a:r>
          </a:p>
          <a:p>
            <a:pPr marL="257175" marR="0" lvl="0" indent="-257175" algn="l" defTabSz="685800" rtl="0" eaLnBrk="1" fontAlgn="base" latinLnBrk="0" hangingPunct="1">
              <a:lnSpc>
                <a:spcPct val="90000"/>
              </a:lnSpc>
              <a:spcBef>
                <a:spcPts val="750"/>
              </a:spcBef>
              <a:spcAft>
                <a:spcPts val="525"/>
              </a:spcAft>
              <a:buClr>
                <a:srgbClr val="000000"/>
              </a:buClr>
              <a:buSzTx/>
              <a:buFont typeface="Arial" panose="020B0604020202020204" pitchFamily="34" charset="0"/>
              <a:buChar char="•"/>
              <a:tabLst/>
              <a:defRPr/>
            </a:pPr>
            <a:r>
              <a:rPr kumimoji="0" 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rPr>
              <a:t>Median DOR: NR with D-Rd vs </a:t>
            </a:r>
            <a:br>
              <a:rPr kumimoji="0" 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rPr>
            </a:br>
            <a:r>
              <a:rPr kumimoji="0" lang="en-US" sz="1800" b="0" i="0" u="none" strike="noStrike" kern="0" cap="none" spc="0" normalizeH="0" baseline="0" noProof="0">
                <a:ln>
                  <a:noFill/>
                </a:ln>
                <a:solidFill>
                  <a:srgbClr val="000000"/>
                </a:solidFill>
                <a:effectLst/>
                <a:uLnTx/>
                <a:uFillTx/>
                <a:latin typeface="Calibri" panose="020F0502020204030204" pitchFamily="34" charset="0"/>
                <a:ea typeface="+mn-ea"/>
                <a:cs typeface="+mn-cs"/>
              </a:rPr>
              <a:t>44.3 mo with Rd</a:t>
            </a:r>
          </a:p>
        </p:txBody>
      </p:sp>
      <p:sp>
        <p:nvSpPr>
          <p:cNvPr id="7" name="TextBox 6">
            <a:extLst>
              <a:ext uri="{FF2B5EF4-FFF2-40B4-BE49-F238E27FC236}">
                <a16:creationId xmlns:a16="http://schemas.microsoft.com/office/drawing/2014/main" id="{5FE202D5-0D25-4222-8D09-75A0304A0555}"/>
              </a:ext>
            </a:extLst>
          </p:cNvPr>
          <p:cNvSpPr txBox="1"/>
          <p:nvPr/>
        </p:nvSpPr>
        <p:spPr bwMode="auto">
          <a:xfrm rot="16200000">
            <a:off x="-24363" y="2741178"/>
            <a:ext cx="1056026"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RR (%)</a:t>
            </a:r>
          </a:p>
        </p:txBody>
      </p:sp>
      <p:grpSp>
        <p:nvGrpSpPr>
          <p:cNvPr id="8" name="Group 7">
            <a:extLst>
              <a:ext uri="{FF2B5EF4-FFF2-40B4-BE49-F238E27FC236}">
                <a16:creationId xmlns:a16="http://schemas.microsoft.com/office/drawing/2014/main" id="{B45CAB42-C851-4EEF-9175-4C1639C8F45F}"/>
              </a:ext>
            </a:extLst>
          </p:cNvPr>
          <p:cNvGrpSpPr/>
          <p:nvPr/>
        </p:nvGrpSpPr>
        <p:grpSpPr>
          <a:xfrm>
            <a:off x="943045" y="1769172"/>
            <a:ext cx="72936" cy="2267459"/>
            <a:chOff x="1770529" y="1757703"/>
            <a:chExt cx="94130" cy="3557986"/>
          </a:xfrm>
        </p:grpSpPr>
        <p:cxnSp>
          <p:nvCxnSpPr>
            <p:cNvPr id="9" name="Straight Connector 8">
              <a:extLst>
                <a:ext uri="{FF2B5EF4-FFF2-40B4-BE49-F238E27FC236}">
                  <a16:creationId xmlns:a16="http://schemas.microsoft.com/office/drawing/2014/main" id="{7AED9731-F859-4B2C-99B0-D30E60A5A958}"/>
                </a:ext>
              </a:extLst>
            </p:cNvPr>
            <p:cNvCxnSpPr>
              <a:cxnSpLocks/>
            </p:cNvCxnSpPr>
            <p:nvPr/>
          </p:nvCxnSpPr>
          <p:spPr bwMode="auto">
            <a:xfrm>
              <a:off x="1770529" y="1757703"/>
              <a:ext cx="94130" cy="0"/>
            </a:xfrm>
            <a:prstGeom prst="line">
              <a:avLst/>
            </a:prstGeom>
            <a:noFill/>
            <a:ln w="28575" cap="flat" cmpd="sng" algn="ctr">
              <a:solidFill>
                <a:srgbClr val="000000"/>
              </a:solidFill>
              <a:prstDash val="solid"/>
              <a:round/>
              <a:headEnd type="none" w="med" len="med"/>
              <a:tailEnd type="none" w="med" len="med"/>
            </a:ln>
            <a:effectLst/>
          </p:spPr>
        </p:cxnSp>
        <p:cxnSp>
          <p:nvCxnSpPr>
            <p:cNvPr id="10" name="Straight Connector 9">
              <a:extLst>
                <a:ext uri="{FF2B5EF4-FFF2-40B4-BE49-F238E27FC236}">
                  <a16:creationId xmlns:a16="http://schemas.microsoft.com/office/drawing/2014/main" id="{6DBA057D-5E9C-484C-BEAD-368C688E73B7}"/>
                </a:ext>
              </a:extLst>
            </p:cNvPr>
            <p:cNvCxnSpPr>
              <a:cxnSpLocks/>
            </p:cNvCxnSpPr>
            <p:nvPr/>
          </p:nvCxnSpPr>
          <p:spPr bwMode="auto">
            <a:xfrm>
              <a:off x="1770529" y="3180897"/>
              <a:ext cx="94130" cy="0"/>
            </a:xfrm>
            <a:prstGeom prst="line">
              <a:avLst/>
            </a:prstGeom>
            <a:noFill/>
            <a:ln w="28575" cap="flat" cmpd="sng" algn="ctr">
              <a:solidFill>
                <a:srgbClr val="000000"/>
              </a:solidFill>
              <a:prstDash val="solid"/>
              <a:round/>
              <a:headEnd type="none" w="med" len="med"/>
              <a:tailEnd type="none" w="med" len="med"/>
            </a:ln>
            <a:effectLst/>
          </p:spPr>
        </p:cxnSp>
        <p:cxnSp>
          <p:nvCxnSpPr>
            <p:cNvPr id="11" name="Straight Connector 10">
              <a:extLst>
                <a:ext uri="{FF2B5EF4-FFF2-40B4-BE49-F238E27FC236}">
                  <a16:creationId xmlns:a16="http://schemas.microsoft.com/office/drawing/2014/main" id="{D41360AF-8C98-4C2A-A1B5-1DC77C910FD6}"/>
                </a:ext>
              </a:extLst>
            </p:cNvPr>
            <p:cNvCxnSpPr>
              <a:cxnSpLocks/>
            </p:cNvCxnSpPr>
            <p:nvPr/>
          </p:nvCxnSpPr>
          <p:spPr bwMode="auto">
            <a:xfrm>
              <a:off x="1770529" y="2469300"/>
              <a:ext cx="94130" cy="0"/>
            </a:xfrm>
            <a:prstGeom prst="line">
              <a:avLst/>
            </a:prstGeom>
            <a:noFill/>
            <a:ln w="28575" cap="flat" cmpd="sng" algn="ctr">
              <a:solidFill>
                <a:srgbClr val="000000"/>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5BDD07FF-0140-419A-8720-6D338F84F3A1}"/>
                </a:ext>
              </a:extLst>
            </p:cNvPr>
            <p:cNvCxnSpPr>
              <a:cxnSpLocks/>
            </p:cNvCxnSpPr>
            <p:nvPr/>
          </p:nvCxnSpPr>
          <p:spPr bwMode="auto">
            <a:xfrm>
              <a:off x="1770529" y="3892494"/>
              <a:ext cx="94130" cy="0"/>
            </a:xfrm>
            <a:prstGeom prst="line">
              <a:avLst/>
            </a:prstGeom>
            <a:noFill/>
            <a:ln w="28575" cap="flat" cmpd="sng" algn="ctr">
              <a:solidFill>
                <a:srgbClr val="000000"/>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7070A9B8-D570-44D8-ACF2-C5116D183763}"/>
                </a:ext>
              </a:extLst>
            </p:cNvPr>
            <p:cNvCxnSpPr>
              <a:cxnSpLocks/>
            </p:cNvCxnSpPr>
            <p:nvPr/>
          </p:nvCxnSpPr>
          <p:spPr bwMode="auto">
            <a:xfrm>
              <a:off x="1770529" y="4604091"/>
              <a:ext cx="94130" cy="0"/>
            </a:xfrm>
            <a:prstGeom prst="line">
              <a:avLst/>
            </a:prstGeom>
            <a:noFill/>
            <a:ln w="28575" cap="flat" cmpd="sng" algn="ctr">
              <a:solidFill>
                <a:srgbClr val="000000"/>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61B7C1DC-3348-4125-BAA6-C5F43D07F0E7}"/>
                </a:ext>
              </a:extLst>
            </p:cNvPr>
            <p:cNvCxnSpPr>
              <a:cxnSpLocks/>
            </p:cNvCxnSpPr>
            <p:nvPr/>
          </p:nvCxnSpPr>
          <p:spPr bwMode="auto">
            <a:xfrm>
              <a:off x="1770529" y="5315689"/>
              <a:ext cx="9413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99057728-0EDE-4EAE-A408-48DD8746C1CA}"/>
              </a:ext>
            </a:extLst>
          </p:cNvPr>
          <p:cNvGrpSpPr/>
          <p:nvPr/>
        </p:nvGrpSpPr>
        <p:grpSpPr>
          <a:xfrm rot="5400000">
            <a:off x="3162181" y="1887895"/>
            <a:ext cx="72482" cy="4369958"/>
            <a:chOff x="1770529" y="3180897"/>
            <a:chExt cx="94130" cy="2134792"/>
          </a:xfrm>
        </p:grpSpPr>
        <p:cxnSp>
          <p:nvCxnSpPr>
            <p:cNvPr id="16" name="Straight Connector 15">
              <a:extLst>
                <a:ext uri="{FF2B5EF4-FFF2-40B4-BE49-F238E27FC236}">
                  <a16:creationId xmlns:a16="http://schemas.microsoft.com/office/drawing/2014/main" id="{67D578CE-4DD2-4965-98FC-7DF3CDA93CEB}"/>
                </a:ext>
              </a:extLst>
            </p:cNvPr>
            <p:cNvCxnSpPr>
              <a:cxnSpLocks/>
            </p:cNvCxnSpPr>
            <p:nvPr/>
          </p:nvCxnSpPr>
          <p:spPr bwMode="auto">
            <a:xfrm>
              <a:off x="1770529" y="3180897"/>
              <a:ext cx="94130" cy="0"/>
            </a:xfrm>
            <a:prstGeom prst="line">
              <a:avLst/>
            </a:prstGeom>
            <a:noFill/>
            <a:ln w="28575" cap="flat" cmpd="sng" algn="ctr">
              <a:solidFill>
                <a:srgbClr val="000000"/>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44CC0E30-B662-435D-98D5-7E6170B78A60}"/>
                </a:ext>
              </a:extLst>
            </p:cNvPr>
            <p:cNvCxnSpPr>
              <a:cxnSpLocks/>
            </p:cNvCxnSpPr>
            <p:nvPr/>
          </p:nvCxnSpPr>
          <p:spPr bwMode="auto">
            <a:xfrm>
              <a:off x="1770529" y="3892494"/>
              <a:ext cx="94130" cy="0"/>
            </a:xfrm>
            <a:prstGeom prst="line">
              <a:avLst/>
            </a:prstGeom>
            <a:noFill/>
            <a:ln w="28575" cap="flat" cmpd="sng" algn="ctr">
              <a:solidFill>
                <a:srgbClr val="000000"/>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DFA67042-8174-4FD6-AC25-186B3997E0FF}"/>
                </a:ext>
              </a:extLst>
            </p:cNvPr>
            <p:cNvCxnSpPr>
              <a:cxnSpLocks/>
            </p:cNvCxnSpPr>
            <p:nvPr/>
          </p:nvCxnSpPr>
          <p:spPr bwMode="auto">
            <a:xfrm>
              <a:off x="1770529" y="4604091"/>
              <a:ext cx="94130" cy="0"/>
            </a:xfrm>
            <a:prstGeom prst="line">
              <a:avLst/>
            </a:prstGeom>
            <a:noFill/>
            <a:ln w="28575" cap="flat" cmpd="sng" algn="ctr">
              <a:solidFill>
                <a:srgbClr val="000000"/>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A913EB37-0CF1-4FBC-A08D-6DD758F841B2}"/>
                </a:ext>
              </a:extLst>
            </p:cNvPr>
            <p:cNvCxnSpPr>
              <a:cxnSpLocks/>
            </p:cNvCxnSpPr>
            <p:nvPr/>
          </p:nvCxnSpPr>
          <p:spPr bwMode="auto">
            <a:xfrm>
              <a:off x="1770529" y="5315689"/>
              <a:ext cx="94130" cy="0"/>
            </a:xfrm>
            <a:prstGeom prst="line">
              <a:avLst/>
            </a:prstGeom>
            <a:noFill/>
            <a:ln w="28575" cap="flat" cmpd="sng" algn="ctr">
              <a:solidFill>
                <a:srgbClr val="000000"/>
              </a:solidFill>
              <a:prstDash val="solid"/>
              <a:round/>
              <a:headEnd type="none" w="med" len="med"/>
              <a:tailEnd type="none" w="med" len="med"/>
            </a:ln>
            <a:effectLst/>
          </p:spPr>
        </p:cxnSp>
      </p:grpSp>
      <p:sp>
        <p:nvSpPr>
          <p:cNvPr id="20" name="TextBox 19">
            <a:extLst>
              <a:ext uri="{FF2B5EF4-FFF2-40B4-BE49-F238E27FC236}">
                <a16:creationId xmlns:a16="http://schemas.microsoft.com/office/drawing/2014/main" id="{573FD171-A72D-4802-98EB-B5AD9E77BA63}"/>
              </a:ext>
            </a:extLst>
          </p:cNvPr>
          <p:cNvSpPr txBox="1"/>
          <p:nvPr/>
        </p:nvSpPr>
        <p:spPr bwMode="auto">
          <a:xfrm>
            <a:off x="546568" y="1647202"/>
            <a:ext cx="449162"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00</a:t>
            </a:r>
          </a:p>
        </p:txBody>
      </p:sp>
      <p:sp>
        <p:nvSpPr>
          <p:cNvPr id="21" name="TextBox 20">
            <a:extLst>
              <a:ext uri="{FF2B5EF4-FFF2-40B4-BE49-F238E27FC236}">
                <a16:creationId xmlns:a16="http://schemas.microsoft.com/office/drawing/2014/main" id="{92EEB0D7-B520-4F9C-B4E7-E418A79C9193}"/>
              </a:ext>
            </a:extLst>
          </p:cNvPr>
          <p:cNvSpPr txBox="1"/>
          <p:nvPr/>
        </p:nvSpPr>
        <p:spPr bwMode="auto">
          <a:xfrm>
            <a:off x="620839" y="2104978"/>
            <a:ext cx="360997"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80</a:t>
            </a:r>
          </a:p>
        </p:txBody>
      </p:sp>
      <p:sp>
        <p:nvSpPr>
          <p:cNvPr id="22" name="TextBox 21">
            <a:extLst>
              <a:ext uri="{FF2B5EF4-FFF2-40B4-BE49-F238E27FC236}">
                <a16:creationId xmlns:a16="http://schemas.microsoft.com/office/drawing/2014/main" id="{CEDF8CB0-B763-4AF3-A11C-9E5533DFB4C2}"/>
              </a:ext>
            </a:extLst>
          </p:cNvPr>
          <p:cNvSpPr txBox="1"/>
          <p:nvPr/>
        </p:nvSpPr>
        <p:spPr bwMode="auto">
          <a:xfrm>
            <a:off x="631425" y="2554185"/>
            <a:ext cx="360997"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0</a:t>
            </a:r>
          </a:p>
        </p:txBody>
      </p:sp>
      <p:sp>
        <p:nvSpPr>
          <p:cNvPr id="23" name="TextBox 22">
            <a:extLst>
              <a:ext uri="{FF2B5EF4-FFF2-40B4-BE49-F238E27FC236}">
                <a16:creationId xmlns:a16="http://schemas.microsoft.com/office/drawing/2014/main" id="{01EAEC54-F5E4-460A-80AC-31A0DEDBF6C9}"/>
              </a:ext>
            </a:extLst>
          </p:cNvPr>
          <p:cNvSpPr txBox="1"/>
          <p:nvPr/>
        </p:nvSpPr>
        <p:spPr bwMode="auto">
          <a:xfrm>
            <a:off x="617531" y="3011962"/>
            <a:ext cx="360997"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40</a:t>
            </a:r>
          </a:p>
        </p:txBody>
      </p:sp>
      <p:sp>
        <p:nvSpPr>
          <p:cNvPr id="24" name="TextBox 23">
            <a:extLst>
              <a:ext uri="{FF2B5EF4-FFF2-40B4-BE49-F238E27FC236}">
                <a16:creationId xmlns:a16="http://schemas.microsoft.com/office/drawing/2014/main" id="{31458687-DBB0-4C3C-B0F7-54CF568E902B}"/>
              </a:ext>
            </a:extLst>
          </p:cNvPr>
          <p:cNvSpPr txBox="1"/>
          <p:nvPr/>
        </p:nvSpPr>
        <p:spPr bwMode="auto">
          <a:xfrm>
            <a:off x="645319" y="3461168"/>
            <a:ext cx="360997"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a:t>
            </a:r>
          </a:p>
        </p:txBody>
      </p:sp>
      <p:sp>
        <p:nvSpPr>
          <p:cNvPr id="25" name="TextBox 24">
            <a:extLst>
              <a:ext uri="{FF2B5EF4-FFF2-40B4-BE49-F238E27FC236}">
                <a16:creationId xmlns:a16="http://schemas.microsoft.com/office/drawing/2014/main" id="{55688C65-6CC1-41CF-B4DF-27DA153C5AB5}"/>
              </a:ext>
            </a:extLst>
          </p:cNvPr>
          <p:cNvSpPr txBox="1"/>
          <p:nvPr/>
        </p:nvSpPr>
        <p:spPr bwMode="auto">
          <a:xfrm>
            <a:off x="724800" y="3918945"/>
            <a:ext cx="272832"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0</a:t>
            </a:r>
          </a:p>
        </p:txBody>
      </p:sp>
      <p:sp>
        <p:nvSpPr>
          <p:cNvPr id="26" name="TextBox 25">
            <a:extLst>
              <a:ext uri="{FF2B5EF4-FFF2-40B4-BE49-F238E27FC236}">
                <a16:creationId xmlns:a16="http://schemas.microsoft.com/office/drawing/2014/main" id="{E6E63B76-E010-4ED7-9F4B-765EB8576228}"/>
              </a:ext>
            </a:extLst>
          </p:cNvPr>
          <p:cNvSpPr txBox="1"/>
          <p:nvPr/>
        </p:nvSpPr>
        <p:spPr bwMode="auto">
          <a:xfrm>
            <a:off x="5307569" y="1613002"/>
            <a:ext cx="529312"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D-Rd</a:t>
            </a:r>
          </a:p>
        </p:txBody>
      </p:sp>
      <p:sp>
        <p:nvSpPr>
          <p:cNvPr id="27" name="TextBox 26">
            <a:extLst>
              <a:ext uri="{FF2B5EF4-FFF2-40B4-BE49-F238E27FC236}">
                <a16:creationId xmlns:a16="http://schemas.microsoft.com/office/drawing/2014/main" id="{50CC5337-5096-47B4-84C0-C31829563141}"/>
              </a:ext>
            </a:extLst>
          </p:cNvPr>
          <p:cNvSpPr txBox="1"/>
          <p:nvPr/>
        </p:nvSpPr>
        <p:spPr bwMode="auto">
          <a:xfrm>
            <a:off x="5690165" y="1613342"/>
            <a:ext cx="37061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d</a:t>
            </a:r>
          </a:p>
        </p:txBody>
      </p:sp>
      <p:sp>
        <p:nvSpPr>
          <p:cNvPr id="28" name="TextBox 27">
            <a:extLst>
              <a:ext uri="{FF2B5EF4-FFF2-40B4-BE49-F238E27FC236}">
                <a16:creationId xmlns:a16="http://schemas.microsoft.com/office/drawing/2014/main" id="{67862E83-BE47-4599-ABBF-3F58011AB335}"/>
              </a:ext>
            </a:extLst>
          </p:cNvPr>
          <p:cNvSpPr txBox="1"/>
          <p:nvPr/>
        </p:nvSpPr>
        <p:spPr bwMode="auto">
          <a:xfrm>
            <a:off x="5993142" y="1802551"/>
            <a:ext cx="584071"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685800" rtl="0" eaLnBrk="0" fontAlgn="base" latinLnBrk="0" hangingPunct="0">
              <a:lnSpc>
                <a:spcPct val="100000"/>
              </a:lnSpc>
              <a:spcBef>
                <a:spcPts val="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CR</a:t>
            </a:r>
          </a:p>
          <a:p>
            <a:pPr marL="0" marR="0" lvl="0" indent="0" algn="l" defTabSz="685800" rtl="0" eaLnBrk="0" fontAlgn="base" latinLnBrk="0" hangingPunct="0">
              <a:lnSpc>
                <a:spcPct val="100000"/>
              </a:lnSpc>
              <a:spcBef>
                <a:spcPts val="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R</a:t>
            </a:r>
          </a:p>
          <a:p>
            <a:pPr marL="0" marR="0" lvl="0" indent="0" algn="l" defTabSz="685800" rtl="0" eaLnBrk="0" fontAlgn="base" latinLnBrk="0" hangingPunct="0">
              <a:lnSpc>
                <a:spcPct val="100000"/>
              </a:lnSpc>
              <a:spcBef>
                <a:spcPts val="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VGPR</a:t>
            </a:r>
          </a:p>
          <a:p>
            <a:pPr marL="0" marR="0" lvl="0" indent="0" algn="l" defTabSz="685800" rtl="0" eaLnBrk="0" fontAlgn="base" latinLnBrk="0" hangingPunct="0">
              <a:lnSpc>
                <a:spcPct val="100000"/>
              </a:lnSpc>
              <a:spcBef>
                <a:spcPts val="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R</a:t>
            </a:r>
          </a:p>
        </p:txBody>
      </p:sp>
      <p:sp>
        <p:nvSpPr>
          <p:cNvPr id="29" name="Rectangle 28">
            <a:extLst>
              <a:ext uri="{FF2B5EF4-FFF2-40B4-BE49-F238E27FC236}">
                <a16:creationId xmlns:a16="http://schemas.microsoft.com/office/drawing/2014/main" id="{B922C68B-F458-4B7B-A778-4575CA257342}"/>
              </a:ext>
            </a:extLst>
          </p:cNvPr>
          <p:cNvSpPr/>
          <p:nvPr/>
        </p:nvSpPr>
        <p:spPr bwMode="auto">
          <a:xfrm>
            <a:off x="5815689" y="2087724"/>
            <a:ext cx="129730" cy="129730"/>
          </a:xfrm>
          <a:prstGeom prst="rect">
            <a:avLst/>
          </a:prstGeom>
          <a:solidFill>
            <a:srgbClr val="E1471D"/>
          </a:solidFill>
          <a:ln w="28575">
            <a:no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0" name="Rectangle 29">
            <a:extLst>
              <a:ext uri="{FF2B5EF4-FFF2-40B4-BE49-F238E27FC236}">
                <a16:creationId xmlns:a16="http://schemas.microsoft.com/office/drawing/2014/main" id="{32DA4D60-876D-4C08-BB9D-C1BE169149DA}"/>
              </a:ext>
            </a:extLst>
          </p:cNvPr>
          <p:cNvSpPr/>
          <p:nvPr/>
        </p:nvSpPr>
        <p:spPr bwMode="auto">
          <a:xfrm>
            <a:off x="5516349" y="2087723"/>
            <a:ext cx="129730" cy="129730"/>
          </a:xfrm>
          <a:prstGeom prst="rect">
            <a:avLst/>
          </a:prstGeom>
          <a:solidFill>
            <a:srgbClr val="015873"/>
          </a:solidFill>
          <a:ln w="28575">
            <a:no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1" name="Rectangle 30">
            <a:extLst>
              <a:ext uri="{FF2B5EF4-FFF2-40B4-BE49-F238E27FC236}">
                <a16:creationId xmlns:a16="http://schemas.microsoft.com/office/drawing/2014/main" id="{623AA428-F3D7-4D25-AF05-3D02991E89E3}"/>
              </a:ext>
            </a:extLst>
          </p:cNvPr>
          <p:cNvSpPr/>
          <p:nvPr/>
        </p:nvSpPr>
        <p:spPr bwMode="auto">
          <a:xfrm>
            <a:off x="5815689" y="2281292"/>
            <a:ext cx="129730" cy="129730"/>
          </a:xfrm>
          <a:prstGeom prst="rect">
            <a:avLst/>
          </a:prstGeom>
          <a:solidFill>
            <a:srgbClr val="E1471D">
              <a:lumMod val="60000"/>
              <a:lumOff val="40000"/>
            </a:srgbClr>
          </a:solidFill>
          <a:ln w="28575">
            <a:no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2" name="Rectangle 31">
            <a:extLst>
              <a:ext uri="{FF2B5EF4-FFF2-40B4-BE49-F238E27FC236}">
                <a16:creationId xmlns:a16="http://schemas.microsoft.com/office/drawing/2014/main" id="{9A821D4A-FABB-4113-846D-BDD264B90676}"/>
              </a:ext>
            </a:extLst>
          </p:cNvPr>
          <p:cNvSpPr/>
          <p:nvPr/>
        </p:nvSpPr>
        <p:spPr bwMode="auto">
          <a:xfrm>
            <a:off x="5516349" y="2281291"/>
            <a:ext cx="129730" cy="129730"/>
          </a:xfrm>
          <a:prstGeom prst="rect">
            <a:avLst/>
          </a:prstGeom>
          <a:solidFill>
            <a:srgbClr val="4DA1BB"/>
          </a:solidFill>
          <a:ln w="28575">
            <a:no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3" name="Rectangle 32">
            <a:extLst>
              <a:ext uri="{FF2B5EF4-FFF2-40B4-BE49-F238E27FC236}">
                <a16:creationId xmlns:a16="http://schemas.microsoft.com/office/drawing/2014/main" id="{C7AFBEC2-93B8-467D-B7FE-8225B6D2F8C0}"/>
              </a:ext>
            </a:extLst>
          </p:cNvPr>
          <p:cNvSpPr/>
          <p:nvPr/>
        </p:nvSpPr>
        <p:spPr bwMode="auto">
          <a:xfrm>
            <a:off x="5815689" y="2485569"/>
            <a:ext cx="129730" cy="129730"/>
          </a:xfrm>
          <a:prstGeom prst="rect">
            <a:avLst/>
          </a:prstGeom>
          <a:solidFill>
            <a:srgbClr val="E1471D">
              <a:lumMod val="40000"/>
              <a:lumOff val="60000"/>
            </a:srgbClr>
          </a:solidFill>
          <a:ln w="28575">
            <a:no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4" name="Rectangle 33">
            <a:extLst>
              <a:ext uri="{FF2B5EF4-FFF2-40B4-BE49-F238E27FC236}">
                <a16:creationId xmlns:a16="http://schemas.microsoft.com/office/drawing/2014/main" id="{3A08D1DA-D0DF-487E-857D-93AEAC3DD3DE}"/>
              </a:ext>
            </a:extLst>
          </p:cNvPr>
          <p:cNvSpPr/>
          <p:nvPr/>
        </p:nvSpPr>
        <p:spPr bwMode="auto">
          <a:xfrm>
            <a:off x="5516349" y="2485569"/>
            <a:ext cx="129730" cy="129730"/>
          </a:xfrm>
          <a:prstGeom prst="rect">
            <a:avLst/>
          </a:prstGeom>
          <a:solidFill>
            <a:srgbClr val="4DA1BB">
              <a:lumMod val="60000"/>
              <a:lumOff val="40000"/>
            </a:srgbClr>
          </a:solidFill>
          <a:ln w="28575">
            <a:no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Rectangle 34">
            <a:extLst>
              <a:ext uri="{FF2B5EF4-FFF2-40B4-BE49-F238E27FC236}">
                <a16:creationId xmlns:a16="http://schemas.microsoft.com/office/drawing/2014/main" id="{655CE0C4-CED4-4099-832A-54F8BDEB2B12}"/>
              </a:ext>
            </a:extLst>
          </p:cNvPr>
          <p:cNvSpPr/>
          <p:nvPr/>
        </p:nvSpPr>
        <p:spPr bwMode="auto">
          <a:xfrm>
            <a:off x="5815689" y="1870922"/>
            <a:ext cx="129730" cy="129730"/>
          </a:xfrm>
          <a:prstGeom prst="rect">
            <a:avLst/>
          </a:prstGeom>
          <a:solidFill>
            <a:srgbClr val="E1471D">
              <a:lumMod val="75000"/>
            </a:srgbClr>
          </a:solidFill>
          <a:ln w="28575">
            <a:no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 name="Rectangle 35">
            <a:extLst>
              <a:ext uri="{FF2B5EF4-FFF2-40B4-BE49-F238E27FC236}">
                <a16:creationId xmlns:a16="http://schemas.microsoft.com/office/drawing/2014/main" id="{3BFF72FB-672A-4A29-AD53-BA95E4C686DF}"/>
              </a:ext>
            </a:extLst>
          </p:cNvPr>
          <p:cNvSpPr/>
          <p:nvPr/>
        </p:nvSpPr>
        <p:spPr bwMode="auto">
          <a:xfrm>
            <a:off x="5516349" y="1870921"/>
            <a:ext cx="129730" cy="129730"/>
          </a:xfrm>
          <a:prstGeom prst="rect">
            <a:avLst/>
          </a:prstGeom>
          <a:solidFill>
            <a:srgbClr val="015873">
              <a:lumMod val="75000"/>
            </a:srgbClr>
          </a:solidFill>
          <a:ln w="28575">
            <a:no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 name="TextBox 36">
            <a:extLst>
              <a:ext uri="{FF2B5EF4-FFF2-40B4-BE49-F238E27FC236}">
                <a16:creationId xmlns:a16="http://schemas.microsoft.com/office/drawing/2014/main" id="{33F6FFEB-AC4C-4E82-828C-19C2C3679FB4}"/>
              </a:ext>
            </a:extLst>
          </p:cNvPr>
          <p:cNvSpPr txBox="1"/>
          <p:nvPr/>
        </p:nvSpPr>
        <p:spPr bwMode="auto">
          <a:xfrm>
            <a:off x="1063809" y="4022954"/>
            <a:ext cx="724878" cy="5078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D-Rd</a:t>
            </a:r>
          </a:p>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 = 368</a:t>
            </a:r>
          </a:p>
        </p:txBody>
      </p:sp>
      <p:sp>
        <p:nvSpPr>
          <p:cNvPr id="38" name="TextBox 37">
            <a:extLst>
              <a:ext uri="{FF2B5EF4-FFF2-40B4-BE49-F238E27FC236}">
                <a16:creationId xmlns:a16="http://schemas.microsoft.com/office/drawing/2014/main" id="{32B441DC-6DEA-4ACD-8C60-BA9BE491A063}"/>
              </a:ext>
            </a:extLst>
          </p:cNvPr>
          <p:cNvSpPr txBox="1"/>
          <p:nvPr/>
        </p:nvSpPr>
        <p:spPr bwMode="auto">
          <a:xfrm>
            <a:off x="1694351" y="4022954"/>
            <a:ext cx="724878" cy="5078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d</a:t>
            </a:r>
          </a:p>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 = 369</a:t>
            </a:r>
          </a:p>
        </p:txBody>
      </p:sp>
      <p:sp>
        <p:nvSpPr>
          <p:cNvPr id="39" name="TextBox 38">
            <a:extLst>
              <a:ext uri="{FF2B5EF4-FFF2-40B4-BE49-F238E27FC236}">
                <a16:creationId xmlns:a16="http://schemas.microsoft.com/office/drawing/2014/main" id="{9A923287-5B06-4BE8-A694-50B509148415}"/>
              </a:ext>
            </a:extLst>
          </p:cNvPr>
          <p:cNvSpPr txBox="1"/>
          <p:nvPr/>
        </p:nvSpPr>
        <p:spPr bwMode="auto">
          <a:xfrm>
            <a:off x="2555803" y="4032039"/>
            <a:ext cx="724878" cy="5078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D-Rd</a:t>
            </a:r>
          </a:p>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 = 368</a:t>
            </a:r>
          </a:p>
        </p:txBody>
      </p:sp>
      <p:sp>
        <p:nvSpPr>
          <p:cNvPr id="40" name="TextBox 39">
            <a:extLst>
              <a:ext uri="{FF2B5EF4-FFF2-40B4-BE49-F238E27FC236}">
                <a16:creationId xmlns:a16="http://schemas.microsoft.com/office/drawing/2014/main" id="{F469847C-25A7-4C32-8294-1796A245BF65}"/>
              </a:ext>
            </a:extLst>
          </p:cNvPr>
          <p:cNvSpPr txBox="1"/>
          <p:nvPr/>
        </p:nvSpPr>
        <p:spPr bwMode="auto">
          <a:xfrm>
            <a:off x="3186344" y="4032039"/>
            <a:ext cx="724878" cy="5078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d</a:t>
            </a:r>
          </a:p>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 = 369</a:t>
            </a:r>
          </a:p>
        </p:txBody>
      </p:sp>
      <p:sp>
        <p:nvSpPr>
          <p:cNvPr id="41" name="TextBox 40">
            <a:extLst>
              <a:ext uri="{FF2B5EF4-FFF2-40B4-BE49-F238E27FC236}">
                <a16:creationId xmlns:a16="http://schemas.microsoft.com/office/drawing/2014/main" id="{3736B684-307F-4330-8927-4938F35028E9}"/>
              </a:ext>
            </a:extLst>
          </p:cNvPr>
          <p:cNvSpPr txBox="1"/>
          <p:nvPr/>
        </p:nvSpPr>
        <p:spPr bwMode="auto">
          <a:xfrm>
            <a:off x="3966410" y="4032039"/>
            <a:ext cx="788742" cy="7155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D-Rd</a:t>
            </a:r>
          </a:p>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 = 368</a:t>
            </a:r>
          </a:p>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pdate)</a:t>
            </a:r>
          </a:p>
        </p:txBody>
      </p:sp>
      <p:sp>
        <p:nvSpPr>
          <p:cNvPr id="42" name="TextBox 41">
            <a:extLst>
              <a:ext uri="{FF2B5EF4-FFF2-40B4-BE49-F238E27FC236}">
                <a16:creationId xmlns:a16="http://schemas.microsoft.com/office/drawing/2014/main" id="{E2438B75-220E-42BC-86F7-1F69F610D843}"/>
              </a:ext>
            </a:extLst>
          </p:cNvPr>
          <p:cNvSpPr txBox="1"/>
          <p:nvPr/>
        </p:nvSpPr>
        <p:spPr bwMode="auto">
          <a:xfrm>
            <a:off x="4596952" y="4032039"/>
            <a:ext cx="788742" cy="7155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d</a:t>
            </a:r>
          </a:p>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 = 369</a:t>
            </a:r>
          </a:p>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pdate)</a:t>
            </a:r>
          </a:p>
        </p:txBody>
      </p:sp>
      <p:grpSp>
        <p:nvGrpSpPr>
          <p:cNvPr id="43" name="Group 42">
            <a:extLst>
              <a:ext uri="{FF2B5EF4-FFF2-40B4-BE49-F238E27FC236}">
                <a16:creationId xmlns:a16="http://schemas.microsoft.com/office/drawing/2014/main" id="{02EA33DE-597F-40A8-B735-B121D9498B9C}"/>
              </a:ext>
            </a:extLst>
          </p:cNvPr>
          <p:cNvGrpSpPr/>
          <p:nvPr/>
        </p:nvGrpSpPr>
        <p:grpSpPr>
          <a:xfrm>
            <a:off x="1186237" y="1928273"/>
            <a:ext cx="480021" cy="2117958"/>
            <a:chOff x="1583962" y="2571030"/>
            <a:chExt cx="486731" cy="2823944"/>
          </a:xfrm>
        </p:grpSpPr>
        <p:sp>
          <p:nvSpPr>
            <p:cNvPr id="44" name="Rectangle 43">
              <a:extLst>
                <a:ext uri="{FF2B5EF4-FFF2-40B4-BE49-F238E27FC236}">
                  <a16:creationId xmlns:a16="http://schemas.microsoft.com/office/drawing/2014/main" id="{7031AFF2-1D2A-4521-BEC3-C1A9374ADC87}"/>
                </a:ext>
              </a:extLst>
            </p:cNvPr>
            <p:cNvSpPr/>
            <p:nvPr/>
          </p:nvSpPr>
          <p:spPr bwMode="auto">
            <a:xfrm>
              <a:off x="1584586" y="4975234"/>
              <a:ext cx="486107" cy="419740"/>
            </a:xfrm>
            <a:prstGeom prst="rect">
              <a:avLst/>
            </a:prstGeom>
            <a:solidFill>
              <a:srgbClr val="4DA1BB">
                <a:lumMod val="60000"/>
                <a:lumOff val="40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5" name="Rectangle 44">
              <a:extLst>
                <a:ext uri="{FF2B5EF4-FFF2-40B4-BE49-F238E27FC236}">
                  <a16:creationId xmlns:a16="http://schemas.microsoft.com/office/drawing/2014/main" id="{DB7791C6-46EF-4B1E-8513-678A138F6CBC}"/>
                </a:ext>
              </a:extLst>
            </p:cNvPr>
            <p:cNvSpPr/>
            <p:nvPr/>
          </p:nvSpPr>
          <p:spPr bwMode="auto">
            <a:xfrm>
              <a:off x="1584585" y="4015949"/>
              <a:ext cx="486107" cy="965725"/>
            </a:xfrm>
            <a:prstGeom prst="rect">
              <a:avLst/>
            </a:prstGeom>
            <a:solidFill>
              <a:srgbClr val="4DA1BB"/>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6" name="Rectangle 45">
              <a:extLst>
                <a:ext uri="{FF2B5EF4-FFF2-40B4-BE49-F238E27FC236}">
                  <a16:creationId xmlns:a16="http://schemas.microsoft.com/office/drawing/2014/main" id="{0880078C-5CD1-4206-AA8D-EB8DFB468AB1}"/>
                </a:ext>
              </a:extLst>
            </p:cNvPr>
            <p:cNvSpPr/>
            <p:nvPr/>
          </p:nvSpPr>
          <p:spPr bwMode="auto">
            <a:xfrm>
              <a:off x="1584584" y="3481719"/>
              <a:ext cx="486107" cy="537450"/>
            </a:xfrm>
            <a:prstGeom prst="rect">
              <a:avLst/>
            </a:prstGeom>
            <a:solidFill>
              <a:srgbClr val="015873"/>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7" name="Rectangle 46">
              <a:extLst>
                <a:ext uri="{FF2B5EF4-FFF2-40B4-BE49-F238E27FC236}">
                  <a16:creationId xmlns:a16="http://schemas.microsoft.com/office/drawing/2014/main" id="{9C971E4D-E1F1-42C8-BAC6-D294991F94BB}"/>
                </a:ext>
              </a:extLst>
            </p:cNvPr>
            <p:cNvSpPr/>
            <p:nvPr/>
          </p:nvSpPr>
          <p:spPr bwMode="auto">
            <a:xfrm>
              <a:off x="1583962" y="2571030"/>
              <a:ext cx="486107" cy="907044"/>
            </a:xfrm>
            <a:prstGeom prst="rect">
              <a:avLst/>
            </a:prstGeom>
            <a:solidFill>
              <a:srgbClr val="015873">
                <a:lumMod val="75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grpSp>
      <p:grpSp>
        <p:nvGrpSpPr>
          <p:cNvPr id="48" name="Group 47">
            <a:extLst>
              <a:ext uri="{FF2B5EF4-FFF2-40B4-BE49-F238E27FC236}">
                <a16:creationId xmlns:a16="http://schemas.microsoft.com/office/drawing/2014/main" id="{A7B83A14-CCF4-44D3-A000-D0732F73B8DC}"/>
              </a:ext>
            </a:extLst>
          </p:cNvPr>
          <p:cNvGrpSpPr/>
          <p:nvPr/>
        </p:nvGrpSpPr>
        <p:grpSpPr>
          <a:xfrm>
            <a:off x="1816778" y="2174795"/>
            <a:ext cx="480021" cy="1871436"/>
            <a:chOff x="2190684" y="2899726"/>
            <a:chExt cx="486731" cy="2495248"/>
          </a:xfrm>
        </p:grpSpPr>
        <p:sp>
          <p:nvSpPr>
            <p:cNvPr id="49" name="Rectangle 48">
              <a:extLst>
                <a:ext uri="{FF2B5EF4-FFF2-40B4-BE49-F238E27FC236}">
                  <a16:creationId xmlns:a16="http://schemas.microsoft.com/office/drawing/2014/main" id="{F0EEFAB8-9D23-42A8-844F-9FB73845A731}"/>
                </a:ext>
              </a:extLst>
            </p:cNvPr>
            <p:cNvSpPr/>
            <p:nvPr/>
          </p:nvSpPr>
          <p:spPr bwMode="auto">
            <a:xfrm>
              <a:off x="2191308" y="4553399"/>
              <a:ext cx="486107" cy="841575"/>
            </a:xfrm>
            <a:prstGeom prst="rect">
              <a:avLst/>
            </a:prstGeom>
            <a:solidFill>
              <a:srgbClr val="E1471D">
                <a:lumMod val="40000"/>
                <a:lumOff val="60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0" name="Rectangle 49">
              <a:extLst>
                <a:ext uri="{FF2B5EF4-FFF2-40B4-BE49-F238E27FC236}">
                  <a16:creationId xmlns:a16="http://schemas.microsoft.com/office/drawing/2014/main" id="{C236E0EA-37DD-4138-B09A-B963979C4AE1}"/>
                </a:ext>
              </a:extLst>
            </p:cNvPr>
            <p:cNvSpPr/>
            <p:nvPr/>
          </p:nvSpPr>
          <p:spPr bwMode="auto">
            <a:xfrm>
              <a:off x="2191307" y="3710263"/>
              <a:ext cx="486107" cy="843138"/>
            </a:xfrm>
            <a:prstGeom prst="rect">
              <a:avLst/>
            </a:prstGeom>
            <a:solidFill>
              <a:srgbClr val="E1471D">
                <a:lumMod val="60000"/>
                <a:lumOff val="40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1" name="Rectangle 50">
              <a:extLst>
                <a:ext uri="{FF2B5EF4-FFF2-40B4-BE49-F238E27FC236}">
                  <a16:creationId xmlns:a16="http://schemas.microsoft.com/office/drawing/2014/main" id="{EC82F45E-8DFA-4804-B21E-2FE658C3E330}"/>
                </a:ext>
              </a:extLst>
            </p:cNvPr>
            <p:cNvSpPr/>
            <p:nvPr/>
          </p:nvSpPr>
          <p:spPr bwMode="auto">
            <a:xfrm>
              <a:off x="2191306" y="3298083"/>
              <a:ext cx="486107" cy="412179"/>
            </a:xfrm>
            <a:prstGeom prst="rect">
              <a:avLst/>
            </a:prstGeom>
            <a:solidFill>
              <a:srgbClr val="E1471D"/>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2" name="Rectangle 51">
              <a:extLst>
                <a:ext uri="{FF2B5EF4-FFF2-40B4-BE49-F238E27FC236}">
                  <a16:creationId xmlns:a16="http://schemas.microsoft.com/office/drawing/2014/main" id="{22253DA4-9B9C-43EC-B09E-4F1EBAD19EAB}"/>
                </a:ext>
              </a:extLst>
            </p:cNvPr>
            <p:cNvSpPr/>
            <p:nvPr/>
          </p:nvSpPr>
          <p:spPr bwMode="auto">
            <a:xfrm>
              <a:off x="2190684" y="2899726"/>
              <a:ext cx="486107" cy="398357"/>
            </a:xfrm>
            <a:prstGeom prst="rect">
              <a:avLst/>
            </a:prstGeom>
            <a:solidFill>
              <a:srgbClr val="E1471D">
                <a:lumMod val="75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grpSp>
      <p:sp>
        <p:nvSpPr>
          <p:cNvPr id="53" name="Rectangle 52">
            <a:extLst>
              <a:ext uri="{FF2B5EF4-FFF2-40B4-BE49-F238E27FC236}">
                <a16:creationId xmlns:a16="http://schemas.microsoft.com/office/drawing/2014/main" id="{749828BC-7937-4E1D-A637-A51F73B403F5}"/>
              </a:ext>
            </a:extLst>
          </p:cNvPr>
          <p:cNvSpPr/>
          <p:nvPr/>
        </p:nvSpPr>
        <p:spPr bwMode="auto">
          <a:xfrm>
            <a:off x="2678539" y="3760532"/>
            <a:ext cx="479405" cy="285699"/>
          </a:xfrm>
          <a:prstGeom prst="rect">
            <a:avLst/>
          </a:prstGeom>
          <a:solidFill>
            <a:srgbClr val="4DA1BB">
              <a:lumMod val="60000"/>
              <a:lumOff val="40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4" name="Rectangle 53">
            <a:extLst>
              <a:ext uri="{FF2B5EF4-FFF2-40B4-BE49-F238E27FC236}">
                <a16:creationId xmlns:a16="http://schemas.microsoft.com/office/drawing/2014/main" id="{A75B923B-F608-44DC-8A7E-A3BEE3552FCB}"/>
              </a:ext>
            </a:extLst>
          </p:cNvPr>
          <p:cNvSpPr/>
          <p:nvPr/>
        </p:nvSpPr>
        <p:spPr bwMode="auto">
          <a:xfrm>
            <a:off x="2678539" y="3046217"/>
            <a:ext cx="479405" cy="714311"/>
          </a:xfrm>
          <a:prstGeom prst="rect">
            <a:avLst/>
          </a:prstGeom>
          <a:solidFill>
            <a:srgbClr val="4DA1BB"/>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5" name="Rectangle 54">
            <a:extLst>
              <a:ext uri="{FF2B5EF4-FFF2-40B4-BE49-F238E27FC236}">
                <a16:creationId xmlns:a16="http://schemas.microsoft.com/office/drawing/2014/main" id="{94CFA10C-1409-4417-9CC7-33FDD27D7A52}"/>
              </a:ext>
            </a:extLst>
          </p:cNvPr>
          <p:cNvSpPr/>
          <p:nvPr/>
        </p:nvSpPr>
        <p:spPr bwMode="auto">
          <a:xfrm>
            <a:off x="2678539" y="2657948"/>
            <a:ext cx="479405" cy="388269"/>
          </a:xfrm>
          <a:prstGeom prst="rect">
            <a:avLst/>
          </a:prstGeom>
          <a:solidFill>
            <a:srgbClr val="015873"/>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6" name="Rectangle 55">
            <a:extLst>
              <a:ext uri="{FF2B5EF4-FFF2-40B4-BE49-F238E27FC236}">
                <a16:creationId xmlns:a16="http://schemas.microsoft.com/office/drawing/2014/main" id="{CBA6F8A9-A2A3-40C3-A73F-78B1110EA1E5}"/>
              </a:ext>
            </a:extLst>
          </p:cNvPr>
          <p:cNvSpPr/>
          <p:nvPr/>
        </p:nvSpPr>
        <p:spPr bwMode="auto">
          <a:xfrm>
            <a:off x="2678539" y="1911170"/>
            <a:ext cx="479405" cy="746779"/>
          </a:xfrm>
          <a:prstGeom prst="rect">
            <a:avLst/>
          </a:prstGeom>
          <a:solidFill>
            <a:srgbClr val="015873">
              <a:lumMod val="75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7" name="Rectangle 56">
            <a:extLst>
              <a:ext uri="{FF2B5EF4-FFF2-40B4-BE49-F238E27FC236}">
                <a16:creationId xmlns:a16="http://schemas.microsoft.com/office/drawing/2014/main" id="{5FB06C5B-3DB6-48B9-8EF5-7CEF1876F775}"/>
              </a:ext>
            </a:extLst>
          </p:cNvPr>
          <p:cNvSpPr/>
          <p:nvPr/>
        </p:nvSpPr>
        <p:spPr bwMode="auto">
          <a:xfrm>
            <a:off x="3309081" y="3449031"/>
            <a:ext cx="479405" cy="597200"/>
          </a:xfrm>
          <a:prstGeom prst="rect">
            <a:avLst/>
          </a:prstGeom>
          <a:solidFill>
            <a:srgbClr val="E1471D">
              <a:lumMod val="40000"/>
              <a:lumOff val="60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8" name="Rectangle 57">
            <a:extLst>
              <a:ext uri="{FF2B5EF4-FFF2-40B4-BE49-F238E27FC236}">
                <a16:creationId xmlns:a16="http://schemas.microsoft.com/office/drawing/2014/main" id="{3FE8184F-A5D1-4980-A2EB-7E56637A14AB}"/>
              </a:ext>
            </a:extLst>
          </p:cNvPr>
          <p:cNvSpPr/>
          <p:nvPr/>
        </p:nvSpPr>
        <p:spPr bwMode="auto">
          <a:xfrm>
            <a:off x="3309081" y="2789555"/>
            <a:ext cx="479405" cy="667862"/>
          </a:xfrm>
          <a:prstGeom prst="rect">
            <a:avLst/>
          </a:prstGeom>
          <a:solidFill>
            <a:srgbClr val="E1471D">
              <a:lumMod val="60000"/>
              <a:lumOff val="40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59" name="Rectangle 58">
            <a:extLst>
              <a:ext uri="{FF2B5EF4-FFF2-40B4-BE49-F238E27FC236}">
                <a16:creationId xmlns:a16="http://schemas.microsoft.com/office/drawing/2014/main" id="{3EE92C08-1086-4200-92CF-2F162D44C9A0}"/>
              </a:ext>
            </a:extLst>
          </p:cNvPr>
          <p:cNvSpPr/>
          <p:nvPr/>
        </p:nvSpPr>
        <p:spPr bwMode="auto">
          <a:xfrm>
            <a:off x="3309081" y="2491102"/>
            <a:ext cx="479405" cy="298768"/>
          </a:xfrm>
          <a:prstGeom prst="rect">
            <a:avLst/>
          </a:prstGeom>
          <a:solidFill>
            <a:srgbClr val="E1471D"/>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0" name="Rectangle 59">
            <a:extLst>
              <a:ext uri="{FF2B5EF4-FFF2-40B4-BE49-F238E27FC236}">
                <a16:creationId xmlns:a16="http://schemas.microsoft.com/office/drawing/2014/main" id="{0E12F8ED-02F5-47F6-A613-B638F9F9C12E}"/>
              </a:ext>
            </a:extLst>
          </p:cNvPr>
          <p:cNvSpPr/>
          <p:nvPr/>
        </p:nvSpPr>
        <p:spPr bwMode="auto">
          <a:xfrm>
            <a:off x="3309081" y="2181968"/>
            <a:ext cx="479405" cy="306604"/>
          </a:xfrm>
          <a:prstGeom prst="rect">
            <a:avLst/>
          </a:prstGeom>
          <a:solidFill>
            <a:srgbClr val="E1471D">
              <a:lumMod val="75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1" name="Rectangle 60">
            <a:extLst>
              <a:ext uri="{FF2B5EF4-FFF2-40B4-BE49-F238E27FC236}">
                <a16:creationId xmlns:a16="http://schemas.microsoft.com/office/drawing/2014/main" id="{83BC9203-B3AA-482D-BA0F-20D5CAB39E64}"/>
              </a:ext>
            </a:extLst>
          </p:cNvPr>
          <p:cNvSpPr/>
          <p:nvPr/>
        </p:nvSpPr>
        <p:spPr bwMode="auto">
          <a:xfrm>
            <a:off x="4121080" y="3760527"/>
            <a:ext cx="479405" cy="285703"/>
          </a:xfrm>
          <a:prstGeom prst="rect">
            <a:avLst/>
          </a:prstGeom>
          <a:solidFill>
            <a:srgbClr val="4DA1BB">
              <a:lumMod val="60000"/>
              <a:lumOff val="40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2" name="Rectangle 61">
            <a:extLst>
              <a:ext uri="{FF2B5EF4-FFF2-40B4-BE49-F238E27FC236}">
                <a16:creationId xmlns:a16="http://schemas.microsoft.com/office/drawing/2014/main" id="{A7F4EB93-3F26-4EAC-8F3B-75F57B09E917}"/>
              </a:ext>
            </a:extLst>
          </p:cNvPr>
          <p:cNvSpPr/>
          <p:nvPr/>
        </p:nvSpPr>
        <p:spPr bwMode="auto">
          <a:xfrm>
            <a:off x="4121080" y="3090612"/>
            <a:ext cx="479405" cy="669920"/>
          </a:xfrm>
          <a:prstGeom prst="rect">
            <a:avLst/>
          </a:prstGeom>
          <a:solidFill>
            <a:srgbClr val="4DA1BB"/>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3" name="Rectangle 62">
            <a:extLst>
              <a:ext uri="{FF2B5EF4-FFF2-40B4-BE49-F238E27FC236}">
                <a16:creationId xmlns:a16="http://schemas.microsoft.com/office/drawing/2014/main" id="{7170A47D-ADA8-4F64-A540-D12D484BA145}"/>
              </a:ext>
            </a:extLst>
          </p:cNvPr>
          <p:cNvSpPr/>
          <p:nvPr/>
        </p:nvSpPr>
        <p:spPr bwMode="auto">
          <a:xfrm>
            <a:off x="4121080" y="2709067"/>
            <a:ext cx="479405" cy="381545"/>
          </a:xfrm>
          <a:prstGeom prst="rect">
            <a:avLst/>
          </a:prstGeom>
          <a:solidFill>
            <a:srgbClr val="015873"/>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4" name="Rectangle 63">
            <a:extLst>
              <a:ext uri="{FF2B5EF4-FFF2-40B4-BE49-F238E27FC236}">
                <a16:creationId xmlns:a16="http://schemas.microsoft.com/office/drawing/2014/main" id="{2C824E8D-935B-417D-A4D8-37DFF78FB416}"/>
              </a:ext>
            </a:extLst>
          </p:cNvPr>
          <p:cNvSpPr/>
          <p:nvPr/>
        </p:nvSpPr>
        <p:spPr bwMode="auto">
          <a:xfrm>
            <a:off x="4121080" y="1928272"/>
            <a:ext cx="479405" cy="780791"/>
          </a:xfrm>
          <a:prstGeom prst="rect">
            <a:avLst/>
          </a:prstGeom>
          <a:solidFill>
            <a:srgbClr val="015873">
              <a:lumMod val="75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5" name="Rectangle 64">
            <a:extLst>
              <a:ext uri="{FF2B5EF4-FFF2-40B4-BE49-F238E27FC236}">
                <a16:creationId xmlns:a16="http://schemas.microsoft.com/office/drawing/2014/main" id="{DC078CED-7F91-45D7-A7D6-7678BA55934F}"/>
              </a:ext>
            </a:extLst>
          </p:cNvPr>
          <p:cNvSpPr/>
          <p:nvPr/>
        </p:nvSpPr>
        <p:spPr bwMode="auto">
          <a:xfrm>
            <a:off x="4751621" y="3482202"/>
            <a:ext cx="479405" cy="564029"/>
          </a:xfrm>
          <a:prstGeom prst="rect">
            <a:avLst/>
          </a:prstGeom>
          <a:solidFill>
            <a:srgbClr val="E1471D">
              <a:lumMod val="40000"/>
              <a:lumOff val="60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6" name="Rectangle 65">
            <a:extLst>
              <a:ext uri="{FF2B5EF4-FFF2-40B4-BE49-F238E27FC236}">
                <a16:creationId xmlns:a16="http://schemas.microsoft.com/office/drawing/2014/main" id="{2D7EC620-A933-4F0C-9B25-5A53D030E198}"/>
              </a:ext>
            </a:extLst>
          </p:cNvPr>
          <p:cNvSpPr/>
          <p:nvPr/>
        </p:nvSpPr>
        <p:spPr bwMode="auto">
          <a:xfrm>
            <a:off x="4751621" y="2871331"/>
            <a:ext cx="479405" cy="620041"/>
          </a:xfrm>
          <a:prstGeom prst="rect">
            <a:avLst/>
          </a:prstGeom>
          <a:solidFill>
            <a:srgbClr val="E1471D">
              <a:lumMod val="60000"/>
              <a:lumOff val="40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7" name="Rectangle 66">
            <a:extLst>
              <a:ext uri="{FF2B5EF4-FFF2-40B4-BE49-F238E27FC236}">
                <a16:creationId xmlns:a16="http://schemas.microsoft.com/office/drawing/2014/main" id="{31729FC6-4F34-453C-9A09-44E9D160FB75}"/>
              </a:ext>
            </a:extLst>
          </p:cNvPr>
          <p:cNvSpPr/>
          <p:nvPr/>
        </p:nvSpPr>
        <p:spPr bwMode="auto">
          <a:xfrm>
            <a:off x="4751621" y="2522114"/>
            <a:ext cx="479405" cy="349214"/>
          </a:xfrm>
          <a:prstGeom prst="rect">
            <a:avLst/>
          </a:prstGeom>
          <a:solidFill>
            <a:srgbClr val="E1471D"/>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8" name="Rectangle 67">
            <a:extLst>
              <a:ext uri="{FF2B5EF4-FFF2-40B4-BE49-F238E27FC236}">
                <a16:creationId xmlns:a16="http://schemas.microsoft.com/office/drawing/2014/main" id="{49154871-440D-4305-96AF-2CBF7C56DE9E}"/>
              </a:ext>
            </a:extLst>
          </p:cNvPr>
          <p:cNvSpPr/>
          <p:nvPr/>
        </p:nvSpPr>
        <p:spPr bwMode="auto">
          <a:xfrm>
            <a:off x="4751621" y="2205140"/>
            <a:ext cx="479405" cy="316972"/>
          </a:xfrm>
          <a:prstGeom prst="rect">
            <a:avLst/>
          </a:prstGeom>
          <a:solidFill>
            <a:srgbClr val="E1471D">
              <a:lumMod val="75000"/>
            </a:srgbClr>
          </a:solidFill>
          <a:ln w="9525">
            <a:solidFill>
              <a:srgbClr val="000000"/>
            </a:solidFill>
            <a:round/>
            <a:headEnd/>
            <a:tailEnd/>
          </a:ln>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9" name="TextBox 68">
            <a:extLst>
              <a:ext uri="{FF2B5EF4-FFF2-40B4-BE49-F238E27FC236}">
                <a16:creationId xmlns:a16="http://schemas.microsoft.com/office/drawing/2014/main" id="{54CB5202-0E24-4074-A55B-062B787404C9}"/>
              </a:ext>
            </a:extLst>
          </p:cNvPr>
          <p:cNvSpPr txBox="1"/>
          <p:nvPr/>
        </p:nvSpPr>
        <p:spPr bwMode="auto">
          <a:xfrm>
            <a:off x="980340" y="1330081"/>
            <a:ext cx="1397370"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Primary: 28.0 mo</a:t>
            </a:r>
          </a:p>
        </p:txBody>
      </p:sp>
      <p:sp>
        <p:nvSpPr>
          <p:cNvPr id="70" name="TextBox 69">
            <a:extLst>
              <a:ext uri="{FF2B5EF4-FFF2-40B4-BE49-F238E27FC236}">
                <a16:creationId xmlns:a16="http://schemas.microsoft.com/office/drawing/2014/main" id="{B18F17FD-9CA6-4F32-8FE3-A27F196FEE5F}"/>
              </a:ext>
            </a:extLst>
          </p:cNvPr>
          <p:cNvSpPr txBox="1"/>
          <p:nvPr/>
        </p:nvSpPr>
        <p:spPr bwMode="auto">
          <a:xfrm>
            <a:off x="2828954" y="1330081"/>
            <a:ext cx="76014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6.4 mo</a:t>
            </a:r>
          </a:p>
        </p:txBody>
      </p:sp>
      <p:sp>
        <p:nvSpPr>
          <p:cNvPr id="71" name="TextBox 70">
            <a:extLst>
              <a:ext uri="{FF2B5EF4-FFF2-40B4-BE49-F238E27FC236}">
                <a16:creationId xmlns:a16="http://schemas.microsoft.com/office/drawing/2014/main" id="{3372F0F9-13D3-4047-A3F9-EDD6D697934C}"/>
              </a:ext>
            </a:extLst>
          </p:cNvPr>
          <p:cNvSpPr txBox="1"/>
          <p:nvPr/>
        </p:nvSpPr>
        <p:spPr bwMode="auto">
          <a:xfrm>
            <a:off x="4013323" y="1328677"/>
            <a:ext cx="1362617"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pdate: 47.9 mo</a:t>
            </a:r>
          </a:p>
        </p:txBody>
      </p:sp>
      <p:sp>
        <p:nvSpPr>
          <p:cNvPr id="72" name="TextBox 71">
            <a:extLst>
              <a:ext uri="{FF2B5EF4-FFF2-40B4-BE49-F238E27FC236}">
                <a16:creationId xmlns:a16="http://schemas.microsoft.com/office/drawing/2014/main" id="{8C84F888-9ADE-40FC-926D-7810741A385C}"/>
              </a:ext>
            </a:extLst>
          </p:cNvPr>
          <p:cNvSpPr txBox="1"/>
          <p:nvPr/>
        </p:nvSpPr>
        <p:spPr bwMode="auto">
          <a:xfrm>
            <a:off x="2493166" y="1078230"/>
            <a:ext cx="1465722"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ts val="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Median follow-up</a:t>
            </a:r>
          </a:p>
        </p:txBody>
      </p:sp>
      <p:cxnSp>
        <p:nvCxnSpPr>
          <p:cNvPr id="73" name="Straight Connector 72">
            <a:extLst>
              <a:ext uri="{FF2B5EF4-FFF2-40B4-BE49-F238E27FC236}">
                <a16:creationId xmlns:a16="http://schemas.microsoft.com/office/drawing/2014/main" id="{9A3EDB25-D9DE-4E7E-B5E5-80C00E5635A8}"/>
              </a:ext>
            </a:extLst>
          </p:cNvPr>
          <p:cNvCxnSpPr/>
          <p:nvPr/>
        </p:nvCxnSpPr>
        <p:spPr bwMode="auto">
          <a:xfrm>
            <a:off x="1044009" y="1339688"/>
            <a:ext cx="4496882" cy="0"/>
          </a:xfrm>
          <a:prstGeom prst="line">
            <a:avLst/>
          </a:prstGeom>
          <a:noFill/>
          <a:ln w="28575" cap="flat" cmpd="sng" algn="ctr">
            <a:solidFill>
              <a:srgbClr val="000000"/>
            </a:solidFill>
            <a:prstDash val="solid"/>
            <a:round/>
            <a:headEnd type="none" w="med" len="med"/>
            <a:tailEnd type="none" w="med" len="med"/>
          </a:ln>
          <a:effectLst/>
        </p:spPr>
      </p:cxnSp>
      <p:sp>
        <p:nvSpPr>
          <p:cNvPr id="74" name="Freeform: Shape 73">
            <a:extLst>
              <a:ext uri="{FF2B5EF4-FFF2-40B4-BE49-F238E27FC236}">
                <a16:creationId xmlns:a16="http://schemas.microsoft.com/office/drawing/2014/main" id="{9C78334A-03BC-4A70-A86C-BDDC92C8D551}"/>
              </a:ext>
            </a:extLst>
          </p:cNvPr>
          <p:cNvSpPr/>
          <p:nvPr/>
        </p:nvSpPr>
        <p:spPr bwMode="auto">
          <a:xfrm>
            <a:off x="1011708" y="1764888"/>
            <a:ext cx="4371693" cy="2281346"/>
          </a:xfrm>
          <a:custGeom>
            <a:avLst/>
            <a:gdLst>
              <a:gd name="connsiteX0" fmla="*/ 0 w 5642043"/>
              <a:gd name="connsiteY0" fmla="*/ 0 h 3579778"/>
              <a:gd name="connsiteX1" fmla="*/ 0 w 5642043"/>
              <a:gd name="connsiteY1" fmla="*/ 3579778 h 3579778"/>
              <a:gd name="connsiteX2" fmla="*/ 5642043 w 5642043"/>
              <a:gd name="connsiteY2" fmla="*/ 3579778 h 3579778"/>
            </a:gdLst>
            <a:ahLst/>
            <a:cxnLst>
              <a:cxn ang="0">
                <a:pos x="connsiteX0" y="connsiteY0"/>
              </a:cxn>
              <a:cxn ang="0">
                <a:pos x="connsiteX1" y="connsiteY1"/>
              </a:cxn>
              <a:cxn ang="0">
                <a:pos x="connsiteX2" y="connsiteY2"/>
              </a:cxn>
            </a:cxnLst>
            <a:rect l="l" t="t" r="r" b="b"/>
            <a:pathLst>
              <a:path w="5642043" h="3579778">
                <a:moveTo>
                  <a:pt x="0" y="0"/>
                </a:moveTo>
                <a:lnTo>
                  <a:pt x="0" y="3579778"/>
                </a:lnTo>
                <a:lnTo>
                  <a:pt x="5642043" y="3579778"/>
                </a:lnTo>
              </a:path>
            </a:pathLst>
          </a:custGeom>
          <a:noFill/>
          <a:ln w="28575">
            <a:solidFill>
              <a:srgbClr val="000000"/>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5" name="TextBox 74">
            <a:extLst>
              <a:ext uri="{FF2B5EF4-FFF2-40B4-BE49-F238E27FC236}">
                <a16:creationId xmlns:a16="http://schemas.microsoft.com/office/drawing/2014/main" id="{58055099-89B6-47CF-B055-E3577FF00261}"/>
              </a:ext>
            </a:extLst>
          </p:cNvPr>
          <p:cNvSpPr txBox="1"/>
          <p:nvPr/>
        </p:nvSpPr>
        <p:spPr bwMode="auto">
          <a:xfrm>
            <a:off x="1182431" y="3764878"/>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14%</a:t>
            </a:r>
          </a:p>
        </p:txBody>
      </p:sp>
      <p:sp>
        <p:nvSpPr>
          <p:cNvPr id="76" name="TextBox 75">
            <a:extLst>
              <a:ext uri="{FF2B5EF4-FFF2-40B4-BE49-F238E27FC236}">
                <a16:creationId xmlns:a16="http://schemas.microsoft.com/office/drawing/2014/main" id="{9E77E06E-27A8-4144-ACB5-6E4385C90E63}"/>
              </a:ext>
            </a:extLst>
          </p:cNvPr>
          <p:cNvSpPr txBox="1"/>
          <p:nvPr/>
        </p:nvSpPr>
        <p:spPr bwMode="auto">
          <a:xfrm>
            <a:off x="1182430" y="3264872"/>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32%</a:t>
            </a:r>
          </a:p>
        </p:txBody>
      </p:sp>
      <p:sp>
        <p:nvSpPr>
          <p:cNvPr id="77" name="TextBox 76">
            <a:extLst>
              <a:ext uri="{FF2B5EF4-FFF2-40B4-BE49-F238E27FC236}">
                <a16:creationId xmlns:a16="http://schemas.microsoft.com/office/drawing/2014/main" id="{5A203981-6DBE-4B12-BF85-54583454A4CE}"/>
              </a:ext>
            </a:extLst>
          </p:cNvPr>
          <p:cNvSpPr txBox="1"/>
          <p:nvPr/>
        </p:nvSpPr>
        <p:spPr bwMode="auto">
          <a:xfrm>
            <a:off x="1182430" y="2677736"/>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7%</a:t>
            </a:r>
          </a:p>
        </p:txBody>
      </p:sp>
      <p:sp>
        <p:nvSpPr>
          <p:cNvPr id="78" name="TextBox 77">
            <a:extLst>
              <a:ext uri="{FF2B5EF4-FFF2-40B4-BE49-F238E27FC236}">
                <a16:creationId xmlns:a16="http://schemas.microsoft.com/office/drawing/2014/main" id="{CBA278B1-8C9D-487D-B492-9539FEBB5C08}"/>
              </a:ext>
            </a:extLst>
          </p:cNvPr>
          <p:cNvSpPr txBox="1"/>
          <p:nvPr/>
        </p:nvSpPr>
        <p:spPr bwMode="auto">
          <a:xfrm>
            <a:off x="1182430" y="2138283"/>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30%</a:t>
            </a:r>
          </a:p>
        </p:txBody>
      </p:sp>
      <p:sp>
        <p:nvSpPr>
          <p:cNvPr id="79" name="TextBox 78">
            <a:extLst>
              <a:ext uri="{FF2B5EF4-FFF2-40B4-BE49-F238E27FC236}">
                <a16:creationId xmlns:a16="http://schemas.microsoft.com/office/drawing/2014/main" id="{0648CA18-DB53-4289-B321-56678132E744}"/>
              </a:ext>
            </a:extLst>
          </p:cNvPr>
          <p:cNvSpPr txBox="1"/>
          <p:nvPr/>
        </p:nvSpPr>
        <p:spPr bwMode="auto">
          <a:xfrm>
            <a:off x="1812972" y="3616946"/>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8%</a:t>
            </a:r>
          </a:p>
        </p:txBody>
      </p:sp>
      <p:sp>
        <p:nvSpPr>
          <p:cNvPr id="80" name="TextBox 79">
            <a:extLst>
              <a:ext uri="{FF2B5EF4-FFF2-40B4-BE49-F238E27FC236}">
                <a16:creationId xmlns:a16="http://schemas.microsoft.com/office/drawing/2014/main" id="{B4AD83A3-AB4B-43B1-9C32-75BB737B5B5C}"/>
              </a:ext>
            </a:extLst>
          </p:cNvPr>
          <p:cNvSpPr txBox="1"/>
          <p:nvPr/>
        </p:nvSpPr>
        <p:spPr bwMode="auto">
          <a:xfrm>
            <a:off x="1812972" y="2972598"/>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8%</a:t>
            </a:r>
          </a:p>
        </p:txBody>
      </p:sp>
      <p:sp>
        <p:nvSpPr>
          <p:cNvPr id="81" name="TextBox 80">
            <a:extLst>
              <a:ext uri="{FF2B5EF4-FFF2-40B4-BE49-F238E27FC236}">
                <a16:creationId xmlns:a16="http://schemas.microsoft.com/office/drawing/2014/main" id="{AC299C4A-2181-49B2-B4BC-D6BC24C18CF9}"/>
              </a:ext>
            </a:extLst>
          </p:cNvPr>
          <p:cNvSpPr txBox="1"/>
          <p:nvPr/>
        </p:nvSpPr>
        <p:spPr bwMode="auto">
          <a:xfrm>
            <a:off x="1812972" y="2506156"/>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3%</a:t>
            </a:r>
          </a:p>
        </p:txBody>
      </p:sp>
      <p:sp>
        <p:nvSpPr>
          <p:cNvPr id="82" name="TextBox 81">
            <a:extLst>
              <a:ext uri="{FF2B5EF4-FFF2-40B4-BE49-F238E27FC236}">
                <a16:creationId xmlns:a16="http://schemas.microsoft.com/office/drawing/2014/main" id="{0EE83B73-527D-4A6D-9208-F47201EE3D98}"/>
              </a:ext>
            </a:extLst>
          </p:cNvPr>
          <p:cNvSpPr txBox="1"/>
          <p:nvPr/>
        </p:nvSpPr>
        <p:spPr bwMode="auto">
          <a:xfrm>
            <a:off x="1812972" y="2180168"/>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3%</a:t>
            </a:r>
          </a:p>
        </p:txBody>
      </p:sp>
      <p:sp>
        <p:nvSpPr>
          <p:cNvPr id="83" name="TextBox 82">
            <a:extLst>
              <a:ext uri="{FF2B5EF4-FFF2-40B4-BE49-F238E27FC236}">
                <a16:creationId xmlns:a16="http://schemas.microsoft.com/office/drawing/2014/main" id="{373B78DD-A3F9-40DE-81E3-485EB3C9B05C}"/>
              </a:ext>
            </a:extLst>
          </p:cNvPr>
          <p:cNvSpPr txBox="1"/>
          <p:nvPr/>
        </p:nvSpPr>
        <p:spPr bwMode="auto">
          <a:xfrm>
            <a:off x="2674425" y="3760729"/>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13%</a:t>
            </a:r>
          </a:p>
        </p:txBody>
      </p:sp>
      <p:sp>
        <p:nvSpPr>
          <p:cNvPr id="84" name="TextBox 83">
            <a:extLst>
              <a:ext uri="{FF2B5EF4-FFF2-40B4-BE49-F238E27FC236}">
                <a16:creationId xmlns:a16="http://schemas.microsoft.com/office/drawing/2014/main" id="{3569DEE0-DC4B-4C68-BFD7-757059F72ABD}"/>
              </a:ext>
            </a:extLst>
          </p:cNvPr>
          <p:cNvSpPr txBox="1"/>
          <p:nvPr/>
        </p:nvSpPr>
        <p:spPr bwMode="auto">
          <a:xfrm>
            <a:off x="2674424" y="3260722"/>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31%</a:t>
            </a:r>
          </a:p>
        </p:txBody>
      </p:sp>
      <p:sp>
        <p:nvSpPr>
          <p:cNvPr id="85" name="TextBox 84">
            <a:extLst>
              <a:ext uri="{FF2B5EF4-FFF2-40B4-BE49-F238E27FC236}">
                <a16:creationId xmlns:a16="http://schemas.microsoft.com/office/drawing/2014/main" id="{30B8E7DC-B592-4117-AEEE-FB3C640F381F}"/>
              </a:ext>
            </a:extLst>
          </p:cNvPr>
          <p:cNvSpPr txBox="1"/>
          <p:nvPr/>
        </p:nvSpPr>
        <p:spPr bwMode="auto">
          <a:xfrm>
            <a:off x="2674424" y="2673586"/>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7%</a:t>
            </a:r>
          </a:p>
        </p:txBody>
      </p:sp>
      <p:sp>
        <p:nvSpPr>
          <p:cNvPr id="86" name="TextBox 85">
            <a:extLst>
              <a:ext uri="{FF2B5EF4-FFF2-40B4-BE49-F238E27FC236}">
                <a16:creationId xmlns:a16="http://schemas.microsoft.com/office/drawing/2014/main" id="{12072E6E-8992-4358-B678-8309FB431648}"/>
              </a:ext>
            </a:extLst>
          </p:cNvPr>
          <p:cNvSpPr txBox="1"/>
          <p:nvPr/>
        </p:nvSpPr>
        <p:spPr bwMode="auto">
          <a:xfrm>
            <a:off x="2674424" y="2134133"/>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33%</a:t>
            </a:r>
          </a:p>
        </p:txBody>
      </p:sp>
      <p:sp>
        <p:nvSpPr>
          <p:cNvPr id="87" name="TextBox 86">
            <a:extLst>
              <a:ext uri="{FF2B5EF4-FFF2-40B4-BE49-F238E27FC236}">
                <a16:creationId xmlns:a16="http://schemas.microsoft.com/office/drawing/2014/main" id="{D0C492A8-99E5-4AC8-9DDE-C7E326935F18}"/>
              </a:ext>
            </a:extLst>
          </p:cNvPr>
          <p:cNvSpPr txBox="1"/>
          <p:nvPr/>
        </p:nvSpPr>
        <p:spPr bwMode="auto">
          <a:xfrm>
            <a:off x="3304966" y="3636444"/>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7%</a:t>
            </a:r>
          </a:p>
        </p:txBody>
      </p:sp>
      <p:sp>
        <p:nvSpPr>
          <p:cNvPr id="88" name="TextBox 87">
            <a:extLst>
              <a:ext uri="{FF2B5EF4-FFF2-40B4-BE49-F238E27FC236}">
                <a16:creationId xmlns:a16="http://schemas.microsoft.com/office/drawing/2014/main" id="{839F2FDE-1E40-457D-A82B-E17BE9DEB3A5}"/>
              </a:ext>
            </a:extLst>
          </p:cNvPr>
          <p:cNvSpPr txBox="1"/>
          <p:nvPr/>
        </p:nvSpPr>
        <p:spPr bwMode="auto">
          <a:xfrm>
            <a:off x="3304966" y="2968448"/>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8%</a:t>
            </a:r>
          </a:p>
        </p:txBody>
      </p:sp>
      <p:sp>
        <p:nvSpPr>
          <p:cNvPr id="89" name="TextBox 88">
            <a:extLst>
              <a:ext uri="{FF2B5EF4-FFF2-40B4-BE49-F238E27FC236}">
                <a16:creationId xmlns:a16="http://schemas.microsoft.com/office/drawing/2014/main" id="{F22AF9E8-33A9-4970-A38D-6C75344AC324}"/>
              </a:ext>
            </a:extLst>
          </p:cNvPr>
          <p:cNvSpPr txBox="1"/>
          <p:nvPr/>
        </p:nvSpPr>
        <p:spPr bwMode="auto">
          <a:xfrm>
            <a:off x="3304966" y="2502007"/>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3%</a:t>
            </a:r>
          </a:p>
        </p:txBody>
      </p:sp>
      <p:sp>
        <p:nvSpPr>
          <p:cNvPr id="90" name="TextBox 89">
            <a:extLst>
              <a:ext uri="{FF2B5EF4-FFF2-40B4-BE49-F238E27FC236}">
                <a16:creationId xmlns:a16="http://schemas.microsoft.com/office/drawing/2014/main" id="{819642DC-9CCD-459B-9C44-617466ABD3CB}"/>
              </a:ext>
            </a:extLst>
          </p:cNvPr>
          <p:cNvSpPr txBox="1"/>
          <p:nvPr/>
        </p:nvSpPr>
        <p:spPr bwMode="auto">
          <a:xfrm>
            <a:off x="3304966" y="2199666"/>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4%</a:t>
            </a:r>
          </a:p>
        </p:txBody>
      </p:sp>
      <p:sp>
        <p:nvSpPr>
          <p:cNvPr id="91" name="TextBox 90">
            <a:extLst>
              <a:ext uri="{FF2B5EF4-FFF2-40B4-BE49-F238E27FC236}">
                <a16:creationId xmlns:a16="http://schemas.microsoft.com/office/drawing/2014/main" id="{E2835E55-BD64-4326-BD01-342697477DDE}"/>
              </a:ext>
            </a:extLst>
          </p:cNvPr>
          <p:cNvSpPr txBox="1"/>
          <p:nvPr/>
        </p:nvSpPr>
        <p:spPr bwMode="auto">
          <a:xfrm>
            <a:off x="1182430" y="1678591"/>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93%</a:t>
            </a:r>
          </a:p>
        </p:txBody>
      </p:sp>
      <p:sp>
        <p:nvSpPr>
          <p:cNvPr id="92" name="TextBox 91">
            <a:extLst>
              <a:ext uri="{FF2B5EF4-FFF2-40B4-BE49-F238E27FC236}">
                <a16:creationId xmlns:a16="http://schemas.microsoft.com/office/drawing/2014/main" id="{F83B88F6-58B6-4249-83CF-D7D418ABCDF1}"/>
              </a:ext>
            </a:extLst>
          </p:cNvPr>
          <p:cNvSpPr txBox="1"/>
          <p:nvPr/>
        </p:nvSpPr>
        <p:spPr bwMode="auto">
          <a:xfrm>
            <a:off x="1812972" y="1920614"/>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81%</a:t>
            </a:r>
          </a:p>
        </p:txBody>
      </p:sp>
      <p:sp>
        <p:nvSpPr>
          <p:cNvPr id="93" name="TextBox 92">
            <a:extLst>
              <a:ext uri="{FF2B5EF4-FFF2-40B4-BE49-F238E27FC236}">
                <a16:creationId xmlns:a16="http://schemas.microsoft.com/office/drawing/2014/main" id="{FD159596-9232-4E71-9B27-6B0F98DE5DA6}"/>
              </a:ext>
            </a:extLst>
          </p:cNvPr>
          <p:cNvSpPr txBox="1"/>
          <p:nvPr/>
        </p:nvSpPr>
        <p:spPr bwMode="auto">
          <a:xfrm>
            <a:off x="2674424" y="1666816"/>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93%</a:t>
            </a:r>
          </a:p>
        </p:txBody>
      </p:sp>
      <p:sp>
        <p:nvSpPr>
          <p:cNvPr id="94" name="TextBox 93">
            <a:extLst>
              <a:ext uri="{FF2B5EF4-FFF2-40B4-BE49-F238E27FC236}">
                <a16:creationId xmlns:a16="http://schemas.microsoft.com/office/drawing/2014/main" id="{F8D5A4E3-88CA-4444-94E3-8567D28B6BEA}"/>
              </a:ext>
            </a:extLst>
          </p:cNvPr>
          <p:cNvSpPr txBox="1"/>
          <p:nvPr/>
        </p:nvSpPr>
        <p:spPr bwMode="auto">
          <a:xfrm>
            <a:off x="3304966" y="1931866"/>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82%</a:t>
            </a:r>
          </a:p>
        </p:txBody>
      </p:sp>
      <p:sp>
        <p:nvSpPr>
          <p:cNvPr id="95" name="TextBox 94">
            <a:extLst>
              <a:ext uri="{FF2B5EF4-FFF2-40B4-BE49-F238E27FC236}">
                <a16:creationId xmlns:a16="http://schemas.microsoft.com/office/drawing/2014/main" id="{A4005344-8035-4042-87B1-A0D93DB746AE}"/>
              </a:ext>
            </a:extLst>
          </p:cNvPr>
          <p:cNvSpPr txBox="1"/>
          <p:nvPr/>
        </p:nvSpPr>
        <p:spPr bwMode="auto">
          <a:xfrm>
            <a:off x="4116965" y="3769059"/>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12%</a:t>
            </a:r>
          </a:p>
        </p:txBody>
      </p:sp>
      <p:sp>
        <p:nvSpPr>
          <p:cNvPr id="96" name="TextBox 95">
            <a:extLst>
              <a:ext uri="{FF2B5EF4-FFF2-40B4-BE49-F238E27FC236}">
                <a16:creationId xmlns:a16="http://schemas.microsoft.com/office/drawing/2014/main" id="{9151699F-696C-4842-88B2-96F8BE110A79}"/>
              </a:ext>
            </a:extLst>
          </p:cNvPr>
          <p:cNvSpPr txBox="1"/>
          <p:nvPr/>
        </p:nvSpPr>
        <p:spPr bwMode="auto">
          <a:xfrm>
            <a:off x="4116964" y="3308465"/>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30%</a:t>
            </a:r>
          </a:p>
        </p:txBody>
      </p:sp>
      <p:sp>
        <p:nvSpPr>
          <p:cNvPr id="97" name="TextBox 96">
            <a:extLst>
              <a:ext uri="{FF2B5EF4-FFF2-40B4-BE49-F238E27FC236}">
                <a16:creationId xmlns:a16="http://schemas.microsoft.com/office/drawing/2014/main" id="{CF7C18E0-AAD7-49ED-9F3E-FB4FAB8FCE59}"/>
              </a:ext>
            </a:extLst>
          </p:cNvPr>
          <p:cNvSpPr txBox="1"/>
          <p:nvPr/>
        </p:nvSpPr>
        <p:spPr bwMode="auto">
          <a:xfrm>
            <a:off x="4116964" y="2760742"/>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7%</a:t>
            </a:r>
          </a:p>
        </p:txBody>
      </p:sp>
      <p:sp>
        <p:nvSpPr>
          <p:cNvPr id="98" name="TextBox 97">
            <a:extLst>
              <a:ext uri="{FF2B5EF4-FFF2-40B4-BE49-F238E27FC236}">
                <a16:creationId xmlns:a16="http://schemas.microsoft.com/office/drawing/2014/main" id="{14B688DB-C142-4DCC-AC33-01165063AAEA}"/>
              </a:ext>
            </a:extLst>
          </p:cNvPr>
          <p:cNvSpPr txBox="1"/>
          <p:nvPr/>
        </p:nvSpPr>
        <p:spPr bwMode="auto">
          <a:xfrm>
            <a:off x="4116964" y="2189758"/>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34%</a:t>
            </a:r>
          </a:p>
        </p:txBody>
      </p:sp>
      <p:sp>
        <p:nvSpPr>
          <p:cNvPr id="99" name="TextBox 98">
            <a:extLst>
              <a:ext uri="{FF2B5EF4-FFF2-40B4-BE49-F238E27FC236}">
                <a16:creationId xmlns:a16="http://schemas.microsoft.com/office/drawing/2014/main" id="{B86B3AC6-9B24-43FB-97D8-8659B39D0870}"/>
              </a:ext>
            </a:extLst>
          </p:cNvPr>
          <p:cNvSpPr txBox="1"/>
          <p:nvPr/>
        </p:nvSpPr>
        <p:spPr bwMode="auto">
          <a:xfrm>
            <a:off x="4747506" y="3644774"/>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5%</a:t>
            </a:r>
          </a:p>
        </p:txBody>
      </p:sp>
      <p:sp>
        <p:nvSpPr>
          <p:cNvPr id="100" name="TextBox 99">
            <a:extLst>
              <a:ext uri="{FF2B5EF4-FFF2-40B4-BE49-F238E27FC236}">
                <a16:creationId xmlns:a16="http://schemas.microsoft.com/office/drawing/2014/main" id="{BE4E562A-D81E-4485-99D6-D91453499416}"/>
              </a:ext>
            </a:extLst>
          </p:cNvPr>
          <p:cNvSpPr txBox="1"/>
          <p:nvPr/>
        </p:nvSpPr>
        <p:spPr bwMode="auto">
          <a:xfrm>
            <a:off x="4747506" y="3055605"/>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7%</a:t>
            </a:r>
          </a:p>
        </p:txBody>
      </p:sp>
      <p:sp>
        <p:nvSpPr>
          <p:cNvPr id="101" name="TextBox 100">
            <a:extLst>
              <a:ext uri="{FF2B5EF4-FFF2-40B4-BE49-F238E27FC236}">
                <a16:creationId xmlns:a16="http://schemas.microsoft.com/office/drawing/2014/main" id="{51F999B4-6E50-479A-BAE6-602B07692929}"/>
              </a:ext>
            </a:extLst>
          </p:cNvPr>
          <p:cNvSpPr txBox="1"/>
          <p:nvPr/>
        </p:nvSpPr>
        <p:spPr bwMode="auto">
          <a:xfrm>
            <a:off x="4747506" y="2565514"/>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5%</a:t>
            </a:r>
          </a:p>
        </p:txBody>
      </p:sp>
      <p:sp>
        <p:nvSpPr>
          <p:cNvPr id="102" name="TextBox 101">
            <a:extLst>
              <a:ext uri="{FF2B5EF4-FFF2-40B4-BE49-F238E27FC236}">
                <a16:creationId xmlns:a16="http://schemas.microsoft.com/office/drawing/2014/main" id="{9EF9C52B-9079-4DD2-A54A-D28838230B0A}"/>
              </a:ext>
            </a:extLst>
          </p:cNvPr>
          <p:cNvSpPr txBox="1"/>
          <p:nvPr/>
        </p:nvSpPr>
        <p:spPr bwMode="auto">
          <a:xfrm>
            <a:off x="4747506" y="2231644"/>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Calibri"/>
                <a:ea typeface="+mn-ea"/>
                <a:cs typeface="Arial" panose="020B0604020202020204" pitchFamily="34" charset="0"/>
              </a:rPr>
              <a:t>14%</a:t>
            </a:r>
          </a:p>
        </p:txBody>
      </p:sp>
      <p:sp>
        <p:nvSpPr>
          <p:cNvPr id="103" name="TextBox 102">
            <a:extLst>
              <a:ext uri="{FF2B5EF4-FFF2-40B4-BE49-F238E27FC236}">
                <a16:creationId xmlns:a16="http://schemas.microsoft.com/office/drawing/2014/main" id="{B9798471-5CBE-4891-9CBA-C949C3517AFE}"/>
              </a:ext>
            </a:extLst>
          </p:cNvPr>
          <p:cNvSpPr txBox="1"/>
          <p:nvPr/>
        </p:nvSpPr>
        <p:spPr bwMode="auto">
          <a:xfrm>
            <a:off x="4116964" y="1682772"/>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93%</a:t>
            </a:r>
          </a:p>
        </p:txBody>
      </p:sp>
      <p:sp>
        <p:nvSpPr>
          <p:cNvPr id="104" name="TextBox 103">
            <a:extLst>
              <a:ext uri="{FF2B5EF4-FFF2-40B4-BE49-F238E27FC236}">
                <a16:creationId xmlns:a16="http://schemas.microsoft.com/office/drawing/2014/main" id="{4AB31C30-732B-4136-9ECD-8BD01AD5BFA5}"/>
              </a:ext>
            </a:extLst>
          </p:cNvPr>
          <p:cNvSpPr txBox="1"/>
          <p:nvPr/>
        </p:nvSpPr>
        <p:spPr bwMode="auto">
          <a:xfrm>
            <a:off x="4747506" y="1940560"/>
            <a:ext cx="487634"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82%</a:t>
            </a:r>
          </a:p>
        </p:txBody>
      </p:sp>
      <p:sp>
        <p:nvSpPr>
          <p:cNvPr id="106" name="Text Box 15">
            <a:extLst>
              <a:ext uri="{FF2B5EF4-FFF2-40B4-BE49-F238E27FC236}">
                <a16:creationId xmlns:a16="http://schemas.microsoft.com/office/drawing/2014/main" id="{21984A02-971F-41FA-85FE-0246784E70AA}"/>
              </a:ext>
            </a:extLst>
          </p:cNvPr>
          <p:cNvSpPr txBox="1">
            <a:spLocks noChangeArrowheads="1"/>
          </p:cNvSpPr>
          <p:nvPr/>
        </p:nvSpPr>
        <p:spPr bwMode="auto">
          <a:xfrm>
            <a:off x="0" y="4904672"/>
            <a:ext cx="3771900" cy="230832"/>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da-DK" altLang="en-US" sz="900" b="0" i="0" u="none" strike="noStrike" kern="1200" cap="none" spc="-8"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Kumar SK, et al. </a:t>
            </a:r>
            <a:r>
              <a:rPr kumimoji="0" lang="en-US" altLang="en-US" sz="900" b="0" i="0" u="none" strike="noStrike" kern="1200" cap="none" spc="-8"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ASH 2020. Abstract 2276. Reproduced with permission.</a:t>
            </a:r>
            <a:endParaRPr kumimoji="0" lang="de-DE" altLang="en-US" sz="900" b="0" i="0" u="none" strike="noStrike" kern="1200" cap="none" spc="-8"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031511273"/>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 name="Title 1">
            <a:extLst>
              <a:ext uri="{FF2B5EF4-FFF2-40B4-BE49-F238E27FC236}">
                <a16:creationId xmlns:a16="http://schemas.microsoft.com/office/drawing/2014/main" id="{B947287E-E85E-4EA1-B0EC-5B2872420F9A}"/>
              </a:ext>
            </a:extLst>
          </p:cNvPr>
          <p:cNvSpPr txBox="1">
            <a:spLocks/>
          </p:cNvSpPr>
          <p:nvPr/>
        </p:nvSpPr>
        <p:spPr bwMode="auto">
          <a:xfrm>
            <a:off x="623033" y="58870"/>
            <a:ext cx="8154333" cy="827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30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MAIA</a:t>
            </a:r>
            <a:r>
              <a:rPr kumimoji="0" lang="en-US" sz="3000" b="1" i="0" u="none" strike="noStrike" kern="0" cap="none" spc="0" normalizeH="0" baseline="0" noProof="0">
                <a:ln>
                  <a:noFill/>
                </a:ln>
                <a:solidFill>
                  <a:srgbClr val="000090"/>
                </a:solidFill>
                <a:effectLst/>
                <a:uLnTx/>
                <a:uFillTx/>
                <a:latin typeface="Calibri Light" panose="020F0302020204030204" pitchFamily="34" charset="0"/>
                <a:ea typeface="+mj-ea"/>
                <a:cs typeface="Calibri Light" panose="020F0302020204030204" pitchFamily="34" charset="0"/>
              </a:rPr>
              <a:t>: PFS</a:t>
            </a:r>
          </a:p>
        </p:txBody>
      </p:sp>
      <p:sp>
        <p:nvSpPr>
          <p:cNvPr id="297" name="Content Placeholder 7">
            <a:extLst>
              <a:ext uri="{FF2B5EF4-FFF2-40B4-BE49-F238E27FC236}">
                <a16:creationId xmlns:a16="http://schemas.microsoft.com/office/drawing/2014/main" id="{B742A719-8215-4D49-9DEB-056C0270ECE5}"/>
              </a:ext>
            </a:extLst>
          </p:cNvPr>
          <p:cNvSpPr txBox="1">
            <a:spLocks/>
          </p:cNvSpPr>
          <p:nvPr/>
        </p:nvSpPr>
        <p:spPr bwMode="auto">
          <a:xfrm>
            <a:off x="6217258" y="2674446"/>
            <a:ext cx="2926742" cy="4874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257175" marR="0" lvl="0" indent="-257175" algn="l" defTabSz="685800" rtl="0" eaLnBrk="1" fontAlgn="base" latinLnBrk="0" hangingPunct="1">
              <a:lnSpc>
                <a:spcPct val="90000"/>
              </a:lnSpc>
              <a:spcBef>
                <a:spcPts val="750"/>
              </a:spcBef>
              <a:spcAft>
                <a:spcPts val="525"/>
              </a:spcAft>
              <a:buClr>
                <a:srgbClr val="000000"/>
              </a:buClr>
              <a:buSzTx/>
              <a:buFont typeface="Arial" panose="020B0604020202020204" pitchFamily="34" charset="0"/>
              <a:buChar char="•"/>
              <a:tabLst/>
              <a:defRPr/>
            </a:pPr>
            <a:r>
              <a:rPr kumimoji="0" lang="en-US" sz="1500" b="0" i="0" u="none" strike="noStrike" kern="0" cap="none" spc="0" normalizeH="0" baseline="0" noProof="0">
                <a:ln>
                  <a:noFill/>
                </a:ln>
                <a:solidFill>
                  <a:srgbClr val="000000"/>
                </a:solidFill>
                <a:effectLst/>
                <a:uLnTx/>
                <a:uFillTx/>
                <a:latin typeface="Calibri" panose="020F0502020204030204" pitchFamily="34" charset="0"/>
                <a:ea typeface="+mn-ea"/>
                <a:cs typeface="+mn-cs"/>
              </a:rPr>
              <a:t>Risk of progression or death reduced 46% with D-Rd vs Rd</a:t>
            </a:r>
          </a:p>
          <a:p>
            <a:pPr marL="257175" marR="0" lvl="0" indent="-257175" algn="l" defTabSz="685800" rtl="0" eaLnBrk="1" fontAlgn="base" latinLnBrk="0" hangingPunct="1">
              <a:lnSpc>
                <a:spcPct val="90000"/>
              </a:lnSpc>
              <a:spcBef>
                <a:spcPts val="750"/>
              </a:spcBef>
              <a:spcAft>
                <a:spcPts val="525"/>
              </a:spcAft>
              <a:buClr>
                <a:srgbClr val="000000"/>
              </a:buClr>
              <a:buSzTx/>
              <a:buFont typeface="Arial" panose="020B0604020202020204" pitchFamily="34" charset="0"/>
              <a:buChar char="•"/>
              <a:tabLst/>
              <a:defRPr/>
            </a:pPr>
            <a:r>
              <a:rPr kumimoji="0" lang="en-US" sz="1500" b="0" i="0" u="none" strike="noStrike" kern="0" cap="none" spc="0" normalizeH="0" baseline="0" noProof="0">
                <a:ln>
                  <a:noFill/>
                </a:ln>
                <a:solidFill>
                  <a:srgbClr val="000000"/>
                </a:solidFill>
                <a:effectLst/>
                <a:uLnTx/>
                <a:uFillTx/>
                <a:latin typeface="Calibri" panose="020F0502020204030204" pitchFamily="34" charset="0"/>
                <a:ea typeface="+mn-ea"/>
                <a:cs typeface="+mn-cs"/>
              </a:rPr>
              <a:t>PFS benefit evident across all subgroups, except among small set with reduced hepatic function</a:t>
            </a:r>
          </a:p>
          <a:p>
            <a:pPr marL="557213" marR="0" lvl="1" indent="-214313" algn="l" defTabSz="685800" rtl="0" eaLnBrk="1" fontAlgn="base" latinLnBrk="0" hangingPunct="1">
              <a:lnSpc>
                <a:spcPct val="90000"/>
              </a:lnSpc>
              <a:spcBef>
                <a:spcPts val="0"/>
              </a:spcBef>
              <a:spcAft>
                <a:spcPts val="525"/>
              </a:spcAft>
              <a:buClr>
                <a:srgbClr val="000000"/>
              </a:buClr>
              <a:buSzTx/>
              <a:buFont typeface="Arial" panose="020B0604020202020204" pitchFamily="34" charset="0"/>
              <a:buChar char="‒"/>
              <a:tabLst/>
              <a:defRPr/>
            </a:pPr>
            <a:r>
              <a:rPr kumimoji="0" lang="en-US" sz="1350" b="0" i="0" u="none" strike="noStrike" kern="0" cap="none" spc="0" normalizeH="0" baseline="0" noProof="0">
                <a:ln>
                  <a:noFill/>
                </a:ln>
                <a:solidFill>
                  <a:srgbClr val="000000"/>
                </a:solidFill>
                <a:effectLst/>
                <a:uLnTx/>
                <a:uFillTx/>
                <a:latin typeface="Calibri" panose="020F0502020204030204" pitchFamily="34" charset="0"/>
                <a:ea typeface="+mn-ea"/>
                <a:cs typeface="+mn-cs"/>
              </a:rPr>
              <a:t>Median PFS in high-risk subgroup: 45.3 mo with D-Rd vs 29.6 mo with Rd</a:t>
            </a:r>
          </a:p>
        </p:txBody>
      </p:sp>
      <p:graphicFrame>
        <p:nvGraphicFramePr>
          <p:cNvPr id="298" name="Group 3">
            <a:extLst>
              <a:ext uri="{FF2B5EF4-FFF2-40B4-BE49-F238E27FC236}">
                <a16:creationId xmlns:a16="http://schemas.microsoft.com/office/drawing/2014/main" id="{B0B6B344-47E7-44C8-8015-E777FC2FF929}"/>
              </a:ext>
            </a:extLst>
          </p:cNvPr>
          <p:cNvGraphicFramePr>
            <a:graphicFrameLocks/>
          </p:cNvGraphicFramePr>
          <p:nvPr/>
        </p:nvGraphicFramePr>
        <p:xfrm>
          <a:off x="6160981" y="708992"/>
          <a:ext cx="2715878" cy="1691712"/>
        </p:xfrm>
        <a:graphic>
          <a:graphicData uri="http://schemas.openxmlformats.org/drawingml/2006/table">
            <a:tbl>
              <a:tblPr>
                <a:tableStyleId>{5C22544A-7EE6-4342-B048-85BDC9FD1C3A}</a:tableStyleId>
              </a:tblPr>
              <a:tblGrid>
                <a:gridCol w="1422188">
                  <a:extLst>
                    <a:ext uri="{9D8B030D-6E8A-4147-A177-3AD203B41FA5}">
                      <a16:colId xmlns:a16="http://schemas.microsoft.com/office/drawing/2014/main" val="20000"/>
                    </a:ext>
                  </a:extLst>
                </a:gridCol>
                <a:gridCol w="646845">
                  <a:extLst>
                    <a:ext uri="{9D8B030D-6E8A-4147-A177-3AD203B41FA5}">
                      <a16:colId xmlns:a16="http://schemas.microsoft.com/office/drawing/2014/main" val="20001"/>
                    </a:ext>
                  </a:extLst>
                </a:gridCol>
                <a:gridCol w="646845">
                  <a:extLst>
                    <a:ext uri="{9D8B030D-6E8A-4147-A177-3AD203B41FA5}">
                      <a16:colId xmlns:a16="http://schemas.microsoft.com/office/drawing/2014/main" val="20002"/>
                    </a:ext>
                  </a:extLst>
                </a:gridCol>
              </a:tblGrid>
              <a:tr h="27433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u="none" strike="noStrike" cap="none" normalizeH="0" baseline="0">
                          <a:ln>
                            <a:noFill/>
                          </a:ln>
                          <a:solidFill>
                            <a:schemeClr val="bg1"/>
                          </a:solidFill>
                          <a:effectLst/>
                          <a:latin typeface="+mn-lt"/>
                        </a:rPr>
                        <a:t>PFS Event</a:t>
                      </a:r>
                      <a:endParaRPr kumimoji="0" lang="en-GB" sz="1400" b="1" i="0" u="none" strike="noStrike" cap="none" normalizeH="0" baseline="0">
                        <a:ln>
                          <a:noFill/>
                        </a:ln>
                        <a:solidFill>
                          <a:schemeClr val="bg1"/>
                        </a:solidFill>
                        <a:effectLst/>
                        <a:latin typeface="+mn-lt"/>
                      </a:endParaRPr>
                    </a:p>
                  </a:txBody>
                  <a:tcPr marL="91274" marR="91274" marT="34296" marB="34296" anchor="ctr" horzOverflow="overflow">
                    <a:lnB w="38100"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u="none" strike="noStrike" cap="none" normalizeH="0" baseline="0">
                          <a:ln>
                            <a:noFill/>
                          </a:ln>
                          <a:solidFill>
                            <a:schemeClr val="bg1"/>
                          </a:solidFill>
                          <a:effectLst/>
                          <a:latin typeface="+mn-lt"/>
                        </a:rPr>
                        <a:t>D-Rd</a:t>
                      </a:r>
                      <a:endParaRPr kumimoji="0" lang="en-US" sz="1400" b="1" i="0" u="none" strike="noStrike" cap="none" normalizeH="0" baseline="0">
                        <a:ln>
                          <a:noFill/>
                        </a:ln>
                        <a:solidFill>
                          <a:schemeClr val="bg1"/>
                        </a:solidFill>
                        <a:effectLst/>
                        <a:latin typeface="+mn-lt"/>
                      </a:endParaRPr>
                    </a:p>
                  </a:txBody>
                  <a:tcPr marL="91274" marR="91274" marT="34296" marB="34296" anchor="ctr" horzOverflow="overflow">
                    <a:lnB w="38100"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400" b="1" u="none" strike="noStrike" cap="none" normalizeH="0" baseline="0">
                          <a:ln>
                            <a:noFill/>
                          </a:ln>
                          <a:solidFill>
                            <a:schemeClr val="bg1"/>
                          </a:solidFill>
                          <a:effectLst/>
                          <a:latin typeface="+mn-lt"/>
                        </a:rPr>
                        <a:t>Rd</a:t>
                      </a:r>
                      <a:endParaRPr kumimoji="0" lang="en-US" sz="1400" b="1" i="0" u="none" strike="noStrike" cap="none" normalizeH="0" baseline="0">
                        <a:ln>
                          <a:noFill/>
                        </a:ln>
                        <a:solidFill>
                          <a:schemeClr val="bg1"/>
                        </a:solidFill>
                        <a:effectLst/>
                        <a:latin typeface="+mn-lt"/>
                      </a:endParaRPr>
                    </a:p>
                  </a:txBody>
                  <a:tcPr marL="91274" marR="91274" marT="34296" marB="34296" anchor="ctr" horzOverflow="overflow">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7433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u="none" strike="noStrike" cap="none" normalizeH="0" baseline="0">
                          <a:ln>
                            <a:noFill/>
                          </a:ln>
                          <a:solidFill>
                            <a:schemeClr val="bg2">
                              <a:lumMod val="10000"/>
                            </a:schemeClr>
                          </a:solidFill>
                          <a:effectLst/>
                          <a:latin typeface="+mn-lt"/>
                        </a:rPr>
                        <a:t>Median PFS, mo</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lnT w="38100" cap="flat" cmpd="sng" algn="ctr">
                      <a:solidFill>
                        <a:schemeClr val="bg1"/>
                      </a:solidFill>
                      <a:prstDash val="solid"/>
                      <a:round/>
                      <a:headEnd type="none" w="med" len="med"/>
                      <a:tailEnd type="none" w="med" len="med"/>
                    </a:lnT>
                    <a:solidFill>
                      <a:srgbClr val="CFD5EA"/>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u="none" strike="noStrike" cap="none" normalizeH="0" baseline="0">
                          <a:ln>
                            <a:noFill/>
                          </a:ln>
                          <a:solidFill>
                            <a:schemeClr val="bg2">
                              <a:lumMod val="10000"/>
                            </a:schemeClr>
                          </a:solidFill>
                          <a:effectLst/>
                          <a:latin typeface="+mn-lt"/>
                        </a:rPr>
                        <a:t>NR</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lnT w="38100" cap="flat" cmpd="sng" algn="ctr">
                      <a:solidFill>
                        <a:schemeClr val="bg1"/>
                      </a:solidFill>
                      <a:prstDash val="solid"/>
                      <a:round/>
                      <a:headEnd type="none" w="med" len="med"/>
                      <a:tailEnd type="none" w="med" len="med"/>
                    </a:lnT>
                    <a:solidFill>
                      <a:srgbClr val="CFD5EA"/>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u="none" strike="noStrike" cap="none" normalizeH="0" baseline="0">
                          <a:ln>
                            <a:noFill/>
                          </a:ln>
                          <a:solidFill>
                            <a:schemeClr val="bg2">
                              <a:lumMod val="10000"/>
                            </a:schemeClr>
                          </a:solidFill>
                          <a:effectLst/>
                          <a:latin typeface="+mn-lt"/>
                        </a:rPr>
                        <a:t>34.4</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lnT w="38100" cap="flat" cmpd="sng" algn="ctr">
                      <a:solidFill>
                        <a:schemeClr val="bg1"/>
                      </a:solidFill>
                      <a:prstDash val="solid"/>
                      <a:round/>
                      <a:headEnd type="none" w="med" len="med"/>
                      <a:tailEnd type="none" w="med" len="med"/>
                    </a:lnT>
                    <a:solidFill>
                      <a:srgbClr val="CFD5EA"/>
                    </a:solidFill>
                  </a:tcPr>
                </a:tc>
                <a:extLst>
                  <a:ext uri="{0D108BD9-81ED-4DB2-BD59-A6C34878D82A}">
                    <a16:rowId xmlns:a16="http://schemas.microsoft.com/office/drawing/2014/main" val="3230366515"/>
                  </a:ext>
                </a:extLst>
              </a:tr>
              <a:tr h="27433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u="none" strike="noStrike" cap="none" normalizeH="0" baseline="0">
                          <a:ln>
                            <a:noFill/>
                          </a:ln>
                          <a:solidFill>
                            <a:schemeClr val="bg2">
                              <a:lumMod val="10000"/>
                            </a:schemeClr>
                          </a:solidFill>
                          <a:effectLst/>
                          <a:latin typeface="+mn-lt"/>
                        </a:rPr>
                        <a:t>PFS rate, %</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tc>
                <a:extLst>
                  <a:ext uri="{0D108BD9-81ED-4DB2-BD59-A6C34878D82A}">
                    <a16:rowId xmlns:a16="http://schemas.microsoft.com/office/drawing/2014/main" val="2466578458"/>
                  </a:ext>
                </a:extLst>
              </a:tr>
              <a:tr h="27433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u="none" strike="noStrike" cap="none" normalizeH="0" baseline="0">
                          <a:ln>
                            <a:noFill/>
                          </a:ln>
                          <a:solidFill>
                            <a:schemeClr val="bg2">
                              <a:lumMod val="10000"/>
                            </a:schemeClr>
                          </a:solidFill>
                          <a:effectLst/>
                          <a:latin typeface="+mn-lt"/>
                        </a:rPr>
                        <a:t>12 mo</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solidFill>
                      <a:srgbClr val="CFD5EA"/>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u="none" strike="noStrike" cap="none" normalizeH="0" baseline="0">
                          <a:ln>
                            <a:noFill/>
                          </a:ln>
                          <a:solidFill>
                            <a:schemeClr val="bg2">
                              <a:lumMod val="10000"/>
                            </a:schemeClr>
                          </a:solidFill>
                          <a:effectLst/>
                          <a:latin typeface="+mn-lt"/>
                        </a:rPr>
                        <a:t>86.2</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solidFill>
                      <a:srgbClr val="CFD5EA"/>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u="none" strike="noStrike" cap="none" normalizeH="0" baseline="0">
                          <a:ln>
                            <a:noFill/>
                          </a:ln>
                          <a:solidFill>
                            <a:schemeClr val="bg2">
                              <a:lumMod val="10000"/>
                            </a:schemeClr>
                          </a:solidFill>
                          <a:effectLst/>
                          <a:latin typeface="+mn-lt"/>
                        </a:rPr>
                        <a:t>78.4</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solidFill>
                      <a:srgbClr val="CFD5EA"/>
                    </a:solidFill>
                  </a:tcPr>
                </a:tc>
                <a:extLst>
                  <a:ext uri="{0D108BD9-81ED-4DB2-BD59-A6C34878D82A}">
                    <a16:rowId xmlns:a16="http://schemas.microsoft.com/office/drawing/2014/main" val="10002"/>
                  </a:ext>
                </a:extLst>
              </a:tr>
              <a:tr h="27433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u="none" strike="noStrike" cap="none" normalizeH="0" baseline="0">
                          <a:ln>
                            <a:noFill/>
                          </a:ln>
                          <a:solidFill>
                            <a:schemeClr val="bg2">
                              <a:lumMod val="10000"/>
                            </a:schemeClr>
                          </a:solidFill>
                          <a:effectLst/>
                          <a:latin typeface="+mn-lt"/>
                        </a:rPr>
                        <a:t>24 mo</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u="none" strike="noStrike" cap="none" normalizeH="0" baseline="0">
                          <a:ln>
                            <a:noFill/>
                          </a:ln>
                          <a:solidFill>
                            <a:schemeClr val="bg2">
                              <a:lumMod val="10000"/>
                            </a:schemeClr>
                          </a:solidFill>
                          <a:effectLst/>
                          <a:latin typeface="+mn-lt"/>
                        </a:rPr>
                        <a:t>76.0</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u="none" strike="noStrike" cap="none" normalizeH="0" baseline="0">
                          <a:ln>
                            <a:noFill/>
                          </a:ln>
                          <a:solidFill>
                            <a:schemeClr val="bg2">
                              <a:lumMod val="10000"/>
                            </a:schemeClr>
                          </a:solidFill>
                          <a:effectLst/>
                          <a:latin typeface="+mn-lt"/>
                        </a:rPr>
                        <a:t>61.6</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tc>
                <a:extLst>
                  <a:ext uri="{0D108BD9-81ED-4DB2-BD59-A6C34878D82A}">
                    <a16:rowId xmlns:a16="http://schemas.microsoft.com/office/drawing/2014/main" val="10003"/>
                  </a:ext>
                </a:extLst>
              </a:tr>
              <a:tr h="27433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u="none" strike="noStrike" cap="none" normalizeH="0" baseline="0">
                          <a:ln>
                            <a:noFill/>
                          </a:ln>
                          <a:solidFill>
                            <a:schemeClr val="bg2">
                              <a:lumMod val="10000"/>
                            </a:schemeClr>
                          </a:solidFill>
                          <a:effectLst/>
                          <a:latin typeface="+mn-lt"/>
                        </a:rPr>
                        <a:t>36 mo</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solidFill>
                      <a:srgbClr val="CFD5EA"/>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400" b="0" u="none" strike="noStrike" cap="none" normalizeH="0" baseline="0">
                          <a:ln>
                            <a:noFill/>
                          </a:ln>
                          <a:solidFill>
                            <a:schemeClr val="bg2">
                              <a:lumMod val="10000"/>
                            </a:schemeClr>
                          </a:solidFill>
                          <a:effectLst/>
                          <a:latin typeface="+mn-lt"/>
                        </a:rPr>
                        <a:t>67.4</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solidFill>
                      <a:srgbClr val="CFD5EA"/>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u="none" strike="noStrike" cap="none" normalizeH="0" baseline="0">
                          <a:ln>
                            <a:noFill/>
                          </a:ln>
                          <a:solidFill>
                            <a:schemeClr val="bg2">
                              <a:lumMod val="10000"/>
                            </a:schemeClr>
                          </a:solidFill>
                          <a:effectLst/>
                          <a:latin typeface="+mn-lt"/>
                        </a:rPr>
                        <a:t>48.4</a:t>
                      </a:r>
                      <a:endParaRPr kumimoji="0" lang="en-US" sz="1400" b="0" i="0" u="none" strike="noStrike" cap="none" normalizeH="0" baseline="0">
                        <a:ln>
                          <a:noFill/>
                        </a:ln>
                        <a:solidFill>
                          <a:schemeClr val="bg2">
                            <a:lumMod val="10000"/>
                          </a:schemeClr>
                        </a:solidFill>
                        <a:effectLst/>
                        <a:latin typeface="+mn-lt"/>
                      </a:endParaRPr>
                    </a:p>
                  </a:txBody>
                  <a:tcPr marL="91274" marR="91274" marT="34296" marB="34296" anchor="ctr" horzOverflow="overflow">
                    <a:solidFill>
                      <a:srgbClr val="CFD5EA"/>
                    </a:solidFill>
                  </a:tcPr>
                </a:tc>
                <a:extLst>
                  <a:ext uri="{0D108BD9-81ED-4DB2-BD59-A6C34878D82A}">
                    <a16:rowId xmlns:a16="http://schemas.microsoft.com/office/drawing/2014/main" val="10004"/>
                  </a:ext>
                </a:extLst>
              </a:tr>
            </a:tbl>
          </a:graphicData>
        </a:graphic>
      </p:graphicFrame>
      <p:sp>
        <p:nvSpPr>
          <p:cNvPr id="299" name="TextBox 298">
            <a:extLst>
              <a:ext uri="{FF2B5EF4-FFF2-40B4-BE49-F238E27FC236}">
                <a16:creationId xmlns:a16="http://schemas.microsoft.com/office/drawing/2014/main" id="{03DC45C6-0B5B-4177-8B70-EB3A648FBBFD}"/>
              </a:ext>
            </a:extLst>
          </p:cNvPr>
          <p:cNvSpPr txBox="1"/>
          <p:nvPr/>
        </p:nvSpPr>
        <p:spPr bwMode="auto">
          <a:xfrm>
            <a:off x="1016523" y="3211113"/>
            <a:ext cx="2094291"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dian follow-up: 47.9 mo</a:t>
            </a:r>
          </a:p>
        </p:txBody>
      </p:sp>
      <p:sp>
        <p:nvSpPr>
          <p:cNvPr id="300" name="TextBox 299">
            <a:extLst>
              <a:ext uri="{FF2B5EF4-FFF2-40B4-BE49-F238E27FC236}">
                <a16:creationId xmlns:a16="http://schemas.microsoft.com/office/drawing/2014/main" id="{E2A25307-E669-49E6-AF95-9CAB6F7DB6E1}"/>
              </a:ext>
            </a:extLst>
          </p:cNvPr>
          <p:cNvSpPr txBox="1"/>
          <p:nvPr/>
        </p:nvSpPr>
        <p:spPr bwMode="auto">
          <a:xfrm>
            <a:off x="1016523" y="3462079"/>
            <a:ext cx="2925801"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HR = 0.54 (95% CI: 0.43-0.67); </a:t>
            </a:r>
            <a:r>
              <a:rPr kumimoji="0" lang="en-US" sz="1350" b="0" i="1" u="none" strike="noStrike" kern="1200" cap="none" spc="0" normalizeH="0" baseline="0" noProof="0">
                <a:ln>
                  <a:noFill/>
                </a:ln>
                <a:solidFill>
                  <a:srgbClr val="000000"/>
                </a:solidFill>
                <a:effectLst/>
                <a:uLnTx/>
                <a:uFillTx/>
                <a:latin typeface="Calibri"/>
                <a:ea typeface="+mn-ea"/>
                <a:cs typeface="Arial" panose="020B0604020202020204" pitchFamily="34" charset="0"/>
              </a:rPr>
              <a:t>P</a:t>
            </a: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lt;.0001</a:t>
            </a:r>
          </a:p>
        </p:txBody>
      </p:sp>
      <p:sp>
        <p:nvSpPr>
          <p:cNvPr id="301" name="Freeform: Shape 300">
            <a:extLst>
              <a:ext uri="{FF2B5EF4-FFF2-40B4-BE49-F238E27FC236}">
                <a16:creationId xmlns:a16="http://schemas.microsoft.com/office/drawing/2014/main" id="{AA21D495-0DFE-4247-9A6D-6FE1B71CE4A9}"/>
              </a:ext>
            </a:extLst>
          </p:cNvPr>
          <p:cNvSpPr/>
          <p:nvPr/>
        </p:nvSpPr>
        <p:spPr bwMode="auto">
          <a:xfrm>
            <a:off x="973427" y="1239890"/>
            <a:ext cx="3996716" cy="2502489"/>
          </a:xfrm>
          <a:custGeom>
            <a:avLst/>
            <a:gdLst>
              <a:gd name="connsiteX0" fmla="*/ 0 w 5328954"/>
              <a:gd name="connsiteY0" fmla="*/ 0 h 3336652"/>
              <a:gd name="connsiteX1" fmla="*/ 0 w 5328954"/>
              <a:gd name="connsiteY1" fmla="*/ 3336652 h 3336652"/>
              <a:gd name="connsiteX2" fmla="*/ 5328954 w 5328954"/>
              <a:gd name="connsiteY2" fmla="*/ 3336652 h 3336652"/>
            </a:gdLst>
            <a:ahLst/>
            <a:cxnLst>
              <a:cxn ang="0">
                <a:pos x="connsiteX0" y="connsiteY0"/>
              </a:cxn>
              <a:cxn ang="0">
                <a:pos x="connsiteX1" y="connsiteY1"/>
              </a:cxn>
              <a:cxn ang="0">
                <a:pos x="connsiteX2" y="connsiteY2"/>
              </a:cxn>
            </a:cxnLst>
            <a:rect l="l" t="t" r="r" b="b"/>
            <a:pathLst>
              <a:path w="5328954" h="3336652">
                <a:moveTo>
                  <a:pt x="0" y="0"/>
                </a:moveTo>
                <a:lnTo>
                  <a:pt x="0" y="3336652"/>
                </a:lnTo>
                <a:lnTo>
                  <a:pt x="5328954" y="3336652"/>
                </a:lnTo>
              </a:path>
            </a:pathLst>
          </a:custGeom>
          <a:noFill/>
          <a:ln w="28575">
            <a:solidFill>
              <a:srgbClr val="000000"/>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302" name="Straight Connector 301">
            <a:extLst>
              <a:ext uri="{FF2B5EF4-FFF2-40B4-BE49-F238E27FC236}">
                <a16:creationId xmlns:a16="http://schemas.microsoft.com/office/drawing/2014/main" id="{84C93A00-DD6B-4A87-9AC7-93E445C12F84}"/>
              </a:ext>
            </a:extLst>
          </p:cNvPr>
          <p:cNvCxnSpPr>
            <a:cxnSpLocks/>
          </p:cNvCxnSpPr>
          <p:nvPr/>
        </p:nvCxnSpPr>
        <p:spPr bwMode="auto">
          <a:xfrm>
            <a:off x="898181" y="1246394"/>
            <a:ext cx="81751" cy="0"/>
          </a:xfrm>
          <a:prstGeom prst="line">
            <a:avLst/>
          </a:prstGeom>
          <a:noFill/>
          <a:ln w="28575" cap="flat" cmpd="sng" algn="ctr">
            <a:solidFill>
              <a:srgbClr val="000000"/>
            </a:solidFill>
            <a:prstDash val="solid"/>
            <a:round/>
            <a:headEnd type="none" w="med" len="med"/>
            <a:tailEnd type="none" w="med" len="med"/>
          </a:ln>
          <a:effectLst/>
        </p:spPr>
      </p:cxnSp>
      <p:cxnSp>
        <p:nvCxnSpPr>
          <p:cNvPr id="303" name="Straight Connector 302">
            <a:extLst>
              <a:ext uri="{FF2B5EF4-FFF2-40B4-BE49-F238E27FC236}">
                <a16:creationId xmlns:a16="http://schemas.microsoft.com/office/drawing/2014/main" id="{C73AE903-EDED-4284-9D32-23293BC0DEB9}"/>
              </a:ext>
            </a:extLst>
          </p:cNvPr>
          <p:cNvCxnSpPr>
            <a:cxnSpLocks/>
          </p:cNvCxnSpPr>
          <p:nvPr/>
        </p:nvCxnSpPr>
        <p:spPr bwMode="auto">
          <a:xfrm>
            <a:off x="891677" y="1745778"/>
            <a:ext cx="81751" cy="0"/>
          </a:xfrm>
          <a:prstGeom prst="line">
            <a:avLst/>
          </a:prstGeom>
          <a:noFill/>
          <a:ln w="28575" cap="flat" cmpd="sng" algn="ctr">
            <a:solidFill>
              <a:srgbClr val="000000"/>
            </a:solidFill>
            <a:prstDash val="solid"/>
            <a:round/>
            <a:headEnd type="none" w="med" len="med"/>
            <a:tailEnd type="none" w="med" len="med"/>
          </a:ln>
          <a:effectLst/>
        </p:spPr>
      </p:cxnSp>
      <p:cxnSp>
        <p:nvCxnSpPr>
          <p:cNvPr id="304" name="Straight Connector 303">
            <a:extLst>
              <a:ext uri="{FF2B5EF4-FFF2-40B4-BE49-F238E27FC236}">
                <a16:creationId xmlns:a16="http://schemas.microsoft.com/office/drawing/2014/main" id="{78F65AA4-DFD6-4242-9740-61B2080D4086}"/>
              </a:ext>
            </a:extLst>
          </p:cNvPr>
          <p:cNvCxnSpPr>
            <a:cxnSpLocks/>
          </p:cNvCxnSpPr>
          <p:nvPr/>
        </p:nvCxnSpPr>
        <p:spPr bwMode="auto">
          <a:xfrm>
            <a:off x="898181" y="2245162"/>
            <a:ext cx="81751" cy="0"/>
          </a:xfrm>
          <a:prstGeom prst="line">
            <a:avLst/>
          </a:prstGeom>
          <a:noFill/>
          <a:ln w="28575" cap="flat" cmpd="sng" algn="ctr">
            <a:solidFill>
              <a:srgbClr val="000000"/>
            </a:solidFill>
            <a:prstDash val="solid"/>
            <a:round/>
            <a:headEnd type="none" w="med" len="med"/>
            <a:tailEnd type="none" w="med" len="med"/>
          </a:ln>
          <a:effectLst/>
        </p:spPr>
      </p:cxnSp>
      <p:cxnSp>
        <p:nvCxnSpPr>
          <p:cNvPr id="305" name="Straight Connector 304">
            <a:extLst>
              <a:ext uri="{FF2B5EF4-FFF2-40B4-BE49-F238E27FC236}">
                <a16:creationId xmlns:a16="http://schemas.microsoft.com/office/drawing/2014/main" id="{F7C30FA2-EA82-4EF4-AACF-28F9EFC2DB8D}"/>
              </a:ext>
            </a:extLst>
          </p:cNvPr>
          <p:cNvCxnSpPr>
            <a:cxnSpLocks/>
          </p:cNvCxnSpPr>
          <p:nvPr/>
        </p:nvCxnSpPr>
        <p:spPr bwMode="auto">
          <a:xfrm>
            <a:off x="898180" y="2744546"/>
            <a:ext cx="81751" cy="0"/>
          </a:xfrm>
          <a:prstGeom prst="line">
            <a:avLst/>
          </a:prstGeom>
          <a:noFill/>
          <a:ln w="28575" cap="flat" cmpd="sng" algn="ctr">
            <a:solidFill>
              <a:srgbClr val="000000"/>
            </a:solidFill>
            <a:prstDash val="solid"/>
            <a:round/>
            <a:headEnd type="none" w="med" len="med"/>
            <a:tailEnd type="none" w="med" len="med"/>
          </a:ln>
          <a:effectLst/>
        </p:spPr>
      </p:cxnSp>
      <p:cxnSp>
        <p:nvCxnSpPr>
          <p:cNvPr id="306" name="Straight Connector 305">
            <a:extLst>
              <a:ext uri="{FF2B5EF4-FFF2-40B4-BE49-F238E27FC236}">
                <a16:creationId xmlns:a16="http://schemas.microsoft.com/office/drawing/2014/main" id="{1BF0D813-D295-4FEF-9274-95D1852D68E5}"/>
              </a:ext>
            </a:extLst>
          </p:cNvPr>
          <p:cNvCxnSpPr>
            <a:cxnSpLocks/>
          </p:cNvCxnSpPr>
          <p:nvPr/>
        </p:nvCxnSpPr>
        <p:spPr bwMode="auto">
          <a:xfrm>
            <a:off x="891676" y="3243929"/>
            <a:ext cx="81751" cy="0"/>
          </a:xfrm>
          <a:prstGeom prst="line">
            <a:avLst/>
          </a:prstGeom>
          <a:noFill/>
          <a:ln w="28575" cap="flat" cmpd="sng" algn="ctr">
            <a:solidFill>
              <a:srgbClr val="000000"/>
            </a:solidFill>
            <a:prstDash val="solid"/>
            <a:round/>
            <a:headEnd type="none" w="med" len="med"/>
            <a:tailEnd type="none" w="med" len="med"/>
          </a:ln>
          <a:effectLst/>
        </p:spPr>
      </p:cxnSp>
      <p:cxnSp>
        <p:nvCxnSpPr>
          <p:cNvPr id="307" name="Straight Connector 306">
            <a:extLst>
              <a:ext uri="{FF2B5EF4-FFF2-40B4-BE49-F238E27FC236}">
                <a16:creationId xmlns:a16="http://schemas.microsoft.com/office/drawing/2014/main" id="{F8F3414C-5462-4DC5-A7D9-B93C73E2F247}"/>
              </a:ext>
            </a:extLst>
          </p:cNvPr>
          <p:cNvCxnSpPr>
            <a:cxnSpLocks/>
          </p:cNvCxnSpPr>
          <p:nvPr/>
        </p:nvCxnSpPr>
        <p:spPr bwMode="auto">
          <a:xfrm>
            <a:off x="891830" y="3743312"/>
            <a:ext cx="81751" cy="0"/>
          </a:xfrm>
          <a:prstGeom prst="line">
            <a:avLst/>
          </a:prstGeom>
          <a:noFill/>
          <a:ln w="28575" cap="flat" cmpd="sng" algn="ctr">
            <a:solidFill>
              <a:srgbClr val="000000"/>
            </a:solidFill>
            <a:prstDash val="solid"/>
            <a:round/>
            <a:headEnd type="none" w="med" len="med"/>
            <a:tailEnd type="none" w="med" len="med"/>
          </a:ln>
          <a:effectLst/>
        </p:spPr>
      </p:cxnSp>
      <p:sp>
        <p:nvSpPr>
          <p:cNvPr id="308" name="TextBox 307">
            <a:extLst>
              <a:ext uri="{FF2B5EF4-FFF2-40B4-BE49-F238E27FC236}">
                <a16:creationId xmlns:a16="http://schemas.microsoft.com/office/drawing/2014/main" id="{85A109AF-CEBB-44C6-850A-828943D3FCFF}"/>
              </a:ext>
            </a:extLst>
          </p:cNvPr>
          <p:cNvSpPr txBox="1"/>
          <p:nvPr/>
        </p:nvSpPr>
        <p:spPr bwMode="auto">
          <a:xfrm rot="16200000">
            <a:off x="-817828" y="2224655"/>
            <a:ext cx="2518833"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urviving without progression, %</a:t>
            </a:r>
          </a:p>
        </p:txBody>
      </p:sp>
      <p:cxnSp>
        <p:nvCxnSpPr>
          <p:cNvPr id="309" name="Straight Connector 308">
            <a:extLst>
              <a:ext uri="{FF2B5EF4-FFF2-40B4-BE49-F238E27FC236}">
                <a16:creationId xmlns:a16="http://schemas.microsoft.com/office/drawing/2014/main" id="{277386B5-00E3-4BDC-9CD8-F8ED44C79025}"/>
              </a:ext>
            </a:extLst>
          </p:cNvPr>
          <p:cNvCxnSpPr>
            <a:cxnSpLocks/>
          </p:cNvCxnSpPr>
          <p:nvPr/>
        </p:nvCxnSpPr>
        <p:spPr bwMode="auto">
          <a:xfrm>
            <a:off x="973581" y="374542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0" name="Straight Connector 309">
            <a:extLst>
              <a:ext uri="{FF2B5EF4-FFF2-40B4-BE49-F238E27FC236}">
                <a16:creationId xmlns:a16="http://schemas.microsoft.com/office/drawing/2014/main" id="{72AA772D-4C27-4D7E-BC88-7E7C87D824D0}"/>
              </a:ext>
            </a:extLst>
          </p:cNvPr>
          <p:cNvCxnSpPr>
            <a:cxnSpLocks/>
          </p:cNvCxnSpPr>
          <p:nvPr/>
        </p:nvCxnSpPr>
        <p:spPr bwMode="auto">
          <a:xfrm>
            <a:off x="1163827" y="3749647"/>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1" name="Straight Connector 310">
            <a:extLst>
              <a:ext uri="{FF2B5EF4-FFF2-40B4-BE49-F238E27FC236}">
                <a16:creationId xmlns:a16="http://schemas.microsoft.com/office/drawing/2014/main" id="{168F8574-F59F-4D98-83B4-6BECC70C5479}"/>
              </a:ext>
            </a:extLst>
          </p:cNvPr>
          <p:cNvCxnSpPr>
            <a:cxnSpLocks/>
          </p:cNvCxnSpPr>
          <p:nvPr/>
        </p:nvCxnSpPr>
        <p:spPr bwMode="auto">
          <a:xfrm>
            <a:off x="1354073" y="3751765"/>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2" name="Straight Connector 311">
            <a:extLst>
              <a:ext uri="{FF2B5EF4-FFF2-40B4-BE49-F238E27FC236}">
                <a16:creationId xmlns:a16="http://schemas.microsoft.com/office/drawing/2014/main" id="{DFC04287-6515-43B3-B2EF-B840F268D622}"/>
              </a:ext>
            </a:extLst>
          </p:cNvPr>
          <p:cNvCxnSpPr>
            <a:cxnSpLocks/>
          </p:cNvCxnSpPr>
          <p:nvPr/>
        </p:nvCxnSpPr>
        <p:spPr bwMode="auto">
          <a:xfrm>
            <a:off x="1544318" y="3740110"/>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3" name="Straight Connector 312">
            <a:extLst>
              <a:ext uri="{FF2B5EF4-FFF2-40B4-BE49-F238E27FC236}">
                <a16:creationId xmlns:a16="http://schemas.microsoft.com/office/drawing/2014/main" id="{2B6F80C8-735A-449F-A71F-2C3517DA5386}"/>
              </a:ext>
            </a:extLst>
          </p:cNvPr>
          <p:cNvCxnSpPr>
            <a:cxnSpLocks/>
          </p:cNvCxnSpPr>
          <p:nvPr/>
        </p:nvCxnSpPr>
        <p:spPr bwMode="auto">
          <a:xfrm>
            <a:off x="1734564" y="373907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4" name="Straight Connector 313">
            <a:extLst>
              <a:ext uri="{FF2B5EF4-FFF2-40B4-BE49-F238E27FC236}">
                <a16:creationId xmlns:a16="http://schemas.microsoft.com/office/drawing/2014/main" id="{8A6EA6C3-B696-45DE-89EF-7FE335AA1BF6}"/>
              </a:ext>
            </a:extLst>
          </p:cNvPr>
          <p:cNvCxnSpPr>
            <a:cxnSpLocks/>
          </p:cNvCxnSpPr>
          <p:nvPr/>
        </p:nvCxnSpPr>
        <p:spPr bwMode="auto">
          <a:xfrm>
            <a:off x="1924810" y="373907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5" name="Straight Connector 314">
            <a:extLst>
              <a:ext uri="{FF2B5EF4-FFF2-40B4-BE49-F238E27FC236}">
                <a16:creationId xmlns:a16="http://schemas.microsoft.com/office/drawing/2014/main" id="{6EB0758B-7F86-4714-8094-1265901FD0AC}"/>
              </a:ext>
            </a:extLst>
          </p:cNvPr>
          <p:cNvCxnSpPr>
            <a:cxnSpLocks/>
          </p:cNvCxnSpPr>
          <p:nvPr/>
        </p:nvCxnSpPr>
        <p:spPr bwMode="auto">
          <a:xfrm>
            <a:off x="2115056" y="3751765"/>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6" name="Straight Connector 315">
            <a:extLst>
              <a:ext uri="{FF2B5EF4-FFF2-40B4-BE49-F238E27FC236}">
                <a16:creationId xmlns:a16="http://schemas.microsoft.com/office/drawing/2014/main" id="{9366F0F1-7CEF-4D6E-A14E-F551231EAF83}"/>
              </a:ext>
            </a:extLst>
          </p:cNvPr>
          <p:cNvCxnSpPr>
            <a:cxnSpLocks/>
          </p:cNvCxnSpPr>
          <p:nvPr/>
        </p:nvCxnSpPr>
        <p:spPr bwMode="auto">
          <a:xfrm>
            <a:off x="2305301" y="374542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7" name="Straight Connector 316">
            <a:extLst>
              <a:ext uri="{FF2B5EF4-FFF2-40B4-BE49-F238E27FC236}">
                <a16:creationId xmlns:a16="http://schemas.microsoft.com/office/drawing/2014/main" id="{3404B08E-828D-4216-B118-6A54123ED996}"/>
              </a:ext>
            </a:extLst>
          </p:cNvPr>
          <p:cNvCxnSpPr>
            <a:cxnSpLocks/>
          </p:cNvCxnSpPr>
          <p:nvPr/>
        </p:nvCxnSpPr>
        <p:spPr bwMode="auto">
          <a:xfrm>
            <a:off x="2495547" y="374542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8" name="Straight Connector 317">
            <a:extLst>
              <a:ext uri="{FF2B5EF4-FFF2-40B4-BE49-F238E27FC236}">
                <a16:creationId xmlns:a16="http://schemas.microsoft.com/office/drawing/2014/main" id="{2B999E94-F85C-4591-914D-269DD3EE9358}"/>
              </a:ext>
            </a:extLst>
          </p:cNvPr>
          <p:cNvCxnSpPr>
            <a:cxnSpLocks/>
          </p:cNvCxnSpPr>
          <p:nvPr/>
        </p:nvCxnSpPr>
        <p:spPr bwMode="auto">
          <a:xfrm>
            <a:off x="2685793" y="3747532"/>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19" name="Straight Connector 318">
            <a:extLst>
              <a:ext uri="{FF2B5EF4-FFF2-40B4-BE49-F238E27FC236}">
                <a16:creationId xmlns:a16="http://schemas.microsoft.com/office/drawing/2014/main" id="{B9699C16-8877-4783-A170-769912BC01CE}"/>
              </a:ext>
            </a:extLst>
          </p:cNvPr>
          <p:cNvCxnSpPr>
            <a:cxnSpLocks/>
          </p:cNvCxnSpPr>
          <p:nvPr/>
        </p:nvCxnSpPr>
        <p:spPr bwMode="auto">
          <a:xfrm>
            <a:off x="2876039" y="3749647"/>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0" name="Straight Connector 319">
            <a:extLst>
              <a:ext uri="{FF2B5EF4-FFF2-40B4-BE49-F238E27FC236}">
                <a16:creationId xmlns:a16="http://schemas.microsoft.com/office/drawing/2014/main" id="{D7A57342-B2F3-4D45-97F4-2A95442938F0}"/>
              </a:ext>
            </a:extLst>
          </p:cNvPr>
          <p:cNvCxnSpPr>
            <a:cxnSpLocks/>
          </p:cNvCxnSpPr>
          <p:nvPr/>
        </p:nvCxnSpPr>
        <p:spPr bwMode="auto">
          <a:xfrm>
            <a:off x="3066284" y="374542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1" name="Straight Connector 320">
            <a:extLst>
              <a:ext uri="{FF2B5EF4-FFF2-40B4-BE49-F238E27FC236}">
                <a16:creationId xmlns:a16="http://schemas.microsoft.com/office/drawing/2014/main" id="{A50BEE64-26B0-4311-BE0D-E5AEB6992EDE}"/>
              </a:ext>
            </a:extLst>
          </p:cNvPr>
          <p:cNvCxnSpPr>
            <a:cxnSpLocks/>
          </p:cNvCxnSpPr>
          <p:nvPr/>
        </p:nvCxnSpPr>
        <p:spPr bwMode="auto">
          <a:xfrm>
            <a:off x="3256530" y="3751764"/>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2" name="Straight Connector 321">
            <a:extLst>
              <a:ext uri="{FF2B5EF4-FFF2-40B4-BE49-F238E27FC236}">
                <a16:creationId xmlns:a16="http://schemas.microsoft.com/office/drawing/2014/main" id="{75AD090A-C8C7-4392-8ECB-344D7B80EEF3}"/>
              </a:ext>
            </a:extLst>
          </p:cNvPr>
          <p:cNvCxnSpPr>
            <a:cxnSpLocks/>
          </p:cNvCxnSpPr>
          <p:nvPr/>
        </p:nvCxnSpPr>
        <p:spPr bwMode="auto">
          <a:xfrm>
            <a:off x="3446776" y="374542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3" name="Straight Connector 322">
            <a:extLst>
              <a:ext uri="{FF2B5EF4-FFF2-40B4-BE49-F238E27FC236}">
                <a16:creationId xmlns:a16="http://schemas.microsoft.com/office/drawing/2014/main" id="{9E8E659D-3035-4873-B634-57A333FFF86F}"/>
              </a:ext>
            </a:extLst>
          </p:cNvPr>
          <p:cNvCxnSpPr>
            <a:cxnSpLocks/>
          </p:cNvCxnSpPr>
          <p:nvPr/>
        </p:nvCxnSpPr>
        <p:spPr bwMode="auto">
          <a:xfrm>
            <a:off x="3637022" y="3751764"/>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4" name="Straight Connector 323">
            <a:extLst>
              <a:ext uri="{FF2B5EF4-FFF2-40B4-BE49-F238E27FC236}">
                <a16:creationId xmlns:a16="http://schemas.microsoft.com/office/drawing/2014/main" id="{B6D1B20D-8794-4D54-872E-603F65D31293}"/>
              </a:ext>
            </a:extLst>
          </p:cNvPr>
          <p:cNvCxnSpPr>
            <a:cxnSpLocks/>
          </p:cNvCxnSpPr>
          <p:nvPr/>
        </p:nvCxnSpPr>
        <p:spPr bwMode="auto">
          <a:xfrm>
            <a:off x="3827267" y="3751750"/>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5" name="Straight Connector 324">
            <a:extLst>
              <a:ext uri="{FF2B5EF4-FFF2-40B4-BE49-F238E27FC236}">
                <a16:creationId xmlns:a16="http://schemas.microsoft.com/office/drawing/2014/main" id="{C2E423E0-FFF7-4698-AFAA-240A1B567EAB}"/>
              </a:ext>
            </a:extLst>
          </p:cNvPr>
          <p:cNvCxnSpPr>
            <a:cxnSpLocks/>
          </p:cNvCxnSpPr>
          <p:nvPr/>
        </p:nvCxnSpPr>
        <p:spPr bwMode="auto">
          <a:xfrm>
            <a:off x="4017513" y="3751764"/>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6" name="Straight Connector 325">
            <a:extLst>
              <a:ext uri="{FF2B5EF4-FFF2-40B4-BE49-F238E27FC236}">
                <a16:creationId xmlns:a16="http://schemas.microsoft.com/office/drawing/2014/main" id="{639DC17B-BFCD-4750-AA02-4969A2DADE70}"/>
              </a:ext>
            </a:extLst>
          </p:cNvPr>
          <p:cNvCxnSpPr>
            <a:cxnSpLocks/>
          </p:cNvCxnSpPr>
          <p:nvPr/>
        </p:nvCxnSpPr>
        <p:spPr bwMode="auto">
          <a:xfrm>
            <a:off x="4207759" y="374542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7" name="Straight Connector 326">
            <a:extLst>
              <a:ext uri="{FF2B5EF4-FFF2-40B4-BE49-F238E27FC236}">
                <a16:creationId xmlns:a16="http://schemas.microsoft.com/office/drawing/2014/main" id="{3F808237-C5CE-4E4C-83A7-7D377F157870}"/>
              </a:ext>
            </a:extLst>
          </p:cNvPr>
          <p:cNvCxnSpPr>
            <a:cxnSpLocks/>
          </p:cNvCxnSpPr>
          <p:nvPr/>
        </p:nvCxnSpPr>
        <p:spPr bwMode="auto">
          <a:xfrm>
            <a:off x="4398005" y="374542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8" name="Straight Connector 327">
            <a:extLst>
              <a:ext uri="{FF2B5EF4-FFF2-40B4-BE49-F238E27FC236}">
                <a16:creationId xmlns:a16="http://schemas.microsoft.com/office/drawing/2014/main" id="{C628FF3D-ACD3-4E97-B213-8B68B5DD1F72}"/>
              </a:ext>
            </a:extLst>
          </p:cNvPr>
          <p:cNvCxnSpPr>
            <a:cxnSpLocks/>
          </p:cNvCxnSpPr>
          <p:nvPr/>
        </p:nvCxnSpPr>
        <p:spPr bwMode="auto">
          <a:xfrm>
            <a:off x="4588250" y="3745428"/>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29" name="Straight Connector 328">
            <a:extLst>
              <a:ext uri="{FF2B5EF4-FFF2-40B4-BE49-F238E27FC236}">
                <a16:creationId xmlns:a16="http://schemas.microsoft.com/office/drawing/2014/main" id="{C30C0B3F-928B-429A-A306-FEA7F164F92A}"/>
              </a:ext>
            </a:extLst>
          </p:cNvPr>
          <p:cNvCxnSpPr>
            <a:cxnSpLocks/>
          </p:cNvCxnSpPr>
          <p:nvPr/>
        </p:nvCxnSpPr>
        <p:spPr bwMode="auto">
          <a:xfrm>
            <a:off x="4778496" y="3749633"/>
            <a:ext cx="0" cy="78317"/>
          </a:xfrm>
          <a:prstGeom prst="line">
            <a:avLst/>
          </a:prstGeom>
          <a:noFill/>
          <a:ln w="28575" cap="flat" cmpd="sng" algn="ctr">
            <a:solidFill>
              <a:srgbClr val="000000"/>
            </a:solidFill>
            <a:prstDash val="solid"/>
            <a:round/>
            <a:headEnd type="none" w="med" len="med"/>
            <a:tailEnd type="none" w="med" len="med"/>
          </a:ln>
          <a:effectLst/>
        </p:spPr>
      </p:cxnSp>
      <p:cxnSp>
        <p:nvCxnSpPr>
          <p:cNvPr id="330" name="Straight Connector 329">
            <a:extLst>
              <a:ext uri="{FF2B5EF4-FFF2-40B4-BE49-F238E27FC236}">
                <a16:creationId xmlns:a16="http://schemas.microsoft.com/office/drawing/2014/main" id="{D6A0731E-3B3D-457F-A5D7-224804D8F495}"/>
              </a:ext>
            </a:extLst>
          </p:cNvPr>
          <p:cNvCxnSpPr>
            <a:cxnSpLocks/>
          </p:cNvCxnSpPr>
          <p:nvPr/>
        </p:nvCxnSpPr>
        <p:spPr bwMode="auto">
          <a:xfrm>
            <a:off x="4968743" y="3736962"/>
            <a:ext cx="0" cy="78317"/>
          </a:xfrm>
          <a:prstGeom prst="line">
            <a:avLst/>
          </a:prstGeom>
          <a:noFill/>
          <a:ln w="28575" cap="flat" cmpd="sng" algn="ctr">
            <a:solidFill>
              <a:srgbClr val="000000"/>
            </a:solidFill>
            <a:prstDash val="solid"/>
            <a:round/>
            <a:headEnd type="none" w="med" len="med"/>
            <a:tailEnd type="none" w="med" len="med"/>
          </a:ln>
          <a:effectLst/>
        </p:spPr>
      </p:cxnSp>
      <p:sp>
        <p:nvSpPr>
          <p:cNvPr id="331" name="TextBox 330">
            <a:extLst>
              <a:ext uri="{FF2B5EF4-FFF2-40B4-BE49-F238E27FC236}">
                <a16:creationId xmlns:a16="http://schemas.microsoft.com/office/drawing/2014/main" id="{7A72C0B0-EB81-4DB1-8FCD-128396146A3E}"/>
              </a:ext>
            </a:extLst>
          </p:cNvPr>
          <p:cNvSpPr txBox="1"/>
          <p:nvPr/>
        </p:nvSpPr>
        <p:spPr bwMode="auto">
          <a:xfrm>
            <a:off x="560297" y="1115204"/>
            <a:ext cx="416648"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00</a:t>
            </a:r>
          </a:p>
        </p:txBody>
      </p:sp>
      <p:sp>
        <p:nvSpPr>
          <p:cNvPr id="332" name="TextBox 331">
            <a:extLst>
              <a:ext uri="{FF2B5EF4-FFF2-40B4-BE49-F238E27FC236}">
                <a16:creationId xmlns:a16="http://schemas.microsoft.com/office/drawing/2014/main" id="{349E2576-5C1F-4EF4-ADCF-527707A8E077}"/>
              </a:ext>
            </a:extLst>
          </p:cNvPr>
          <p:cNvSpPr txBox="1"/>
          <p:nvPr/>
        </p:nvSpPr>
        <p:spPr bwMode="auto">
          <a:xfrm>
            <a:off x="623533" y="1603215"/>
            <a:ext cx="412751"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80</a:t>
            </a:r>
          </a:p>
        </p:txBody>
      </p:sp>
      <p:sp>
        <p:nvSpPr>
          <p:cNvPr id="333" name="TextBox 332">
            <a:extLst>
              <a:ext uri="{FF2B5EF4-FFF2-40B4-BE49-F238E27FC236}">
                <a16:creationId xmlns:a16="http://schemas.microsoft.com/office/drawing/2014/main" id="{1D214C34-E278-4B94-9763-73DBA7CAE3EC}"/>
              </a:ext>
            </a:extLst>
          </p:cNvPr>
          <p:cNvSpPr txBox="1"/>
          <p:nvPr/>
        </p:nvSpPr>
        <p:spPr bwMode="auto">
          <a:xfrm>
            <a:off x="623533" y="2113886"/>
            <a:ext cx="412751"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0</a:t>
            </a:r>
          </a:p>
        </p:txBody>
      </p:sp>
      <p:sp>
        <p:nvSpPr>
          <p:cNvPr id="334" name="TextBox 333">
            <a:extLst>
              <a:ext uri="{FF2B5EF4-FFF2-40B4-BE49-F238E27FC236}">
                <a16:creationId xmlns:a16="http://schemas.microsoft.com/office/drawing/2014/main" id="{3D833C24-1BC9-45F2-AF6D-02B3BD718A6A}"/>
              </a:ext>
            </a:extLst>
          </p:cNvPr>
          <p:cNvSpPr txBox="1"/>
          <p:nvPr/>
        </p:nvSpPr>
        <p:spPr bwMode="auto">
          <a:xfrm>
            <a:off x="617691" y="2601612"/>
            <a:ext cx="412751"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40</a:t>
            </a:r>
          </a:p>
        </p:txBody>
      </p:sp>
      <p:sp>
        <p:nvSpPr>
          <p:cNvPr id="335" name="TextBox 334">
            <a:extLst>
              <a:ext uri="{FF2B5EF4-FFF2-40B4-BE49-F238E27FC236}">
                <a16:creationId xmlns:a16="http://schemas.microsoft.com/office/drawing/2014/main" id="{A7119DF7-1BAC-4E5B-9BC4-9301BF5E8B2A}"/>
              </a:ext>
            </a:extLst>
          </p:cNvPr>
          <p:cNvSpPr txBox="1"/>
          <p:nvPr/>
        </p:nvSpPr>
        <p:spPr bwMode="auto">
          <a:xfrm>
            <a:off x="608437" y="3107706"/>
            <a:ext cx="412751"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a:t>
            </a:r>
          </a:p>
        </p:txBody>
      </p:sp>
      <p:sp>
        <p:nvSpPr>
          <p:cNvPr id="336" name="TextBox 335">
            <a:extLst>
              <a:ext uri="{FF2B5EF4-FFF2-40B4-BE49-F238E27FC236}">
                <a16:creationId xmlns:a16="http://schemas.microsoft.com/office/drawing/2014/main" id="{15382544-5016-4990-A536-492629E79608}"/>
              </a:ext>
            </a:extLst>
          </p:cNvPr>
          <p:cNvSpPr txBox="1"/>
          <p:nvPr/>
        </p:nvSpPr>
        <p:spPr bwMode="auto">
          <a:xfrm>
            <a:off x="694072" y="3600580"/>
            <a:ext cx="412751"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0</a:t>
            </a:r>
          </a:p>
        </p:txBody>
      </p:sp>
      <p:sp>
        <p:nvSpPr>
          <p:cNvPr id="337" name="TextBox 336">
            <a:extLst>
              <a:ext uri="{FF2B5EF4-FFF2-40B4-BE49-F238E27FC236}">
                <a16:creationId xmlns:a16="http://schemas.microsoft.com/office/drawing/2014/main" id="{E7DE664F-5B81-4612-8A26-9E32DD0A366C}"/>
              </a:ext>
            </a:extLst>
          </p:cNvPr>
          <p:cNvSpPr txBox="1"/>
          <p:nvPr/>
        </p:nvSpPr>
        <p:spPr bwMode="auto">
          <a:xfrm>
            <a:off x="924244" y="3798160"/>
            <a:ext cx="201872"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0</a:t>
            </a:r>
          </a:p>
        </p:txBody>
      </p:sp>
      <p:sp>
        <p:nvSpPr>
          <p:cNvPr id="338" name="TextBox 337">
            <a:extLst>
              <a:ext uri="{FF2B5EF4-FFF2-40B4-BE49-F238E27FC236}">
                <a16:creationId xmlns:a16="http://schemas.microsoft.com/office/drawing/2014/main" id="{9A911BBE-EB6A-469D-BC57-8B9A6E7A4A55}"/>
              </a:ext>
            </a:extLst>
          </p:cNvPr>
          <p:cNvSpPr txBox="1"/>
          <p:nvPr/>
        </p:nvSpPr>
        <p:spPr bwMode="auto">
          <a:xfrm>
            <a:off x="1113766" y="3798160"/>
            <a:ext cx="201872"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a:t>
            </a:r>
          </a:p>
        </p:txBody>
      </p:sp>
      <p:sp>
        <p:nvSpPr>
          <p:cNvPr id="339" name="TextBox 338">
            <a:extLst>
              <a:ext uri="{FF2B5EF4-FFF2-40B4-BE49-F238E27FC236}">
                <a16:creationId xmlns:a16="http://schemas.microsoft.com/office/drawing/2014/main" id="{20B88AC6-8332-43ED-8133-55A8ADA083A4}"/>
              </a:ext>
            </a:extLst>
          </p:cNvPr>
          <p:cNvSpPr txBox="1"/>
          <p:nvPr/>
        </p:nvSpPr>
        <p:spPr bwMode="auto">
          <a:xfrm>
            <a:off x="1304011" y="3798160"/>
            <a:ext cx="201872"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a:t>
            </a:r>
          </a:p>
        </p:txBody>
      </p:sp>
      <p:sp>
        <p:nvSpPr>
          <p:cNvPr id="340" name="TextBox 339">
            <a:extLst>
              <a:ext uri="{FF2B5EF4-FFF2-40B4-BE49-F238E27FC236}">
                <a16:creationId xmlns:a16="http://schemas.microsoft.com/office/drawing/2014/main" id="{B3B25E43-B79F-43DB-B4B3-324D2EED6800}"/>
              </a:ext>
            </a:extLst>
          </p:cNvPr>
          <p:cNvSpPr txBox="1"/>
          <p:nvPr/>
        </p:nvSpPr>
        <p:spPr bwMode="auto">
          <a:xfrm>
            <a:off x="1492306" y="3798160"/>
            <a:ext cx="201872"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9</a:t>
            </a:r>
          </a:p>
        </p:txBody>
      </p:sp>
      <p:sp>
        <p:nvSpPr>
          <p:cNvPr id="341" name="TextBox 340">
            <a:extLst>
              <a:ext uri="{FF2B5EF4-FFF2-40B4-BE49-F238E27FC236}">
                <a16:creationId xmlns:a16="http://schemas.microsoft.com/office/drawing/2014/main" id="{DC6578E3-ABF0-420A-BD7A-7DCA6B0FADC5}"/>
              </a:ext>
            </a:extLst>
          </p:cNvPr>
          <p:cNvSpPr txBox="1"/>
          <p:nvPr/>
        </p:nvSpPr>
        <p:spPr bwMode="auto">
          <a:xfrm>
            <a:off x="1639846"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2</a:t>
            </a:r>
          </a:p>
        </p:txBody>
      </p:sp>
      <p:sp>
        <p:nvSpPr>
          <p:cNvPr id="342" name="TextBox 341">
            <a:extLst>
              <a:ext uri="{FF2B5EF4-FFF2-40B4-BE49-F238E27FC236}">
                <a16:creationId xmlns:a16="http://schemas.microsoft.com/office/drawing/2014/main" id="{57AC50AB-6C52-4C1A-80F7-62CBD519E5E9}"/>
              </a:ext>
            </a:extLst>
          </p:cNvPr>
          <p:cNvSpPr txBox="1"/>
          <p:nvPr/>
        </p:nvSpPr>
        <p:spPr bwMode="auto">
          <a:xfrm>
            <a:off x="1835797"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5</a:t>
            </a:r>
          </a:p>
        </p:txBody>
      </p:sp>
      <p:sp>
        <p:nvSpPr>
          <p:cNvPr id="343" name="TextBox 342">
            <a:extLst>
              <a:ext uri="{FF2B5EF4-FFF2-40B4-BE49-F238E27FC236}">
                <a16:creationId xmlns:a16="http://schemas.microsoft.com/office/drawing/2014/main" id="{C6D13A8C-8656-4181-AE1D-1F649559AFC8}"/>
              </a:ext>
            </a:extLst>
          </p:cNvPr>
          <p:cNvSpPr txBox="1"/>
          <p:nvPr/>
        </p:nvSpPr>
        <p:spPr bwMode="auto">
          <a:xfrm>
            <a:off x="2014222"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8</a:t>
            </a:r>
          </a:p>
        </p:txBody>
      </p:sp>
      <p:sp>
        <p:nvSpPr>
          <p:cNvPr id="344" name="TextBox 343">
            <a:extLst>
              <a:ext uri="{FF2B5EF4-FFF2-40B4-BE49-F238E27FC236}">
                <a16:creationId xmlns:a16="http://schemas.microsoft.com/office/drawing/2014/main" id="{A9ED2525-86A6-4373-BC1B-F27888167CC8}"/>
              </a:ext>
            </a:extLst>
          </p:cNvPr>
          <p:cNvSpPr txBox="1"/>
          <p:nvPr/>
        </p:nvSpPr>
        <p:spPr bwMode="auto">
          <a:xfrm>
            <a:off x="2217214"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1</a:t>
            </a:r>
          </a:p>
        </p:txBody>
      </p:sp>
      <p:sp>
        <p:nvSpPr>
          <p:cNvPr id="345" name="TextBox 344">
            <a:extLst>
              <a:ext uri="{FF2B5EF4-FFF2-40B4-BE49-F238E27FC236}">
                <a16:creationId xmlns:a16="http://schemas.microsoft.com/office/drawing/2014/main" id="{EDB23B6B-CEE3-45BE-958F-B61A69D3C693}"/>
              </a:ext>
            </a:extLst>
          </p:cNvPr>
          <p:cNvSpPr txBox="1"/>
          <p:nvPr/>
        </p:nvSpPr>
        <p:spPr bwMode="auto">
          <a:xfrm>
            <a:off x="2403203"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4</a:t>
            </a:r>
          </a:p>
        </p:txBody>
      </p:sp>
      <p:sp>
        <p:nvSpPr>
          <p:cNvPr id="346" name="TextBox 345">
            <a:extLst>
              <a:ext uri="{FF2B5EF4-FFF2-40B4-BE49-F238E27FC236}">
                <a16:creationId xmlns:a16="http://schemas.microsoft.com/office/drawing/2014/main" id="{075042F5-289A-4DE0-971D-4292F27E706E}"/>
              </a:ext>
            </a:extLst>
          </p:cNvPr>
          <p:cNvSpPr txBox="1"/>
          <p:nvPr/>
        </p:nvSpPr>
        <p:spPr bwMode="auto">
          <a:xfrm>
            <a:off x="2595476"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7</a:t>
            </a:r>
          </a:p>
        </p:txBody>
      </p:sp>
      <p:sp>
        <p:nvSpPr>
          <p:cNvPr id="347" name="TextBox 346">
            <a:extLst>
              <a:ext uri="{FF2B5EF4-FFF2-40B4-BE49-F238E27FC236}">
                <a16:creationId xmlns:a16="http://schemas.microsoft.com/office/drawing/2014/main" id="{C141B044-1195-4BEE-B878-2B29B48DF6A2}"/>
              </a:ext>
            </a:extLst>
          </p:cNvPr>
          <p:cNvSpPr txBox="1"/>
          <p:nvPr/>
        </p:nvSpPr>
        <p:spPr bwMode="auto">
          <a:xfrm>
            <a:off x="2782253"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0</a:t>
            </a:r>
          </a:p>
        </p:txBody>
      </p:sp>
      <p:sp>
        <p:nvSpPr>
          <p:cNvPr id="348" name="TextBox 347">
            <a:extLst>
              <a:ext uri="{FF2B5EF4-FFF2-40B4-BE49-F238E27FC236}">
                <a16:creationId xmlns:a16="http://schemas.microsoft.com/office/drawing/2014/main" id="{EC6FCCE9-5B7A-4483-8EDC-45618F7BFDB3}"/>
              </a:ext>
            </a:extLst>
          </p:cNvPr>
          <p:cNvSpPr txBox="1"/>
          <p:nvPr/>
        </p:nvSpPr>
        <p:spPr bwMode="auto">
          <a:xfrm>
            <a:off x="2977271"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3</a:t>
            </a:r>
          </a:p>
        </p:txBody>
      </p:sp>
      <p:sp>
        <p:nvSpPr>
          <p:cNvPr id="349" name="TextBox 348">
            <a:extLst>
              <a:ext uri="{FF2B5EF4-FFF2-40B4-BE49-F238E27FC236}">
                <a16:creationId xmlns:a16="http://schemas.microsoft.com/office/drawing/2014/main" id="{C0F6EFAB-B4BD-4899-BDC3-CC6470A1E2AF}"/>
              </a:ext>
            </a:extLst>
          </p:cNvPr>
          <p:cNvSpPr txBox="1"/>
          <p:nvPr/>
        </p:nvSpPr>
        <p:spPr bwMode="auto">
          <a:xfrm>
            <a:off x="3166795"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6</a:t>
            </a:r>
          </a:p>
        </p:txBody>
      </p:sp>
      <p:sp>
        <p:nvSpPr>
          <p:cNvPr id="350" name="TextBox 349">
            <a:extLst>
              <a:ext uri="{FF2B5EF4-FFF2-40B4-BE49-F238E27FC236}">
                <a16:creationId xmlns:a16="http://schemas.microsoft.com/office/drawing/2014/main" id="{F2C7AD09-261D-4A76-AC6E-491AF31F9A0D}"/>
              </a:ext>
            </a:extLst>
          </p:cNvPr>
          <p:cNvSpPr txBox="1"/>
          <p:nvPr/>
        </p:nvSpPr>
        <p:spPr bwMode="auto">
          <a:xfrm>
            <a:off x="3368467"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9</a:t>
            </a:r>
          </a:p>
        </p:txBody>
      </p:sp>
      <p:sp>
        <p:nvSpPr>
          <p:cNvPr id="351" name="TextBox 350">
            <a:extLst>
              <a:ext uri="{FF2B5EF4-FFF2-40B4-BE49-F238E27FC236}">
                <a16:creationId xmlns:a16="http://schemas.microsoft.com/office/drawing/2014/main" id="{65543E96-24E9-4D0E-8431-214D1B6CB2C4}"/>
              </a:ext>
            </a:extLst>
          </p:cNvPr>
          <p:cNvSpPr txBox="1"/>
          <p:nvPr/>
        </p:nvSpPr>
        <p:spPr bwMode="auto">
          <a:xfrm>
            <a:off x="3550560"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42</a:t>
            </a:r>
          </a:p>
        </p:txBody>
      </p:sp>
      <p:sp>
        <p:nvSpPr>
          <p:cNvPr id="352" name="TextBox 351">
            <a:extLst>
              <a:ext uri="{FF2B5EF4-FFF2-40B4-BE49-F238E27FC236}">
                <a16:creationId xmlns:a16="http://schemas.microsoft.com/office/drawing/2014/main" id="{408DDF17-8DFC-4DBA-BBDD-75A40EA42CF8}"/>
              </a:ext>
            </a:extLst>
          </p:cNvPr>
          <p:cNvSpPr txBox="1"/>
          <p:nvPr/>
        </p:nvSpPr>
        <p:spPr bwMode="auto">
          <a:xfrm>
            <a:off x="3738843"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45</a:t>
            </a:r>
          </a:p>
        </p:txBody>
      </p:sp>
      <p:sp>
        <p:nvSpPr>
          <p:cNvPr id="353" name="TextBox 352">
            <a:extLst>
              <a:ext uri="{FF2B5EF4-FFF2-40B4-BE49-F238E27FC236}">
                <a16:creationId xmlns:a16="http://schemas.microsoft.com/office/drawing/2014/main" id="{85470913-F4DE-46EA-BB72-F7227787EB04}"/>
              </a:ext>
            </a:extLst>
          </p:cNvPr>
          <p:cNvSpPr txBox="1"/>
          <p:nvPr/>
        </p:nvSpPr>
        <p:spPr bwMode="auto">
          <a:xfrm>
            <a:off x="3933328"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48</a:t>
            </a:r>
          </a:p>
        </p:txBody>
      </p:sp>
      <p:sp>
        <p:nvSpPr>
          <p:cNvPr id="354" name="TextBox 353">
            <a:extLst>
              <a:ext uri="{FF2B5EF4-FFF2-40B4-BE49-F238E27FC236}">
                <a16:creationId xmlns:a16="http://schemas.microsoft.com/office/drawing/2014/main" id="{151AE803-7767-40DC-AF86-B19BAF93D75D}"/>
              </a:ext>
            </a:extLst>
          </p:cNvPr>
          <p:cNvSpPr txBox="1"/>
          <p:nvPr/>
        </p:nvSpPr>
        <p:spPr bwMode="auto">
          <a:xfrm>
            <a:off x="4126991"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51</a:t>
            </a:r>
          </a:p>
        </p:txBody>
      </p:sp>
      <p:sp>
        <p:nvSpPr>
          <p:cNvPr id="355" name="TextBox 354">
            <a:extLst>
              <a:ext uri="{FF2B5EF4-FFF2-40B4-BE49-F238E27FC236}">
                <a16:creationId xmlns:a16="http://schemas.microsoft.com/office/drawing/2014/main" id="{59694CD4-90A1-473A-A61A-0B2F226C6135}"/>
              </a:ext>
            </a:extLst>
          </p:cNvPr>
          <p:cNvSpPr txBox="1"/>
          <p:nvPr/>
        </p:nvSpPr>
        <p:spPr bwMode="auto">
          <a:xfrm>
            <a:off x="4313819"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54</a:t>
            </a:r>
          </a:p>
        </p:txBody>
      </p:sp>
      <p:sp>
        <p:nvSpPr>
          <p:cNvPr id="356" name="TextBox 355">
            <a:extLst>
              <a:ext uri="{FF2B5EF4-FFF2-40B4-BE49-F238E27FC236}">
                <a16:creationId xmlns:a16="http://schemas.microsoft.com/office/drawing/2014/main" id="{824ECE1A-75D4-435B-A973-A7E33FBC4A19}"/>
              </a:ext>
            </a:extLst>
          </p:cNvPr>
          <p:cNvSpPr txBox="1"/>
          <p:nvPr/>
        </p:nvSpPr>
        <p:spPr bwMode="auto">
          <a:xfrm>
            <a:off x="4506424"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57</a:t>
            </a:r>
          </a:p>
        </p:txBody>
      </p:sp>
      <p:sp>
        <p:nvSpPr>
          <p:cNvPr id="357" name="TextBox 356">
            <a:extLst>
              <a:ext uri="{FF2B5EF4-FFF2-40B4-BE49-F238E27FC236}">
                <a16:creationId xmlns:a16="http://schemas.microsoft.com/office/drawing/2014/main" id="{F331F296-10F5-40EB-9919-A8B7E57E8D71}"/>
              </a:ext>
            </a:extLst>
          </p:cNvPr>
          <p:cNvSpPr txBox="1"/>
          <p:nvPr/>
        </p:nvSpPr>
        <p:spPr bwMode="auto">
          <a:xfrm>
            <a:off x="4693252"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0</a:t>
            </a:r>
          </a:p>
        </p:txBody>
      </p:sp>
      <p:sp>
        <p:nvSpPr>
          <p:cNvPr id="358" name="TextBox 357">
            <a:extLst>
              <a:ext uri="{FF2B5EF4-FFF2-40B4-BE49-F238E27FC236}">
                <a16:creationId xmlns:a16="http://schemas.microsoft.com/office/drawing/2014/main" id="{32EE9665-8E7F-4A19-BFFC-57C468BF8FF4}"/>
              </a:ext>
            </a:extLst>
          </p:cNvPr>
          <p:cNvSpPr txBox="1"/>
          <p:nvPr/>
        </p:nvSpPr>
        <p:spPr bwMode="auto">
          <a:xfrm>
            <a:off x="4885856" y="3798160"/>
            <a:ext cx="311138" cy="2616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rIns="0"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3</a:t>
            </a:r>
          </a:p>
        </p:txBody>
      </p:sp>
      <p:sp>
        <p:nvSpPr>
          <p:cNvPr id="359" name="TextBox 358">
            <a:extLst>
              <a:ext uri="{FF2B5EF4-FFF2-40B4-BE49-F238E27FC236}">
                <a16:creationId xmlns:a16="http://schemas.microsoft.com/office/drawing/2014/main" id="{D716C792-34D8-489B-AA08-3D58B8924F27}"/>
              </a:ext>
            </a:extLst>
          </p:cNvPr>
          <p:cNvSpPr txBox="1"/>
          <p:nvPr/>
        </p:nvSpPr>
        <p:spPr bwMode="auto">
          <a:xfrm>
            <a:off x="2591116" y="4092912"/>
            <a:ext cx="804150"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35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Months</a:t>
            </a:r>
          </a:p>
        </p:txBody>
      </p:sp>
      <p:sp>
        <p:nvSpPr>
          <p:cNvPr id="360" name="TextBox 359">
            <a:extLst>
              <a:ext uri="{FF2B5EF4-FFF2-40B4-BE49-F238E27FC236}">
                <a16:creationId xmlns:a16="http://schemas.microsoft.com/office/drawing/2014/main" id="{16D4975D-FE06-4F46-9FC6-8C78DE9646EA}"/>
              </a:ext>
            </a:extLst>
          </p:cNvPr>
          <p:cNvSpPr txBox="1"/>
          <p:nvPr/>
        </p:nvSpPr>
        <p:spPr bwMode="auto">
          <a:xfrm>
            <a:off x="3446776" y="991597"/>
            <a:ext cx="1377066"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48-month PFS</a:t>
            </a:r>
          </a:p>
        </p:txBody>
      </p:sp>
      <p:sp>
        <p:nvSpPr>
          <p:cNvPr id="361" name="Freeform: Shape 360">
            <a:extLst>
              <a:ext uri="{FF2B5EF4-FFF2-40B4-BE49-F238E27FC236}">
                <a16:creationId xmlns:a16="http://schemas.microsoft.com/office/drawing/2014/main" id="{080CB211-1A46-464D-AEFC-40350489F284}"/>
              </a:ext>
            </a:extLst>
          </p:cNvPr>
          <p:cNvSpPr/>
          <p:nvPr/>
        </p:nvSpPr>
        <p:spPr bwMode="auto">
          <a:xfrm>
            <a:off x="969618" y="1249926"/>
            <a:ext cx="3846564" cy="1021787"/>
          </a:xfrm>
          <a:custGeom>
            <a:avLst/>
            <a:gdLst>
              <a:gd name="connsiteX0" fmla="*/ 5128752 w 5128752"/>
              <a:gd name="connsiteY0" fmla="*/ 1362382 h 1362382"/>
              <a:gd name="connsiteX1" fmla="*/ 4312060 w 5128752"/>
              <a:gd name="connsiteY1" fmla="*/ 1362382 h 1362382"/>
              <a:gd name="connsiteX2" fmla="*/ 4312060 w 5128752"/>
              <a:gd name="connsiteY2" fmla="*/ 1319980 h 1362382"/>
              <a:gd name="connsiteX3" fmla="*/ 4105582 w 5128752"/>
              <a:gd name="connsiteY3" fmla="*/ 1319980 h 1362382"/>
              <a:gd name="connsiteX4" fmla="*/ 4105582 w 5128752"/>
              <a:gd name="connsiteY4" fmla="*/ 1305232 h 1362382"/>
              <a:gd name="connsiteX5" fmla="*/ 3840111 w 5128752"/>
              <a:gd name="connsiteY5" fmla="*/ 1305232 h 1362382"/>
              <a:gd name="connsiteX6" fmla="*/ 3840111 w 5128752"/>
              <a:gd name="connsiteY6" fmla="*/ 1284953 h 1362382"/>
              <a:gd name="connsiteX7" fmla="*/ 3712906 w 5128752"/>
              <a:gd name="connsiteY7" fmla="*/ 1284953 h 1362382"/>
              <a:gd name="connsiteX8" fmla="*/ 3712906 w 5128752"/>
              <a:gd name="connsiteY8" fmla="*/ 1275735 h 1362382"/>
              <a:gd name="connsiteX9" fmla="*/ 3646539 w 5128752"/>
              <a:gd name="connsiteY9" fmla="*/ 1275735 h 1362382"/>
              <a:gd name="connsiteX10" fmla="*/ 3629947 w 5128752"/>
              <a:gd name="connsiteY10" fmla="*/ 1259143 h 1362382"/>
              <a:gd name="connsiteX11" fmla="*/ 3569110 w 5128752"/>
              <a:gd name="connsiteY11" fmla="*/ 1259143 h 1362382"/>
              <a:gd name="connsiteX12" fmla="*/ 3569110 w 5128752"/>
              <a:gd name="connsiteY12" fmla="*/ 1211211 h 1362382"/>
              <a:gd name="connsiteX13" fmla="*/ 3478776 w 5128752"/>
              <a:gd name="connsiteY13" fmla="*/ 1211211 h 1362382"/>
              <a:gd name="connsiteX14" fmla="*/ 3454810 w 5128752"/>
              <a:gd name="connsiteY14" fmla="*/ 1211211 h 1362382"/>
              <a:gd name="connsiteX15" fmla="*/ 3454810 w 5128752"/>
              <a:gd name="connsiteY15" fmla="*/ 1183558 h 1362382"/>
              <a:gd name="connsiteX16" fmla="*/ 3395816 w 5128752"/>
              <a:gd name="connsiteY16" fmla="*/ 1183558 h 1362382"/>
              <a:gd name="connsiteX17" fmla="*/ 3395816 w 5128752"/>
              <a:gd name="connsiteY17" fmla="*/ 1165122 h 1362382"/>
              <a:gd name="connsiteX18" fmla="*/ 3327605 w 5128752"/>
              <a:gd name="connsiteY18" fmla="*/ 1165122 h 1362382"/>
              <a:gd name="connsiteX19" fmla="*/ 3327605 w 5128752"/>
              <a:gd name="connsiteY19" fmla="*/ 1150374 h 1362382"/>
              <a:gd name="connsiteX20" fmla="*/ 3240958 w 5128752"/>
              <a:gd name="connsiteY20" fmla="*/ 1150374 h 1362382"/>
              <a:gd name="connsiteX21" fmla="*/ 3240958 w 5128752"/>
              <a:gd name="connsiteY21" fmla="*/ 1119034 h 1362382"/>
              <a:gd name="connsiteX22" fmla="*/ 3196713 w 5128752"/>
              <a:gd name="connsiteY22" fmla="*/ 1119034 h 1362382"/>
              <a:gd name="connsiteX23" fmla="*/ 3196713 w 5128752"/>
              <a:gd name="connsiteY23" fmla="*/ 1098755 h 1362382"/>
              <a:gd name="connsiteX24" fmla="*/ 3093474 w 5128752"/>
              <a:gd name="connsiteY24" fmla="*/ 1098755 h 1362382"/>
              <a:gd name="connsiteX25" fmla="*/ 3093474 w 5128752"/>
              <a:gd name="connsiteY25" fmla="*/ 1071101 h 1362382"/>
              <a:gd name="connsiteX26" fmla="*/ 2975487 w 5128752"/>
              <a:gd name="connsiteY26" fmla="*/ 1071101 h 1362382"/>
              <a:gd name="connsiteX27" fmla="*/ 2975487 w 5128752"/>
              <a:gd name="connsiteY27" fmla="*/ 1060040 h 1362382"/>
              <a:gd name="connsiteX28" fmla="*/ 2835377 w 5128752"/>
              <a:gd name="connsiteY28" fmla="*/ 1060040 h 1362382"/>
              <a:gd name="connsiteX29" fmla="*/ 2835377 w 5128752"/>
              <a:gd name="connsiteY29" fmla="*/ 1043448 h 1362382"/>
              <a:gd name="connsiteX30" fmla="*/ 2722921 w 5128752"/>
              <a:gd name="connsiteY30" fmla="*/ 1043448 h 1362382"/>
              <a:gd name="connsiteX31" fmla="*/ 2722921 w 5128752"/>
              <a:gd name="connsiteY31" fmla="*/ 1006577 h 1362382"/>
              <a:gd name="connsiteX32" fmla="*/ 2636274 w 5128752"/>
              <a:gd name="connsiteY32" fmla="*/ 1006577 h 1362382"/>
              <a:gd name="connsiteX33" fmla="*/ 2636274 w 5128752"/>
              <a:gd name="connsiteY33" fmla="*/ 986298 h 1362382"/>
              <a:gd name="connsiteX34" fmla="*/ 2604934 w 5128752"/>
              <a:gd name="connsiteY34" fmla="*/ 986298 h 1362382"/>
              <a:gd name="connsiteX35" fmla="*/ 2604934 w 5128752"/>
              <a:gd name="connsiteY35" fmla="*/ 958645 h 1362382"/>
              <a:gd name="connsiteX36" fmla="*/ 2566219 w 5128752"/>
              <a:gd name="connsiteY36" fmla="*/ 958645 h 1362382"/>
              <a:gd name="connsiteX37" fmla="*/ 2566219 w 5128752"/>
              <a:gd name="connsiteY37" fmla="*/ 942053 h 1362382"/>
              <a:gd name="connsiteX38" fmla="*/ 2418736 w 5128752"/>
              <a:gd name="connsiteY38" fmla="*/ 942053 h 1362382"/>
              <a:gd name="connsiteX39" fmla="*/ 2418736 w 5128752"/>
              <a:gd name="connsiteY39" fmla="*/ 918087 h 1362382"/>
              <a:gd name="connsiteX40" fmla="*/ 2361586 w 5128752"/>
              <a:gd name="connsiteY40" fmla="*/ 918087 h 1362382"/>
              <a:gd name="connsiteX41" fmla="*/ 2361586 w 5128752"/>
              <a:gd name="connsiteY41" fmla="*/ 901495 h 1362382"/>
              <a:gd name="connsiteX42" fmla="*/ 2308123 w 5128752"/>
              <a:gd name="connsiteY42" fmla="*/ 901495 h 1362382"/>
              <a:gd name="connsiteX43" fmla="*/ 2308123 w 5128752"/>
              <a:gd name="connsiteY43" fmla="*/ 868311 h 1362382"/>
              <a:gd name="connsiteX44" fmla="*/ 2284156 w 5128752"/>
              <a:gd name="connsiteY44" fmla="*/ 868311 h 1362382"/>
              <a:gd name="connsiteX45" fmla="*/ 2284156 w 5128752"/>
              <a:gd name="connsiteY45" fmla="*/ 864624 h 1362382"/>
              <a:gd name="connsiteX46" fmla="*/ 2197510 w 5128752"/>
              <a:gd name="connsiteY46" fmla="*/ 864624 h 1362382"/>
              <a:gd name="connsiteX47" fmla="*/ 2197510 w 5128752"/>
              <a:gd name="connsiteY47" fmla="*/ 851719 h 1362382"/>
              <a:gd name="connsiteX48" fmla="*/ 2153265 w 5128752"/>
              <a:gd name="connsiteY48" fmla="*/ 851719 h 1362382"/>
              <a:gd name="connsiteX49" fmla="*/ 2153265 w 5128752"/>
              <a:gd name="connsiteY49" fmla="*/ 822222 h 1362382"/>
              <a:gd name="connsiteX50" fmla="*/ 2097958 w 5128752"/>
              <a:gd name="connsiteY50" fmla="*/ 822222 h 1362382"/>
              <a:gd name="connsiteX51" fmla="*/ 2097958 w 5128752"/>
              <a:gd name="connsiteY51" fmla="*/ 794569 h 1362382"/>
              <a:gd name="connsiteX52" fmla="*/ 2062931 w 5128752"/>
              <a:gd name="connsiteY52" fmla="*/ 794569 h 1362382"/>
              <a:gd name="connsiteX53" fmla="*/ 2062931 w 5128752"/>
              <a:gd name="connsiteY53" fmla="*/ 785351 h 1362382"/>
              <a:gd name="connsiteX54" fmla="*/ 2011311 w 5128752"/>
              <a:gd name="connsiteY54" fmla="*/ 785351 h 1362382"/>
              <a:gd name="connsiteX55" fmla="*/ 2011311 w 5128752"/>
              <a:gd name="connsiteY55" fmla="*/ 766916 h 1362382"/>
              <a:gd name="connsiteX56" fmla="*/ 1944944 w 5128752"/>
              <a:gd name="connsiteY56" fmla="*/ 766916 h 1362382"/>
              <a:gd name="connsiteX57" fmla="*/ 1944944 w 5128752"/>
              <a:gd name="connsiteY57" fmla="*/ 735576 h 1362382"/>
              <a:gd name="connsiteX58" fmla="*/ 1897011 w 5128752"/>
              <a:gd name="connsiteY58" fmla="*/ 735576 h 1362382"/>
              <a:gd name="connsiteX59" fmla="*/ 1897011 w 5128752"/>
              <a:gd name="connsiteY59" fmla="*/ 715297 h 1362382"/>
              <a:gd name="connsiteX60" fmla="*/ 1810365 w 5128752"/>
              <a:gd name="connsiteY60" fmla="*/ 715297 h 1362382"/>
              <a:gd name="connsiteX61" fmla="*/ 1810365 w 5128752"/>
              <a:gd name="connsiteY61" fmla="*/ 685800 h 1362382"/>
              <a:gd name="connsiteX62" fmla="*/ 1743997 w 5128752"/>
              <a:gd name="connsiteY62" fmla="*/ 685800 h 1362382"/>
              <a:gd name="connsiteX63" fmla="*/ 1743997 w 5128752"/>
              <a:gd name="connsiteY63" fmla="*/ 637867 h 1362382"/>
              <a:gd name="connsiteX64" fmla="*/ 1683160 w 5128752"/>
              <a:gd name="connsiteY64" fmla="*/ 637867 h 1362382"/>
              <a:gd name="connsiteX65" fmla="*/ 1683160 w 5128752"/>
              <a:gd name="connsiteY65" fmla="*/ 619432 h 1362382"/>
              <a:gd name="connsiteX66" fmla="*/ 1590982 w 5128752"/>
              <a:gd name="connsiteY66" fmla="*/ 619432 h 1362382"/>
              <a:gd name="connsiteX67" fmla="*/ 1590982 w 5128752"/>
              <a:gd name="connsiteY67" fmla="*/ 577030 h 1362382"/>
              <a:gd name="connsiteX68" fmla="*/ 1533832 w 5128752"/>
              <a:gd name="connsiteY68" fmla="*/ 577030 h 1362382"/>
              <a:gd name="connsiteX69" fmla="*/ 1533832 w 5128752"/>
              <a:gd name="connsiteY69" fmla="*/ 565969 h 1362382"/>
              <a:gd name="connsiteX70" fmla="*/ 1504336 w 5128752"/>
              <a:gd name="connsiteY70" fmla="*/ 565969 h 1362382"/>
              <a:gd name="connsiteX71" fmla="*/ 1504336 w 5128752"/>
              <a:gd name="connsiteY71" fmla="*/ 549377 h 1362382"/>
              <a:gd name="connsiteX72" fmla="*/ 1410315 w 5128752"/>
              <a:gd name="connsiteY72" fmla="*/ 549377 h 1362382"/>
              <a:gd name="connsiteX73" fmla="*/ 1366069 w 5128752"/>
              <a:gd name="connsiteY73" fmla="*/ 549377 h 1362382"/>
              <a:gd name="connsiteX74" fmla="*/ 1366069 w 5128752"/>
              <a:gd name="connsiteY74" fmla="*/ 516193 h 1362382"/>
              <a:gd name="connsiteX75" fmla="*/ 1176184 w 5128752"/>
              <a:gd name="connsiteY75" fmla="*/ 516193 h 1362382"/>
              <a:gd name="connsiteX76" fmla="*/ 1176184 w 5128752"/>
              <a:gd name="connsiteY76" fmla="*/ 477479 h 1362382"/>
              <a:gd name="connsiteX77" fmla="*/ 1106129 w 5128752"/>
              <a:gd name="connsiteY77" fmla="*/ 477479 h 1362382"/>
              <a:gd name="connsiteX78" fmla="*/ 1106129 w 5128752"/>
              <a:gd name="connsiteY78" fmla="*/ 459043 h 1362382"/>
              <a:gd name="connsiteX79" fmla="*/ 1039761 w 5128752"/>
              <a:gd name="connsiteY79" fmla="*/ 459043 h 1362382"/>
              <a:gd name="connsiteX80" fmla="*/ 1039761 w 5128752"/>
              <a:gd name="connsiteY80" fmla="*/ 438764 h 1362382"/>
              <a:gd name="connsiteX81" fmla="*/ 1030544 w 5128752"/>
              <a:gd name="connsiteY81" fmla="*/ 438764 h 1362382"/>
              <a:gd name="connsiteX82" fmla="*/ 1030544 w 5128752"/>
              <a:gd name="connsiteY82" fmla="*/ 429547 h 1362382"/>
              <a:gd name="connsiteX83" fmla="*/ 838815 w 5128752"/>
              <a:gd name="connsiteY83" fmla="*/ 429547 h 1362382"/>
              <a:gd name="connsiteX84" fmla="*/ 838815 w 5128752"/>
              <a:gd name="connsiteY84" fmla="*/ 403737 h 1362382"/>
              <a:gd name="connsiteX85" fmla="*/ 805631 w 5128752"/>
              <a:gd name="connsiteY85" fmla="*/ 403737 h 1362382"/>
              <a:gd name="connsiteX86" fmla="*/ 805631 w 5128752"/>
              <a:gd name="connsiteY86" fmla="*/ 372397 h 1362382"/>
              <a:gd name="connsiteX87" fmla="*/ 779821 w 5128752"/>
              <a:gd name="connsiteY87" fmla="*/ 372397 h 1362382"/>
              <a:gd name="connsiteX88" fmla="*/ 779821 w 5128752"/>
              <a:gd name="connsiteY88" fmla="*/ 361335 h 1362382"/>
              <a:gd name="connsiteX89" fmla="*/ 726358 w 5128752"/>
              <a:gd name="connsiteY89" fmla="*/ 361335 h 1362382"/>
              <a:gd name="connsiteX90" fmla="*/ 726358 w 5128752"/>
              <a:gd name="connsiteY90" fmla="*/ 331838 h 1362382"/>
              <a:gd name="connsiteX91" fmla="*/ 682113 w 5128752"/>
              <a:gd name="connsiteY91" fmla="*/ 331838 h 1362382"/>
              <a:gd name="connsiteX92" fmla="*/ 682113 w 5128752"/>
              <a:gd name="connsiteY92" fmla="*/ 307872 h 1362382"/>
              <a:gd name="connsiteX93" fmla="*/ 636024 w 5128752"/>
              <a:gd name="connsiteY93" fmla="*/ 307872 h 1362382"/>
              <a:gd name="connsiteX94" fmla="*/ 636024 w 5128752"/>
              <a:gd name="connsiteY94" fmla="*/ 283906 h 1362382"/>
              <a:gd name="connsiteX95" fmla="*/ 588092 w 5128752"/>
              <a:gd name="connsiteY95" fmla="*/ 283906 h 1362382"/>
              <a:gd name="connsiteX96" fmla="*/ 588092 w 5128752"/>
              <a:gd name="connsiteY96" fmla="*/ 258097 h 1362382"/>
              <a:gd name="connsiteX97" fmla="*/ 534629 w 5128752"/>
              <a:gd name="connsiteY97" fmla="*/ 258097 h 1362382"/>
              <a:gd name="connsiteX98" fmla="*/ 534629 w 5128752"/>
              <a:gd name="connsiteY98" fmla="*/ 235974 h 1362382"/>
              <a:gd name="connsiteX99" fmla="*/ 459044 w 5128752"/>
              <a:gd name="connsiteY99" fmla="*/ 235974 h 1362382"/>
              <a:gd name="connsiteX100" fmla="*/ 459044 w 5128752"/>
              <a:gd name="connsiteY100" fmla="*/ 204634 h 1362382"/>
              <a:gd name="connsiteX101" fmla="*/ 383458 w 5128752"/>
              <a:gd name="connsiteY101" fmla="*/ 204634 h 1362382"/>
              <a:gd name="connsiteX102" fmla="*/ 383458 w 5128752"/>
              <a:gd name="connsiteY102" fmla="*/ 189885 h 1362382"/>
              <a:gd name="connsiteX103" fmla="*/ 329995 w 5128752"/>
              <a:gd name="connsiteY103" fmla="*/ 189885 h 1362382"/>
              <a:gd name="connsiteX104" fmla="*/ 320777 w 5128752"/>
              <a:gd name="connsiteY104" fmla="*/ 180667 h 1362382"/>
              <a:gd name="connsiteX105" fmla="*/ 294968 w 5128752"/>
              <a:gd name="connsiteY105" fmla="*/ 180667 h 1362382"/>
              <a:gd name="connsiteX106" fmla="*/ 294968 w 5128752"/>
              <a:gd name="connsiteY106" fmla="*/ 141953 h 1362382"/>
              <a:gd name="connsiteX107" fmla="*/ 259940 w 5128752"/>
              <a:gd name="connsiteY107" fmla="*/ 141953 h 1362382"/>
              <a:gd name="connsiteX108" fmla="*/ 259940 w 5128752"/>
              <a:gd name="connsiteY108" fmla="*/ 116143 h 1362382"/>
              <a:gd name="connsiteX109" fmla="*/ 239661 w 5128752"/>
              <a:gd name="connsiteY109" fmla="*/ 116143 h 1362382"/>
              <a:gd name="connsiteX110" fmla="*/ 239661 w 5128752"/>
              <a:gd name="connsiteY110" fmla="*/ 95864 h 1362382"/>
              <a:gd name="connsiteX111" fmla="*/ 200947 w 5128752"/>
              <a:gd name="connsiteY111" fmla="*/ 95864 h 1362382"/>
              <a:gd name="connsiteX112" fmla="*/ 200947 w 5128752"/>
              <a:gd name="connsiteY112" fmla="*/ 71898 h 1362382"/>
              <a:gd name="connsiteX113" fmla="*/ 103239 w 5128752"/>
              <a:gd name="connsiteY113" fmla="*/ 71898 h 1362382"/>
              <a:gd name="connsiteX114" fmla="*/ 103239 w 5128752"/>
              <a:gd name="connsiteY114" fmla="*/ 23966 h 1362382"/>
              <a:gd name="connsiteX115" fmla="*/ 42402 w 5128752"/>
              <a:gd name="connsiteY115" fmla="*/ 23966 h 1362382"/>
              <a:gd name="connsiteX116" fmla="*/ 42402 w 5128752"/>
              <a:gd name="connsiteY116" fmla="*/ 0 h 1362382"/>
              <a:gd name="connsiteX117" fmla="*/ 0 w 5128752"/>
              <a:gd name="connsiteY117" fmla="*/ 0 h 136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28752" h="1362382">
                <a:moveTo>
                  <a:pt x="5128752" y="1362382"/>
                </a:moveTo>
                <a:lnTo>
                  <a:pt x="4312060" y="1362382"/>
                </a:lnTo>
                <a:lnTo>
                  <a:pt x="4312060" y="1319980"/>
                </a:lnTo>
                <a:lnTo>
                  <a:pt x="4105582" y="1319980"/>
                </a:lnTo>
                <a:lnTo>
                  <a:pt x="4105582" y="1305232"/>
                </a:lnTo>
                <a:lnTo>
                  <a:pt x="3840111" y="1305232"/>
                </a:lnTo>
                <a:lnTo>
                  <a:pt x="3840111" y="1284953"/>
                </a:lnTo>
                <a:lnTo>
                  <a:pt x="3712906" y="1284953"/>
                </a:lnTo>
                <a:lnTo>
                  <a:pt x="3712906" y="1275735"/>
                </a:lnTo>
                <a:lnTo>
                  <a:pt x="3646539" y="1275735"/>
                </a:lnTo>
                <a:lnTo>
                  <a:pt x="3629947" y="1259143"/>
                </a:lnTo>
                <a:lnTo>
                  <a:pt x="3569110" y="1259143"/>
                </a:lnTo>
                <a:lnTo>
                  <a:pt x="3569110" y="1211211"/>
                </a:lnTo>
                <a:lnTo>
                  <a:pt x="3478776" y="1211211"/>
                </a:lnTo>
                <a:lnTo>
                  <a:pt x="3454810" y="1211211"/>
                </a:lnTo>
                <a:lnTo>
                  <a:pt x="3454810" y="1183558"/>
                </a:lnTo>
                <a:lnTo>
                  <a:pt x="3395816" y="1183558"/>
                </a:lnTo>
                <a:lnTo>
                  <a:pt x="3395816" y="1165122"/>
                </a:lnTo>
                <a:lnTo>
                  <a:pt x="3327605" y="1165122"/>
                </a:lnTo>
                <a:lnTo>
                  <a:pt x="3327605" y="1150374"/>
                </a:lnTo>
                <a:lnTo>
                  <a:pt x="3240958" y="1150374"/>
                </a:lnTo>
                <a:lnTo>
                  <a:pt x="3240958" y="1119034"/>
                </a:lnTo>
                <a:lnTo>
                  <a:pt x="3196713" y="1119034"/>
                </a:lnTo>
                <a:lnTo>
                  <a:pt x="3196713" y="1098755"/>
                </a:lnTo>
                <a:lnTo>
                  <a:pt x="3093474" y="1098755"/>
                </a:lnTo>
                <a:lnTo>
                  <a:pt x="3093474" y="1071101"/>
                </a:lnTo>
                <a:lnTo>
                  <a:pt x="2975487" y="1071101"/>
                </a:lnTo>
                <a:lnTo>
                  <a:pt x="2975487" y="1060040"/>
                </a:lnTo>
                <a:lnTo>
                  <a:pt x="2835377" y="1060040"/>
                </a:lnTo>
                <a:lnTo>
                  <a:pt x="2835377" y="1043448"/>
                </a:lnTo>
                <a:lnTo>
                  <a:pt x="2722921" y="1043448"/>
                </a:lnTo>
                <a:lnTo>
                  <a:pt x="2722921" y="1006577"/>
                </a:lnTo>
                <a:lnTo>
                  <a:pt x="2636274" y="1006577"/>
                </a:lnTo>
                <a:lnTo>
                  <a:pt x="2636274" y="986298"/>
                </a:lnTo>
                <a:lnTo>
                  <a:pt x="2604934" y="986298"/>
                </a:lnTo>
                <a:lnTo>
                  <a:pt x="2604934" y="958645"/>
                </a:lnTo>
                <a:lnTo>
                  <a:pt x="2566219" y="958645"/>
                </a:lnTo>
                <a:lnTo>
                  <a:pt x="2566219" y="942053"/>
                </a:lnTo>
                <a:lnTo>
                  <a:pt x="2418736" y="942053"/>
                </a:lnTo>
                <a:lnTo>
                  <a:pt x="2418736" y="918087"/>
                </a:lnTo>
                <a:lnTo>
                  <a:pt x="2361586" y="918087"/>
                </a:lnTo>
                <a:lnTo>
                  <a:pt x="2361586" y="901495"/>
                </a:lnTo>
                <a:lnTo>
                  <a:pt x="2308123" y="901495"/>
                </a:lnTo>
                <a:lnTo>
                  <a:pt x="2308123" y="868311"/>
                </a:lnTo>
                <a:lnTo>
                  <a:pt x="2284156" y="868311"/>
                </a:lnTo>
                <a:lnTo>
                  <a:pt x="2284156" y="864624"/>
                </a:lnTo>
                <a:lnTo>
                  <a:pt x="2197510" y="864624"/>
                </a:lnTo>
                <a:lnTo>
                  <a:pt x="2197510" y="851719"/>
                </a:lnTo>
                <a:lnTo>
                  <a:pt x="2153265" y="851719"/>
                </a:lnTo>
                <a:lnTo>
                  <a:pt x="2153265" y="822222"/>
                </a:lnTo>
                <a:lnTo>
                  <a:pt x="2097958" y="822222"/>
                </a:lnTo>
                <a:lnTo>
                  <a:pt x="2097958" y="794569"/>
                </a:lnTo>
                <a:lnTo>
                  <a:pt x="2062931" y="794569"/>
                </a:lnTo>
                <a:lnTo>
                  <a:pt x="2062931" y="785351"/>
                </a:lnTo>
                <a:lnTo>
                  <a:pt x="2011311" y="785351"/>
                </a:lnTo>
                <a:lnTo>
                  <a:pt x="2011311" y="766916"/>
                </a:lnTo>
                <a:lnTo>
                  <a:pt x="1944944" y="766916"/>
                </a:lnTo>
                <a:lnTo>
                  <a:pt x="1944944" y="735576"/>
                </a:lnTo>
                <a:lnTo>
                  <a:pt x="1897011" y="735576"/>
                </a:lnTo>
                <a:lnTo>
                  <a:pt x="1897011" y="715297"/>
                </a:lnTo>
                <a:lnTo>
                  <a:pt x="1810365" y="715297"/>
                </a:lnTo>
                <a:lnTo>
                  <a:pt x="1810365" y="685800"/>
                </a:lnTo>
                <a:lnTo>
                  <a:pt x="1743997" y="685800"/>
                </a:lnTo>
                <a:lnTo>
                  <a:pt x="1743997" y="637867"/>
                </a:lnTo>
                <a:lnTo>
                  <a:pt x="1683160" y="637867"/>
                </a:lnTo>
                <a:lnTo>
                  <a:pt x="1683160" y="619432"/>
                </a:lnTo>
                <a:lnTo>
                  <a:pt x="1590982" y="619432"/>
                </a:lnTo>
                <a:lnTo>
                  <a:pt x="1590982" y="577030"/>
                </a:lnTo>
                <a:lnTo>
                  <a:pt x="1533832" y="577030"/>
                </a:lnTo>
                <a:lnTo>
                  <a:pt x="1533832" y="565969"/>
                </a:lnTo>
                <a:lnTo>
                  <a:pt x="1504336" y="565969"/>
                </a:lnTo>
                <a:lnTo>
                  <a:pt x="1504336" y="549377"/>
                </a:lnTo>
                <a:lnTo>
                  <a:pt x="1410315" y="549377"/>
                </a:lnTo>
                <a:lnTo>
                  <a:pt x="1366069" y="549377"/>
                </a:lnTo>
                <a:lnTo>
                  <a:pt x="1366069" y="516193"/>
                </a:lnTo>
                <a:lnTo>
                  <a:pt x="1176184" y="516193"/>
                </a:lnTo>
                <a:lnTo>
                  <a:pt x="1176184" y="477479"/>
                </a:lnTo>
                <a:lnTo>
                  <a:pt x="1106129" y="477479"/>
                </a:lnTo>
                <a:lnTo>
                  <a:pt x="1106129" y="459043"/>
                </a:lnTo>
                <a:lnTo>
                  <a:pt x="1039761" y="459043"/>
                </a:lnTo>
                <a:lnTo>
                  <a:pt x="1039761" y="438764"/>
                </a:lnTo>
                <a:lnTo>
                  <a:pt x="1030544" y="438764"/>
                </a:lnTo>
                <a:lnTo>
                  <a:pt x="1030544" y="429547"/>
                </a:lnTo>
                <a:lnTo>
                  <a:pt x="838815" y="429547"/>
                </a:lnTo>
                <a:lnTo>
                  <a:pt x="838815" y="403737"/>
                </a:lnTo>
                <a:lnTo>
                  <a:pt x="805631" y="403737"/>
                </a:lnTo>
                <a:lnTo>
                  <a:pt x="805631" y="372397"/>
                </a:lnTo>
                <a:lnTo>
                  <a:pt x="779821" y="372397"/>
                </a:lnTo>
                <a:lnTo>
                  <a:pt x="779821" y="361335"/>
                </a:lnTo>
                <a:lnTo>
                  <a:pt x="726358" y="361335"/>
                </a:lnTo>
                <a:lnTo>
                  <a:pt x="726358" y="331838"/>
                </a:lnTo>
                <a:lnTo>
                  <a:pt x="682113" y="331838"/>
                </a:lnTo>
                <a:lnTo>
                  <a:pt x="682113" y="307872"/>
                </a:lnTo>
                <a:lnTo>
                  <a:pt x="636024" y="307872"/>
                </a:lnTo>
                <a:lnTo>
                  <a:pt x="636024" y="283906"/>
                </a:lnTo>
                <a:lnTo>
                  <a:pt x="588092" y="283906"/>
                </a:lnTo>
                <a:lnTo>
                  <a:pt x="588092" y="258097"/>
                </a:lnTo>
                <a:lnTo>
                  <a:pt x="534629" y="258097"/>
                </a:lnTo>
                <a:lnTo>
                  <a:pt x="534629" y="235974"/>
                </a:lnTo>
                <a:lnTo>
                  <a:pt x="459044" y="235974"/>
                </a:lnTo>
                <a:lnTo>
                  <a:pt x="459044" y="204634"/>
                </a:lnTo>
                <a:lnTo>
                  <a:pt x="383458" y="204634"/>
                </a:lnTo>
                <a:lnTo>
                  <a:pt x="383458" y="189885"/>
                </a:lnTo>
                <a:lnTo>
                  <a:pt x="329995" y="189885"/>
                </a:lnTo>
                <a:lnTo>
                  <a:pt x="320777" y="180667"/>
                </a:lnTo>
                <a:lnTo>
                  <a:pt x="294968" y="180667"/>
                </a:lnTo>
                <a:lnTo>
                  <a:pt x="294968" y="141953"/>
                </a:lnTo>
                <a:lnTo>
                  <a:pt x="259940" y="141953"/>
                </a:lnTo>
                <a:lnTo>
                  <a:pt x="259940" y="116143"/>
                </a:lnTo>
                <a:lnTo>
                  <a:pt x="239661" y="116143"/>
                </a:lnTo>
                <a:lnTo>
                  <a:pt x="239661" y="95864"/>
                </a:lnTo>
                <a:lnTo>
                  <a:pt x="200947" y="95864"/>
                </a:lnTo>
                <a:lnTo>
                  <a:pt x="200947" y="71898"/>
                </a:lnTo>
                <a:lnTo>
                  <a:pt x="103239" y="71898"/>
                </a:lnTo>
                <a:lnTo>
                  <a:pt x="103239" y="23966"/>
                </a:lnTo>
                <a:lnTo>
                  <a:pt x="42402" y="23966"/>
                </a:lnTo>
                <a:lnTo>
                  <a:pt x="42402" y="0"/>
                </a:lnTo>
                <a:lnTo>
                  <a:pt x="0" y="0"/>
                </a:lnTo>
              </a:path>
            </a:pathLst>
          </a:cu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2" name="Oval 361">
            <a:extLst>
              <a:ext uri="{FF2B5EF4-FFF2-40B4-BE49-F238E27FC236}">
                <a16:creationId xmlns:a16="http://schemas.microsoft.com/office/drawing/2014/main" id="{97E5CF78-0063-4922-83C5-8BCF27B1F35D}"/>
              </a:ext>
            </a:extLst>
          </p:cNvPr>
          <p:cNvSpPr/>
          <p:nvPr/>
        </p:nvSpPr>
        <p:spPr bwMode="auto">
          <a:xfrm>
            <a:off x="4793978" y="2246376"/>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3" name="Oval 362">
            <a:extLst>
              <a:ext uri="{FF2B5EF4-FFF2-40B4-BE49-F238E27FC236}">
                <a16:creationId xmlns:a16="http://schemas.microsoft.com/office/drawing/2014/main" id="{CD5A9BB8-064F-4703-A28D-3D77F7815EBC}"/>
              </a:ext>
            </a:extLst>
          </p:cNvPr>
          <p:cNvSpPr/>
          <p:nvPr/>
        </p:nvSpPr>
        <p:spPr bwMode="auto">
          <a:xfrm>
            <a:off x="4653077" y="225005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4" name="Oval 363">
            <a:extLst>
              <a:ext uri="{FF2B5EF4-FFF2-40B4-BE49-F238E27FC236}">
                <a16:creationId xmlns:a16="http://schemas.microsoft.com/office/drawing/2014/main" id="{CDA7AE6E-5617-4145-9595-91A3CB136539}"/>
              </a:ext>
            </a:extLst>
          </p:cNvPr>
          <p:cNvSpPr/>
          <p:nvPr/>
        </p:nvSpPr>
        <p:spPr bwMode="auto">
          <a:xfrm>
            <a:off x="4714416" y="2250056"/>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5" name="Oval 364">
            <a:extLst>
              <a:ext uri="{FF2B5EF4-FFF2-40B4-BE49-F238E27FC236}">
                <a16:creationId xmlns:a16="http://schemas.microsoft.com/office/drawing/2014/main" id="{4D0E4FA9-CEBE-4F73-B563-E5382F1EA760}"/>
              </a:ext>
            </a:extLst>
          </p:cNvPr>
          <p:cNvSpPr/>
          <p:nvPr/>
        </p:nvSpPr>
        <p:spPr bwMode="auto">
          <a:xfrm>
            <a:off x="4481973" y="224891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6" name="Oval 365">
            <a:extLst>
              <a:ext uri="{FF2B5EF4-FFF2-40B4-BE49-F238E27FC236}">
                <a16:creationId xmlns:a16="http://schemas.microsoft.com/office/drawing/2014/main" id="{B6EE313E-0E87-43AE-AB1D-E39E4FB422DC}"/>
              </a:ext>
            </a:extLst>
          </p:cNvPr>
          <p:cNvSpPr/>
          <p:nvPr/>
        </p:nvSpPr>
        <p:spPr bwMode="auto">
          <a:xfrm>
            <a:off x="4525248" y="224798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7" name="Oval 366">
            <a:extLst>
              <a:ext uri="{FF2B5EF4-FFF2-40B4-BE49-F238E27FC236}">
                <a16:creationId xmlns:a16="http://schemas.microsoft.com/office/drawing/2014/main" id="{A7BF06C0-FF0C-41BA-8E2E-ACB69F59B12E}"/>
              </a:ext>
            </a:extLst>
          </p:cNvPr>
          <p:cNvSpPr/>
          <p:nvPr/>
        </p:nvSpPr>
        <p:spPr bwMode="auto">
          <a:xfrm>
            <a:off x="4564800" y="2248771"/>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8" name="Oval 367">
            <a:extLst>
              <a:ext uri="{FF2B5EF4-FFF2-40B4-BE49-F238E27FC236}">
                <a16:creationId xmlns:a16="http://schemas.microsoft.com/office/drawing/2014/main" id="{40DC01EC-61C4-4332-905D-49C2171CCD6C}"/>
              </a:ext>
            </a:extLst>
          </p:cNvPr>
          <p:cNvSpPr/>
          <p:nvPr/>
        </p:nvSpPr>
        <p:spPr bwMode="auto">
          <a:xfrm>
            <a:off x="4611351" y="224966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69" name="Oval 368">
            <a:extLst>
              <a:ext uri="{FF2B5EF4-FFF2-40B4-BE49-F238E27FC236}">
                <a16:creationId xmlns:a16="http://schemas.microsoft.com/office/drawing/2014/main" id="{A9351A85-4A8B-4E1B-9508-3721995B1C5F}"/>
              </a:ext>
            </a:extLst>
          </p:cNvPr>
          <p:cNvSpPr/>
          <p:nvPr/>
        </p:nvSpPr>
        <p:spPr bwMode="auto">
          <a:xfrm>
            <a:off x="4406856" y="2250054"/>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0" name="Oval 369">
            <a:extLst>
              <a:ext uri="{FF2B5EF4-FFF2-40B4-BE49-F238E27FC236}">
                <a16:creationId xmlns:a16="http://schemas.microsoft.com/office/drawing/2014/main" id="{648DE193-7E7A-4311-820B-64AB988D51B0}"/>
              </a:ext>
            </a:extLst>
          </p:cNvPr>
          <p:cNvSpPr/>
          <p:nvPr/>
        </p:nvSpPr>
        <p:spPr bwMode="auto">
          <a:xfrm>
            <a:off x="4424493" y="2251197"/>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1" name="Oval 370">
            <a:extLst>
              <a:ext uri="{FF2B5EF4-FFF2-40B4-BE49-F238E27FC236}">
                <a16:creationId xmlns:a16="http://schemas.microsoft.com/office/drawing/2014/main" id="{E7387FF9-9F63-46F3-AB23-E17726BC6D26}"/>
              </a:ext>
            </a:extLst>
          </p:cNvPr>
          <p:cNvSpPr/>
          <p:nvPr/>
        </p:nvSpPr>
        <p:spPr bwMode="auto">
          <a:xfrm>
            <a:off x="4447487" y="225005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2" name="Oval 371">
            <a:extLst>
              <a:ext uri="{FF2B5EF4-FFF2-40B4-BE49-F238E27FC236}">
                <a16:creationId xmlns:a16="http://schemas.microsoft.com/office/drawing/2014/main" id="{0A11D49F-21B5-4C93-9A91-5080A0EDE54A}"/>
              </a:ext>
            </a:extLst>
          </p:cNvPr>
          <p:cNvSpPr/>
          <p:nvPr/>
        </p:nvSpPr>
        <p:spPr bwMode="auto">
          <a:xfrm>
            <a:off x="4341504" y="224946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3" name="Oval 372">
            <a:extLst>
              <a:ext uri="{FF2B5EF4-FFF2-40B4-BE49-F238E27FC236}">
                <a16:creationId xmlns:a16="http://schemas.microsoft.com/office/drawing/2014/main" id="{FE12D672-93CE-4A22-9369-6DD37C875477}"/>
              </a:ext>
            </a:extLst>
          </p:cNvPr>
          <p:cNvSpPr/>
          <p:nvPr/>
        </p:nvSpPr>
        <p:spPr bwMode="auto">
          <a:xfrm>
            <a:off x="4285298" y="2248279"/>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4" name="Oval 373">
            <a:extLst>
              <a:ext uri="{FF2B5EF4-FFF2-40B4-BE49-F238E27FC236}">
                <a16:creationId xmlns:a16="http://schemas.microsoft.com/office/drawing/2014/main" id="{BA69469A-DC50-4060-81A7-714D1B8B2D7A}"/>
              </a:ext>
            </a:extLst>
          </p:cNvPr>
          <p:cNvSpPr/>
          <p:nvPr/>
        </p:nvSpPr>
        <p:spPr bwMode="auto">
          <a:xfrm>
            <a:off x="4387509" y="224598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5" name="Oval 374">
            <a:extLst>
              <a:ext uri="{FF2B5EF4-FFF2-40B4-BE49-F238E27FC236}">
                <a16:creationId xmlns:a16="http://schemas.microsoft.com/office/drawing/2014/main" id="{0B4A0623-6925-44B7-B1BF-B085CCE5CF61}"/>
              </a:ext>
            </a:extLst>
          </p:cNvPr>
          <p:cNvSpPr/>
          <p:nvPr/>
        </p:nvSpPr>
        <p:spPr bwMode="auto">
          <a:xfrm>
            <a:off x="4191802" y="2246721"/>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6" name="Oval 375">
            <a:extLst>
              <a:ext uri="{FF2B5EF4-FFF2-40B4-BE49-F238E27FC236}">
                <a16:creationId xmlns:a16="http://schemas.microsoft.com/office/drawing/2014/main" id="{DD560F46-5B13-4E7F-A1B9-183A072B9B50}"/>
              </a:ext>
            </a:extLst>
          </p:cNvPr>
          <p:cNvSpPr/>
          <p:nvPr/>
        </p:nvSpPr>
        <p:spPr bwMode="auto">
          <a:xfrm>
            <a:off x="4215001" y="2250054"/>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7" name="Oval 376">
            <a:extLst>
              <a:ext uri="{FF2B5EF4-FFF2-40B4-BE49-F238E27FC236}">
                <a16:creationId xmlns:a16="http://schemas.microsoft.com/office/drawing/2014/main" id="{514293BC-190E-4860-9A72-D3D3291332F5}"/>
              </a:ext>
            </a:extLst>
          </p:cNvPr>
          <p:cNvSpPr/>
          <p:nvPr/>
        </p:nvSpPr>
        <p:spPr bwMode="auto">
          <a:xfrm>
            <a:off x="4239751" y="224946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8" name="Oval 377">
            <a:extLst>
              <a:ext uri="{FF2B5EF4-FFF2-40B4-BE49-F238E27FC236}">
                <a16:creationId xmlns:a16="http://schemas.microsoft.com/office/drawing/2014/main" id="{45041800-AEA0-4C86-9410-B9E282C0C5B5}"/>
              </a:ext>
            </a:extLst>
          </p:cNvPr>
          <p:cNvSpPr/>
          <p:nvPr/>
        </p:nvSpPr>
        <p:spPr bwMode="auto">
          <a:xfrm>
            <a:off x="4258185" y="224946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9" name="Oval 378">
            <a:extLst>
              <a:ext uri="{FF2B5EF4-FFF2-40B4-BE49-F238E27FC236}">
                <a16:creationId xmlns:a16="http://schemas.microsoft.com/office/drawing/2014/main" id="{F747E169-2E39-4865-B950-4F260FE2C4BE}"/>
              </a:ext>
            </a:extLst>
          </p:cNvPr>
          <p:cNvSpPr/>
          <p:nvPr/>
        </p:nvSpPr>
        <p:spPr bwMode="auto">
          <a:xfrm>
            <a:off x="4116597" y="2219500"/>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0" name="Oval 379">
            <a:extLst>
              <a:ext uri="{FF2B5EF4-FFF2-40B4-BE49-F238E27FC236}">
                <a16:creationId xmlns:a16="http://schemas.microsoft.com/office/drawing/2014/main" id="{2ED3CE44-0E45-459B-8CB3-8EC2E58D6B04}"/>
              </a:ext>
            </a:extLst>
          </p:cNvPr>
          <p:cNvSpPr/>
          <p:nvPr/>
        </p:nvSpPr>
        <p:spPr bwMode="auto">
          <a:xfrm>
            <a:off x="4148247" y="2225986"/>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1" name="Oval 380">
            <a:extLst>
              <a:ext uri="{FF2B5EF4-FFF2-40B4-BE49-F238E27FC236}">
                <a16:creationId xmlns:a16="http://schemas.microsoft.com/office/drawing/2014/main" id="{84B5C5C0-5C34-4AC6-A0E1-059E5779E71C}"/>
              </a:ext>
            </a:extLst>
          </p:cNvPr>
          <p:cNvSpPr/>
          <p:nvPr/>
        </p:nvSpPr>
        <p:spPr bwMode="auto">
          <a:xfrm>
            <a:off x="4171599" y="222357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2" name="Oval 381">
            <a:extLst>
              <a:ext uri="{FF2B5EF4-FFF2-40B4-BE49-F238E27FC236}">
                <a16:creationId xmlns:a16="http://schemas.microsoft.com/office/drawing/2014/main" id="{B79AB26E-A079-481E-81E7-3C5421EB9E85}"/>
              </a:ext>
            </a:extLst>
          </p:cNvPr>
          <p:cNvSpPr/>
          <p:nvPr/>
        </p:nvSpPr>
        <p:spPr bwMode="auto">
          <a:xfrm>
            <a:off x="4026413" y="221011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3" name="Oval 382">
            <a:extLst>
              <a:ext uri="{FF2B5EF4-FFF2-40B4-BE49-F238E27FC236}">
                <a16:creationId xmlns:a16="http://schemas.microsoft.com/office/drawing/2014/main" id="{07A10C03-DABA-42D5-A8F3-9BD69EC2F060}"/>
              </a:ext>
            </a:extLst>
          </p:cNvPr>
          <p:cNvSpPr/>
          <p:nvPr/>
        </p:nvSpPr>
        <p:spPr bwMode="auto">
          <a:xfrm>
            <a:off x="4053160" y="2220880"/>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4" name="Oval 383">
            <a:extLst>
              <a:ext uri="{FF2B5EF4-FFF2-40B4-BE49-F238E27FC236}">
                <a16:creationId xmlns:a16="http://schemas.microsoft.com/office/drawing/2014/main" id="{B4CCDE73-157C-4B98-9691-50C5C524B6F0}"/>
              </a:ext>
            </a:extLst>
          </p:cNvPr>
          <p:cNvSpPr/>
          <p:nvPr/>
        </p:nvSpPr>
        <p:spPr bwMode="auto">
          <a:xfrm>
            <a:off x="4077910" y="2219500"/>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5" name="Oval 384">
            <a:extLst>
              <a:ext uri="{FF2B5EF4-FFF2-40B4-BE49-F238E27FC236}">
                <a16:creationId xmlns:a16="http://schemas.microsoft.com/office/drawing/2014/main" id="{2A9CA7EA-7EAA-4499-A396-42D39728D08C}"/>
              </a:ext>
            </a:extLst>
          </p:cNvPr>
          <p:cNvSpPr/>
          <p:nvPr/>
        </p:nvSpPr>
        <p:spPr bwMode="auto">
          <a:xfrm>
            <a:off x="4098372" y="222181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6" name="Oval 385">
            <a:extLst>
              <a:ext uri="{FF2B5EF4-FFF2-40B4-BE49-F238E27FC236}">
                <a16:creationId xmlns:a16="http://schemas.microsoft.com/office/drawing/2014/main" id="{448FB2ED-9826-485D-9A71-7011F0018F94}"/>
              </a:ext>
            </a:extLst>
          </p:cNvPr>
          <p:cNvSpPr/>
          <p:nvPr/>
        </p:nvSpPr>
        <p:spPr bwMode="auto">
          <a:xfrm>
            <a:off x="3971635" y="2207881"/>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7" name="Oval 386">
            <a:extLst>
              <a:ext uri="{FF2B5EF4-FFF2-40B4-BE49-F238E27FC236}">
                <a16:creationId xmlns:a16="http://schemas.microsoft.com/office/drawing/2014/main" id="{A1E38A85-9743-47B4-B168-729754F725CD}"/>
              </a:ext>
            </a:extLst>
          </p:cNvPr>
          <p:cNvSpPr/>
          <p:nvPr/>
        </p:nvSpPr>
        <p:spPr bwMode="auto">
          <a:xfrm>
            <a:off x="3956820" y="2207881"/>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8" name="Oval 387">
            <a:extLst>
              <a:ext uri="{FF2B5EF4-FFF2-40B4-BE49-F238E27FC236}">
                <a16:creationId xmlns:a16="http://schemas.microsoft.com/office/drawing/2014/main" id="{211D34EF-1704-460A-8470-6FB97634F625}"/>
              </a:ext>
            </a:extLst>
          </p:cNvPr>
          <p:cNvSpPr/>
          <p:nvPr/>
        </p:nvSpPr>
        <p:spPr bwMode="auto">
          <a:xfrm>
            <a:off x="3941216" y="2206714"/>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89" name="Oval 388">
            <a:extLst>
              <a:ext uri="{FF2B5EF4-FFF2-40B4-BE49-F238E27FC236}">
                <a16:creationId xmlns:a16="http://schemas.microsoft.com/office/drawing/2014/main" id="{F0F4891A-32CA-4459-B9F3-C592A6F8A8E6}"/>
              </a:ext>
            </a:extLst>
          </p:cNvPr>
          <p:cNvSpPr/>
          <p:nvPr/>
        </p:nvSpPr>
        <p:spPr bwMode="auto">
          <a:xfrm>
            <a:off x="4000680" y="2207066"/>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0" name="Oval 389">
            <a:extLst>
              <a:ext uri="{FF2B5EF4-FFF2-40B4-BE49-F238E27FC236}">
                <a16:creationId xmlns:a16="http://schemas.microsoft.com/office/drawing/2014/main" id="{204F2906-BAD6-4D31-9243-C482A4557981}"/>
              </a:ext>
            </a:extLst>
          </p:cNvPr>
          <p:cNvSpPr/>
          <p:nvPr/>
        </p:nvSpPr>
        <p:spPr bwMode="auto">
          <a:xfrm>
            <a:off x="3822510" y="2197843"/>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1" name="Oval 390">
            <a:extLst>
              <a:ext uri="{FF2B5EF4-FFF2-40B4-BE49-F238E27FC236}">
                <a16:creationId xmlns:a16="http://schemas.microsoft.com/office/drawing/2014/main" id="{8F0D0922-86CA-435F-86CA-7D24F49E68F4}"/>
              </a:ext>
            </a:extLst>
          </p:cNvPr>
          <p:cNvSpPr/>
          <p:nvPr/>
        </p:nvSpPr>
        <p:spPr bwMode="auto">
          <a:xfrm>
            <a:off x="3850158" y="2210114"/>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2" name="Oval 391">
            <a:extLst>
              <a:ext uri="{FF2B5EF4-FFF2-40B4-BE49-F238E27FC236}">
                <a16:creationId xmlns:a16="http://schemas.microsoft.com/office/drawing/2014/main" id="{FFAE4881-BA5C-42EF-9D19-42759BFC1A44}"/>
              </a:ext>
            </a:extLst>
          </p:cNvPr>
          <p:cNvSpPr/>
          <p:nvPr/>
        </p:nvSpPr>
        <p:spPr bwMode="auto">
          <a:xfrm>
            <a:off x="3877702" y="221011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3" name="Oval 392">
            <a:extLst>
              <a:ext uri="{FF2B5EF4-FFF2-40B4-BE49-F238E27FC236}">
                <a16:creationId xmlns:a16="http://schemas.microsoft.com/office/drawing/2014/main" id="{7B569F3E-F612-4F1B-A0AC-647E2C559B55}"/>
              </a:ext>
            </a:extLst>
          </p:cNvPr>
          <p:cNvSpPr/>
          <p:nvPr/>
        </p:nvSpPr>
        <p:spPr bwMode="auto">
          <a:xfrm>
            <a:off x="3916338" y="2208988"/>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4" name="Oval 393">
            <a:extLst>
              <a:ext uri="{FF2B5EF4-FFF2-40B4-BE49-F238E27FC236}">
                <a16:creationId xmlns:a16="http://schemas.microsoft.com/office/drawing/2014/main" id="{CE4C62F1-FDA3-49F6-9C99-4E1AF034C6BC}"/>
              </a:ext>
            </a:extLst>
          </p:cNvPr>
          <p:cNvSpPr/>
          <p:nvPr/>
        </p:nvSpPr>
        <p:spPr bwMode="auto">
          <a:xfrm>
            <a:off x="3725169" y="2192277"/>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5" name="Oval 394">
            <a:extLst>
              <a:ext uri="{FF2B5EF4-FFF2-40B4-BE49-F238E27FC236}">
                <a16:creationId xmlns:a16="http://schemas.microsoft.com/office/drawing/2014/main" id="{5C7B4284-5A08-495F-B39C-3C30232F8E49}"/>
              </a:ext>
            </a:extLst>
          </p:cNvPr>
          <p:cNvSpPr/>
          <p:nvPr/>
        </p:nvSpPr>
        <p:spPr bwMode="auto">
          <a:xfrm>
            <a:off x="3765012" y="219356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6" name="Oval 395">
            <a:extLst>
              <a:ext uri="{FF2B5EF4-FFF2-40B4-BE49-F238E27FC236}">
                <a16:creationId xmlns:a16="http://schemas.microsoft.com/office/drawing/2014/main" id="{DBED9E43-C35C-4B38-A872-854227056671}"/>
              </a:ext>
            </a:extLst>
          </p:cNvPr>
          <p:cNvSpPr/>
          <p:nvPr/>
        </p:nvSpPr>
        <p:spPr bwMode="auto">
          <a:xfrm>
            <a:off x="3790755" y="2196776"/>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7" name="Oval 396">
            <a:extLst>
              <a:ext uri="{FF2B5EF4-FFF2-40B4-BE49-F238E27FC236}">
                <a16:creationId xmlns:a16="http://schemas.microsoft.com/office/drawing/2014/main" id="{35F1A6E8-595E-4FB9-81FE-198A1F72AD11}"/>
              </a:ext>
            </a:extLst>
          </p:cNvPr>
          <p:cNvSpPr/>
          <p:nvPr/>
        </p:nvSpPr>
        <p:spPr bwMode="auto">
          <a:xfrm>
            <a:off x="3809550" y="2198698"/>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8" name="Oval 397">
            <a:extLst>
              <a:ext uri="{FF2B5EF4-FFF2-40B4-BE49-F238E27FC236}">
                <a16:creationId xmlns:a16="http://schemas.microsoft.com/office/drawing/2014/main" id="{1424FD6C-5255-465A-84F2-1F96EDC47C79}"/>
              </a:ext>
            </a:extLst>
          </p:cNvPr>
          <p:cNvSpPr/>
          <p:nvPr/>
        </p:nvSpPr>
        <p:spPr bwMode="auto">
          <a:xfrm>
            <a:off x="3667239" y="2170620"/>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99" name="Oval 398">
            <a:extLst>
              <a:ext uri="{FF2B5EF4-FFF2-40B4-BE49-F238E27FC236}">
                <a16:creationId xmlns:a16="http://schemas.microsoft.com/office/drawing/2014/main" id="{71D93075-CE12-41C5-90A2-4E9D91A5DEE0}"/>
              </a:ext>
            </a:extLst>
          </p:cNvPr>
          <p:cNvSpPr/>
          <p:nvPr/>
        </p:nvSpPr>
        <p:spPr bwMode="auto">
          <a:xfrm>
            <a:off x="3705660" y="217553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0" name="Oval 399">
            <a:extLst>
              <a:ext uri="{FF2B5EF4-FFF2-40B4-BE49-F238E27FC236}">
                <a16:creationId xmlns:a16="http://schemas.microsoft.com/office/drawing/2014/main" id="{FFA0DD40-8F2F-4D23-964D-5C6A7BB94FF6}"/>
              </a:ext>
            </a:extLst>
          </p:cNvPr>
          <p:cNvSpPr/>
          <p:nvPr/>
        </p:nvSpPr>
        <p:spPr bwMode="auto">
          <a:xfrm>
            <a:off x="3713048" y="219356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1" name="Oval 400">
            <a:extLst>
              <a:ext uri="{FF2B5EF4-FFF2-40B4-BE49-F238E27FC236}">
                <a16:creationId xmlns:a16="http://schemas.microsoft.com/office/drawing/2014/main" id="{2CAB8672-BB89-486C-B048-88C027E5C2F8}"/>
              </a:ext>
            </a:extLst>
          </p:cNvPr>
          <p:cNvSpPr/>
          <p:nvPr/>
        </p:nvSpPr>
        <p:spPr bwMode="auto">
          <a:xfrm>
            <a:off x="3604359" y="2150467"/>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2" name="Oval 401">
            <a:extLst>
              <a:ext uri="{FF2B5EF4-FFF2-40B4-BE49-F238E27FC236}">
                <a16:creationId xmlns:a16="http://schemas.microsoft.com/office/drawing/2014/main" id="{2CB1D585-3ED8-4097-B03C-F994D4F331D6}"/>
              </a:ext>
            </a:extLst>
          </p:cNvPr>
          <p:cNvSpPr/>
          <p:nvPr/>
        </p:nvSpPr>
        <p:spPr bwMode="auto">
          <a:xfrm>
            <a:off x="3631694" y="2152591"/>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3" name="Oval 402">
            <a:extLst>
              <a:ext uri="{FF2B5EF4-FFF2-40B4-BE49-F238E27FC236}">
                <a16:creationId xmlns:a16="http://schemas.microsoft.com/office/drawing/2014/main" id="{44B379C1-6D60-4445-9E49-86FC5151B546}"/>
              </a:ext>
            </a:extLst>
          </p:cNvPr>
          <p:cNvSpPr/>
          <p:nvPr/>
        </p:nvSpPr>
        <p:spPr bwMode="auto">
          <a:xfrm>
            <a:off x="3640173" y="2168549"/>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4" name="Oval 403">
            <a:extLst>
              <a:ext uri="{FF2B5EF4-FFF2-40B4-BE49-F238E27FC236}">
                <a16:creationId xmlns:a16="http://schemas.microsoft.com/office/drawing/2014/main" id="{80756053-7879-48E6-A9EA-18BDDF6739A7}"/>
              </a:ext>
            </a:extLst>
          </p:cNvPr>
          <p:cNvSpPr/>
          <p:nvPr/>
        </p:nvSpPr>
        <p:spPr bwMode="auto">
          <a:xfrm>
            <a:off x="3580161" y="2145639"/>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5" name="Oval 404">
            <a:extLst>
              <a:ext uri="{FF2B5EF4-FFF2-40B4-BE49-F238E27FC236}">
                <a16:creationId xmlns:a16="http://schemas.microsoft.com/office/drawing/2014/main" id="{F786C6D4-E723-4BDC-BA47-F6857D10B513}"/>
              </a:ext>
            </a:extLst>
          </p:cNvPr>
          <p:cNvSpPr/>
          <p:nvPr/>
        </p:nvSpPr>
        <p:spPr bwMode="auto">
          <a:xfrm>
            <a:off x="3491568" y="2109337"/>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6" name="Oval 405">
            <a:extLst>
              <a:ext uri="{FF2B5EF4-FFF2-40B4-BE49-F238E27FC236}">
                <a16:creationId xmlns:a16="http://schemas.microsoft.com/office/drawing/2014/main" id="{4F98F82E-4634-489C-A2F2-51142D2D0AE1}"/>
              </a:ext>
            </a:extLst>
          </p:cNvPr>
          <p:cNvSpPr/>
          <p:nvPr/>
        </p:nvSpPr>
        <p:spPr bwMode="auto">
          <a:xfrm>
            <a:off x="3455599" y="209647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7" name="Oval 406">
            <a:extLst>
              <a:ext uri="{FF2B5EF4-FFF2-40B4-BE49-F238E27FC236}">
                <a16:creationId xmlns:a16="http://schemas.microsoft.com/office/drawing/2014/main" id="{473805B8-98F3-45DA-9D61-E37EF1DF4AFE}"/>
              </a:ext>
            </a:extLst>
          </p:cNvPr>
          <p:cNvSpPr/>
          <p:nvPr/>
        </p:nvSpPr>
        <p:spPr bwMode="auto">
          <a:xfrm>
            <a:off x="3388488" y="2087680"/>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8" name="Oval 407">
            <a:extLst>
              <a:ext uri="{FF2B5EF4-FFF2-40B4-BE49-F238E27FC236}">
                <a16:creationId xmlns:a16="http://schemas.microsoft.com/office/drawing/2014/main" id="{C510B61E-9321-467B-BEF5-3C8486EC2097}"/>
              </a:ext>
            </a:extLst>
          </p:cNvPr>
          <p:cNvSpPr/>
          <p:nvPr/>
        </p:nvSpPr>
        <p:spPr bwMode="auto">
          <a:xfrm>
            <a:off x="3283163" y="2037311"/>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09" name="Oval 408">
            <a:extLst>
              <a:ext uri="{FF2B5EF4-FFF2-40B4-BE49-F238E27FC236}">
                <a16:creationId xmlns:a16="http://schemas.microsoft.com/office/drawing/2014/main" id="{0197D82D-1B35-4D46-9AA3-76E7810C83D0}"/>
              </a:ext>
            </a:extLst>
          </p:cNvPr>
          <p:cNvSpPr/>
          <p:nvPr/>
        </p:nvSpPr>
        <p:spPr bwMode="auto">
          <a:xfrm>
            <a:off x="3301638" y="2051279"/>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0" name="Oval 409">
            <a:extLst>
              <a:ext uri="{FF2B5EF4-FFF2-40B4-BE49-F238E27FC236}">
                <a16:creationId xmlns:a16="http://schemas.microsoft.com/office/drawing/2014/main" id="{EAFB12F2-092C-4519-90A1-6A919E254A64}"/>
              </a:ext>
            </a:extLst>
          </p:cNvPr>
          <p:cNvSpPr/>
          <p:nvPr/>
        </p:nvSpPr>
        <p:spPr bwMode="auto">
          <a:xfrm>
            <a:off x="3090861" y="2011858"/>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1" name="Oval 410">
            <a:extLst>
              <a:ext uri="{FF2B5EF4-FFF2-40B4-BE49-F238E27FC236}">
                <a16:creationId xmlns:a16="http://schemas.microsoft.com/office/drawing/2014/main" id="{CB22D828-12AF-4E17-9042-7B86575E2410}"/>
              </a:ext>
            </a:extLst>
          </p:cNvPr>
          <p:cNvSpPr/>
          <p:nvPr/>
        </p:nvSpPr>
        <p:spPr bwMode="auto">
          <a:xfrm>
            <a:off x="3051696" y="2010597"/>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2" name="Oval 411">
            <a:extLst>
              <a:ext uri="{FF2B5EF4-FFF2-40B4-BE49-F238E27FC236}">
                <a16:creationId xmlns:a16="http://schemas.microsoft.com/office/drawing/2014/main" id="{5DDBDBB4-C1F7-4F16-BBE4-ECA5A487B18E}"/>
              </a:ext>
            </a:extLst>
          </p:cNvPr>
          <p:cNvSpPr/>
          <p:nvPr/>
        </p:nvSpPr>
        <p:spPr bwMode="auto">
          <a:xfrm>
            <a:off x="2806503" y="1935472"/>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3" name="Oval 412">
            <a:extLst>
              <a:ext uri="{FF2B5EF4-FFF2-40B4-BE49-F238E27FC236}">
                <a16:creationId xmlns:a16="http://schemas.microsoft.com/office/drawing/2014/main" id="{D24BE9A3-AE63-459D-8123-F2E642E47B7C}"/>
              </a:ext>
            </a:extLst>
          </p:cNvPr>
          <p:cNvSpPr/>
          <p:nvPr/>
        </p:nvSpPr>
        <p:spPr bwMode="auto">
          <a:xfrm>
            <a:off x="2833563" y="1937758"/>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4" name="Oval 413">
            <a:extLst>
              <a:ext uri="{FF2B5EF4-FFF2-40B4-BE49-F238E27FC236}">
                <a16:creationId xmlns:a16="http://schemas.microsoft.com/office/drawing/2014/main" id="{114D6C92-85DF-4EEA-B4F0-77EFE283F2B0}"/>
              </a:ext>
            </a:extLst>
          </p:cNvPr>
          <p:cNvSpPr/>
          <p:nvPr/>
        </p:nvSpPr>
        <p:spPr bwMode="auto">
          <a:xfrm>
            <a:off x="2237685" y="1715644"/>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5" name="Oval 414">
            <a:extLst>
              <a:ext uri="{FF2B5EF4-FFF2-40B4-BE49-F238E27FC236}">
                <a16:creationId xmlns:a16="http://schemas.microsoft.com/office/drawing/2014/main" id="{AD68633F-9996-435E-B75A-9DCB5F8695E5}"/>
              </a:ext>
            </a:extLst>
          </p:cNvPr>
          <p:cNvSpPr/>
          <p:nvPr/>
        </p:nvSpPr>
        <p:spPr bwMode="auto">
          <a:xfrm>
            <a:off x="2066996" y="1647433"/>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6" name="Oval 415">
            <a:extLst>
              <a:ext uri="{FF2B5EF4-FFF2-40B4-BE49-F238E27FC236}">
                <a16:creationId xmlns:a16="http://schemas.microsoft.com/office/drawing/2014/main" id="{DC7CCE32-5512-47CC-97A1-8A254508725B}"/>
              </a:ext>
            </a:extLst>
          </p:cNvPr>
          <p:cNvSpPr/>
          <p:nvPr/>
        </p:nvSpPr>
        <p:spPr bwMode="auto">
          <a:xfrm>
            <a:off x="2202115" y="1702327"/>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7" name="Oval 416">
            <a:extLst>
              <a:ext uri="{FF2B5EF4-FFF2-40B4-BE49-F238E27FC236}">
                <a16:creationId xmlns:a16="http://schemas.microsoft.com/office/drawing/2014/main" id="{83DA2980-A84B-4A6B-A6F8-E0A702E2F472}"/>
              </a:ext>
            </a:extLst>
          </p:cNvPr>
          <p:cNvSpPr/>
          <p:nvPr/>
        </p:nvSpPr>
        <p:spPr bwMode="auto">
          <a:xfrm>
            <a:off x="1948690" y="1628774"/>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8" name="Oval 417">
            <a:extLst>
              <a:ext uri="{FF2B5EF4-FFF2-40B4-BE49-F238E27FC236}">
                <a16:creationId xmlns:a16="http://schemas.microsoft.com/office/drawing/2014/main" id="{A13ECCE2-64D3-47E2-98BB-1DA1B251B2DF}"/>
              </a:ext>
            </a:extLst>
          </p:cNvPr>
          <p:cNvSpPr/>
          <p:nvPr/>
        </p:nvSpPr>
        <p:spPr bwMode="auto">
          <a:xfrm>
            <a:off x="1998060" y="1643283"/>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19" name="Oval 418">
            <a:extLst>
              <a:ext uri="{FF2B5EF4-FFF2-40B4-BE49-F238E27FC236}">
                <a16:creationId xmlns:a16="http://schemas.microsoft.com/office/drawing/2014/main" id="{48A9450E-EABD-44EB-9885-FF31CA47A14C}"/>
              </a:ext>
            </a:extLst>
          </p:cNvPr>
          <p:cNvSpPr/>
          <p:nvPr/>
        </p:nvSpPr>
        <p:spPr bwMode="auto">
          <a:xfrm>
            <a:off x="1823855" y="159786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0" name="Oval 419">
            <a:extLst>
              <a:ext uri="{FF2B5EF4-FFF2-40B4-BE49-F238E27FC236}">
                <a16:creationId xmlns:a16="http://schemas.microsoft.com/office/drawing/2014/main" id="{461933E4-CCDE-4009-AC5D-C75FDF4C0C66}"/>
              </a:ext>
            </a:extLst>
          </p:cNvPr>
          <p:cNvSpPr/>
          <p:nvPr/>
        </p:nvSpPr>
        <p:spPr bwMode="auto">
          <a:xfrm>
            <a:off x="1924306" y="1621626"/>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1" name="Oval 420">
            <a:extLst>
              <a:ext uri="{FF2B5EF4-FFF2-40B4-BE49-F238E27FC236}">
                <a16:creationId xmlns:a16="http://schemas.microsoft.com/office/drawing/2014/main" id="{DF25006E-5B6E-4578-ABB5-E7351AB6F0D5}"/>
              </a:ext>
            </a:extLst>
          </p:cNvPr>
          <p:cNvSpPr/>
          <p:nvPr/>
        </p:nvSpPr>
        <p:spPr bwMode="auto">
          <a:xfrm>
            <a:off x="1628295" y="155297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2" name="Oval 421">
            <a:extLst>
              <a:ext uri="{FF2B5EF4-FFF2-40B4-BE49-F238E27FC236}">
                <a16:creationId xmlns:a16="http://schemas.microsoft.com/office/drawing/2014/main" id="{27A421EF-1070-45DC-B0D0-DB50983EA788}"/>
              </a:ext>
            </a:extLst>
          </p:cNvPr>
          <p:cNvSpPr/>
          <p:nvPr/>
        </p:nvSpPr>
        <p:spPr bwMode="auto">
          <a:xfrm>
            <a:off x="1663866" y="1556275"/>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3" name="Oval 422">
            <a:extLst>
              <a:ext uri="{FF2B5EF4-FFF2-40B4-BE49-F238E27FC236}">
                <a16:creationId xmlns:a16="http://schemas.microsoft.com/office/drawing/2014/main" id="{32632BC3-3D9A-4700-B575-E770B29D31EE}"/>
              </a:ext>
            </a:extLst>
          </p:cNvPr>
          <p:cNvSpPr/>
          <p:nvPr/>
        </p:nvSpPr>
        <p:spPr bwMode="auto">
          <a:xfrm>
            <a:off x="1207953" y="1363633"/>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4" name="Oval 423">
            <a:extLst>
              <a:ext uri="{FF2B5EF4-FFF2-40B4-BE49-F238E27FC236}">
                <a16:creationId xmlns:a16="http://schemas.microsoft.com/office/drawing/2014/main" id="{4259CA17-8C0F-4373-B50B-CCF622410AEF}"/>
              </a:ext>
            </a:extLst>
          </p:cNvPr>
          <p:cNvSpPr/>
          <p:nvPr/>
        </p:nvSpPr>
        <p:spPr bwMode="auto">
          <a:xfrm>
            <a:off x="1245019" y="1381609"/>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5" name="Oval 424">
            <a:extLst>
              <a:ext uri="{FF2B5EF4-FFF2-40B4-BE49-F238E27FC236}">
                <a16:creationId xmlns:a16="http://schemas.microsoft.com/office/drawing/2014/main" id="{1FC45C70-91FA-4693-97A8-6AACAFBB25C0}"/>
              </a:ext>
            </a:extLst>
          </p:cNvPr>
          <p:cNvSpPr/>
          <p:nvPr/>
        </p:nvSpPr>
        <p:spPr bwMode="auto">
          <a:xfrm>
            <a:off x="1374984" y="1424923"/>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6" name="Oval 425">
            <a:extLst>
              <a:ext uri="{FF2B5EF4-FFF2-40B4-BE49-F238E27FC236}">
                <a16:creationId xmlns:a16="http://schemas.microsoft.com/office/drawing/2014/main" id="{868C005B-1448-43F0-9B6D-31548FE945F2}"/>
              </a:ext>
            </a:extLst>
          </p:cNvPr>
          <p:cNvSpPr/>
          <p:nvPr/>
        </p:nvSpPr>
        <p:spPr bwMode="auto">
          <a:xfrm>
            <a:off x="942016" y="1216970"/>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7" name="Oval 426">
            <a:extLst>
              <a:ext uri="{FF2B5EF4-FFF2-40B4-BE49-F238E27FC236}">
                <a16:creationId xmlns:a16="http://schemas.microsoft.com/office/drawing/2014/main" id="{EDEC4C76-743A-45B3-B20E-755C4510268E}"/>
              </a:ext>
            </a:extLst>
          </p:cNvPr>
          <p:cNvSpPr/>
          <p:nvPr/>
        </p:nvSpPr>
        <p:spPr bwMode="auto">
          <a:xfrm>
            <a:off x="1161976" y="1343501"/>
            <a:ext cx="52624" cy="43313"/>
          </a:xfrm>
          <a:prstGeom prst="ellipse">
            <a:avLst/>
          </a:prstGeom>
          <a:noFill/>
          <a:ln w="28575">
            <a:solidFill>
              <a:srgbClr val="015873"/>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28" name="Freeform: Shape 427">
            <a:extLst>
              <a:ext uri="{FF2B5EF4-FFF2-40B4-BE49-F238E27FC236}">
                <a16:creationId xmlns:a16="http://schemas.microsoft.com/office/drawing/2014/main" id="{97B1307F-1E5A-449F-9B75-E1238921B5B6}"/>
              </a:ext>
            </a:extLst>
          </p:cNvPr>
          <p:cNvSpPr/>
          <p:nvPr/>
        </p:nvSpPr>
        <p:spPr bwMode="auto">
          <a:xfrm>
            <a:off x="968235" y="1252691"/>
            <a:ext cx="3901871" cy="1659194"/>
          </a:xfrm>
          <a:custGeom>
            <a:avLst/>
            <a:gdLst>
              <a:gd name="connsiteX0" fmla="*/ 5202494 w 5202494"/>
              <a:gd name="connsiteY0" fmla="*/ 2212258 h 2212258"/>
              <a:gd name="connsiteX1" fmla="*/ 4358149 w 5202494"/>
              <a:gd name="connsiteY1" fmla="*/ 2212258 h 2212258"/>
              <a:gd name="connsiteX2" fmla="*/ 4358149 w 5202494"/>
              <a:gd name="connsiteY2" fmla="*/ 2177230 h 2212258"/>
              <a:gd name="connsiteX3" fmla="*/ 4336026 w 5202494"/>
              <a:gd name="connsiteY3" fmla="*/ 2177230 h 2212258"/>
              <a:gd name="connsiteX4" fmla="*/ 4336026 w 5202494"/>
              <a:gd name="connsiteY4" fmla="*/ 2144047 h 2212258"/>
              <a:gd name="connsiteX5" fmla="*/ 4321278 w 5202494"/>
              <a:gd name="connsiteY5" fmla="*/ 2144047 h 2212258"/>
              <a:gd name="connsiteX6" fmla="*/ 4321278 w 5202494"/>
              <a:gd name="connsiteY6" fmla="*/ 2099801 h 2212258"/>
              <a:gd name="connsiteX7" fmla="*/ 4210665 w 5202494"/>
              <a:gd name="connsiteY7" fmla="*/ 2099801 h 2212258"/>
              <a:gd name="connsiteX8" fmla="*/ 4210665 w 5202494"/>
              <a:gd name="connsiteY8" fmla="*/ 2068461 h 2212258"/>
              <a:gd name="connsiteX9" fmla="*/ 4177481 w 5202494"/>
              <a:gd name="connsiteY9" fmla="*/ 2068461 h 2212258"/>
              <a:gd name="connsiteX10" fmla="*/ 4177481 w 5202494"/>
              <a:gd name="connsiteY10" fmla="*/ 2055556 h 2212258"/>
              <a:gd name="connsiteX11" fmla="*/ 4101896 w 5202494"/>
              <a:gd name="connsiteY11" fmla="*/ 2055556 h 2212258"/>
              <a:gd name="connsiteX12" fmla="*/ 4101896 w 5202494"/>
              <a:gd name="connsiteY12" fmla="*/ 2035277 h 2212258"/>
              <a:gd name="connsiteX13" fmla="*/ 3982065 w 5202494"/>
              <a:gd name="connsiteY13" fmla="*/ 2035277 h 2212258"/>
              <a:gd name="connsiteX14" fmla="*/ 3982065 w 5202494"/>
              <a:gd name="connsiteY14" fmla="*/ 2020529 h 2212258"/>
              <a:gd name="connsiteX15" fmla="*/ 3948881 w 5202494"/>
              <a:gd name="connsiteY15" fmla="*/ 2020529 h 2212258"/>
              <a:gd name="connsiteX16" fmla="*/ 3948881 w 5202494"/>
              <a:gd name="connsiteY16" fmla="*/ 1998406 h 2212258"/>
              <a:gd name="connsiteX17" fmla="*/ 3784805 w 5202494"/>
              <a:gd name="connsiteY17" fmla="*/ 1998406 h 2212258"/>
              <a:gd name="connsiteX18" fmla="*/ 3784805 w 5202494"/>
              <a:gd name="connsiteY18" fmla="*/ 1976284 h 2212258"/>
              <a:gd name="connsiteX19" fmla="*/ 3685254 w 5202494"/>
              <a:gd name="connsiteY19" fmla="*/ 1976284 h 2212258"/>
              <a:gd name="connsiteX20" fmla="*/ 3685254 w 5202494"/>
              <a:gd name="connsiteY20" fmla="*/ 1946787 h 2212258"/>
              <a:gd name="connsiteX21" fmla="*/ 3666818 w 5202494"/>
              <a:gd name="connsiteY21" fmla="*/ 1946787 h 2212258"/>
              <a:gd name="connsiteX22" fmla="*/ 3666818 w 5202494"/>
              <a:gd name="connsiteY22" fmla="*/ 1919134 h 2212258"/>
              <a:gd name="connsiteX23" fmla="*/ 3489838 w 5202494"/>
              <a:gd name="connsiteY23" fmla="*/ 1919134 h 2212258"/>
              <a:gd name="connsiteX24" fmla="*/ 3489838 w 5202494"/>
              <a:gd name="connsiteY24" fmla="*/ 1889637 h 2212258"/>
              <a:gd name="connsiteX25" fmla="*/ 3412409 w 5202494"/>
              <a:gd name="connsiteY25" fmla="*/ 1889637 h 2212258"/>
              <a:gd name="connsiteX26" fmla="*/ 3412409 w 5202494"/>
              <a:gd name="connsiteY26" fmla="*/ 1860140 h 2212258"/>
              <a:gd name="connsiteX27" fmla="*/ 3355259 w 5202494"/>
              <a:gd name="connsiteY27" fmla="*/ 1860140 h 2212258"/>
              <a:gd name="connsiteX28" fmla="*/ 3355259 w 5202494"/>
              <a:gd name="connsiteY28" fmla="*/ 1828800 h 2212258"/>
              <a:gd name="connsiteX29" fmla="*/ 3320231 w 5202494"/>
              <a:gd name="connsiteY29" fmla="*/ 1828800 h 2212258"/>
              <a:gd name="connsiteX30" fmla="*/ 3320231 w 5202494"/>
              <a:gd name="connsiteY30" fmla="*/ 1815895 h 2212258"/>
              <a:gd name="connsiteX31" fmla="*/ 3294421 w 5202494"/>
              <a:gd name="connsiteY31" fmla="*/ 1815895 h 2212258"/>
              <a:gd name="connsiteX32" fmla="*/ 3294421 w 5202494"/>
              <a:gd name="connsiteY32" fmla="*/ 1791929 h 2212258"/>
              <a:gd name="connsiteX33" fmla="*/ 3194870 w 5202494"/>
              <a:gd name="connsiteY33" fmla="*/ 1791929 h 2212258"/>
              <a:gd name="connsiteX34" fmla="*/ 3194870 w 5202494"/>
              <a:gd name="connsiteY34" fmla="*/ 1771650 h 2212258"/>
              <a:gd name="connsiteX35" fmla="*/ 3181965 w 5202494"/>
              <a:gd name="connsiteY35" fmla="*/ 1771650 h 2212258"/>
              <a:gd name="connsiteX36" fmla="*/ 3181965 w 5202494"/>
              <a:gd name="connsiteY36" fmla="*/ 1732935 h 2212258"/>
              <a:gd name="connsiteX37" fmla="*/ 3146938 w 5202494"/>
              <a:gd name="connsiteY37" fmla="*/ 1732935 h 2212258"/>
              <a:gd name="connsiteX38" fmla="*/ 3146938 w 5202494"/>
              <a:gd name="connsiteY38" fmla="*/ 1708969 h 2212258"/>
              <a:gd name="connsiteX39" fmla="*/ 3084257 w 5202494"/>
              <a:gd name="connsiteY39" fmla="*/ 1708969 h 2212258"/>
              <a:gd name="connsiteX40" fmla="*/ 3084257 w 5202494"/>
              <a:gd name="connsiteY40" fmla="*/ 1696064 h 2212258"/>
              <a:gd name="connsiteX41" fmla="*/ 3041855 w 5202494"/>
              <a:gd name="connsiteY41" fmla="*/ 1696064 h 2212258"/>
              <a:gd name="connsiteX42" fmla="*/ 3041855 w 5202494"/>
              <a:gd name="connsiteY42" fmla="*/ 1683160 h 2212258"/>
              <a:gd name="connsiteX43" fmla="*/ 2995767 w 5202494"/>
              <a:gd name="connsiteY43" fmla="*/ 1683160 h 2212258"/>
              <a:gd name="connsiteX44" fmla="*/ 2995767 w 5202494"/>
              <a:gd name="connsiteY44" fmla="*/ 1670255 h 2212258"/>
              <a:gd name="connsiteX45" fmla="*/ 2964426 w 5202494"/>
              <a:gd name="connsiteY45" fmla="*/ 1670255 h 2212258"/>
              <a:gd name="connsiteX46" fmla="*/ 2918338 w 5202494"/>
              <a:gd name="connsiteY46" fmla="*/ 1670255 h 2212258"/>
              <a:gd name="connsiteX47" fmla="*/ 2918338 w 5202494"/>
              <a:gd name="connsiteY47" fmla="*/ 1631540 h 2212258"/>
              <a:gd name="connsiteX48" fmla="*/ 2868562 w 5202494"/>
              <a:gd name="connsiteY48" fmla="*/ 1631540 h 2212258"/>
              <a:gd name="connsiteX49" fmla="*/ 2868562 w 5202494"/>
              <a:gd name="connsiteY49" fmla="*/ 1609418 h 2212258"/>
              <a:gd name="connsiteX50" fmla="*/ 2789289 w 5202494"/>
              <a:gd name="connsiteY50" fmla="*/ 1609418 h 2212258"/>
              <a:gd name="connsiteX51" fmla="*/ 2789289 w 5202494"/>
              <a:gd name="connsiteY51" fmla="*/ 1585451 h 2212258"/>
              <a:gd name="connsiteX52" fmla="*/ 2713704 w 5202494"/>
              <a:gd name="connsiteY52" fmla="*/ 1585451 h 2212258"/>
              <a:gd name="connsiteX53" fmla="*/ 2713704 w 5202494"/>
              <a:gd name="connsiteY53" fmla="*/ 1561485 h 2212258"/>
              <a:gd name="connsiteX54" fmla="*/ 2678676 w 5202494"/>
              <a:gd name="connsiteY54" fmla="*/ 1561485 h 2212258"/>
              <a:gd name="connsiteX55" fmla="*/ 2678676 w 5202494"/>
              <a:gd name="connsiteY55" fmla="*/ 1537519 h 2212258"/>
              <a:gd name="connsiteX56" fmla="*/ 2651023 w 5202494"/>
              <a:gd name="connsiteY56" fmla="*/ 1537519 h 2212258"/>
              <a:gd name="connsiteX57" fmla="*/ 2651023 w 5202494"/>
              <a:gd name="connsiteY57" fmla="*/ 1506179 h 2212258"/>
              <a:gd name="connsiteX58" fmla="*/ 2586499 w 5202494"/>
              <a:gd name="connsiteY58" fmla="*/ 1506179 h 2212258"/>
              <a:gd name="connsiteX59" fmla="*/ 2586499 w 5202494"/>
              <a:gd name="connsiteY59" fmla="*/ 1485900 h 2212258"/>
              <a:gd name="connsiteX60" fmla="*/ 2514600 w 5202494"/>
              <a:gd name="connsiteY60" fmla="*/ 1485900 h 2212258"/>
              <a:gd name="connsiteX61" fmla="*/ 2514600 w 5202494"/>
              <a:gd name="connsiteY61" fmla="*/ 1460090 h 2212258"/>
              <a:gd name="connsiteX62" fmla="*/ 2427954 w 5202494"/>
              <a:gd name="connsiteY62" fmla="*/ 1460090 h 2212258"/>
              <a:gd name="connsiteX63" fmla="*/ 2427954 w 5202494"/>
              <a:gd name="connsiteY63" fmla="*/ 1443498 h 2212258"/>
              <a:gd name="connsiteX64" fmla="*/ 2304436 w 5202494"/>
              <a:gd name="connsiteY64" fmla="*/ 1443498 h 2212258"/>
              <a:gd name="connsiteX65" fmla="*/ 2304436 w 5202494"/>
              <a:gd name="connsiteY65" fmla="*/ 1419532 h 2212258"/>
              <a:gd name="connsiteX66" fmla="*/ 2276783 w 5202494"/>
              <a:gd name="connsiteY66" fmla="*/ 1419532 h 2212258"/>
              <a:gd name="connsiteX67" fmla="*/ 2276783 w 5202494"/>
              <a:gd name="connsiteY67" fmla="*/ 1382661 h 2212258"/>
              <a:gd name="connsiteX68" fmla="*/ 2208571 w 5202494"/>
              <a:gd name="connsiteY68" fmla="*/ 1382661 h 2212258"/>
              <a:gd name="connsiteX69" fmla="*/ 2208571 w 5202494"/>
              <a:gd name="connsiteY69" fmla="*/ 1371600 h 2212258"/>
              <a:gd name="connsiteX70" fmla="*/ 2184605 w 5202494"/>
              <a:gd name="connsiteY70" fmla="*/ 1371600 h 2212258"/>
              <a:gd name="connsiteX71" fmla="*/ 2184605 w 5202494"/>
              <a:gd name="connsiteY71" fmla="*/ 1349477 h 2212258"/>
              <a:gd name="connsiteX72" fmla="*/ 2127455 w 5202494"/>
              <a:gd name="connsiteY72" fmla="*/ 1349477 h 2212258"/>
              <a:gd name="connsiteX73" fmla="*/ 2127455 w 5202494"/>
              <a:gd name="connsiteY73" fmla="*/ 1310763 h 2212258"/>
              <a:gd name="connsiteX74" fmla="*/ 2105333 w 5202494"/>
              <a:gd name="connsiteY74" fmla="*/ 1310763 h 2212258"/>
              <a:gd name="connsiteX75" fmla="*/ 2105333 w 5202494"/>
              <a:gd name="connsiteY75" fmla="*/ 1294171 h 2212258"/>
              <a:gd name="connsiteX76" fmla="*/ 2051870 w 5202494"/>
              <a:gd name="connsiteY76" fmla="*/ 1294171 h 2212258"/>
              <a:gd name="connsiteX77" fmla="*/ 2051870 w 5202494"/>
              <a:gd name="connsiteY77" fmla="*/ 1275735 h 2212258"/>
              <a:gd name="connsiteX78" fmla="*/ 2029747 w 5202494"/>
              <a:gd name="connsiteY78" fmla="*/ 1275735 h 2212258"/>
              <a:gd name="connsiteX79" fmla="*/ 2029747 w 5202494"/>
              <a:gd name="connsiteY79" fmla="*/ 1253613 h 2212258"/>
              <a:gd name="connsiteX80" fmla="*/ 2002094 w 5202494"/>
              <a:gd name="connsiteY80" fmla="*/ 1253613 h 2212258"/>
              <a:gd name="connsiteX81" fmla="*/ 2002094 w 5202494"/>
              <a:gd name="connsiteY81" fmla="*/ 1231490 h 2212258"/>
              <a:gd name="connsiteX82" fmla="*/ 1952318 w 5202494"/>
              <a:gd name="connsiteY82" fmla="*/ 1231490 h 2212258"/>
              <a:gd name="connsiteX83" fmla="*/ 1952318 w 5202494"/>
              <a:gd name="connsiteY83" fmla="*/ 1209368 h 2212258"/>
              <a:gd name="connsiteX84" fmla="*/ 1863828 w 5202494"/>
              <a:gd name="connsiteY84" fmla="*/ 1209368 h 2212258"/>
              <a:gd name="connsiteX85" fmla="*/ 1863828 w 5202494"/>
              <a:gd name="connsiteY85" fmla="*/ 1190932 h 2212258"/>
              <a:gd name="connsiteX86" fmla="*/ 1795617 w 5202494"/>
              <a:gd name="connsiteY86" fmla="*/ 1190932 h 2212258"/>
              <a:gd name="connsiteX87" fmla="*/ 1795617 w 5202494"/>
              <a:gd name="connsiteY87" fmla="*/ 1170653 h 2212258"/>
              <a:gd name="connsiteX88" fmla="*/ 1729249 w 5202494"/>
              <a:gd name="connsiteY88" fmla="*/ 1170653 h 2212258"/>
              <a:gd name="connsiteX89" fmla="*/ 1729249 w 5202494"/>
              <a:gd name="connsiteY89" fmla="*/ 1148530 h 2212258"/>
              <a:gd name="connsiteX90" fmla="*/ 1692378 w 5202494"/>
              <a:gd name="connsiteY90" fmla="*/ 1148530 h 2212258"/>
              <a:gd name="connsiteX91" fmla="*/ 1692378 w 5202494"/>
              <a:gd name="connsiteY91" fmla="*/ 1115347 h 2212258"/>
              <a:gd name="connsiteX92" fmla="*/ 1666568 w 5202494"/>
              <a:gd name="connsiteY92" fmla="*/ 1115347 h 2212258"/>
              <a:gd name="connsiteX93" fmla="*/ 1666568 w 5202494"/>
              <a:gd name="connsiteY93" fmla="*/ 1093224 h 2212258"/>
              <a:gd name="connsiteX94" fmla="*/ 1629697 w 5202494"/>
              <a:gd name="connsiteY94" fmla="*/ 1093224 h 2212258"/>
              <a:gd name="connsiteX95" fmla="*/ 1629697 w 5202494"/>
              <a:gd name="connsiteY95" fmla="*/ 1071101 h 2212258"/>
              <a:gd name="connsiteX96" fmla="*/ 1552268 w 5202494"/>
              <a:gd name="connsiteY96" fmla="*/ 1071101 h 2212258"/>
              <a:gd name="connsiteX97" fmla="*/ 1552268 w 5202494"/>
              <a:gd name="connsiteY97" fmla="*/ 1037918 h 2212258"/>
              <a:gd name="connsiteX98" fmla="*/ 1524615 w 5202494"/>
              <a:gd name="connsiteY98" fmla="*/ 1037918 h 2212258"/>
              <a:gd name="connsiteX99" fmla="*/ 1524615 w 5202494"/>
              <a:gd name="connsiteY99" fmla="*/ 1012108 h 2212258"/>
              <a:gd name="connsiteX100" fmla="*/ 1471152 w 5202494"/>
              <a:gd name="connsiteY100" fmla="*/ 1012108 h 2212258"/>
              <a:gd name="connsiteX101" fmla="*/ 1471152 w 5202494"/>
              <a:gd name="connsiteY101" fmla="*/ 989985 h 2212258"/>
              <a:gd name="connsiteX102" fmla="*/ 1445342 w 5202494"/>
              <a:gd name="connsiteY102" fmla="*/ 989985 h 2212258"/>
              <a:gd name="connsiteX103" fmla="*/ 1445342 w 5202494"/>
              <a:gd name="connsiteY103" fmla="*/ 967863 h 2212258"/>
              <a:gd name="connsiteX104" fmla="*/ 1402941 w 5202494"/>
              <a:gd name="connsiteY104" fmla="*/ 967863 h 2212258"/>
              <a:gd name="connsiteX105" fmla="*/ 1402941 w 5202494"/>
              <a:gd name="connsiteY105" fmla="*/ 947584 h 2212258"/>
              <a:gd name="connsiteX106" fmla="*/ 1360539 w 5202494"/>
              <a:gd name="connsiteY106" fmla="*/ 947584 h 2212258"/>
              <a:gd name="connsiteX107" fmla="*/ 1360539 w 5202494"/>
              <a:gd name="connsiteY107" fmla="*/ 925461 h 2212258"/>
              <a:gd name="connsiteX108" fmla="*/ 1336573 w 5202494"/>
              <a:gd name="connsiteY108" fmla="*/ 925461 h 2212258"/>
              <a:gd name="connsiteX109" fmla="*/ 1336573 w 5202494"/>
              <a:gd name="connsiteY109" fmla="*/ 899651 h 2212258"/>
              <a:gd name="connsiteX110" fmla="*/ 1321825 w 5202494"/>
              <a:gd name="connsiteY110" fmla="*/ 899651 h 2212258"/>
              <a:gd name="connsiteX111" fmla="*/ 1321825 w 5202494"/>
              <a:gd name="connsiteY111" fmla="*/ 870155 h 2212258"/>
              <a:gd name="connsiteX112" fmla="*/ 1288641 w 5202494"/>
              <a:gd name="connsiteY112" fmla="*/ 870155 h 2212258"/>
              <a:gd name="connsiteX113" fmla="*/ 1288641 w 5202494"/>
              <a:gd name="connsiteY113" fmla="*/ 849876 h 2212258"/>
              <a:gd name="connsiteX114" fmla="*/ 1262831 w 5202494"/>
              <a:gd name="connsiteY114" fmla="*/ 849876 h 2212258"/>
              <a:gd name="connsiteX115" fmla="*/ 1262831 w 5202494"/>
              <a:gd name="connsiteY115" fmla="*/ 827753 h 2212258"/>
              <a:gd name="connsiteX116" fmla="*/ 1227804 w 5202494"/>
              <a:gd name="connsiteY116" fmla="*/ 827753 h 2212258"/>
              <a:gd name="connsiteX117" fmla="*/ 1227804 w 5202494"/>
              <a:gd name="connsiteY117" fmla="*/ 805630 h 2212258"/>
              <a:gd name="connsiteX118" fmla="*/ 1152218 w 5202494"/>
              <a:gd name="connsiteY118" fmla="*/ 805630 h 2212258"/>
              <a:gd name="connsiteX119" fmla="*/ 1152218 w 5202494"/>
              <a:gd name="connsiteY119" fmla="*/ 752168 h 2212258"/>
              <a:gd name="connsiteX120" fmla="*/ 1115347 w 5202494"/>
              <a:gd name="connsiteY120" fmla="*/ 752168 h 2212258"/>
              <a:gd name="connsiteX121" fmla="*/ 1115347 w 5202494"/>
              <a:gd name="connsiteY121" fmla="*/ 717140 h 2212258"/>
              <a:gd name="connsiteX122" fmla="*/ 1041605 w 5202494"/>
              <a:gd name="connsiteY122" fmla="*/ 717140 h 2212258"/>
              <a:gd name="connsiteX123" fmla="*/ 1041605 w 5202494"/>
              <a:gd name="connsiteY123" fmla="*/ 698705 h 2212258"/>
              <a:gd name="connsiteX124" fmla="*/ 1019483 w 5202494"/>
              <a:gd name="connsiteY124" fmla="*/ 698705 h 2212258"/>
              <a:gd name="connsiteX125" fmla="*/ 1004734 w 5202494"/>
              <a:gd name="connsiteY125" fmla="*/ 683956 h 2212258"/>
              <a:gd name="connsiteX126" fmla="*/ 991829 w 5202494"/>
              <a:gd name="connsiteY126" fmla="*/ 671051 h 2212258"/>
              <a:gd name="connsiteX127" fmla="*/ 982612 w 5202494"/>
              <a:gd name="connsiteY127" fmla="*/ 661834 h 2212258"/>
              <a:gd name="connsiteX128" fmla="*/ 982612 w 5202494"/>
              <a:gd name="connsiteY128" fmla="*/ 637868 h 2212258"/>
              <a:gd name="connsiteX129" fmla="*/ 923618 w 5202494"/>
              <a:gd name="connsiteY129" fmla="*/ 637868 h 2212258"/>
              <a:gd name="connsiteX130" fmla="*/ 923618 w 5202494"/>
              <a:gd name="connsiteY130" fmla="*/ 595466 h 2212258"/>
              <a:gd name="connsiteX131" fmla="*/ 873842 w 5202494"/>
              <a:gd name="connsiteY131" fmla="*/ 595466 h 2212258"/>
              <a:gd name="connsiteX132" fmla="*/ 873842 w 5202494"/>
              <a:gd name="connsiteY132" fmla="*/ 567813 h 2212258"/>
              <a:gd name="connsiteX133" fmla="*/ 844346 w 5202494"/>
              <a:gd name="connsiteY133" fmla="*/ 567813 h 2212258"/>
              <a:gd name="connsiteX134" fmla="*/ 844346 w 5202494"/>
              <a:gd name="connsiteY134" fmla="*/ 536472 h 2212258"/>
              <a:gd name="connsiteX135" fmla="*/ 813005 w 5202494"/>
              <a:gd name="connsiteY135" fmla="*/ 536472 h 2212258"/>
              <a:gd name="connsiteX136" fmla="*/ 813005 w 5202494"/>
              <a:gd name="connsiteY136" fmla="*/ 501445 h 2212258"/>
              <a:gd name="connsiteX137" fmla="*/ 759542 w 5202494"/>
              <a:gd name="connsiteY137" fmla="*/ 501445 h 2212258"/>
              <a:gd name="connsiteX138" fmla="*/ 759542 w 5202494"/>
              <a:gd name="connsiteY138" fmla="*/ 462730 h 2212258"/>
              <a:gd name="connsiteX139" fmla="*/ 737420 w 5202494"/>
              <a:gd name="connsiteY139" fmla="*/ 462730 h 2212258"/>
              <a:gd name="connsiteX140" fmla="*/ 737420 w 5202494"/>
              <a:gd name="connsiteY140" fmla="*/ 440608 h 2212258"/>
              <a:gd name="connsiteX141" fmla="*/ 669209 w 5202494"/>
              <a:gd name="connsiteY141" fmla="*/ 440608 h 2212258"/>
              <a:gd name="connsiteX142" fmla="*/ 669209 w 5202494"/>
              <a:gd name="connsiteY142" fmla="*/ 387145 h 2212258"/>
              <a:gd name="connsiteX143" fmla="*/ 624963 w 5202494"/>
              <a:gd name="connsiteY143" fmla="*/ 387145 h 2212258"/>
              <a:gd name="connsiteX144" fmla="*/ 624963 w 5202494"/>
              <a:gd name="connsiteY144" fmla="*/ 368710 h 2212258"/>
              <a:gd name="connsiteX145" fmla="*/ 597310 w 5202494"/>
              <a:gd name="connsiteY145" fmla="*/ 368710 h 2212258"/>
              <a:gd name="connsiteX146" fmla="*/ 597310 w 5202494"/>
              <a:gd name="connsiteY146" fmla="*/ 350274 h 2212258"/>
              <a:gd name="connsiteX147" fmla="*/ 562283 w 5202494"/>
              <a:gd name="connsiteY147" fmla="*/ 350274 h 2212258"/>
              <a:gd name="connsiteX148" fmla="*/ 562283 w 5202494"/>
              <a:gd name="connsiteY148" fmla="*/ 326308 h 2212258"/>
              <a:gd name="connsiteX149" fmla="*/ 543847 w 5202494"/>
              <a:gd name="connsiteY149" fmla="*/ 326308 h 2212258"/>
              <a:gd name="connsiteX150" fmla="*/ 543847 w 5202494"/>
              <a:gd name="connsiteY150" fmla="*/ 307872 h 2212258"/>
              <a:gd name="connsiteX151" fmla="*/ 518038 w 5202494"/>
              <a:gd name="connsiteY151" fmla="*/ 307872 h 2212258"/>
              <a:gd name="connsiteX152" fmla="*/ 518038 w 5202494"/>
              <a:gd name="connsiteY152" fmla="*/ 296811 h 2212258"/>
              <a:gd name="connsiteX153" fmla="*/ 471949 w 5202494"/>
              <a:gd name="connsiteY153" fmla="*/ 296811 h 2212258"/>
              <a:gd name="connsiteX154" fmla="*/ 471949 w 5202494"/>
              <a:gd name="connsiteY154" fmla="*/ 272845 h 2212258"/>
              <a:gd name="connsiteX155" fmla="*/ 422173 w 5202494"/>
              <a:gd name="connsiteY155" fmla="*/ 272845 h 2212258"/>
              <a:gd name="connsiteX156" fmla="*/ 422173 w 5202494"/>
              <a:gd name="connsiteY156" fmla="*/ 241505 h 2212258"/>
              <a:gd name="connsiteX157" fmla="*/ 398207 w 5202494"/>
              <a:gd name="connsiteY157" fmla="*/ 241505 h 2212258"/>
              <a:gd name="connsiteX158" fmla="*/ 398207 w 5202494"/>
              <a:gd name="connsiteY158" fmla="*/ 199103 h 2212258"/>
              <a:gd name="connsiteX159" fmla="*/ 344744 w 5202494"/>
              <a:gd name="connsiteY159" fmla="*/ 199103 h 2212258"/>
              <a:gd name="connsiteX160" fmla="*/ 344744 w 5202494"/>
              <a:gd name="connsiteY160" fmla="*/ 186198 h 2212258"/>
              <a:gd name="connsiteX161" fmla="*/ 306030 w 5202494"/>
              <a:gd name="connsiteY161" fmla="*/ 186198 h 2212258"/>
              <a:gd name="connsiteX162" fmla="*/ 306030 w 5202494"/>
              <a:gd name="connsiteY162" fmla="*/ 160389 h 2212258"/>
              <a:gd name="connsiteX163" fmla="*/ 282063 w 5202494"/>
              <a:gd name="connsiteY163" fmla="*/ 160389 h 2212258"/>
              <a:gd name="connsiteX164" fmla="*/ 282063 w 5202494"/>
              <a:gd name="connsiteY164" fmla="*/ 129048 h 2212258"/>
              <a:gd name="connsiteX165" fmla="*/ 232288 w 5202494"/>
              <a:gd name="connsiteY165" fmla="*/ 129048 h 2212258"/>
              <a:gd name="connsiteX166" fmla="*/ 232288 w 5202494"/>
              <a:gd name="connsiteY166" fmla="*/ 82960 h 2212258"/>
              <a:gd name="connsiteX167" fmla="*/ 178825 w 5202494"/>
              <a:gd name="connsiteY167" fmla="*/ 82960 h 2212258"/>
              <a:gd name="connsiteX168" fmla="*/ 178825 w 5202494"/>
              <a:gd name="connsiteY168" fmla="*/ 38714 h 2212258"/>
              <a:gd name="connsiteX169" fmla="*/ 130892 w 5202494"/>
              <a:gd name="connsiteY169" fmla="*/ 38714 h 2212258"/>
              <a:gd name="connsiteX170" fmla="*/ 130892 w 5202494"/>
              <a:gd name="connsiteY170" fmla="*/ 0 h 2212258"/>
              <a:gd name="connsiteX171" fmla="*/ 0 w 5202494"/>
              <a:gd name="connsiteY171" fmla="*/ 0 h 221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5202494" h="2212258">
                <a:moveTo>
                  <a:pt x="5202494" y="2212258"/>
                </a:moveTo>
                <a:lnTo>
                  <a:pt x="4358149" y="2212258"/>
                </a:lnTo>
                <a:lnTo>
                  <a:pt x="4358149" y="2177230"/>
                </a:lnTo>
                <a:lnTo>
                  <a:pt x="4336026" y="2177230"/>
                </a:lnTo>
                <a:lnTo>
                  <a:pt x="4336026" y="2144047"/>
                </a:lnTo>
                <a:lnTo>
                  <a:pt x="4321278" y="2144047"/>
                </a:lnTo>
                <a:lnTo>
                  <a:pt x="4321278" y="2099801"/>
                </a:lnTo>
                <a:lnTo>
                  <a:pt x="4210665" y="2099801"/>
                </a:lnTo>
                <a:lnTo>
                  <a:pt x="4210665" y="2068461"/>
                </a:lnTo>
                <a:lnTo>
                  <a:pt x="4177481" y="2068461"/>
                </a:lnTo>
                <a:lnTo>
                  <a:pt x="4177481" y="2055556"/>
                </a:lnTo>
                <a:lnTo>
                  <a:pt x="4101896" y="2055556"/>
                </a:lnTo>
                <a:lnTo>
                  <a:pt x="4101896" y="2035277"/>
                </a:lnTo>
                <a:lnTo>
                  <a:pt x="3982065" y="2035277"/>
                </a:lnTo>
                <a:lnTo>
                  <a:pt x="3982065" y="2020529"/>
                </a:lnTo>
                <a:lnTo>
                  <a:pt x="3948881" y="2020529"/>
                </a:lnTo>
                <a:lnTo>
                  <a:pt x="3948881" y="1998406"/>
                </a:lnTo>
                <a:lnTo>
                  <a:pt x="3784805" y="1998406"/>
                </a:lnTo>
                <a:lnTo>
                  <a:pt x="3784805" y="1976284"/>
                </a:lnTo>
                <a:lnTo>
                  <a:pt x="3685254" y="1976284"/>
                </a:lnTo>
                <a:lnTo>
                  <a:pt x="3685254" y="1946787"/>
                </a:lnTo>
                <a:lnTo>
                  <a:pt x="3666818" y="1946787"/>
                </a:lnTo>
                <a:lnTo>
                  <a:pt x="3666818" y="1919134"/>
                </a:lnTo>
                <a:lnTo>
                  <a:pt x="3489838" y="1919134"/>
                </a:lnTo>
                <a:lnTo>
                  <a:pt x="3489838" y="1889637"/>
                </a:lnTo>
                <a:lnTo>
                  <a:pt x="3412409" y="1889637"/>
                </a:lnTo>
                <a:lnTo>
                  <a:pt x="3412409" y="1860140"/>
                </a:lnTo>
                <a:lnTo>
                  <a:pt x="3355259" y="1860140"/>
                </a:lnTo>
                <a:lnTo>
                  <a:pt x="3355259" y="1828800"/>
                </a:lnTo>
                <a:lnTo>
                  <a:pt x="3320231" y="1828800"/>
                </a:lnTo>
                <a:lnTo>
                  <a:pt x="3320231" y="1815895"/>
                </a:lnTo>
                <a:lnTo>
                  <a:pt x="3294421" y="1815895"/>
                </a:lnTo>
                <a:lnTo>
                  <a:pt x="3294421" y="1791929"/>
                </a:lnTo>
                <a:lnTo>
                  <a:pt x="3194870" y="1791929"/>
                </a:lnTo>
                <a:lnTo>
                  <a:pt x="3194870" y="1771650"/>
                </a:lnTo>
                <a:lnTo>
                  <a:pt x="3181965" y="1771650"/>
                </a:lnTo>
                <a:lnTo>
                  <a:pt x="3181965" y="1732935"/>
                </a:lnTo>
                <a:lnTo>
                  <a:pt x="3146938" y="1732935"/>
                </a:lnTo>
                <a:lnTo>
                  <a:pt x="3146938" y="1708969"/>
                </a:lnTo>
                <a:lnTo>
                  <a:pt x="3084257" y="1708969"/>
                </a:lnTo>
                <a:lnTo>
                  <a:pt x="3084257" y="1696064"/>
                </a:lnTo>
                <a:lnTo>
                  <a:pt x="3041855" y="1696064"/>
                </a:lnTo>
                <a:lnTo>
                  <a:pt x="3041855" y="1683160"/>
                </a:lnTo>
                <a:lnTo>
                  <a:pt x="2995767" y="1683160"/>
                </a:lnTo>
                <a:lnTo>
                  <a:pt x="2995767" y="1670255"/>
                </a:lnTo>
                <a:lnTo>
                  <a:pt x="2964426" y="1670255"/>
                </a:lnTo>
                <a:lnTo>
                  <a:pt x="2918338" y="1670255"/>
                </a:lnTo>
                <a:lnTo>
                  <a:pt x="2918338" y="1631540"/>
                </a:lnTo>
                <a:lnTo>
                  <a:pt x="2868562" y="1631540"/>
                </a:lnTo>
                <a:lnTo>
                  <a:pt x="2868562" y="1609418"/>
                </a:lnTo>
                <a:lnTo>
                  <a:pt x="2789289" y="1609418"/>
                </a:lnTo>
                <a:lnTo>
                  <a:pt x="2789289" y="1585451"/>
                </a:lnTo>
                <a:lnTo>
                  <a:pt x="2713704" y="1585451"/>
                </a:lnTo>
                <a:lnTo>
                  <a:pt x="2713704" y="1561485"/>
                </a:lnTo>
                <a:lnTo>
                  <a:pt x="2678676" y="1561485"/>
                </a:lnTo>
                <a:lnTo>
                  <a:pt x="2678676" y="1537519"/>
                </a:lnTo>
                <a:lnTo>
                  <a:pt x="2651023" y="1537519"/>
                </a:lnTo>
                <a:lnTo>
                  <a:pt x="2651023" y="1506179"/>
                </a:lnTo>
                <a:lnTo>
                  <a:pt x="2586499" y="1506179"/>
                </a:lnTo>
                <a:lnTo>
                  <a:pt x="2586499" y="1485900"/>
                </a:lnTo>
                <a:lnTo>
                  <a:pt x="2514600" y="1485900"/>
                </a:lnTo>
                <a:lnTo>
                  <a:pt x="2514600" y="1460090"/>
                </a:lnTo>
                <a:lnTo>
                  <a:pt x="2427954" y="1460090"/>
                </a:lnTo>
                <a:lnTo>
                  <a:pt x="2427954" y="1443498"/>
                </a:lnTo>
                <a:lnTo>
                  <a:pt x="2304436" y="1443498"/>
                </a:lnTo>
                <a:lnTo>
                  <a:pt x="2304436" y="1419532"/>
                </a:lnTo>
                <a:lnTo>
                  <a:pt x="2276783" y="1419532"/>
                </a:lnTo>
                <a:lnTo>
                  <a:pt x="2276783" y="1382661"/>
                </a:lnTo>
                <a:lnTo>
                  <a:pt x="2208571" y="1382661"/>
                </a:lnTo>
                <a:lnTo>
                  <a:pt x="2208571" y="1371600"/>
                </a:lnTo>
                <a:lnTo>
                  <a:pt x="2184605" y="1371600"/>
                </a:lnTo>
                <a:lnTo>
                  <a:pt x="2184605" y="1349477"/>
                </a:lnTo>
                <a:lnTo>
                  <a:pt x="2127455" y="1349477"/>
                </a:lnTo>
                <a:lnTo>
                  <a:pt x="2127455" y="1310763"/>
                </a:lnTo>
                <a:lnTo>
                  <a:pt x="2105333" y="1310763"/>
                </a:lnTo>
                <a:lnTo>
                  <a:pt x="2105333" y="1294171"/>
                </a:lnTo>
                <a:lnTo>
                  <a:pt x="2051870" y="1294171"/>
                </a:lnTo>
                <a:lnTo>
                  <a:pt x="2051870" y="1275735"/>
                </a:lnTo>
                <a:lnTo>
                  <a:pt x="2029747" y="1275735"/>
                </a:lnTo>
                <a:lnTo>
                  <a:pt x="2029747" y="1253613"/>
                </a:lnTo>
                <a:lnTo>
                  <a:pt x="2002094" y="1253613"/>
                </a:lnTo>
                <a:lnTo>
                  <a:pt x="2002094" y="1231490"/>
                </a:lnTo>
                <a:lnTo>
                  <a:pt x="1952318" y="1231490"/>
                </a:lnTo>
                <a:lnTo>
                  <a:pt x="1952318" y="1209368"/>
                </a:lnTo>
                <a:lnTo>
                  <a:pt x="1863828" y="1209368"/>
                </a:lnTo>
                <a:lnTo>
                  <a:pt x="1863828" y="1190932"/>
                </a:lnTo>
                <a:lnTo>
                  <a:pt x="1795617" y="1190932"/>
                </a:lnTo>
                <a:lnTo>
                  <a:pt x="1795617" y="1170653"/>
                </a:lnTo>
                <a:lnTo>
                  <a:pt x="1729249" y="1170653"/>
                </a:lnTo>
                <a:lnTo>
                  <a:pt x="1729249" y="1148530"/>
                </a:lnTo>
                <a:lnTo>
                  <a:pt x="1692378" y="1148530"/>
                </a:lnTo>
                <a:lnTo>
                  <a:pt x="1692378" y="1115347"/>
                </a:lnTo>
                <a:lnTo>
                  <a:pt x="1666568" y="1115347"/>
                </a:lnTo>
                <a:lnTo>
                  <a:pt x="1666568" y="1093224"/>
                </a:lnTo>
                <a:lnTo>
                  <a:pt x="1629697" y="1093224"/>
                </a:lnTo>
                <a:lnTo>
                  <a:pt x="1629697" y="1071101"/>
                </a:lnTo>
                <a:lnTo>
                  <a:pt x="1552268" y="1071101"/>
                </a:lnTo>
                <a:lnTo>
                  <a:pt x="1552268" y="1037918"/>
                </a:lnTo>
                <a:lnTo>
                  <a:pt x="1524615" y="1037918"/>
                </a:lnTo>
                <a:lnTo>
                  <a:pt x="1524615" y="1012108"/>
                </a:lnTo>
                <a:lnTo>
                  <a:pt x="1471152" y="1012108"/>
                </a:lnTo>
                <a:lnTo>
                  <a:pt x="1471152" y="989985"/>
                </a:lnTo>
                <a:lnTo>
                  <a:pt x="1445342" y="989985"/>
                </a:lnTo>
                <a:lnTo>
                  <a:pt x="1445342" y="967863"/>
                </a:lnTo>
                <a:lnTo>
                  <a:pt x="1402941" y="967863"/>
                </a:lnTo>
                <a:lnTo>
                  <a:pt x="1402941" y="947584"/>
                </a:lnTo>
                <a:lnTo>
                  <a:pt x="1360539" y="947584"/>
                </a:lnTo>
                <a:lnTo>
                  <a:pt x="1360539" y="925461"/>
                </a:lnTo>
                <a:lnTo>
                  <a:pt x="1336573" y="925461"/>
                </a:lnTo>
                <a:lnTo>
                  <a:pt x="1336573" y="899651"/>
                </a:lnTo>
                <a:lnTo>
                  <a:pt x="1321825" y="899651"/>
                </a:lnTo>
                <a:lnTo>
                  <a:pt x="1321825" y="870155"/>
                </a:lnTo>
                <a:lnTo>
                  <a:pt x="1288641" y="870155"/>
                </a:lnTo>
                <a:lnTo>
                  <a:pt x="1288641" y="849876"/>
                </a:lnTo>
                <a:lnTo>
                  <a:pt x="1262831" y="849876"/>
                </a:lnTo>
                <a:lnTo>
                  <a:pt x="1262831" y="827753"/>
                </a:lnTo>
                <a:lnTo>
                  <a:pt x="1227804" y="827753"/>
                </a:lnTo>
                <a:lnTo>
                  <a:pt x="1227804" y="805630"/>
                </a:lnTo>
                <a:lnTo>
                  <a:pt x="1152218" y="805630"/>
                </a:lnTo>
                <a:lnTo>
                  <a:pt x="1152218" y="752168"/>
                </a:lnTo>
                <a:lnTo>
                  <a:pt x="1115347" y="752168"/>
                </a:lnTo>
                <a:lnTo>
                  <a:pt x="1115347" y="717140"/>
                </a:lnTo>
                <a:lnTo>
                  <a:pt x="1041605" y="717140"/>
                </a:lnTo>
                <a:lnTo>
                  <a:pt x="1041605" y="698705"/>
                </a:lnTo>
                <a:lnTo>
                  <a:pt x="1019483" y="698705"/>
                </a:lnTo>
                <a:lnTo>
                  <a:pt x="1004734" y="683956"/>
                </a:lnTo>
                <a:lnTo>
                  <a:pt x="991829" y="671051"/>
                </a:lnTo>
                <a:lnTo>
                  <a:pt x="982612" y="661834"/>
                </a:lnTo>
                <a:lnTo>
                  <a:pt x="982612" y="637868"/>
                </a:lnTo>
                <a:lnTo>
                  <a:pt x="923618" y="637868"/>
                </a:lnTo>
                <a:lnTo>
                  <a:pt x="923618" y="595466"/>
                </a:lnTo>
                <a:lnTo>
                  <a:pt x="873842" y="595466"/>
                </a:lnTo>
                <a:lnTo>
                  <a:pt x="873842" y="567813"/>
                </a:lnTo>
                <a:lnTo>
                  <a:pt x="844346" y="567813"/>
                </a:lnTo>
                <a:lnTo>
                  <a:pt x="844346" y="536472"/>
                </a:lnTo>
                <a:lnTo>
                  <a:pt x="813005" y="536472"/>
                </a:lnTo>
                <a:lnTo>
                  <a:pt x="813005" y="501445"/>
                </a:lnTo>
                <a:lnTo>
                  <a:pt x="759542" y="501445"/>
                </a:lnTo>
                <a:lnTo>
                  <a:pt x="759542" y="462730"/>
                </a:lnTo>
                <a:lnTo>
                  <a:pt x="737420" y="462730"/>
                </a:lnTo>
                <a:lnTo>
                  <a:pt x="737420" y="440608"/>
                </a:lnTo>
                <a:lnTo>
                  <a:pt x="669209" y="440608"/>
                </a:lnTo>
                <a:lnTo>
                  <a:pt x="669209" y="387145"/>
                </a:lnTo>
                <a:lnTo>
                  <a:pt x="624963" y="387145"/>
                </a:lnTo>
                <a:lnTo>
                  <a:pt x="624963" y="368710"/>
                </a:lnTo>
                <a:lnTo>
                  <a:pt x="597310" y="368710"/>
                </a:lnTo>
                <a:lnTo>
                  <a:pt x="597310" y="350274"/>
                </a:lnTo>
                <a:lnTo>
                  <a:pt x="562283" y="350274"/>
                </a:lnTo>
                <a:lnTo>
                  <a:pt x="562283" y="326308"/>
                </a:lnTo>
                <a:lnTo>
                  <a:pt x="543847" y="326308"/>
                </a:lnTo>
                <a:lnTo>
                  <a:pt x="543847" y="307872"/>
                </a:lnTo>
                <a:lnTo>
                  <a:pt x="518038" y="307872"/>
                </a:lnTo>
                <a:lnTo>
                  <a:pt x="518038" y="296811"/>
                </a:lnTo>
                <a:lnTo>
                  <a:pt x="471949" y="296811"/>
                </a:lnTo>
                <a:lnTo>
                  <a:pt x="471949" y="272845"/>
                </a:lnTo>
                <a:lnTo>
                  <a:pt x="422173" y="272845"/>
                </a:lnTo>
                <a:lnTo>
                  <a:pt x="422173" y="241505"/>
                </a:lnTo>
                <a:lnTo>
                  <a:pt x="398207" y="241505"/>
                </a:lnTo>
                <a:lnTo>
                  <a:pt x="398207" y="199103"/>
                </a:lnTo>
                <a:lnTo>
                  <a:pt x="344744" y="199103"/>
                </a:lnTo>
                <a:lnTo>
                  <a:pt x="344744" y="186198"/>
                </a:lnTo>
                <a:lnTo>
                  <a:pt x="306030" y="186198"/>
                </a:lnTo>
                <a:lnTo>
                  <a:pt x="306030" y="160389"/>
                </a:lnTo>
                <a:lnTo>
                  <a:pt x="282063" y="160389"/>
                </a:lnTo>
                <a:lnTo>
                  <a:pt x="282063" y="129048"/>
                </a:lnTo>
                <a:lnTo>
                  <a:pt x="232288" y="129048"/>
                </a:lnTo>
                <a:lnTo>
                  <a:pt x="232288" y="82960"/>
                </a:lnTo>
                <a:lnTo>
                  <a:pt x="178825" y="82960"/>
                </a:lnTo>
                <a:lnTo>
                  <a:pt x="178825" y="38714"/>
                </a:lnTo>
                <a:lnTo>
                  <a:pt x="130892" y="38714"/>
                </a:lnTo>
                <a:lnTo>
                  <a:pt x="130892" y="0"/>
                </a:lnTo>
                <a:lnTo>
                  <a:pt x="0" y="0"/>
                </a:lnTo>
              </a:path>
            </a:pathLst>
          </a:custGeom>
          <a:noFill/>
          <a:ln w="28575">
            <a:solidFill>
              <a:srgbClr val="E1471D"/>
            </a:solidFill>
            <a:round/>
            <a:headEnd/>
            <a:tailEnd/>
          </a:ln>
          <a:extLst>
            <a:ext uri="{909E8E84-426E-40dd-AFC4-6F175D3DCCD1}">
              <a14:hiddenFill xmlns="" xmlns:a14="http://schemas.microsoft.com/office/drawing/2010/main">
                <a:noFill/>
              </a14:hiddenFill>
            </a:ext>
          </a:extLst>
        </p:spPr>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429" name="Straight Connector 428">
            <a:extLst>
              <a:ext uri="{FF2B5EF4-FFF2-40B4-BE49-F238E27FC236}">
                <a16:creationId xmlns:a16="http://schemas.microsoft.com/office/drawing/2014/main" id="{64BFFAE4-8368-43FB-B7EA-746DE10CE8AA}"/>
              </a:ext>
            </a:extLst>
          </p:cNvPr>
          <p:cNvCxnSpPr/>
          <p:nvPr/>
        </p:nvCxnSpPr>
        <p:spPr bwMode="auto">
          <a:xfrm>
            <a:off x="4724926" y="2880084"/>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0" name="Straight Connector 429">
            <a:extLst>
              <a:ext uri="{FF2B5EF4-FFF2-40B4-BE49-F238E27FC236}">
                <a16:creationId xmlns:a16="http://schemas.microsoft.com/office/drawing/2014/main" id="{5FCDB5F7-3D99-4B98-90D1-A5E23B8D7305}"/>
              </a:ext>
            </a:extLst>
          </p:cNvPr>
          <p:cNvCxnSpPr/>
          <p:nvPr/>
        </p:nvCxnSpPr>
        <p:spPr bwMode="auto">
          <a:xfrm>
            <a:off x="4831935" y="2880084"/>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1" name="Straight Connector 430">
            <a:extLst>
              <a:ext uri="{FF2B5EF4-FFF2-40B4-BE49-F238E27FC236}">
                <a16:creationId xmlns:a16="http://schemas.microsoft.com/office/drawing/2014/main" id="{0C168E93-AD03-4460-80DD-FDE40C550E86}"/>
              </a:ext>
            </a:extLst>
          </p:cNvPr>
          <p:cNvCxnSpPr/>
          <p:nvPr/>
        </p:nvCxnSpPr>
        <p:spPr bwMode="auto">
          <a:xfrm>
            <a:off x="4494662" y="2880083"/>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2" name="Straight Connector 431">
            <a:extLst>
              <a:ext uri="{FF2B5EF4-FFF2-40B4-BE49-F238E27FC236}">
                <a16:creationId xmlns:a16="http://schemas.microsoft.com/office/drawing/2014/main" id="{2056D62A-14F4-4322-8DEC-D9B21EA819FE}"/>
              </a:ext>
            </a:extLst>
          </p:cNvPr>
          <p:cNvCxnSpPr/>
          <p:nvPr/>
        </p:nvCxnSpPr>
        <p:spPr bwMode="auto">
          <a:xfrm>
            <a:off x="4454524" y="2880082"/>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3" name="Straight Connector 432">
            <a:extLst>
              <a:ext uri="{FF2B5EF4-FFF2-40B4-BE49-F238E27FC236}">
                <a16:creationId xmlns:a16="http://schemas.microsoft.com/office/drawing/2014/main" id="{BABBA42B-66E0-4890-BB79-4E1395F0E59A}"/>
              </a:ext>
            </a:extLst>
          </p:cNvPr>
          <p:cNvCxnSpPr/>
          <p:nvPr/>
        </p:nvCxnSpPr>
        <p:spPr bwMode="auto">
          <a:xfrm>
            <a:off x="4447432" y="2880081"/>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4" name="Straight Connector 433">
            <a:extLst>
              <a:ext uri="{FF2B5EF4-FFF2-40B4-BE49-F238E27FC236}">
                <a16:creationId xmlns:a16="http://schemas.microsoft.com/office/drawing/2014/main" id="{B7478C16-0FAF-4228-90AB-BCAEAE9F37F8}"/>
              </a:ext>
            </a:extLst>
          </p:cNvPr>
          <p:cNvCxnSpPr/>
          <p:nvPr/>
        </p:nvCxnSpPr>
        <p:spPr bwMode="auto">
          <a:xfrm>
            <a:off x="4399617" y="2880081"/>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5" name="Straight Connector 434">
            <a:extLst>
              <a:ext uri="{FF2B5EF4-FFF2-40B4-BE49-F238E27FC236}">
                <a16:creationId xmlns:a16="http://schemas.microsoft.com/office/drawing/2014/main" id="{317C3C5D-601D-4EDD-B8AF-4599A2698572}"/>
              </a:ext>
            </a:extLst>
          </p:cNvPr>
          <p:cNvCxnSpPr/>
          <p:nvPr/>
        </p:nvCxnSpPr>
        <p:spPr bwMode="auto">
          <a:xfrm>
            <a:off x="4355994" y="2880081"/>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6" name="Straight Connector 435">
            <a:extLst>
              <a:ext uri="{FF2B5EF4-FFF2-40B4-BE49-F238E27FC236}">
                <a16:creationId xmlns:a16="http://schemas.microsoft.com/office/drawing/2014/main" id="{BB4B8886-2E04-4183-BE92-DE28D935B039}"/>
              </a:ext>
            </a:extLst>
          </p:cNvPr>
          <p:cNvCxnSpPr/>
          <p:nvPr/>
        </p:nvCxnSpPr>
        <p:spPr bwMode="auto">
          <a:xfrm>
            <a:off x="4321647" y="2880080"/>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7" name="Straight Connector 436">
            <a:extLst>
              <a:ext uri="{FF2B5EF4-FFF2-40B4-BE49-F238E27FC236}">
                <a16:creationId xmlns:a16="http://schemas.microsoft.com/office/drawing/2014/main" id="{0D4D3042-3FA5-484E-A8DD-6B1C15375762}"/>
              </a:ext>
            </a:extLst>
          </p:cNvPr>
          <p:cNvCxnSpPr/>
          <p:nvPr/>
        </p:nvCxnSpPr>
        <p:spPr bwMode="auto">
          <a:xfrm>
            <a:off x="4292375" y="2880080"/>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8" name="Straight Connector 437">
            <a:extLst>
              <a:ext uri="{FF2B5EF4-FFF2-40B4-BE49-F238E27FC236}">
                <a16:creationId xmlns:a16="http://schemas.microsoft.com/office/drawing/2014/main" id="{6BB482DF-D83D-4B8E-826E-FBF85A5F18F4}"/>
              </a:ext>
            </a:extLst>
          </p:cNvPr>
          <p:cNvCxnSpPr/>
          <p:nvPr/>
        </p:nvCxnSpPr>
        <p:spPr bwMode="auto">
          <a:xfrm>
            <a:off x="4266062" y="2880079"/>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39" name="Straight Connector 438">
            <a:extLst>
              <a:ext uri="{FF2B5EF4-FFF2-40B4-BE49-F238E27FC236}">
                <a16:creationId xmlns:a16="http://schemas.microsoft.com/office/drawing/2014/main" id="{45155B41-EF5F-47FA-BFDF-C436E547626C}"/>
              </a:ext>
            </a:extLst>
          </p:cNvPr>
          <p:cNvCxnSpPr/>
          <p:nvPr/>
        </p:nvCxnSpPr>
        <p:spPr bwMode="auto">
          <a:xfrm>
            <a:off x="4239751" y="2880079"/>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40" name="Straight Connector 439">
            <a:extLst>
              <a:ext uri="{FF2B5EF4-FFF2-40B4-BE49-F238E27FC236}">
                <a16:creationId xmlns:a16="http://schemas.microsoft.com/office/drawing/2014/main" id="{251A8401-4A04-4D0B-91B8-86C3AE8EFBA6}"/>
              </a:ext>
            </a:extLst>
          </p:cNvPr>
          <p:cNvCxnSpPr/>
          <p:nvPr/>
        </p:nvCxnSpPr>
        <p:spPr bwMode="auto">
          <a:xfrm>
            <a:off x="4215001" y="279745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41" name="Straight Connector 440">
            <a:extLst>
              <a:ext uri="{FF2B5EF4-FFF2-40B4-BE49-F238E27FC236}">
                <a16:creationId xmlns:a16="http://schemas.microsoft.com/office/drawing/2014/main" id="{46D74097-B39C-4506-AD91-2118D4F60602}"/>
              </a:ext>
            </a:extLst>
          </p:cNvPr>
          <p:cNvCxnSpPr>
            <a:cxnSpLocks/>
          </p:cNvCxnSpPr>
          <p:nvPr/>
        </p:nvCxnSpPr>
        <p:spPr bwMode="auto">
          <a:xfrm>
            <a:off x="4192934" y="2916027"/>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42" name="Straight Connector 441">
            <a:extLst>
              <a:ext uri="{FF2B5EF4-FFF2-40B4-BE49-F238E27FC236}">
                <a16:creationId xmlns:a16="http://schemas.microsoft.com/office/drawing/2014/main" id="{0C2DCA81-D905-4C05-B607-54B07E7B41EF}"/>
              </a:ext>
            </a:extLst>
          </p:cNvPr>
          <p:cNvCxnSpPr>
            <a:cxnSpLocks/>
          </p:cNvCxnSpPr>
          <p:nvPr/>
        </p:nvCxnSpPr>
        <p:spPr bwMode="auto">
          <a:xfrm>
            <a:off x="4204795" y="2828789"/>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43" name="Straight Connector 442">
            <a:extLst>
              <a:ext uri="{FF2B5EF4-FFF2-40B4-BE49-F238E27FC236}">
                <a16:creationId xmlns:a16="http://schemas.microsoft.com/office/drawing/2014/main" id="{6CBB5BE8-EB4F-401D-AD68-C4BD72A742A3}"/>
              </a:ext>
            </a:extLst>
          </p:cNvPr>
          <p:cNvCxnSpPr/>
          <p:nvPr/>
        </p:nvCxnSpPr>
        <p:spPr bwMode="auto">
          <a:xfrm>
            <a:off x="4158104" y="279422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44" name="Straight Connector 443">
            <a:extLst>
              <a:ext uri="{FF2B5EF4-FFF2-40B4-BE49-F238E27FC236}">
                <a16:creationId xmlns:a16="http://schemas.microsoft.com/office/drawing/2014/main" id="{FDE0CF9F-498B-4A3D-A5B8-62F122CEE620}"/>
              </a:ext>
            </a:extLst>
          </p:cNvPr>
          <p:cNvCxnSpPr/>
          <p:nvPr/>
        </p:nvCxnSpPr>
        <p:spPr bwMode="auto">
          <a:xfrm>
            <a:off x="4135784" y="2795604"/>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45" name="Straight Connector 444">
            <a:extLst>
              <a:ext uri="{FF2B5EF4-FFF2-40B4-BE49-F238E27FC236}">
                <a16:creationId xmlns:a16="http://schemas.microsoft.com/office/drawing/2014/main" id="{030D714F-875D-431B-A9DC-5BCB7488F07A}"/>
              </a:ext>
            </a:extLst>
          </p:cNvPr>
          <p:cNvCxnSpPr/>
          <p:nvPr/>
        </p:nvCxnSpPr>
        <p:spPr bwMode="auto">
          <a:xfrm>
            <a:off x="4114624" y="2765192"/>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46" name="Straight Connector 445">
            <a:extLst>
              <a:ext uri="{FF2B5EF4-FFF2-40B4-BE49-F238E27FC236}">
                <a16:creationId xmlns:a16="http://schemas.microsoft.com/office/drawing/2014/main" id="{2EA988C3-929F-440B-A1F2-A15991526B35}"/>
              </a:ext>
            </a:extLst>
          </p:cNvPr>
          <p:cNvCxnSpPr/>
          <p:nvPr/>
        </p:nvCxnSpPr>
        <p:spPr bwMode="auto">
          <a:xfrm>
            <a:off x="4098371" y="2765191"/>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47" name="Straight Connector 446">
            <a:extLst>
              <a:ext uri="{FF2B5EF4-FFF2-40B4-BE49-F238E27FC236}">
                <a16:creationId xmlns:a16="http://schemas.microsoft.com/office/drawing/2014/main" id="{161336BF-A8A2-4336-BA2D-671135F3E59A}"/>
              </a:ext>
            </a:extLst>
          </p:cNvPr>
          <p:cNvCxnSpPr/>
          <p:nvPr/>
        </p:nvCxnSpPr>
        <p:spPr bwMode="auto">
          <a:xfrm>
            <a:off x="4083311" y="2765054"/>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48" name="Straight Connector 447">
            <a:extLst>
              <a:ext uri="{FF2B5EF4-FFF2-40B4-BE49-F238E27FC236}">
                <a16:creationId xmlns:a16="http://schemas.microsoft.com/office/drawing/2014/main" id="{C5C1187D-DC86-46B9-AEAB-CC2FC8E63A96}"/>
              </a:ext>
            </a:extLst>
          </p:cNvPr>
          <p:cNvCxnSpPr/>
          <p:nvPr/>
        </p:nvCxnSpPr>
        <p:spPr bwMode="auto">
          <a:xfrm>
            <a:off x="4056873" y="2765053"/>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49" name="Straight Connector 448">
            <a:extLst>
              <a:ext uri="{FF2B5EF4-FFF2-40B4-BE49-F238E27FC236}">
                <a16:creationId xmlns:a16="http://schemas.microsoft.com/office/drawing/2014/main" id="{4EC7F7BC-7631-4616-AE64-3D74E91F150E}"/>
              </a:ext>
            </a:extLst>
          </p:cNvPr>
          <p:cNvCxnSpPr/>
          <p:nvPr/>
        </p:nvCxnSpPr>
        <p:spPr bwMode="auto">
          <a:xfrm>
            <a:off x="4052724" y="2763862"/>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50" name="Straight Connector 449">
            <a:extLst>
              <a:ext uri="{FF2B5EF4-FFF2-40B4-BE49-F238E27FC236}">
                <a16:creationId xmlns:a16="http://schemas.microsoft.com/office/drawing/2014/main" id="{ACCD829E-F583-4F49-8A06-15163882441E}"/>
              </a:ext>
            </a:extLst>
          </p:cNvPr>
          <p:cNvCxnSpPr/>
          <p:nvPr/>
        </p:nvCxnSpPr>
        <p:spPr bwMode="auto">
          <a:xfrm>
            <a:off x="3990989" y="274818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51" name="Straight Connector 450">
            <a:extLst>
              <a:ext uri="{FF2B5EF4-FFF2-40B4-BE49-F238E27FC236}">
                <a16:creationId xmlns:a16="http://schemas.microsoft.com/office/drawing/2014/main" id="{C20BEA40-E581-42D0-9893-E84595C74DF0}"/>
              </a:ext>
            </a:extLst>
          </p:cNvPr>
          <p:cNvCxnSpPr/>
          <p:nvPr/>
        </p:nvCxnSpPr>
        <p:spPr bwMode="auto">
          <a:xfrm>
            <a:off x="3983131" y="274818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52" name="Straight Connector 451">
            <a:extLst>
              <a:ext uri="{FF2B5EF4-FFF2-40B4-BE49-F238E27FC236}">
                <a16:creationId xmlns:a16="http://schemas.microsoft.com/office/drawing/2014/main" id="{2D1FDBA1-943B-47E8-BF80-4D7C3549E012}"/>
              </a:ext>
            </a:extLst>
          </p:cNvPr>
          <p:cNvCxnSpPr>
            <a:cxnSpLocks/>
          </p:cNvCxnSpPr>
          <p:nvPr/>
        </p:nvCxnSpPr>
        <p:spPr bwMode="auto">
          <a:xfrm>
            <a:off x="4007572" y="2803493"/>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53" name="Straight Connector 452">
            <a:extLst>
              <a:ext uri="{FF2B5EF4-FFF2-40B4-BE49-F238E27FC236}">
                <a16:creationId xmlns:a16="http://schemas.microsoft.com/office/drawing/2014/main" id="{AD5AE74C-DE35-4D92-BB78-B4F3F99CDFAE}"/>
              </a:ext>
            </a:extLst>
          </p:cNvPr>
          <p:cNvCxnSpPr/>
          <p:nvPr/>
        </p:nvCxnSpPr>
        <p:spPr bwMode="auto">
          <a:xfrm>
            <a:off x="3949745" y="274441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54" name="Straight Connector 453">
            <a:extLst>
              <a:ext uri="{FF2B5EF4-FFF2-40B4-BE49-F238E27FC236}">
                <a16:creationId xmlns:a16="http://schemas.microsoft.com/office/drawing/2014/main" id="{4AEFAF78-6550-478B-A442-14834C02FB17}"/>
              </a:ext>
            </a:extLst>
          </p:cNvPr>
          <p:cNvCxnSpPr/>
          <p:nvPr/>
        </p:nvCxnSpPr>
        <p:spPr bwMode="auto">
          <a:xfrm>
            <a:off x="3902781" y="2728569"/>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55" name="Straight Connector 454">
            <a:extLst>
              <a:ext uri="{FF2B5EF4-FFF2-40B4-BE49-F238E27FC236}">
                <a16:creationId xmlns:a16="http://schemas.microsoft.com/office/drawing/2014/main" id="{10DB0195-029B-4F74-A484-D2DB5C6409F0}"/>
              </a:ext>
            </a:extLst>
          </p:cNvPr>
          <p:cNvCxnSpPr/>
          <p:nvPr/>
        </p:nvCxnSpPr>
        <p:spPr bwMode="auto">
          <a:xfrm>
            <a:off x="3925487" y="2741652"/>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56" name="Straight Connector 455">
            <a:extLst>
              <a:ext uri="{FF2B5EF4-FFF2-40B4-BE49-F238E27FC236}">
                <a16:creationId xmlns:a16="http://schemas.microsoft.com/office/drawing/2014/main" id="{5C67BC41-5D32-4338-A9CC-52410F4990B9}"/>
              </a:ext>
            </a:extLst>
          </p:cNvPr>
          <p:cNvCxnSpPr/>
          <p:nvPr/>
        </p:nvCxnSpPr>
        <p:spPr bwMode="auto">
          <a:xfrm>
            <a:off x="3845423" y="271549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57" name="Straight Connector 456">
            <a:extLst>
              <a:ext uri="{FF2B5EF4-FFF2-40B4-BE49-F238E27FC236}">
                <a16:creationId xmlns:a16="http://schemas.microsoft.com/office/drawing/2014/main" id="{F54B8BD5-6405-4B97-AE60-0C1FBAEF37FE}"/>
              </a:ext>
            </a:extLst>
          </p:cNvPr>
          <p:cNvCxnSpPr/>
          <p:nvPr/>
        </p:nvCxnSpPr>
        <p:spPr bwMode="auto">
          <a:xfrm>
            <a:off x="3833771" y="2719152"/>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58" name="Straight Connector 457">
            <a:extLst>
              <a:ext uri="{FF2B5EF4-FFF2-40B4-BE49-F238E27FC236}">
                <a16:creationId xmlns:a16="http://schemas.microsoft.com/office/drawing/2014/main" id="{AEAE7BCC-775C-473A-9643-A542CB6176B6}"/>
              </a:ext>
            </a:extLst>
          </p:cNvPr>
          <p:cNvCxnSpPr/>
          <p:nvPr/>
        </p:nvCxnSpPr>
        <p:spPr bwMode="auto">
          <a:xfrm>
            <a:off x="3789572" y="2708466"/>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59" name="Straight Connector 458">
            <a:extLst>
              <a:ext uri="{FF2B5EF4-FFF2-40B4-BE49-F238E27FC236}">
                <a16:creationId xmlns:a16="http://schemas.microsoft.com/office/drawing/2014/main" id="{1BE56B30-4A97-498C-B5F6-F61C83B6D7B0}"/>
              </a:ext>
            </a:extLst>
          </p:cNvPr>
          <p:cNvCxnSpPr/>
          <p:nvPr/>
        </p:nvCxnSpPr>
        <p:spPr bwMode="auto">
          <a:xfrm>
            <a:off x="3804089" y="271215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60" name="Straight Connector 459">
            <a:extLst>
              <a:ext uri="{FF2B5EF4-FFF2-40B4-BE49-F238E27FC236}">
                <a16:creationId xmlns:a16="http://schemas.microsoft.com/office/drawing/2014/main" id="{4DE781F4-55DB-45F3-BA7E-6F1A055B2EB0}"/>
              </a:ext>
            </a:extLst>
          </p:cNvPr>
          <p:cNvCxnSpPr/>
          <p:nvPr/>
        </p:nvCxnSpPr>
        <p:spPr bwMode="auto">
          <a:xfrm>
            <a:off x="3758283" y="271215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61" name="Straight Connector 460">
            <a:extLst>
              <a:ext uri="{FF2B5EF4-FFF2-40B4-BE49-F238E27FC236}">
                <a16:creationId xmlns:a16="http://schemas.microsoft.com/office/drawing/2014/main" id="{E6BBE9A5-CB47-4715-9C11-BD01D9599D4E}"/>
              </a:ext>
            </a:extLst>
          </p:cNvPr>
          <p:cNvCxnSpPr/>
          <p:nvPr/>
        </p:nvCxnSpPr>
        <p:spPr bwMode="auto">
          <a:xfrm>
            <a:off x="3739359" y="271549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62" name="Straight Connector 461">
            <a:extLst>
              <a:ext uri="{FF2B5EF4-FFF2-40B4-BE49-F238E27FC236}">
                <a16:creationId xmlns:a16="http://schemas.microsoft.com/office/drawing/2014/main" id="{242D3E41-D643-4E0F-A6DF-B555D8642F5C}"/>
              </a:ext>
            </a:extLst>
          </p:cNvPr>
          <p:cNvCxnSpPr/>
          <p:nvPr/>
        </p:nvCxnSpPr>
        <p:spPr bwMode="auto">
          <a:xfrm>
            <a:off x="3726101" y="266476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63" name="Straight Connector 462">
            <a:extLst>
              <a:ext uri="{FF2B5EF4-FFF2-40B4-BE49-F238E27FC236}">
                <a16:creationId xmlns:a16="http://schemas.microsoft.com/office/drawing/2014/main" id="{5B3224B3-A538-4300-804F-8C5E8D0AAFE9}"/>
              </a:ext>
            </a:extLst>
          </p:cNvPr>
          <p:cNvCxnSpPr>
            <a:cxnSpLocks/>
          </p:cNvCxnSpPr>
          <p:nvPr/>
        </p:nvCxnSpPr>
        <p:spPr bwMode="auto">
          <a:xfrm>
            <a:off x="3694535" y="2744418"/>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64" name="Straight Connector 463">
            <a:extLst>
              <a:ext uri="{FF2B5EF4-FFF2-40B4-BE49-F238E27FC236}">
                <a16:creationId xmlns:a16="http://schemas.microsoft.com/office/drawing/2014/main" id="{C90D8F71-5602-4EC6-9B28-B2342EBE6021}"/>
              </a:ext>
            </a:extLst>
          </p:cNvPr>
          <p:cNvCxnSpPr>
            <a:cxnSpLocks/>
          </p:cNvCxnSpPr>
          <p:nvPr/>
        </p:nvCxnSpPr>
        <p:spPr bwMode="auto">
          <a:xfrm>
            <a:off x="3716525" y="2697897"/>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65" name="Straight Connector 464">
            <a:extLst>
              <a:ext uri="{FF2B5EF4-FFF2-40B4-BE49-F238E27FC236}">
                <a16:creationId xmlns:a16="http://schemas.microsoft.com/office/drawing/2014/main" id="{50E2D4DA-3FA0-4845-BF4A-CBDA51AA4891}"/>
              </a:ext>
            </a:extLst>
          </p:cNvPr>
          <p:cNvCxnSpPr/>
          <p:nvPr/>
        </p:nvCxnSpPr>
        <p:spPr bwMode="auto">
          <a:xfrm>
            <a:off x="3692797" y="266476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66" name="Straight Connector 465">
            <a:extLst>
              <a:ext uri="{FF2B5EF4-FFF2-40B4-BE49-F238E27FC236}">
                <a16:creationId xmlns:a16="http://schemas.microsoft.com/office/drawing/2014/main" id="{06D31C48-0AD2-4C06-A8E6-B0A348827940}"/>
              </a:ext>
            </a:extLst>
          </p:cNvPr>
          <p:cNvCxnSpPr/>
          <p:nvPr/>
        </p:nvCxnSpPr>
        <p:spPr bwMode="auto">
          <a:xfrm>
            <a:off x="3679851" y="2661576"/>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67" name="Straight Connector 466">
            <a:extLst>
              <a:ext uri="{FF2B5EF4-FFF2-40B4-BE49-F238E27FC236}">
                <a16:creationId xmlns:a16="http://schemas.microsoft.com/office/drawing/2014/main" id="{C1D3B0CE-DB21-4EA4-A075-3BA546BACCD7}"/>
              </a:ext>
            </a:extLst>
          </p:cNvPr>
          <p:cNvCxnSpPr/>
          <p:nvPr/>
        </p:nvCxnSpPr>
        <p:spPr bwMode="auto">
          <a:xfrm>
            <a:off x="3666485" y="2660193"/>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68" name="Straight Connector 467">
            <a:extLst>
              <a:ext uri="{FF2B5EF4-FFF2-40B4-BE49-F238E27FC236}">
                <a16:creationId xmlns:a16="http://schemas.microsoft.com/office/drawing/2014/main" id="{AD91A2D0-12ED-448D-A0A2-51BEBF4074AE}"/>
              </a:ext>
            </a:extLst>
          </p:cNvPr>
          <p:cNvCxnSpPr/>
          <p:nvPr/>
        </p:nvCxnSpPr>
        <p:spPr bwMode="auto">
          <a:xfrm>
            <a:off x="3625356" y="2660192"/>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69" name="Straight Connector 468">
            <a:extLst>
              <a:ext uri="{FF2B5EF4-FFF2-40B4-BE49-F238E27FC236}">
                <a16:creationId xmlns:a16="http://schemas.microsoft.com/office/drawing/2014/main" id="{DD0E7631-16F1-4783-B144-A0772C22BA98}"/>
              </a:ext>
            </a:extLst>
          </p:cNvPr>
          <p:cNvCxnSpPr/>
          <p:nvPr/>
        </p:nvCxnSpPr>
        <p:spPr bwMode="auto">
          <a:xfrm>
            <a:off x="3590978" y="2657427"/>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70" name="Straight Connector 469">
            <a:extLst>
              <a:ext uri="{FF2B5EF4-FFF2-40B4-BE49-F238E27FC236}">
                <a16:creationId xmlns:a16="http://schemas.microsoft.com/office/drawing/2014/main" id="{B57EB4AB-4419-4469-AEAF-7786F3C2D667}"/>
              </a:ext>
            </a:extLst>
          </p:cNvPr>
          <p:cNvCxnSpPr/>
          <p:nvPr/>
        </p:nvCxnSpPr>
        <p:spPr bwMode="auto">
          <a:xfrm>
            <a:off x="3580161" y="265039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71" name="Straight Connector 470">
            <a:extLst>
              <a:ext uri="{FF2B5EF4-FFF2-40B4-BE49-F238E27FC236}">
                <a16:creationId xmlns:a16="http://schemas.microsoft.com/office/drawing/2014/main" id="{BD8D8A37-79BD-45F6-9603-F9107660A07A}"/>
              </a:ext>
            </a:extLst>
          </p:cNvPr>
          <p:cNvCxnSpPr/>
          <p:nvPr/>
        </p:nvCxnSpPr>
        <p:spPr bwMode="auto">
          <a:xfrm>
            <a:off x="3558961" y="263572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72" name="Straight Connector 471">
            <a:extLst>
              <a:ext uri="{FF2B5EF4-FFF2-40B4-BE49-F238E27FC236}">
                <a16:creationId xmlns:a16="http://schemas.microsoft.com/office/drawing/2014/main" id="{2DCCD877-33BD-4F0F-90B5-F11DA6150A18}"/>
              </a:ext>
            </a:extLst>
          </p:cNvPr>
          <p:cNvCxnSpPr/>
          <p:nvPr/>
        </p:nvCxnSpPr>
        <p:spPr bwMode="auto">
          <a:xfrm>
            <a:off x="3494873" y="261637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73" name="Straight Connector 472">
            <a:extLst>
              <a:ext uri="{FF2B5EF4-FFF2-40B4-BE49-F238E27FC236}">
                <a16:creationId xmlns:a16="http://schemas.microsoft.com/office/drawing/2014/main" id="{B78B7DE8-D450-4B8A-827F-37370D4AAF5B}"/>
              </a:ext>
            </a:extLst>
          </p:cNvPr>
          <p:cNvCxnSpPr/>
          <p:nvPr/>
        </p:nvCxnSpPr>
        <p:spPr bwMode="auto">
          <a:xfrm>
            <a:off x="3472011" y="259935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74" name="Straight Connector 473">
            <a:extLst>
              <a:ext uri="{FF2B5EF4-FFF2-40B4-BE49-F238E27FC236}">
                <a16:creationId xmlns:a16="http://schemas.microsoft.com/office/drawing/2014/main" id="{A3575F69-A4AE-4C6E-A0AF-37BC79C4D30D}"/>
              </a:ext>
            </a:extLst>
          </p:cNvPr>
          <p:cNvCxnSpPr/>
          <p:nvPr/>
        </p:nvCxnSpPr>
        <p:spPr bwMode="auto">
          <a:xfrm>
            <a:off x="3460723" y="2593281"/>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75" name="Straight Connector 474">
            <a:extLst>
              <a:ext uri="{FF2B5EF4-FFF2-40B4-BE49-F238E27FC236}">
                <a16:creationId xmlns:a16="http://schemas.microsoft.com/office/drawing/2014/main" id="{C5D4703F-8F68-4F33-BA1A-4A980AFF422A}"/>
              </a:ext>
            </a:extLst>
          </p:cNvPr>
          <p:cNvCxnSpPr/>
          <p:nvPr/>
        </p:nvCxnSpPr>
        <p:spPr bwMode="auto">
          <a:xfrm>
            <a:off x="3441112" y="258733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76" name="Straight Connector 475">
            <a:extLst>
              <a:ext uri="{FF2B5EF4-FFF2-40B4-BE49-F238E27FC236}">
                <a16:creationId xmlns:a16="http://schemas.microsoft.com/office/drawing/2014/main" id="{53EAB23A-7D51-45C9-ACFE-A85E5D45494D}"/>
              </a:ext>
            </a:extLst>
          </p:cNvPr>
          <p:cNvCxnSpPr>
            <a:cxnSpLocks/>
          </p:cNvCxnSpPr>
          <p:nvPr/>
        </p:nvCxnSpPr>
        <p:spPr bwMode="auto">
          <a:xfrm>
            <a:off x="3327950" y="2572964"/>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77" name="Straight Connector 476">
            <a:extLst>
              <a:ext uri="{FF2B5EF4-FFF2-40B4-BE49-F238E27FC236}">
                <a16:creationId xmlns:a16="http://schemas.microsoft.com/office/drawing/2014/main" id="{D12210AE-3274-49FB-BB4B-AF0FD9D445F3}"/>
              </a:ext>
            </a:extLst>
          </p:cNvPr>
          <p:cNvCxnSpPr>
            <a:cxnSpLocks/>
          </p:cNvCxnSpPr>
          <p:nvPr/>
        </p:nvCxnSpPr>
        <p:spPr bwMode="auto">
          <a:xfrm>
            <a:off x="3313662" y="2543039"/>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78" name="Straight Connector 477">
            <a:extLst>
              <a:ext uri="{FF2B5EF4-FFF2-40B4-BE49-F238E27FC236}">
                <a16:creationId xmlns:a16="http://schemas.microsoft.com/office/drawing/2014/main" id="{B683DDA9-B3F7-4A2D-B4D0-FF260C1B8B4F}"/>
              </a:ext>
            </a:extLst>
          </p:cNvPr>
          <p:cNvCxnSpPr>
            <a:cxnSpLocks/>
          </p:cNvCxnSpPr>
          <p:nvPr/>
        </p:nvCxnSpPr>
        <p:spPr bwMode="auto">
          <a:xfrm>
            <a:off x="2884845" y="2377325"/>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79" name="Straight Connector 478">
            <a:extLst>
              <a:ext uri="{FF2B5EF4-FFF2-40B4-BE49-F238E27FC236}">
                <a16:creationId xmlns:a16="http://schemas.microsoft.com/office/drawing/2014/main" id="{27569883-7F50-42AC-A8E2-6F919E5FE567}"/>
              </a:ext>
            </a:extLst>
          </p:cNvPr>
          <p:cNvCxnSpPr/>
          <p:nvPr/>
        </p:nvCxnSpPr>
        <p:spPr bwMode="auto">
          <a:xfrm>
            <a:off x="3335786" y="2514003"/>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80" name="Straight Connector 479">
            <a:extLst>
              <a:ext uri="{FF2B5EF4-FFF2-40B4-BE49-F238E27FC236}">
                <a16:creationId xmlns:a16="http://schemas.microsoft.com/office/drawing/2014/main" id="{3E76D366-3B78-4577-AF58-D0C41909DB54}"/>
              </a:ext>
            </a:extLst>
          </p:cNvPr>
          <p:cNvCxnSpPr/>
          <p:nvPr/>
        </p:nvCxnSpPr>
        <p:spPr bwMode="auto">
          <a:xfrm>
            <a:off x="3287390" y="2506543"/>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81" name="Straight Connector 480">
            <a:extLst>
              <a:ext uri="{FF2B5EF4-FFF2-40B4-BE49-F238E27FC236}">
                <a16:creationId xmlns:a16="http://schemas.microsoft.com/office/drawing/2014/main" id="{962E1DD3-35A2-4C2A-BAD6-DCE969F72A11}"/>
              </a:ext>
            </a:extLst>
          </p:cNvPr>
          <p:cNvCxnSpPr/>
          <p:nvPr/>
        </p:nvCxnSpPr>
        <p:spPr bwMode="auto">
          <a:xfrm>
            <a:off x="3245096" y="2490549"/>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82" name="Straight Connector 481">
            <a:extLst>
              <a:ext uri="{FF2B5EF4-FFF2-40B4-BE49-F238E27FC236}">
                <a16:creationId xmlns:a16="http://schemas.microsoft.com/office/drawing/2014/main" id="{B75AF81F-D274-4FFB-8725-A3C491545524}"/>
              </a:ext>
            </a:extLst>
          </p:cNvPr>
          <p:cNvCxnSpPr/>
          <p:nvPr/>
        </p:nvCxnSpPr>
        <p:spPr bwMode="auto">
          <a:xfrm>
            <a:off x="3171355" y="246796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83" name="Straight Connector 482">
            <a:extLst>
              <a:ext uri="{FF2B5EF4-FFF2-40B4-BE49-F238E27FC236}">
                <a16:creationId xmlns:a16="http://schemas.microsoft.com/office/drawing/2014/main" id="{234FEA9E-808D-484E-AC6A-7095D60C9C58}"/>
              </a:ext>
            </a:extLst>
          </p:cNvPr>
          <p:cNvCxnSpPr/>
          <p:nvPr/>
        </p:nvCxnSpPr>
        <p:spPr bwMode="auto">
          <a:xfrm>
            <a:off x="3061664" y="241772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84" name="Straight Connector 483">
            <a:extLst>
              <a:ext uri="{FF2B5EF4-FFF2-40B4-BE49-F238E27FC236}">
                <a16:creationId xmlns:a16="http://schemas.microsoft.com/office/drawing/2014/main" id="{2A613A5A-B6F6-4F3D-974B-5B393E4AE0CA}"/>
              </a:ext>
            </a:extLst>
          </p:cNvPr>
          <p:cNvCxnSpPr/>
          <p:nvPr/>
        </p:nvCxnSpPr>
        <p:spPr bwMode="auto">
          <a:xfrm>
            <a:off x="3034933" y="2411737"/>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85" name="Straight Connector 484">
            <a:extLst>
              <a:ext uri="{FF2B5EF4-FFF2-40B4-BE49-F238E27FC236}">
                <a16:creationId xmlns:a16="http://schemas.microsoft.com/office/drawing/2014/main" id="{6AED0A21-9FA2-455C-978D-38CB8935C9DF}"/>
              </a:ext>
            </a:extLst>
          </p:cNvPr>
          <p:cNvCxnSpPr/>
          <p:nvPr/>
        </p:nvCxnSpPr>
        <p:spPr bwMode="auto">
          <a:xfrm>
            <a:off x="2999905" y="2396067"/>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86" name="Straight Connector 485">
            <a:extLst>
              <a:ext uri="{FF2B5EF4-FFF2-40B4-BE49-F238E27FC236}">
                <a16:creationId xmlns:a16="http://schemas.microsoft.com/office/drawing/2014/main" id="{7F17A975-27C1-4CBC-9E12-2395A927DB24}"/>
              </a:ext>
            </a:extLst>
          </p:cNvPr>
          <p:cNvCxnSpPr/>
          <p:nvPr/>
        </p:nvCxnSpPr>
        <p:spPr bwMode="auto">
          <a:xfrm>
            <a:off x="2910954" y="2352744"/>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87" name="Straight Connector 486">
            <a:extLst>
              <a:ext uri="{FF2B5EF4-FFF2-40B4-BE49-F238E27FC236}">
                <a16:creationId xmlns:a16="http://schemas.microsoft.com/office/drawing/2014/main" id="{ABF36B95-5E70-4821-9818-2910140EDC5F}"/>
              </a:ext>
            </a:extLst>
          </p:cNvPr>
          <p:cNvCxnSpPr>
            <a:cxnSpLocks/>
          </p:cNvCxnSpPr>
          <p:nvPr/>
        </p:nvCxnSpPr>
        <p:spPr bwMode="auto">
          <a:xfrm>
            <a:off x="3043214" y="2436488"/>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88" name="Straight Connector 487">
            <a:extLst>
              <a:ext uri="{FF2B5EF4-FFF2-40B4-BE49-F238E27FC236}">
                <a16:creationId xmlns:a16="http://schemas.microsoft.com/office/drawing/2014/main" id="{191DB521-B96D-4CF7-B569-081A84BCE5D0}"/>
              </a:ext>
            </a:extLst>
          </p:cNvPr>
          <p:cNvCxnSpPr>
            <a:cxnSpLocks/>
          </p:cNvCxnSpPr>
          <p:nvPr/>
        </p:nvCxnSpPr>
        <p:spPr bwMode="auto">
          <a:xfrm>
            <a:off x="2823577" y="2345607"/>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89" name="Straight Connector 488">
            <a:extLst>
              <a:ext uri="{FF2B5EF4-FFF2-40B4-BE49-F238E27FC236}">
                <a16:creationId xmlns:a16="http://schemas.microsoft.com/office/drawing/2014/main" id="{503D797D-7D84-4CAD-AAB7-5736077371A9}"/>
              </a:ext>
            </a:extLst>
          </p:cNvPr>
          <p:cNvCxnSpPr/>
          <p:nvPr/>
        </p:nvCxnSpPr>
        <p:spPr bwMode="auto">
          <a:xfrm>
            <a:off x="2831681" y="2317716"/>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90" name="Straight Connector 489">
            <a:extLst>
              <a:ext uri="{FF2B5EF4-FFF2-40B4-BE49-F238E27FC236}">
                <a16:creationId xmlns:a16="http://schemas.microsoft.com/office/drawing/2014/main" id="{C174DEB7-E43B-4769-92F6-4348556B8926}"/>
              </a:ext>
            </a:extLst>
          </p:cNvPr>
          <p:cNvCxnSpPr/>
          <p:nvPr/>
        </p:nvCxnSpPr>
        <p:spPr bwMode="auto">
          <a:xfrm>
            <a:off x="2806332" y="231725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91" name="Straight Connector 490">
            <a:extLst>
              <a:ext uri="{FF2B5EF4-FFF2-40B4-BE49-F238E27FC236}">
                <a16:creationId xmlns:a16="http://schemas.microsoft.com/office/drawing/2014/main" id="{E736C2D8-06EF-4760-A922-80D02057C5AB}"/>
              </a:ext>
            </a:extLst>
          </p:cNvPr>
          <p:cNvCxnSpPr/>
          <p:nvPr/>
        </p:nvCxnSpPr>
        <p:spPr bwMode="auto">
          <a:xfrm>
            <a:off x="2566672" y="2235217"/>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92" name="Straight Connector 491">
            <a:extLst>
              <a:ext uri="{FF2B5EF4-FFF2-40B4-BE49-F238E27FC236}">
                <a16:creationId xmlns:a16="http://schemas.microsoft.com/office/drawing/2014/main" id="{B8FF1EB2-CA61-4DE5-A290-F288E3A0C83E}"/>
              </a:ext>
            </a:extLst>
          </p:cNvPr>
          <p:cNvCxnSpPr/>
          <p:nvPr/>
        </p:nvCxnSpPr>
        <p:spPr bwMode="auto">
          <a:xfrm>
            <a:off x="2465276" y="2143500"/>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93" name="Straight Connector 492">
            <a:extLst>
              <a:ext uri="{FF2B5EF4-FFF2-40B4-BE49-F238E27FC236}">
                <a16:creationId xmlns:a16="http://schemas.microsoft.com/office/drawing/2014/main" id="{C401878C-630A-419E-8BFF-A78104F979C7}"/>
              </a:ext>
            </a:extLst>
          </p:cNvPr>
          <p:cNvCxnSpPr>
            <a:cxnSpLocks/>
          </p:cNvCxnSpPr>
          <p:nvPr/>
        </p:nvCxnSpPr>
        <p:spPr bwMode="auto">
          <a:xfrm>
            <a:off x="2535316" y="2263194"/>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94" name="Straight Connector 493">
            <a:extLst>
              <a:ext uri="{FF2B5EF4-FFF2-40B4-BE49-F238E27FC236}">
                <a16:creationId xmlns:a16="http://schemas.microsoft.com/office/drawing/2014/main" id="{CC08F335-E020-45BE-93DC-94D5CE6E4634}"/>
              </a:ext>
            </a:extLst>
          </p:cNvPr>
          <p:cNvCxnSpPr>
            <a:cxnSpLocks/>
          </p:cNvCxnSpPr>
          <p:nvPr/>
        </p:nvCxnSpPr>
        <p:spPr bwMode="auto">
          <a:xfrm>
            <a:off x="2443600" y="2177009"/>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95" name="Straight Connector 494">
            <a:extLst>
              <a:ext uri="{FF2B5EF4-FFF2-40B4-BE49-F238E27FC236}">
                <a16:creationId xmlns:a16="http://schemas.microsoft.com/office/drawing/2014/main" id="{7002CEC6-7BE3-4223-A158-0D8691505CED}"/>
              </a:ext>
            </a:extLst>
          </p:cNvPr>
          <p:cNvCxnSpPr>
            <a:cxnSpLocks/>
          </p:cNvCxnSpPr>
          <p:nvPr/>
        </p:nvCxnSpPr>
        <p:spPr bwMode="auto">
          <a:xfrm>
            <a:off x="2125126" y="2032750"/>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496" name="Straight Connector 495">
            <a:extLst>
              <a:ext uri="{FF2B5EF4-FFF2-40B4-BE49-F238E27FC236}">
                <a16:creationId xmlns:a16="http://schemas.microsoft.com/office/drawing/2014/main" id="{7C650907-8FD3-4755-828A-90501A3AEFCB}"/>
              </a:ext>
            </a:extLst>
          </p:cNvPr>
          <p:cNvCxnSpPr/>
          <p:nvPr/>
        </p:nvCxnSpPr>
        <p:spPr bwMode="auto">
          <a:xfrm>
            <a:off x="2144697" y="2006807"/>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97" name="Straight Connector 496">
            <a:extLst>
              <a:ext uri="{FF2B5EF4-FFF2-40B4-BE49-F238E27FC236}">
                <a16:creationId xmlns:a16="http://schemas.microsoft.com/office/drawing/2014/main" id="{CE938E50-A007-4157-BE4B-E0F475EB338A}"/>
              </a:ext>
            </a:extLst>
          </p:cNvPr>
          <p:cNvCxnSpPr/>
          <p:nvPr/>
        </p:nvCxnSpPr>
        <p:spPr bwMode="auto">
          <a:xfrm>
            <a:off x="1908524" y="1846691"/>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98" name="Straight Connector 497">
            <a:extLst>
              <a:ext uri="{FF2B5EF4-FFF2-40B4-BE49-F238E27FC236}">
                <a16:creationId xmlns:a16="http://schemas.microsoft.com/office/drawing/2014/main" id="{70C5322E-A720-4421-9162-DE020DB71237}"/>
              </a:ext>
            </a:extLst>
          </p:cNvPr>
          <p:cNvCxnSpPr/>
          <p:nvPr/>
        </p:nvCxnSpPr>
        <p:spPr bwMode="auto">
          <a:xfrm>
            <a:off x="1791920" y="1758957"/>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499" name="Straight Connector 498">
            <a:extLst>
              <a:ext uri="{FF2B5EF4-FFF2-40B4-BE49-F238E27FC236}">
                <a16:creationId xmlns:a16="http://schemas.microsoft.com/office/drawing/2014/main" id="{ABF26D63-926C-4B6C-901C-076B37C0BF73}"/>
              </a:ext>
            </a:extLst>
          </p:cNvPr>
          <p:cNvCxnSpPr/>
          <p:nvPr/>
        </p:nvCxnSpPr>
        <p:spPr bwMode="auto">
          <a:xfrm>
            <a:off x="1537553" y="1569932"/>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00" name="Straight Connector 499">
            <a:extLst>
              <a:ext uri="{FF2B5EF4-FFF2-40B4-BE49-F238E27FC236}">
                <a16:creationId xmlns:a16="http://schemas.microsoft.com/office/drawing/2014/main" id="{18481875-B38B-4579-B21C-0A80AF4D4A5D}"/>
              </a:ext>
            </a:extLst>
          </p:cNvPr>
          <p:cNvCxnSpPr/>
          <p:nvPr/>
        </p:nvCxnSpPr>
        <p:spPr bwMode="auto">
          <a:xfrm>
            <a:off x="1580855" y="1607449"/>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01" name="Straight Connector 500">
            <a:extLst>
              <a:ext uri="{FF2B5EF4-FFF2-40B4-BE49-F238E27FC236}">
                <a16:creationId xmlns:a16="http://schemas.microsoft.com/office/drawing/2014/main" id="{AE2E60DA-F819-4E24-8620-14F12DED8BA8}"/>
              </a:ext>
            </a:extLst>
          </p:cNvPr>
          <p:cNvCxnSpPr>
            <a:cxnSpLocks/>
          </p:cNvCxnSpPr>
          <p:nvPr/>
        </p:nvCxnSpPr>
        <p:spPr bwMode="auto">
          <a:xfrm>
            <a:off x="1873221" y="1883341"/>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02" name="Straight Connector 501">
            <a:extLst>
              <a:ext uri="{FF2B5EF4-FFF2-40B4-BE49-F238E27FC236}">
                <a16:creationId xmlns:a16="http://schemas.microsoft.com/office/drawing/2014/main" id="{DB552B9B-DFB2-481E-9958-5024CBED8C4E}"/>
              </a:ext>
            </a:extLst>
          </p:cNvPr>
          <p:cNvCxnSpPr>
            <a:cxnSpLocks/>
          </p:cNvCxnSpPr>
          <p:nvPr/>
        </p:nvCxnSpPr>
        <p:spPr bwMode="auto">
          <a:xfrm>
            <a:off x="1887422" y="1873198"/>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03" name="Straight Connector 502">
            <a:extLst>
              <a:ext uri="{FF2B5EF4-FFF2-40B4-BE49-F238E27FC236}">
                <a16:creationId xmlns:a16="http://schemas.microsoft.com/office/drawing/2014/main" id="{2F0B66F7-4EF6-49B2-AE7E-621AF7DD587F}"/>
              </a:ext>
            </a:extLst>
          </p:cNvPr>
          <p:cNvCxnSpPr>
            <a:cxnSpLocks/>
          </p:cNvCxnSpPr>
          <p:nvPr/>
        </p:nvCxnSpPr>
        <p:spPr bwMode="auto">
          <a:xfrm>
            <a:off x="1793221" y="1846691"/>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04" name="Straight Connector 503">
            <a:extLst>
              <a:ext uri="{FF2B5EF4-FFF2-40B4-BE49-F238E27FC236}">
                <a16:creationId xmlns:a16="http://schemas.microsoft.com/office/drawing/2014/main" id="{A67D779D-F446-4D86-976B-F265DE2B781B}"/>
              </a:ext>
            </a:extLst>
          </p:cNvPr>
          <p:cNvCxnSpPr>
            <a:cxnSpLocks/>
          </p:cNvCxnSpPr>
          <p:nvPr/>
        </p:nvCxnSpPr>
        <p:spPr bwMode="auto">
          <a:xfrm>
            <a:off x="1567027" y="1633911"/>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05" name="Straight Connector 504">
            <a:extLst>
              <a:ext uri="{FF2B5EF4-FFF2-40B4-BE49-F238E27FC236}">
                <a16:creationId xmlns:a16="http://schemas.microsoft.com/office/drawing/2014/main" id="{2C59C673-F733-463A-9D91-7424099829DE}"/>
              </a:ext>
            </a:extLst>
          </p:cNvPr>
          <p:cNvCxnSpPr>
            <a:cxnSpLocks/>
          </p:cNvCxnSpPr>
          <p:nvPr/>
        </p:nvCxnSpPr>
        <p:spPr bwMode="auto">
          <a:xfrm>
            <a:off x="1519587" y="1596287"/>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06" name="Straight Connector 505">
            <a:extLst>
              <a:ext uri="{FF2B5EF4-FFF2-40B4-BE49-F238E27FC236}">
                <a16:creationId xmlns:a16="http://schemas.microsoft.com/office/drawing/2014/main" id="{0038913F-D7E8-4359-8840-3C926025442C}"/>
              </a:ext>
            </a:extLst>
          </p:cNvPr>
          <p:cNvCxnSpPr>
            <a:cxnSpLocks/>
          </p:cNvCxnSpPr>
          <p:nvPr/>
        </p:nvCxnSpPr>
        <p:spPr bwMode="auto">
          <a:xfrm>
            <a:off x="1433314" y="1583213"/>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07" name="Straight Connector 506">
            <a:extLst>
              <a:ext uri="{FF2B5EF4-FFF2-40B4-BE49-F238E27FC236}">
                <a16:creationId xmlns:a16="http://schemas.microsoft.com/office/drawing/2014/main" id="{920FA305-C7F7-47CA-A64D-C8EAC23E8044}"/>
              </a:ext>
            </a:extLst>
          </p:cNvPr>
          <p:cNvCxnSpPr>
            <a:cxnSpLocks/>
          </p:cNvCxnSpPr>
          <p:nvPr/>
        </p:nvCxnSpPr>
        <p:spPr bwMode="auto">
          <a:xfrm>
            <a:off x="1408885" y="1557488"/>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08" name="Straight Connector 507">
            <a:extLst>
              <a:ext uri="{FF2B5EF4-FFF2-40B4-BE49-F238E27FC236}">
                <a16:creationId xmlns:a16="http://schemas.microsoft.com/office/drawing/2014/main" id="{DA903BE8-C016-4D41-974B-C6B21C5CEC06}"/>
              </a:ext>
            </a:extLst>
          </p:cNvPr>
          <p:cNvCxnSpPr>
            <a:cxnSpLocks/>
          </p:cNvCxnSpPr>
          <p:nvPr/>
        </p:nvCxnSpPr>
        <p:spPr bwMode="auto">
          <a:xfrm>
            <a:off x="1382440" y="1529373"/>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09" name="Straight Connector 508">
            <a:extLst>
              <a:ext uri="{FF2B5EF4-FFF2-40B4-BE49-F238E27FC236}">
                <a16:creationId xmlns:a16="http://schemas.microsoft.com/office/drawing/2014/main" id="{6D9AF5BD-30FE-4EE0-8EA8-490D4C81DF97}"/>
              </a:ext>
            </a:extLst>
          </p:cNvPr>
          <p:cNvCxnSpPr>
            <a:cxnSpLocks/>
          </p:cNvCxnSpPr>
          <p:nvPr/>
        </p:nvCxnSpPr>
        <p:spPr bwMode="auto">
          <a:xfrm>
            <a:off x="1347616" y="1512321"/>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10" name="Straight Connector 509">
            <a:extLst>
              <a:ext uri="{FF2B5EF4-FFF2-40B4-BE49-F238E27FC236}">
                <a16:creationId xmlns:a16="http://schemas.microsoft.com/office/drawing/2014/main" id="{4C8942F9-7ED7-4633-AE8B-1083E611B78A}"/>
              </a:ext>
            </a:extLst>
          </p:cNvPr>
          <p:cNvCxnSpPr>
            <a:cxnSpLocks/>
          </p:cNvCxnSpPr>
          <p:nvPr/>
        </p:nvCxnSpPr>
        <p:spPr bwMode="auto">
          <a:xfrm>
            <a:off x="1340539" y="1500799"/>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11" name="Straight Connector 510">
            <a:extLst>
              <a:ext uri="{FF2B5EF4-FFF2-40B4-BE49-F238E27FC236}">
                <a16:creationId xmlns:a16="http://schemas.microsoft.com/office/drawing/2014/main" id="{011841D9-5E58-48D5-A3AB-7E81CF4834A9}"/>
              </a:ext>
            </a:extLst>
          </p:cNvPr>
          <p:cNvCxnSpPr>
            <a:cxnSpLocks/>
          </p:cNvCxnSpPr>
          <p:nvPr/>
        </p:nvCxnSpPr>
        <p:spPr bwMode="auto">
          <a:xfrm>
            <a:off x="1284687" y="1473916"/>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12" name="Straight Connector 511">
            <a:extLst>
              <a:ext uri="{FF2B5EF4-FFF2-40B4-BE49-F238E27FC236}">
                <a16:creationId xmlns:a16="http://schemas.microsoft.com/office/drawing/2014/main" id="{9D864C39-934D-4E5E-A42D-56CB7797B5C2}"/>
              </a:ext>
            </a:extLst>
          </p:cNvPr>
          <p:cNvCxnSpPr/>
          <p:nvPr/>
        </p:nvCxnSpPr>
        <p:spPr bwMode="auto">
          <a:xfrm>
            <a:off x="1463947" y="1554177"/>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13" name="Straight Connector 512">
            <a:extLst>
              <a:ext uri="{FF2B5EF4-FFF2-40B4-BE49-F238E27FC236}">
                <a16:creationId xmlns:a16="http://schemas.microsoft.com/office/drawing/2014/main" id="{76E2DBF6-8F57-4245-B15C-8D95A0E186DE}"/>
              </a:ext>
            </a:extLst>
          </p:cNvPr>
          <p:cNvCxnSpPr/>
          <p:nvPr/>
        </p:nvCxnSpPr>
        <p:spPr bwMode="auto">
          <a:xfrm>
            <a:off x="1446891" y="1511860"/>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14" name="Straight Connector 513">
            <a:extLst>
              <a:ext uri="{FF2B5EF4-FFF2-40B4-BE49-F238E27FC236}">
                <a16:creationId xmlns:a16="http://schemas.microsoft.com/office/drawing/2014/main" id="{3F6D34A4-2354-403C-9FAF-E7DC9A0A7005}"/>
              </a:ext>
            </a:extLst>
          </p:cNvPr>
          <p:cNvCxnSpPr/>
          <p:nvPr/>
        </p:nvCxnSpPr>
        <p:spPr bwMode="auto">
          <a:xfrm>
            <a:off x="1439518" y="1500337"/>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15" name="Straight Connector 514">
            <a:extLst>
              <a:ext uri="{FF2B5EF4-FFF2-40B4-BE49-F238E27FC236}">
                <a16:creationId xmlns:a16="http://schemas.microsoft.com/office/drawing/2014/main" id="{78A974D5-67FB-4AD9-984C-5DC29AE22E83}"/>
              </a:ext>
            </a:extLst>
          </p:cNvPr>
          <p:cNvCxnSpPr/>
          <p:nvPr/>
        </p:nvCxnSpPr>
        <p:spPr bwMode="auto">
          <a:xfrm>
            <a:off x="1416545" y="1494903"/>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16" name="Straight Connector 515">
            <a:extLst>
              <a:ext uri="{FF2B5EF4-FFF2-40B4-BE49-F238E27FC236}">
                <a16:creationId xmlns:a16="http://schemas.microsoft.com/office/drawing/2014/main" id="{99EE8E9C-238F-445A-8399-BA8EABC36783}"/>
              </a:ext>
            </a:extLst>
          </p:cNvPr>
          <p:cNvCxnSpPr/>
          <p:nvPr/>
        </p:nvCxnSpPr>
        <p:spPr bwMode="auto">
          <a:xfrm>
            <a:off x="1397226" y="1473916"/>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17" name="Straight Connector 516">
            <a:extLst>
              <a:ext uri="{FF2B5EF4-FFF2-40B4-BE49-F238E27FC236}">
                <a16:creationId xmlns:a16="http://schemas.microsoft.com/office/drawing/2014/main" id="{4C835F9A-9AF5-45C9-8BEF-B55BC709B5B1}"/>
              </a:ext>
            </a:extLst>
          </p:cNvPr>
          <p:cNvCxnSpPr/>
          <p:nvPr/>
        </p:nvCxnSpPr>
        <p:spPr bwMode="auto">
          <a:xfrm>
            <a:off x="1371077" y="145378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18" name="Straight Connector 517">
            <a:extLst>
              <a:ext uri="{FF2B5EF4-FFF2-40B4-BE49-F238E27FC236}">
                <a16:creationId xmlns:a16="http://schemas.microsoft.com/office/drawing/2014/main" id="{5E6A99F6-6ACB-4B59-A4D8-8D93F5FACB48}"/>
              </a:ext>
            </a:extLst>
          </p:cNvPr>
          <p:cNvCxnSpPr/>
          <p:nvPr/>
        </p:nvCxnSpPr>
        <p:spPr bwMode="auto">
          <a:xfrm>
            <a:off x="1345955" y="145378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19" name="Straight Connector 518">
            <a:extLst>
              <a:ext uri="{FF2B5EF4-FFF2-40B4-BE49-F238E27FC236}">
                <a16:creationId xmlns:a16="http://schemas.microsoft.com/office/drawing/2014/main" id="{7A864D7D-F44A-4320-A035-8B5C85CEA489}"/>
              </a:ext>
            </a:extLst>
          </p:cNvPr>
          <p:cNvCxnSpPr/>
          <p:nvPr/>
        </p:nvCxnSpPr>
        <p:spPr bwMode="auto">
          <a:xfrm>
            <a:off x="1326747" y="144226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0" name="Straight Connector 519">
            <a:extLst>
              <a:ext uri="{FF2B5EF4-FFF2-40B4-BE49-F238E27FC236}">
                <a16:creationId xmlns:a16="http://schemas.microsoft.com/office/drawing/2014/main" id="{55506612-82FC-48DB-828D-EE30AC1C5FEE}"/>
              </a:ext>
            </a:extLst>
          </p:cNvPr>
          <p:cNvCxnSpPr/>
          <p:nvPr/>
        </p:nvCxnSpPr>
        <p:spPr bwMode="auto">
          <a:xfrm>
            <a:off x="1297643" y="1424751"/>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1" name="Straight Connector 520">
            <a:extLst>
              <a:ext uri="{FF2B5EF4-FFF2-40B4-BE49-F238E27FC236}">
                <a16:creationId xmlns:a16="http://schemas.microsoft.com/office/drawing/2014/main" id="{71EA65C4-612B-4C38-AEA2-D31E79E36233}"/>
              </a:ext>
            </a:extLst>
          </p:cNvPr>
          <p:cNvCxnSpPr/>
          <p:nvPr/>
        </p:nvCxnSpPr>
        <p:spPr bwMode="auto">
          <a:xfrm>
            <a:off x="1260795" y="1401395"/>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2" name="Straight Connector 521">
            <a:extLst>
              <a:ext uri="{FF2B5EF4-FFF2-40B4-BE49-F238E27FC236}">
                <a16:creationId xmlns:a16="http://schemas.microsoft.com/office/drawing/2014/main" id="{74EAAE05-63E5-4301-A136-2F5B7C7875C2}"/>
              </a:ext>
            </a:extLst>
          </p:cNvPr>
          <p:cNvCxnSpPr/>
          <p:nvPr/>
        </p:nvCxnSpPr>
        <p:spPr bwMode="auto">
          <a:xfrm>
            <a:off x="1232294" y="1378981"/>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3" name="Straight Connector 522">
            <a:extLst>
              <a:ext uri="{FF2B5EF4-FFF2-40B4-BE49-F238E27FC236}">
                <a16:creationId xmlns:a16="http://schemas.microsoft.com/office/drawing/2014/main" id="{85CEAA27-3847-4FD3-A2AE-A83522BAF07F}"/>
              </a:ext>
            </a:extLst>
          </p:cNvPr>
          <p:cNvCxnSpPr/>
          <p:nvPr/>
        </p:nvCxnSpPr>
        <p:spPr bwMode="auto">
          <a:xfrm>
            <a:off x="1207953" y="1361928"/>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4" name="Straight Connector 523">
            <a:extLst>
              <a:ext uri="{FF2B5EF4-FFF2-40B4-BE49-F238E27FC236}">
                <a16:creationId xmlns:a16="http://schemas.microsoft.com/office/drawing/2014/main" id="{5DDCD4D5-2F22-444C-A28F-6CBC54E01859}"/>
              </a:ext>
            </a:extLst>
          </p:cNvPr>
          <p:cNvCxnSpPr/>
          <p:nvPr/>
        </p:nvCxnSpPr>
        <p:spPr bwMode="auto">
          <a:xfrm>
            <a:off x="1136793" y="1313390"/>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5" name="Straight Connector 524">
            <a:extLst>
              <a:ext uri="{FF2B5EF4-FFF2-40B4-BE49-F238E27FC236}">
                <a16:creationId xmlns:a16="http://schemas.microsoft.com/office/drawing/2014/main" id="{DF55854E-0FC9-4E4D-866C-1DB43FFB81BE}"/>
              </a:ext>
            </a:extLst>
          </p:cNvPr>
          <p:cNvCxnSpPr/>
          <p:nvPr/>
        </p:nvCxnSpPr>
        <p:spPr bwMode="auto">
          <a:xfrm>
            <a:off x="1161976" y="1332892"/>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6" name="Straight Connector 525">
            <a:extLst>
              <a:ext uri="{FF2B5EF4-FFF2-40B4-BE49-F238E27FC236}">
                <a16:creationId xmlns:a16="http://schemas.microsoft.com/office/drawing/2014/main" id="{BD0B51D6-E328-485C-8C5F-A0E5C5529EFF}"/>
              </a:ext>
            </a:extLst>
          </p:cNvPr>
          <p:cNvCxnSpPr/>
          <p:nvPr/>
        </p:nvCxnSpPr>
        <p:spPr bwMode="auto">
          <a:xfrm>
            <a:off x="1091626" y="1260283"/>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7" name="Straight Connector 526">
            <a:extLst>
              <a:ext uri="{FF2B5EF4-FFF2-40B4-BE49-F238E27FC236}">
                <a16:creationId xmlns:a16="http://schemas.microsoft.com/office/drawing/2014/main" id="{ACC9710E-2EFB-45D7-817F-0F155DD7029C}"/>
              </a:ext>
            </a:extLst>
          </p:cNvPr>
          <p:cNvCxnSpPr/>
          <p:nvPr/>
        </p:nvCxnSpPr>
        <p:spPr bwMode="auto">
          <a:xfrm>
            <a:off x="1125731" y="1274820"/>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8" name="Straight Connector 527">
            <a:extLst>
              <a:ext uri="{FF2B5EF4-FFF2-40B4-BE49-F238E27FC236}">
                <a16:creationId xmlns:a16="http://schemas.microsoft.com/office/drawing/2014/main" id="{94998D99-2BB6-4168-A2E3-E019EBF2C1EE}"/>
              </a:ext>
            </a:extLst>
          </p:cNvPr>
          <p:cNvCxnSpPr/>
          <p:nvPr/>
        </p:nvCxnSpPr>
        <p:spPr bwMode="auto">
          <a:xfrm>
            <a:off x="1054774" y="1229266"/>
            <a:ext cx="0" cy="58072"/>
          </a:xfrm>
          <a:prstGeom prst="line">
            <a:avLst/>
          </a:prstGeom>
          <a:noFill/>
          <a:ln w="28575" cap="flat" cmpd="sng" algn="ctr">
            <a:solidFill>
              <a:srgbClr val="E1471D"/>
            </a:solidFill>
            <a:prstDash val="solid"/>
            <a:round/>
            <a:headEnd type="none" w="med" len="med"/>
            <a:tailEnd type="none" w="med" len="med"/>
          </a:ln>
          <a:effectLst/>
        </p:spPr>
      </p:cxnSp>
      <p:cxnSp>
        <p:nvCxnSpPr>
          <p:cNvPr id="529" name="Straight Connector 528">
            <a:extLst>
              <a:ext uri="{FF2B5EF4-FFF2-40B4-BE49-F238E27FC236}">
                <a16:creationId xmlns:a16="http://schemas.microsoft.com/office/drawing/2014/main" id="{029AB175-E785-4DD8-B510-891A9B6E5DB3}"/>
              </a:ext>
            </a:extLst>
          </p:cNvPr>
          <p:cNvCxnSpPr>
            <a:cxnSpLocks/>
          </p:cNvCxnSpPr>
          <p:nvPr/>
        </p:nvCxnSpPr>
        <p:spPr bwMode="auto">
          <a:xfrm>
            <a:off x="1106823" y="1318355"/>
            <a:ext cx="61268" cy="0"/>
          </a:xfrm>
          <a:prstGeom prst="line">
            <a:avLst/>
          </a:prstGeom>
          <a:noFill/>
          <a:ln w="28575" cap="flat" cmpd="sng" algn="ctr">
            <a:solidFill>
              <a:srgbClr val="E1471D"/>
            </a:solidFill>
            <a:prstDash val="solid"/>
            <a:round/>
            <a:headEnd type="none" w="med" len="med"/>
            <a:tailEnd type="none" w="med" len="med"/>
          </a:ln>
          <a:effectLst/>
        </p:spPr>
      </p:cxnSp>
      <p:cxnSp>
        <p:nvCxnSpPr>
          <p:cNvPr id="530" name="Straight Connector 529">
            <a:extLst>
              <a:ext uri="{FF2B5EF4-FFF2-40B4-BE49-F238E27FC236}">
                <a16:creationId xmlns:a16="http://schemas.microsoft.com/office/drawing/2014/main" id="{A8E60197-04B5-4540-A028-9E78D45E24C0}"/>
              </a:ext>
            </a:extLst>
          </p:cNvPr>
          <p:cNvCxnSpPr>
            <a:cxnSpLocks/>
          </p:cNvCxnSpPr>
          <p:nvPr/>
        </p:nvCxnSpPr>
        <p:spPr bwMode="auto">
          <a:xfrm>
            <a:off x="1030442" y="1258301"/>
            <a:ext cx="61268" cy="0"/>
          </a:xfrm>
          <a:prstGeom prst="line">
            <a:avLst/>
          </a:prstGeom>
          <a:noFill/>
          <a:ln w="28575" cap="flat" cmpd="sng" algn="ctr">
            <a:solidFill>
              <a:srgbClr val="E1471D"/>
            </a:solidFill>
            <a:prstDash val="solid"/>
            <a:round/>
            <a:headEnd type="none" w="med" len="med"/>
            <a:tailEnd type="none" w="med" len="med"/>
          </a:ln>
          <a:effectLst/>
        </p:spPr>
      </p:cxnSp>
      <p:sp>
        <p:nvSpPr>
          <p:cNvPr id="531" name="TextBox 530">
            <a:extLst>
              <a:ext uri="{FF2B5EF4-FFF2-40B4-BE49-F238E27FC236}">
                <a16:creationId xmlns:a16="http://schemas.microsoft.com/office/drawing/2014/main" id="{78F37541-BAA8-48A3-B809-FF1A4F7DADF7}"/>
              </a:ext>
            </a:extLst>
          </p:cNvPr>
          <p:cNvSpPr txBox="1"/>
          <p:nvPr/>
        </p:nvSpPr>
        <p:spPr bwMode="auto">
          <a:xfrm>
            <a:off x="4041566" y="1989259"/>
            <a:ext cx="509063"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0%</a:t>
            </a:r>
          </a:p>
        </p:txBody>
      </p:sp>
      <p:sp>
        <p:nvSpPr>
          <p:cNvPr id="532" name="TextBox 531">
            <a:extLst>
              <a:ext uri="{FF2B5EF4-FFF2-40B4-BE49-F238E27FC236}">
                <a16:creationId xmlns:a16="http://schemas.microsoft.com/office/drawing/2014/main" id="{7EE5B15D-D231-454C-875E-9FC94BA96932}"/>
              </a:ext>
            </a:extLst>
          </p:cNvPr>
          <p:cNvSpPr txBox="1"/>
          <p:nvPr/>
        </p:nvSpPr>
        <p:spPr bwMode="auto">
          <a:xfrm>
            <a:off x="4048563" y="2543006"/>
            <a:ext cx="547730"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8%</a:t>
            </a:r>
          </a:p>
        </p:txBody>
      </p:sp>
      <p:sp>
        <p:nvSpPr>
          <p:cNvPr id="533" name="TextBox 532">
            <a:extLst>
              <a:ext uri="{FF2B5EF4-FFF2-40B4-BE49-F238E27FC236}">
                <a16:creationId xmlns:a16="http://schemas.microsoft.com/office/drawing/2014/main" id="{09EC6840-A4E7-4E6F-9C0B-356D4CEC610F}"/>
              </a:ext>
            </a:extLst>
          </p:cNvPr>
          <p:cNvSpPr txBox="1"/>
          <p:nvPr/>
        </p:nvSpPr>
        <p:spPr bwMode="auto">
          <a:xfrm>
            <a:off x="4845797" y="2118661"/>
            <a:ext cx="1009359"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D-Rd: NR</a:t>
            </a:r>
          </a:p>
        </p:txBody>
      </p:sp>
      <p:sp>
        <p:nvSpPr>
          <p:cNvPr id="534" name="TextBox 533">
            <a:extLst>
              <a:ext uri="{FF2B5EF4-FFF2-40B4-BE49-F238E27FC236}">
                <a16:creationId xmlns:a16="http://schemas.microsoft.com/office/drawing/2014/main" id="{F311ECFF-6501-4553-96AF-F36D813B5D2F}"/>
              </a:ext>
            </a:extLst>
          </p:cNvPr>
          <p:cNvSpPr txBox="1"/>
          <p:nvPr/>
        </p:nvSpPr>
        <p:spPr bwMode="auto">
          <a:xfrm>
            <a:off x="4863594" y="2764448"/>
            <a:ext cx="1573993" cy="300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d: 34.4 months</a:t>
            </a:r>
          </a:p>
        </p:txBody>
      </p:sp>
      <p:cxnSp>
        <p:nvCxnSpPr>
          <p:cNvPr id="535" name="Straight Connector 534">
            <a:extLst>
              <a:ext uri="{FF2B5EF4-FFF2-40B4-BE49-F238E27FC236}">
                <a16:creationId xmlns:a16="http://schemas.microsoft.com/office/drawing/2014/main" id="{549D8DF6-BCEB-4F1D-A5D3-31885B65D884}"/>
              </a:ext>
            </a:extLst>
          </p:cNvPr>
          <p:cNvCxnSpPr/>
          <p:nvPr/>
        </p:nvCxnSpPr>
        <p:spPr bwMode="auto">
          <a:xfrm flipV="1">
            <a:off x="4017513" y="1238626"/>
            <a:ext cx="0" cy="2507642"/>
          </a:xfrm>
          <a:prstGeom prst="line">
            <a:avLst/>
          </a:prstGeom>
          <a:noFill/>
          <a:ln w="28575" cap="flat" cmpd="sng" algn="ctr">
            <a:solidFill>
              <a:srgbClr val="000000"/>
            </a:solidFill>
            <a:prstDash val="dash"/>
            <a:round/>
            <a:headEnd type="none" w="med" len="med"/>
            <a:tailEnd type="none" w="med" len="med"/>
          </a:ln>
          <a:effectLst/>
        </p:spPr>
      </p:cxnSp>
      <p:sp>
        <p:nvSpPr>
          <p:cNvPr id="536" name="TextBox 535">
            <a:extLst>
              <a:ext uri="{FF2B5EF4-FFF2-40B4-BE49-F238E27FC236}">
                <a16:creationId xmlns:a16="http://schemas.microsoft.com/office/drawing/2014/main" id="{443A9A21-2615-4DCF-B62B-B06AAA84E6AB}"/>
              </a:ext>
            </a:extLst>
          </p:cNvPr>
          <p:cNvSpPr txBox="1"/>
          <p:nvPr/>
        </p:nvSpPr>
        <p:spPr bwMode="auto">
          <a:xfrm>
            <a:off x="142027" y="4123386"/>
            <a:ext cx="101018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ts at risk, n</a:t>
            </a:r>
          </a:p>
        </p:txBody>
      </p:sp>
      <p:sp>
        <p:nvSpPr>
          <p:cNvPr id="537" name="TextBox 536">
            <a:extLst>
              <a:ext uri="{FF2B5EF4-FFF2-40B4-BE49-F238E27FC236}">
                <a16:creationId xmlns:a16="http://schemas.microsoft.com/office/drawing/2014/main" id="{8B504AC3-6C6A-4D47-94E6-C0EBEADC0489}"/>
              </a:ext>
            </a:extLst>
          </p:cNvPr>
          <p:cNvSpPr txBox="1"/>
          <p:nvPr/>
        </p:nvSpPr>
        <p:spPr bwMode="auto">
          <a:xfrm>
            <a:off x="799406" y="4307522"/>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69</a:t>
            </a:r>
          </a:p>
        </p:txBody>
      </p:sp>
      <p:sp>
        <p:nvSpPr>
          <p:cNvPr id="538" name="TextBox 537">
            <a:extLst>
              <a:ext uri="{FF2B5EF4-FFF2-40B4-BE49-F238E27FC236}">
                <a16:creationId xmlns:a16="http://schemas.microsoft.com/office/drawing/2014/main" id="{286D2CD5-280E-4448-8E49-70D645994217}"/>
              </a:ext>
            </a:extLst>
          </p:cNvPr>
          <p:cNvSpPr txBox="1"/>
          <p:nvPr/>
        </p:nvSpPr>
        <p:spPr bwMode="auto">
          <a:xfrm>
            <a:off x="998995" y="4311451"/>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33</a:t>
            </a:r>
          </a:p>
        </p:txBody>
      </p:sp>
      <p:sp>
        <p:nvSpPr>
          <p:cNvPr id="539" name="TextBox 538">
            <a:extLst>
              <a:ext uri="{FF2B5EF4-FFF2-40B4-BE49-F238E27FC236}">
                <a16:creationId xmlns:a16="http://schemas.microsoft.com/office/drawing/2014/main" id="{B43CC249-954A-4DBB-A2EC-61D6FCC80B7A}"/>
              </a:ext>
            </a:extLst>
          </p:cNvPr>
          <p:cNvSpPr txBox="1"/>
          <p:nvPr/>
        </p:nvSpPr>
        <p:spPr bwMode="auto">
          <a:xfrm>
            <a:off x="1187224" y="4309710"/>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07</a:t>
            </a:r>
          </a:p>
        </p:txBody>
      </p:sp>
      <p:sp>
        <p:nvSpPr>
          <p:cNvPr id="540" name="TextBox 539">
            <a:extLst>
              <a:ext uri="{FF2B5EF4-FFF2-40B4-BE49-F238E27FC236}">
                <a16:creationId xmlns:a16="http://schemas.microsoft.com/office/drawing/2014/main" id="{A9B47E6F-C3F3-4ABC-A823-9267F4E115F3}"/>
              </a:ext>
            </a:extLst>
          </p:cNvPr>
          <p:cNvSpPr txBox="1"/>
          <p:nvPr/>
        </p:nvSpPr>
        <p:spPr bwMode="auto">
          <a:xfrm>
            <a:off x="1378250" y="4307522"/>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80</a:t>
            </a:r>
          </a:p>
        </p:txBody>
      </p:sp>
      <p:sp>
        <p:nvSpPr>
          <p:cNvPr id="541" name="TextBox 540">
            <a:extLst>
              <a:ext uri="{FF2B5EF4-FFF2-40B4-BE49-F238E27FC236}">
                <a16:creationId xmlns:a16="http://schemas.microsoft.com/office/drawing/2014/main" id="{A954AEED-410E-436B-BE2F-EFA37085E6E0}"/>
              </a:ext>
            </a:extLst>
          </p:cNvPr>
          <p:cNvSpPr txBox="1"/>
          <p:nvPr/>
        </p:nvSpPr>
        <p:spPr bwMode="auto">
          <a:xfrm>
            <a:off x="1576153" y="4311451"/>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55</a:t>
            </a:r>
          </a:p>
        </p:txBody>
      </p:sp>
      <p:sp>
        <p:nvSpPr>
          <p:cNvPr id="542" name="TextBox 541">
            <a:extLst>
              <a:ext uri="{FF2B5EF4-FFF2-40B4-BE49-F238E27FC236}">
                <a16:creationId xmlns:a16="http://schemas.microsoft.com/office/drawing/2014/main" id="{E9B6F767-956A-4955-89CD-D3CFFE847A2E}"/>
              </a:ext>
            </a:extLst>
          </p:cNvPr>
          <p:cNvSpPr txBox="1"/>
          <p:nvPr/>
        </p:nvSpPr>
        <p:spPr bwMode="auto">
          <a:xfrm>
            <a:off x="1764382" y="4310489"/>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37</a:t>
            </a:r>
          </a:p>
        </p:txBody>
      </p:sp>
      <p:sp>
        <p:nvSpPr>
          <p:cNvPr id="543" name="TextBox 542">
            <a:extLst>
              <a:ext uri="{FF2B5EF4-FFF2-40B4-BE49-F238E27FC236}">
                <a16:creationId xmlns:a16="http://schemas.microsoft.com/office/drawing/2014/main" id="{354DABA8-505C-4AD1-AD1E-BB8B5023ED57}"/>
              </a:ext>
            </a:extLst>
          </p:cNvPr>
          <p:cNvSpPr txBox="1"/>
          <p:nvPr/>
        </p:nvSpPr>
        <p:spPr bwMode="auto">
          <a:xfrm>
            <a:off x="1949075" y="4314685"/>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20</a:t>
            </a:r>
          </a:p>
        </p:txBody>
      </p:sp>
      <p:sp>
        <p:nvSpPr>
          <p:cNvPr id="544" name="TextBox 543">
            <a:extLst>
              <a:ext uri="{FF2B5EF4-FFF2-40B4-BE49-F238E27FC236}">
                <a16:creationId xmlns:a16="http://schemas.microsoft.com/office/drawing/2014/main" id="{B86D37C9-8457-4F68-B8DE-4E9465087FB9}"/>
              </a:ext>
            </a:extLst>
          </p:cNvPr>
          <p:cNvSpPr txBox="1"/>
          <p:nvPr/>
        </p:nvSpPr>
        <p:spPr bwMode="auto">
          <a:xfrm>
            <a:off x="2144698" y="4308228"/>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5</a:t>
            </a:r>
          </a:p>
        </p:txBody>
      </p:sp>
      <p:sp>
        <p:nvSpPr>
          <p:cNvPr id="545" name="TextBox 544">
            <a:extLst>
              <a:ext uri="{FF2B5EF4-FFF2-40B4-BE49-F238E27FC236}">
                <a16:creationId xmlns:a16="http://schemas.microsoft.com/office/drawing/2014/main" id="{04BCC882-97C8-4C41-BF34-96AC43993FF5}"/>
              </a:ext>
            </a:extLst>
          </p:cNvPr>
          <p:cNvSpPr txBox="1"/>
          <p:nvPr/>
        </p:nvSpPr>
        <p:spPr bwMode="auto">
          <a:xfrm>
            <a:off x="2335778" y="4313726"/>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96</a:t>
            </a:r>
          </a:p>
        </p:txBody>
      </p:sp>
      <p:sp>
        <p:nvSpPr>
          <p:cNvPr id="546" name="TextBox 545">
            <a:extLst>
              <a:ext uri="{FF2B5EF4-FFF2-40B4-BE49-F238E27FC236}">
                <a16:creationId xmlns:a16="http://schemas.microsoft.com/office/drawing/2014/main" id="{3DED762A-B715-4129-A21B-5A172FB7F4AB}"/>
              </a:ext>
            </a:extLst>
          </p:cNvPr>
          <p:cNvSpPr txBox="1"/>
          <p:nvPr/>
        </p:nvSpPr>
        <p:spPr bwMode="auto">
          <a:xfrm>
            <a:off x="2520751" y="4307522"/>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79</a:t>
            </a:r>
          </a:p>
        </p:txBody>
      </p:sp>
      <p:sp>
        <p:nvSpPr>
          <p:cNvPr id="547" name="TextBox 546">
            <a:extLst>
              <a:ext uri="{FF2B5EF4-FFF2-40B4-BE49-F238E27FC236}">
                <a16:creationId xmlns:a16="http://schemas.microsoft.com/office/drawing/2014/main" id="{38FB7056-7A6B-437D-97D0-64B447861AC0}"/>
              </a:ext>
            </a:extLst>
          </p:cNvPr>
          <p:cNvSpPr txBox="1"/>
          <p:nvPr/>
        </p:nvSpPr>
        <p:spPr bwMode="auto">
          <a:xfrm>
            <a:off x="2710926" y="4311451"/>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72</a:t>
            </a:r>
          </a:p>
        </p:txBody>
      </p:sp>
      <p:sp>
        <p:nvSpPr>
          <p:cNvPr id="548" name="TextBox 547">
            <a:extLst>
              <a:ext uri="{FF2B5EF4-FFF2-40B4-BE49-F238E27FC236}">
                <a16:creationId xmlns:a16="http://schemas.microsoft.com/office/drawing/2014/main" id="{65040A25-9F39-446B-863E-E3C303585742}"/>
              </a:ext>
            </a:extLst>
          </p:cNvPr>
          <p:cNvSpPr txBox="1"/>
          <p:nvPr/>
        </p:nvSpPr>
        <p:spPr bwMode="auto">
          <a:xfrm>
            <a:off x="2910955" y="4306657"/>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55</a:t>
            </a:r>
          </a:p>
        </p:txBody>
      </p:sp>
      <p:sp>
        <p:nvSpPr>
          <p:cNvPr id="549" name="TextBox 548">
            <a:extLst>
              <a:ext uri="{FF2B5EF4-FFF2-40B4-BE49-F238E27FC236}">
                <a16:creationId xmlns:a16="http://schemas.microsoft.com/office/drawing/2014/main" id="{060A5BDC-DF5C-4972-BEFE-3F137B068738}"/>
              </a:ext>
            </a:extLst>
          </p:cNvPr>
          <p:cNvSpPr txBox="1"/>
          <p:nvPr/>
        </p:nvSpPr>
        <p:spPr bwMode="auto">
          <a:xfrm>
            <a:off x="3098579" y="4309939"/>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45</a:t>
            </a:r>
          </a:p>
        </p:txBody>
      </p:sp>
      <p:sp>
        <p:nvSpPr>
          <p:cNvPr id="550" name="TextBox 549">
            <a:extLst>
              <a:ext uri="{FF2B5EF4-FFF2-40B4-BE49-F238E27FC236}">
                <a16:creationId xmlns:a16="http://schemas.microsoft.com/office/drawing/2014/main" id="{C997C6EE-628A-4778-9A0F-8C11A4C5E577}"/>
              </a:ext>
            </a:extLst>
          </p:cNvPr>
          <p:cNvSpPr txBox="1"/>
          <p:nvPr/>
        </p:nvSpPr>
        <p:spPr bwMode="auto">
          <a:xfrm>
            <a:off x="3287390" y="4303240"/>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32</a:t>
            </a:r>
          </a:p>
        </p:txBody>
      </p:sp>
      <p:sp>
        <p:nvSpPr>
          <p:cNvPr id="551" name="TextBox 550">
            <a:extLst>
              <a:ext uri="{FF2B5EF4-FFF2-40B4-BE49-F238E27FC236}">
                <a16:creationId xmlns:a16="http://schemas.microsoft.com/office/drawing/2014/main" id="{427894CC-FCA8-4315-A175-CB5AB1004C9B}"/>
              </a:ext>
            </a:extLst>
          </p:cNvPr>
          <p:cNvSpPr txBox="1"/>
          <p:nvPr/>
        </p:nvSpPr>
        <p:spPr bwMode="auto">
          <a:xfrm>
            <a:off x="3480676" y="4306657"/>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14</a:t>
            </a:r>
          </a:p>
        </p:txBody>
      </p:sp>
      <p:sp>
        <p:nvSpPr>
          <p:cNvPr id="552" name="TextBox 551">
            <a:extLst>
              <a:ext uri="{FF2B5EF4-FFF2-40B4-BE49-F238E27FC236}">
                <a16:creationId xmlns:a16="http://schemas.microsoft.com/office/drawing/2014/main" id="{27B67F68-E3EA-4F81-9152-91BBDA6DE9D0}"/>
              </a:ext>
            </a:extLst>
          </p:cNvPr>
          <p:cNvSpPr txBox="1"/>
          <p:nvPr/>
        </p:nvSpPr>
        <p:spPr bwMode="auto">
          <a:xfrm>
            <a:off x="3690171" y="4303239"/>
            <a:ext cx="44561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79</a:t>
            </a:r>
          </a:p>
        </p:txBody>
      </p:sp>
      <p:sp>
        <p:nvSpPr>
          <p:cNvPr id="553" name="TextBox 552">
            <a:extLst>
              <a:ext uri="{FF2B5EF4-FFF2-40B4-BE49-F238E27FC236}">
                <a16:creationId xmlns:a16="http://schemas.microsoft.com/office/drawing/2014/main" id="{F30A1645-E6E6-4D24-9273-4C2A084A688D}"/>
              </a:ext>
            </a:extLst>
          </p:cNvPr>
          <p:cNvSpPr txBox="1"/>
          <p:nvPr/>
        </p:nvSpPr>
        <p:spPr bwMode="auto">
          <a:xfrm>
            <a:off x="3891255" y="4308227"/>
            <a:ext cx="293901"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53</a:t>
            </a:r>
          </a:p>
        </p:txBody>
      </p:sp>
      <p:sp>
        <p:nvSpPr>
          <p:cNvPr id="554" name="TextBox 553">
            <a:extLst>
              <a:ext uri="{FF2B5EF4-FFF2-40B4-BE49-F238E27FC236}">
                <a16:creationId xmlns:a16="http://schemas.microsoft.com/office/drawing/2014/main" id="{1CDD0F80-6985-4EE9-BCC5-08D51D1E4386}"/>
              </a:ext>
            </a:extLst>
          </p:cNvPr>
          <p:cNvSpPr txBox="1"/>
          <p:nvPr/>
        </p:nvSpPr>
        <p:spPr bwMode="auto">
          <a:xfrm>
            <a:off x="4085038" y="4308227"/>
            <a:ext cx="293901"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2</a:t>
            </a:r>
          </a:p>
        </p:txBody>
      </p:sp>
      <p:sp>
        <p:nvSpPr>
          <p:cNvPr id="555" name="TextBox 554">
            <a:extLst>
              <a:ext uri="{FF2B5EF4-FFF2-40B4-BE49-F238E27FC236}">
                <a16:creationId xmlns:a16="http://schemas.microsoft.com/office/drawing/2014/main" id="{AC9B8D15-9797-4E3C-927B-42471D5204C3}"/>
              </a:ext>
            </a:extLst>
          </p:cNvPr>
          <p:cNvSpPr txBox="1"/>
          <p:nvPr/>
        </p:nvSpPr>
        <p:spPr bwMode="auto">
          <a:xfrm>
            <a:off x="4296553" y="4306657"/>
            <a:ext cx="293901"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9</a:t>
            </a:r>
          </a:p>
        </p:txBody>
      </p:sp>
      <p:sp>
        <p:nvSpPr>
          <p:cNvPr id="556" name="TextBox 555">
            <a:extLst>
              <a:ext uri="{FF2B5EF4-FFF2-40B4-BE49-F238E27FC236}">
                <a16:creationId xmlns:a16="http://schemas.microsoft.com/office/drawing/2014/main" id="{349F6899-0C08-4D0C-88A1-81D7764BECBD}"/>
              </a:ext>
            </a:extLst>
          </p:cNvPr>
          <p:cNvSpPr txBox="1"/>
          <p:nvPr/>
        </p:nvSpPr>
        <p:spPr bwMode="auto">
          <a:xfrm>
            <a:off x="4488692" y="4309450"/>
            <a:ext cx="293901"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a:t>
            </a:r>
          </a:p>
        </p:txBody>
      </p:sp>
      <p:sp>
        <p:nvSpPr>
          <p:cNvPr id="557" name="TextBox 556">
            <a:extLst>
              <a:ext uri="{FF2B5EF4-FFF2-40B4-BE49-F238E27FC236}">
                <a16:creationId xmlns:a16="http://schemas.microsoft.com/office/drawing/2014/main" id="{6722C945-7E47-4A3D-AAA4-DB58EAD1A631}"/>
              </a:ext>
            </a:extLst>
          </p:cNvPr>
          <p:cNvSpPr txBox="1"/>
          <p:nvPr/>
        </p:nvSpPr>
        <p:spPr bwMode="auto">
          <a:xfrm>
            <a:off x="4677504" y="4305457"/>
            <a:ext cx="16829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a:t>
            </a:r>
          </a:p>
        </p:txBody>
      </p:sp>
      <p:sp>
        <p:nvSpPr>
          <p:cNvPr id="558" name="TextBox 557">
            <a:extLst>
              <a:ext uri="{FF2B5EF4-FFF2-40B4-BE49-F238E27FC236}">
                <a16:creationId xmlns:a16="http://schemas.microsoft.com/office/drawing/2014/main" id="{D44EB52F-1E59-4C9F-91E6-002DA2C1BC23}"/>
              </a:ext>
            </a:extLst>
          </p:cNvPr>
          <p:cNvSpPr txBox="1"/>
          <p:nvPr/>
        </p:nvSpPr>
        <p:spPr bwMode="auto">
          <a:xfrm>
            <a:off x="4866837" y="4308226"/>
            <a:ext cx="170998"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0</a:t>
            </a:r>
          </a:p>
        </p:txBody>
      </p:sp>
      <p:sp>
        <p:nvSpPr>
          <p:cNvPr id="559" name="TextBox 558">
            <a:extLst>
              <a:ext uri="{FF2B5EF4-FFF2-40B4-BE49-F238E27FC236}">
                <a16:creationId xmlns:a16="http://schemas.microsoft.com/office/drawing/2014/main" id="{903FE823-19AD-470C-8758-6087C0A197A3}"/>
              </a:ext>
            </a:extLst>
          </p:cNvPr>
          <p:cNvSpPr txBox="1"/>
          <p:nvPr/>
        </p:nvSpPr>
        <p:spPr bwMode="auto">
          <a:xfrm>
            <a:off x="4866837" y="4433143"/>
            <a:ext cx="170998"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0</a:t>
            </a:r>
          </a:p>
        </p:txBody>
      </p:sp>
      <p:sp>
        <p:nvSpPr>
          <p:cNvPr id="560" name="TextBox 559">
            <a:extLst>
              <a:ext uri="{FF2B5EF4-FFF2-40B4-BE49-F238E27FC236}">
                <a16:creationId xmlns:a16="http://schemas.microsoft.com/office/drawing/2014/main" id="{91FDCA75-85D1-4119-8428-FF514A016606}"/>
              </a:ext>
            </a:extLst>
          </p:cNvPr>
          <p:cNvSpPr txBox="1"/>
          <p:nvPr/>
        </p:nvSpPr>
        <p:spPr bwMode="auto">
          <a:xfrm>
            <a:off x="4675708" y="4433143"/>
            <a:ext cx="16829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a:t>
            </a:r>
          </a:p>
        </p:txBody>
      </p:sp>
      <p:sp>
        <p:nvSpPr>
          <p:cNvPr id="561" name="TextBox 560">
            <a:extLst>
              <a:ext uri="{FF2B5EF4-FFF2-40B4-BE49-F238E27FC236}">
                <a16:creationId xmlns:a16="http://schemas.microsoft.com/office/drawing/2014/main" id="{1C353E12-E32C-44CD-9821-D82DC8FD331E}"/>
              </a:ext>
            </a:extLst>
          </p:cNvPr>
          <p:cNvSpPr txBox="1"/>
          <p:nvPr/>
        </p:nvSpPr>
        <p:spPr bwMode="auto">
          <a:xfrm>
            <a:off x="4484764" y="4430157"/>
            <a:ext cx="168293"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7</a:t>
            </a:r>
          </a:p>
        </p:txBody>
      </p:sp>
      <p:sp>
        <p:nvSpPr>
          <p:cNvPr id="562" name="TextBox 561">
            <a:extLst>
              <a:ext uri="{FF2B5EF4-FFF2-40B4-BE49-F238E27FC236}">
                <a16:creationId xmlns:a16="http://schemas.microsoft.com/office/drawing/2014/main" id="{7981A2C0-2A71-4538-9A5B-1C0B285F28F9}"/>
              </a:ext>
            </a:extLst>
          </p:cNvPr>
          <p:cNvSpPr txBox="1"/>
          <p:nvPr/>
        </p:nvSpPr>
        <p:spPr bwMode="auto">
          <a:xfrm>
            <a:off x="4268833" y="4432475"/>
            <a:ext cx="311138"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6</a:t>
            </a:r>
          </a:p>
        </p:txBody>
      </p:sp>
      <p:sp>
        <p:nvSpPr>
          <p:cNvPr id="563" name="TextBox 562">
            <a:extLst>
              <a:ext uri="{FF2B5EF4-FFF2-40B4-BE49-F238E27FC236}">
                <a16:creationId xmlns:a16="http://schemas.microsoft.com/office/drawing/2014/main" id="{0538EA44-9FF3-47D6-87C5-53A6BAE06441}"/>
              </a:ext>
            </a:extLst>
          </p:cNvPr>
          <p:cNvSpPr txBox="1"/>
          <p:nvPr/>
        </p:nvSpPr>
        <p:spPr bwMode="auto">
          <a:xfrm>
            <a:off x="4079850" y="4438732"/>
            <a:ext cx="311138"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63</a:t>
            </a:r>
          </a:p>
        </p:txBody>
      </p:sp>
      <p:sp>
        <p:nvSpPr>
          <p:cNvPr id="564" name="TextBox 563">
            <a:extLst>
              <a:ext uri="{FF2B5EF4-FFF2-40B4-BE49-F238E27FC236}">
                <a16:creationId xmlns:a16="http://schemas.microsoft.com/office/drawing/2014/main" id="{A57967E3-9D97-41E4-8302-794CF48B5144}"/>
              </a:ext>
            </a:extLst>
          </p:cNvPr>
          <p:cNvSpPr txBox="1"/>
          <p:nvPr/>
        </p:nvSpPr>
        <p:spPr bwMode="auto">
          <a:xfrm>
            <a:off x="3863551" y="4434968"/>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11</a:t>
            </a:r>
          </a:p>
        </p:txBody>
      </p:sp>
      <p:sp>
        <p:nvSpPr>
          <p:cNvPr id="565" name="TextBox 564">
            <a:extLst>
              <a:ext uri="{FF2B5EF4-FFF2-40B4-BE49-F238E27FC236}">
                <a16:creationId xmlns:a16="http://schemas.microsoft.com/office/drawing/2014/main" id="{364E82C4-66F5-44BB-ACEE-4E84AB894A43}"/>
              </a:ext>
            </a:extLst>
          </p:cNvPr>
          <p:cNvSpPr txBox="1"/>
          <p:nvPr/>
        </p:nvSpPr>
        <p:spPr bwMode="auto">
          <a:xfrm>
            <a:off x="3670580" y="4430801"/>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53</a:t>
            </a:r>
          </a:p>
        </p:txBody>
      </p:sp>
      <p:sp>
        <p:nvSpPr>
          <p:cNvPr id="566" name="TextBox 565">
            <a:extLst>
              <a:ext uri="{FF2B5EF4-FFF2-40B4-BE49-F238E27FC236}">
                <a16:creationId xmlns:a16="http://schemas.microsoft.com/office/drawing/2014/main" id="{AA5B9E9A-D22C-44DE-8E77-CF46C0620111}"/>
              </a:ext>
            </a:extLst>
          </p:cNvPr>
          <p:cNvSpPr txBox="1"/>
          <p:nvPr/>
        </p:nvSpPr>
        <p:spPr bwMode="auto">
          <a:xfrm>
            <a:off x="3475619" y="4431948"/>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01</a:t>
            </a:r>
          </a:p>
        </p:txBody>
      </p:sp>
      <p:sp>
        <p:nvSpPr>
          <p:cNvPr id="567" name="TextBox 566">
            <a:extLst>
              <a:ext uri="{FF2B5EF4-FFF2-40B4-BE49-F238E27FC236}">
                <a16:creationId xmlns:a16="http://schemas.microsoft.com/office/drawing/2014/main" id="{752C7434-7FF0-4B2B-923D-38EF4BA281B6}"/>
              </a:ext>
            </a:extLst>
          </p:cNvPr>
          <p:cNvSpPr txBox="1"/>
          <p:nvPr/>
        </p:nvSpPr>
        <p:spPr bwMode="auto">
          <a:xfrm>
            <a:off x="3287910" y="4435000"/>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21</a:t>
            </a:r>
          </a:p>
        </p:txBody>
      </p:sp>
      <p:sp>
        <p:nvSpPr>
          <p:cNvPr id="568" name="TextBox 567">
            <a:extLst>
              <a:ext uri="{FF2B5EF4-FFF2-40B4-BE49-F238E27FC236}">
                <a16:creationId xmlns:a16="http://schemas.microsoft.com/office/drawing/2014/main" id="{7E803B8C-1432-460E-89D9-85CD05A84282}"/>
              </a:ext>
            </a:extLst>
          </p:cNvPr>
          <p:cNvSpPr txBox="1"/>
          <p:nvPr/>
        </p:nvSpPr>
        <p:spPr bwMode="auto">
          <a:xfrm>
            <a:off x="3100615" y="4434274"/>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32</a:t>
            </a:r>
          </a:p>
        </p:txBody>
      </p:sp>
      <p:sp>
        <p:nvSpPr>
          <p:cNvPr id="569" name="TextBox 568">
            <a:extLst>
              <a:ext uri="{FF2B5EF4-FFF2-40B4-BE49-F238E27FC236}">
                <a16:creationId xmlns:a16="http://schemas.microsoft.com/office/drawing/2014/main" id="{B574E2A5-389B-4B7B-975D-2F3DFBB82EBB}"/>
              </a:ext>
            </a:extLst>
          </p:cNvPr>
          <p:cNvSpPr txBox="1"/>
          <p:nvPr/>
        </p:nvSpPr>
        <p:spPr bwMode="auto">
          <a:xfrm>
            <a:off x="2907023" y="4430694"/>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37</a:t>
            </a:r>
          </a:p>
        </p:txBody>
      </p:sp>
      <p:sp>
        <p:nvSpPr>
          <p:cNvPr id="570" name="TextBox 569">
            <a:extLst>
              <a:ext uri="{FF2B5EF4-FFF2-40B4-BE49-F238E27FC236}">
                <a16:creationId xmlns:a16="http://schemas.microsoft.com/office/drawing/2014/main" id="{779EAD85-62A2-4364-AE2B-D826B10ED8AC}"/>
              </a:ext>
            </a:extLst>
          </p:cNvPr>
          <p:cNvSpPr txBox="1"/>
          <p:nvPr/>
        </p:nvSpPr>
        <p:spPr bwMode="auto">
          <a:xfrm>
            <a:off x="2712844" y="4433143"/>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46</a:t>
            </a:r>
          </a:p>
        </p:txBody>
      </p:sp>
      <p:sp>
        <p:nvSpPr>
          <p:cNvPr id="571" name="TextBox 570">
            <a:extLst>
              <a:ext uri="{FF2B5EF4-FFF2-40B4-BE49-F238E27FC236}">
                <a16:creationId xmlns:a16="http://schemas.microsoft.com/office/drawing/2014/main" id="{BCC87AA4-E7DA-4366-A4FB-3DA06A4D045A}"/>
              </a:ext>
            </a:extLst>
          </p:cNvPr>
          <p:cNvSpPr txBox="1"/>
          <p:nvPr/>
        </p:nvSpPr>
        <p:spPr bwMode="auto">
          <a:xfrm>
            <a:off x="2522953" y="4431437"/>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56</a:t>
            </a:r>
          </a:p>
        </p:txBody>
      </p:sp>
      <p:sp>
        <p:nvSpPr>
          <p:cNvPr id="572" name="TextBox 571">
            <a:extLst>
              <a:ext uri="{FF2B5EF4-FFF2-40B4-BE49-F238E27FC236}">
                <a16:creationId xmlns:a16="http://schemas.microsoft.com/office/drawing/2014/main" id="{E0BF067D-DE7A-4A78-8E75-94ED53E193A8}"/>
              </a:ext>
            </a:extLst>
          </p:cNvPr>
          <p:cNvSpPr txBox="1"/>
          <p:nvPr/>
        </p:nvSpPr>
        <p:spPr bwMode="auto">
          <a:xfrm>
            <a:off x="2332974" y="4431943"/>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66</a:t>
            </a:r>
          </a:p>
        </p:txBody>
      </p:sp>
      <p:sp>
        <p:nvSpPr>
          <p:cNvPr id="573" name="TextBox 572">
            <a:extLst>
              <a:ext uri="{FF2B5EF4-FFF2-40B4-BE49-F238E27FC236}">
                <a16:creationId xmlns:a16="http://schemas.microsoft.com/office/drawing/2014/main" id="{CEF21B7A-A5D6-4A88-AF96-9D83047915BC}"/>
              </a:ext>
            </a:extLst>
          </p:cNvPr>
          <p:cNvSpPr txBox="1"/>
          <p:nvPr/>
        </p:nvSpPr>
        <p:spPr bwMode="auto">
          <a:xfrm>
            <a:off x="2148018" y="4430157"/>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76</a:t>
            </a:r>
          </a:p>
        </p:txBody>
      </p:sp>
      <p:sp>
        <p:nvSpPr>
          <p:cNvPr id="574" name="TextBox 573">
            <a:extLst>
              <a:ext uri="{FF2B5EF4-FFF2-40B4-BE49-F238E27FC236}">
                <a16:creationId xmlns:a16="http://schemas.microsoft.com/office/drawing/2014/main" id="{583328EF-DCFE-49B3-86AC-50663D74626D}"/>
              </a:ext>
            </a:extLst>
          </p:cNvPr>
          <p:cNvSpPr txBox="1"/>
          <p:nvPr/>
        </p:nvSpPr>
        <p:spPr bwMode="auto">
          <a:xfrm>
            <a:off x="1953300" y="4435737"/>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290</a:t>
            </a:r>
          </a:p>
        </p:txBody>
      </p:sp>
      <p:sp>
        <p:nvSpPr>
          <p:cNvPr id="575" name="TextBox 574">
            <a:extLst>
              <a:ext uri="{FF2B5EF4-FFF2-40B4-BE49-F238E27FC236}">
                <a16:creationId xmlns:a16="http://schemas.microsoft.com/office/drawing/2014/main" id="{6FEFB620-2629-43F2-BEDA-EF1C33B1D5DC}"/>
              </a:ext>
            </a:extLst>
          </p:cNvPr>
          <p:cNvSpPr txBox="1"/>
          <p:nvPr/>
        </p:nvSpPr>
        <p:spPr bwMode="auto">
          <a:xfrm>
            <a:off x="1763323" y="4434273"/>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00</a:t>
            </a:r>
          </a:p>
        </p:txBody>
      </p:sp>
      <p:sp>
        <p:nvSpPr>
          <p:cNvPr id="576" name="TextBox 575">
            <a:extLst>
              <a:ext uri="{FF2B5EF4-FFF2-40B4-BE49-F238E27FC236}">
                <a16:creationId xmlns:a16="http://schemas.microsoft.com/office/drawing/2014/main" id="{DA10DBAC-0975-49D4-913F-BC525D72FD70}"/>
              </a:ext>
            </a:extLst>
          </p:cNvPr>
          <p:cNvSpPr txBox="1"/>
          <p:nvPr/>
        </p:nvSpPr>
        <p:spPr bwMode="auto">
          <a:xfrm>
            <a:off x="1570107" y="4435736"/>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09</a:t>
            </a:r>
          </a:p>
        </p:txBody>
      </p:sp>
      <p:sp>
        <p:nvSpPr>
          <p:cNvPr id="577" name="TextBox 576">
            <a:extLst>
              <a:ext uri="{FF2B5EF4-FFF2-40B4-BE49-F238E27FC236}">
                <a16:creationId xmlns:a16="http://schemas.microsoft.com/office/drawing/2014/main" id="{8DF8EFA9-DC8A-4230-891C-80FE8650E089}"/>
              </a:ext>
            </a:extLst>
          </p:cNvPr>
          <p:cNvSpPr txBox="1"/>
          <p:nvPr/>
        </p:nvSpPr>
        <p:spPr bwMode="auto">
          <a:xfrm>
            <a:off x="1380166" y="4435414"/>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20</a:t>
            </a:r>
          </a:p>
        </p:txBody>
      </p:sp>
      <p:sp>
        <p:nvSpPr>
          <p:cNvPr id="578" name="TextBox 577">
            <a:extLst>
              <a:ext uri="{FF2B5EF4-FFF2-40B4-BE49-F238E27FC236}">
                <a16:creationId xmlns:a16="http://schemas.microsoft.com/office/drawing/2014/main" id="{C3E78077-A7F1-411C-8397-0B7294BD7D14}"/>
              </a:ext>
            </a:extLst>
          </p:cNvPr>
          <p:cNvSpPr txBox="1"/>
          <p:nvPr/>
        </p:nvSpPr>
        <p:spPr bwMode="auto">
          <a:xfrm>
            <a:off x="1188105" y="4429648"/>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35</a:t>
            </a:r>
          </a:p>
        </p:txBody>
      </p:sp>
      <p:sp>
        <p:nvSpPr>
          <p:cNvPr id="579" name="TextBox 578">
            <a:extLst>
              <a:ext uri="{FF2B5EF4-FFF2-40B4-BE49-F238E27FC236}">
                <a16:creationId xmlns:a16="http://schemas.microsoft.com/office/drawing/2014/main" id="{8D03EA7F-1872-429D-A490-3738048768E4}"/>
              </a:ext>
            </a:extLst>
          </p:cNvPr>
          <p:cNvSpPr txBox="1"/>
          <p:nvPr/>
        </p:nvSpPr>
        <p:spPr bwMode="auto">
          <a:xfrm>
            <a:off x="1002229" y="4434968"/>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47</a:t>
            </a:r>
          </a:p>
        </p:txBody>
      </p:sp>
      <p:sp>
        <p:nvSpPr>
          <p:cNvPr id="580" name="TextBox 579">
            <a:extLst>
              <a:ext uri="{FF2B5EF4-FFF2-40B4-BE49-F238E27FC236}">
                <a16:creationId xmlns:a16="http://schemas.microsoft.com/office/drawing/2014/main" id="{F6D96E5C-41B8-4E98-818D-E106A2EE47BE}"/>
              </a:ext>
            </a:extLst>
          </p:cNvPr>
          <p:cNvSpPr txBox="1"/>
          <p:nvPr/>
        </p:nvSpPr>
        <p:spPr bwMode="auto">
          <a:xfrm>
            <a:off x="810739" y="4432891"/>
            <a:ext cx="35039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368</a:t>
            </a:r>
          </a:p>
        </p:txBody>
      </p:sp>
      <p:sp>
        <p:nvSpPr>
          <p:cNvPr id="581" name="TextBox 580">
            <a:extLst>
              <a:ext uri="{FF2B5EF4-FFF2-40B4-BE49-F238E27FC236}">
                <a16:creationId xmlns:a16="http://schemas.microsoft.com/office/drawing/2014/main" id="{741A616D-56E2-42CB-9291-080D425D89CC}"/>
              </a:ext>
            </a:extLst>
          </p:cNvPr>
          <p:cNvSpPr txBox="1"/>
          <p:nvPr/>
        </p:nvSpPr>
        <p:spPr bwMode="auto">
          <a:xfrm>
            <a:off x="498216" y="4438006"/>
            <a:ext cx="424639"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D-Rd</a:t>
            </a:r>
          </a:p>
        </p:txBody>
      </p:sp>
      <p:sp>
        <p:nvSpPr>
          <p:cNvPr id="582" name="TextBox 581">
            <a:extLst>
              <a:ext uri="{FF2B5EF4-FFF2-40B4-BE49-F238E27FC236}">
                <a16:creationId xmlns:a16="http://schemas.microsoft.com/office/drawing/2014/main" id="{411FC680-F25D-4819-89AD-53E9AABCA360}"/>
              </a:ext>
            </a:extLst>
          </p:cNvPr>
          <p:cNvSpPr txBox="1"/>
          <p:nvPr/>
        </p:nvSpPr>
        <p:spPr bwMode="auto">
          <a:xfrm>
            <a:off x="601546" y="4310284"/>
            <a:ext cx="301712"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685800" rtl="0" eaLnBrk="0" fontAlgn="base" latinLnBrk="0" hangingPunct="0">
              <a:lnSpc>
                <a:spcPct val="100000"/>
              </a:lnSpc>
              <a:spcBef>
                <a:spcPct val="50000"/>
              </a:spcBef>
              <a:spcAft>
                <a:spcPct val="0"/>
              </a:spcAft>
              <a:buClrTx/>
              <a:buSzTx/>
              <a:buFontTx/>
              <a:buNone/>
              <a:tabLst/>
              <a:defRPr/>
            </a:pPr>
            <a:r>
              <a:rPr kumimoji="0" lang="en-US" sz="825"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d</a:t>
            </a:r>
          </a:p>
        </p:txBody>
      </p:sp>
      <p:sp>
        <p:nvSpPr>
          <p:cNvPr id="584" name="Text Box 15">
            <a:extLst>
              <a:ext uri="{FF2B5EF4-FFF2-40B4-BE49-F238E27FC236}">
                <a16:creationId xmlns:a16="http://schemas.microsoft.com/office/drawing/2014/main" id="{45483D94-1914-477F-9638-9C26CE76CC30}"/>
              </a:ext>
            </a:extLst>
          </p:cNvPr>
          <p:cNvSpPr txBox="1">
            <a:spLocks noChangeArrowheads="1"/>
          </p:cNvSpPr>
          <p:nvPr/>
        </p:nvSpPr>
        <p:spPr bwMode="auto">
          <a:xfrm>
            <a:off x="0" y="4904672"/>
            <a:ext cx="3771900" cy="230832"/>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da-DK" altLang="en-US" sz="900" b="0" i="0" u="none" strike="noStrike" kern="1200" cap="none" spc="-8"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Kumar SK, et al. </a:t>
            </a:r>
            <a:r>
              <a:rPr kumimoji="0" lang="en-US" altLang="en-US" sz="900" b="0" i="0" u="none" strike="noStrike" kern="1200" cap="none" spc="-8"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t>ASH 2020. Abstract 2276. Reproduced with permission.</a:t>
            </a:r>
            <a:endParaRPr kumimoji="0" lang="de-DE" altLang="en-US" sz="900" b="0" i="0" u="none" strike="noStrike" kern="1200" cap="none" spc="-8"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63214159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13393" y="161869"/>
            <a:ext cx="8229600" cy="369332"/>
          </a:xfrm>
        </p:spPr>
        <p:txBody>
          <a:bodyPr/>
          <a:lstStyle/>
          <a:p>
            <a:r>
              <a:rPr lang="en-US" sz="3000" b="1" noProof="0">
                <a:solidFill>
                  <a:srgbClr val="000090"/>
                </a:solidFill>
              </a:rPr>
              <a:t>Study Design and Objectives</a:t>
            </a:r>
          </a:p>
        </p:txBody>
      </p:sp>
      <p:grpSp>
        <p:nvGrpSpPr>
          <p:cNvPr id="5" name="Groupe 3"/>
          <p:cNvGrpSpPr/>
          <p:nvPr/>
        </p:nvGrpSpPr>
        <p:grpSpPr>
          <a:xfrm>
            <a:off x="3337176" y="1386793"/>
            <a:ext cx="5095392" cy="748358"/>
            <a:chOff x="536448" y="2484840"/>
            <a:chExt cx="9381753" cy="1328473"/>
          </a:xfrm>
        </p:grpSpPr>
        <p:sp>
          <p:nvSpPr>
            <p:cNvPr id="6" name="Pentagone 4"/>
            <p:cNvSpPr/>
            <p:nvPr/>
          </p:nvSpPr>
          <p:spPr>
            <a:xfrm>
              <a:off x="536450" y="3226466"/>
              <a:ext cx="3322321" cy="585216"/>
            </a:xfrm>
            <a:prstGeom prst="homePlate">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E7E6E6">
                    <a:lumMod val="90000"/>
                  </a:srgbClr>
                </a:solidFill>
                <a:effectLst/>
                <a:uLnTx/>
                <a:uFillTx/>
                <a:latin typeface="Calibri Light"/>
                <a:ea typeface="+mn-ea"/>
                <a:cs typeface="+mn-cs"/>
              </a:endParaRPr>
            </a:p>
          </p:txBody>
        </p:sp>
        <p:sp>
          <p:nvSpPr>
            <p:cNvPr id="7" name="Chevron 6"/>
            <p:cNvSpPr/>
            <p:nvPr/>
          </p:nvSpPr>
          <p:spPr>
            <a:xfrm>
              <a:off x="3596642" y="3226466"/>
              <a:ext cx="3304032" cy="579937"/>
            </a:xfrm>
            <a:prstGeom prst="chevron">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Light"/>
                <a:ea typeface="+mn-ea"/>
                <a:cs typeface="+mn-cs"/>
              </a:endParaRPr>
            </a:p>
          </p:txBody>
        </p:sp>
        <p:sp>
          <p:nvSpPr>
            <p:cNvPr id="11" name="ZoneTexte 10"/>
            <p:cNvSpPr txBox="1"/>
            <p:nvPr/>
          </p:nvSpPr>
          <p:spPr>
            <a:xfrm>
              <a:off x="598414" y="3275793"/>
              <a:ext cx="661984" cy="491724"/>
            </a:xfrm>
            <a:prstGeom prst="rect">
              <a:avLst/>
            </a:prstGeom>
            <a:solidFill>
              <a:schemeClr val="accent5">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B9BD5">
                      <a:lumMod val="75000"/>
                    </a:srgbClr>
                  </a:solidFill>
                  <a:effectLst/>
                  <a:uLnTx/>
                  <a:uFillTx/>
                  <a:latin typeface="Calibri Light"/>
                  <a:ea typeface="+mn-ea"/>
                  <a:cs typeface="+mn-cs"/>
                </a:rPr>
                <a:t>D1</a:t>
              </a:r>
            </a:p>
          </p:txBody>
        </p:sp>
        <p:sp>
          <p:nvSpPr>
            <p:cNvPr id="16" name="ZoneTexte 15"/>
            <p:cNvSpPr txBox="1"/>
            <p:nvPr/>
          </p:nvSpPr>
          <p:spPr>
            <a:xfrm>
              <a:off x="3978104" y="3282743"/>
              <a:ext cx="697216" cy="491724"/>
            </a:xfrm>
            <a:prstGeom prst="rect">
              <a:avLst/>
            </a:prstGeom>
            <a:solidFill>
              <a:schemeClr val="accent6">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0AD47">
                      <a:lumMod val="50000"/>
                    </a:srgbClr>
                  </a:solidFill>
                  <a:effectLst/>
                  <a:uLnTx/>
                  <a:uFillTx/>
                  <a:latin typeface="Calibri Light"/>
                  <a:ea typeface="+mn-ea"/>
                  <a:cs typeface="+mn-cs"/>
                </a:rPr>
                <a:t>D1</a:t>
              </a:r>
            </a:p>
          </p:txBody>
        </p:sp>
        <p:sp>
          <p:nvSpPr>
            <p:cNvPr id="17" name="ZoneTexte 16"/>
            <p:cNvSpPr txBox="1"/>
            <p:nvPr/>
          </p:nvSpPr>
          <p:spPr>
            <a:xfrm>
              <a:off x="5158969" y="3275793"/>
              <a:ext cx="889465" cy="491724"/>
            </a:xfrm>
            <a:prstGeom prst="rect">
              <a:avLst/>
            </a:prstGeom>
            <a:solidFill>
              <a:schemeClr val="accent6">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0AD47">
                      <a:lumMod val="50000"/>
                    </a:srgbClr>
                  </a:solidFill>
                  <a:effectLst/>
                  <a:uLnTx/>
                  <a:uFillTx/>
                  <a:latin typeface="Calibri Light"/>
                  <a:ea typeface="+mn-ea"/>
                  <a:cs typeface="+mn-cs"/>
                </a:rPr>
                <a:t>D15</a:t>
              </a:r>
            </a:p>
          </p:txBody>
        </p:sp>
        <p:sp>
          <p:nvSpPr>
            <p:cNvPr id="18" name="Chevron 17"/>
            <p:cNvSpPr/>
            <p:nvPr/>
          </p:nvSpPr>
          <p:spPr>
            <a:xfrm>
              <a:off x="6632454" y="3218545"/>
              <a:ext cx="3285747" cy="594768"/>
            </a:xfrm>
            <a:prstGeom prst="chevron">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Light"/>
                <a:ea typeface="+mn-ea"/>
                <a:cs typeface="+mn-cs"/>
              </a:endParaRPr>
            </a:p>
          </p:txBody>
        </p:sp>
        <p:sp>
          <p:nvSpPr>
            <p:cNvPr id="19" name="ZoneTexte 18"/>
            <p:cNvSpPr txBox="1"/>
            <p:nvPr/>
          </p:nvSpPr>
          <p:spPr>
            <a:xfrm>
              <a:off x="6985013" y="3286311"/>
              <a:ext cx="757245" cy="491724"/>
            </a:xfrm>
            <a:prstGeom prst="rect">
              <a:avLst/>
            </a:prstGeom>
            <a:solidFill>
              <a:schemeClr val="accent4">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lumMod val="75000"/>
                    </a:srgbClr>
                  </a:solidFill>
                  <a:effectLst/>
                  <a:uLnTx/>
                  <a:uFillTx/>
                  <a:latin typeface="Calibri Light"/>
                  <a:ea typeface="+mn-ea"/>
                  <a:cs typeface="+mn-cs"/>
                </a:rPr>
                <a:t>D1</a:t>
              </a:r>
            </a:p>
          </p:txBody>
        </p:sp>
        <p:sp>
          <p:nvSpPr>
            <p:cNvPr id="20" name="Pentagone 18"/>
            <p:cNvSpPr/>
            <p:nvPr/>
          </p:nvSpPr>
          <p:spPr>
            <a:xfrm>
              <a:off x="536448" y="2484840"/>
              <a:ext cx="3322321" cy="592098"/>
            </a:xfrm>
            <a:prstGeom prst="homePlate">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5B9BD5">
                      <a:lumMod val="50000"/>
                    </a:srgbClr>
                  </a:solidFill>
                  <a:effectLst/>
                  <a:uLnTx/>
                  <a:uFillTx/>
                  <a:latin typeface="Calibri Light"/>
                  <a:ea typeface="+mn-ea"/>
                  <a:cs typeface="+mn-cs"/>
                </a:rPr>
                <a:t>Cycles 1 and 2</a:t>
              </a:r>
            </a:p>
          </p:txBody>
        </p:sp>
        <p:sp>
          <p:nvSpPr>
            <p:cNvPr id="21" name="Chevron 20"/>
            <p:cNvSpPr/>
            <p:nvPr/>
          </p:nvSpPr>
          <p:spPr>
            <a:xfrm>
              <a:off x="3590551" y="2491264"/>
              <a:ext cx="3304033" cy="588314"/>
            </a:xfrm>
            <a:prstGeom prst="chevron">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70AD47">
                      <a:lumMod val="50000"/>
                    </a:srgbClr>
                  </a:solidFill>
                  <a:effectLst/>
                  <a:uLnTx/>
                  <a:uFillTx/>
                  <a:latin typeface="Calibri Light"/>
                  <a:ea typeface="+mn-ea"/>
                  <a:cs typeface="+mn-cs"/>
                </a:rPr>
                <a:t>Cycles 3 to 6</a:t>
              </a:r>
            </a:p>
          </p:txBody>
        </p:sp>
        <p:sp>
          <p:nvSpPr>
            <p:cNvPr id="22" name="Chevron 21"/>
            <p:cNvSpPr/>
            <p:nvPr/>
          </p:nvSpPr>
          <p:spPr>
            <a:xfrm>
              <a:off x="6614168" y="2485984"/>
              <a:ext cx="3304033" cy="587857"/>
            </a:xfrm>
            <a:prstGeom prst="chevron">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D7D31">
                      <a:lumMod val="75000"/>
                    </a:srgbClr>
                  </a:solidFill>
                  <a:effectLst/>
                  <a:uLnTx/>
                  <a:uFillTx/>
                  <a:latin typeface="Calibri Light"/>
                  <a:ea typeface="+mn-ea"/>
                  <a:cs typeface="+mn-cs"/>
                </a:rPr>
                <a:t>Cycles 7 +</a:t>
              </a:r>
            </a:p>
          </p:txBody>
        </p:sp>
      </p:grpSp>
      <p:sp>
        <p:nvSpPr>
          <p:cNvPr id="34" name="ZoneTexte 33"/>
          <p:cNvSpPr txBox="1"/>
          <p:nvPr/>
        </p:nvSpPr>
        <p:spPr>
          <a:xfrm>
            <a:off x="3738882" y="1838110"/>
            <a:ext cx="359536" cy="253916"/>
          </a:xfrm>
          <a:prstGeom prst="rect">
            <a:avLst/>
          </a:prstGeom>
          <a:solidFill>
            <a:schemeClr val="accent5">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B9BD5">
                    <a:lumMod val="75000"/>
                  </a:srgbClr>
                </a:solidFill>
                <a:effectLst/>
                <a:uLnTx/>
                <a:uFillTx/>
                <a:latin typeface="Calibri Light"/>
                <a:ea typeface="+mn-ea"/>
                <a:cs typeface="+mn-cs"/>
              </a:rPr>
              <a:t>D8</a:t>
            </a:r>
          </a:p>
        </p:txBody>
      </p:sp>
      <p:sp>
        <p:nvSpPr>
          <p:cNvPr id="35" name="ZoneTexte 34"/>
          <p:cNvSpPr txBox="1"/>
          <p:nvPr/>
        </p:nvSpPr>
        <p:spPr>
          <a:xfrm>
            <a:off x="4130385" y="1835241"/>
            <a:ext cx="440342" cy="253916"/>
          </a:xfrm>
          <a:prstGeom prst="rect">
            <a:avLst/>
          </a:prstGeom>
          <a:solidFill>
            <a:schemeClr val="accent5">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B9BD5">
                    <a:lumMod val="75000"/>
                  </a:srgbClr>
                </a:solidFill>
                <a:effectLst/>
                <a:uLnTx/>
                <a:uFillTx/>
                <a:latin typeface="Calibri Light"/>
                <a:ea typeface="+mn-ea"/>
                <a:cs typeface="+mn-cs"/>
              </a:rPr>
              <a:t>D15</a:t>
            </a:r>
          </a:p>
        </p:txBody>
      </p:sp>
      <p:sp>
        <p:nvSpPr>
          <p:cNvPr id="36" name="ZoneTexte 35"/>
          <p:cNvSpPr txBox="1"/>
          <p:nvPr/>
        </p:nvSpPr>
        <p:spPr>
          <a:xfrm>
            <a:off x="4550191" y="1840999"/>
            <a:ext cx="440341" cy="253916"/>
          </a:xfrm>
          <a:prstGeom prst="rect">
            <a:avLst/>
          </a:prstGeom>
          <a:solidFill>
            <a:schemeClr val="accent5">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B9BD5">
                    <a:lumMod val="75000"/>
                  </a:srgbClr>
                </a:solidFill>
                <a:effectLst/>
                <a:uLnTx/>
                <a:uFillTx/>
                <a:latin typeface="Calibri Light"/>
                <a:ea typeface="+mn-ea"/>
                <a:cs typeface="+mn-cs"/>
              </a:rPr>
              <a:t>D22</a:t>
            </a:r>
          </a:p>
        </p:txBody>
      </p:sp>
      <p:sp>
        <p:nvSpPr>
          <p:cNvPr id="40" name="Pentagone 4"/>
          <p:cNvSpPr/>
          <p:nvPr/>
        </p:nvSpPr>
        <p:spPr>
          <a:xfrm>
            <a:off x="3342935" y="2198492"/>
            <a:ext cx="1804410" cy="329665"/>
          </a:xfrm>
          <a:prstGeom prst="homePlate">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E7E6E6">
                  <a:lumMod val="90000"/>
                </a:srgbClr>
              </a:solidFill>
              <a:effectLst/>
              <a:uLnTx/>
              <a:uFillTx/>
              <a:latin typeface="Calibri Light"/>
              <a:ea typeface="+mn-ea"/>
              <a:cs typeface="+mn-cs"/>
            </a:endParaRPr>
          </a:p>
        </p:txBody>
      </p:sp>
      <p:sp>
        <p:nvSpPr>
          <p:cNvPr id="41" name="Chevron 40"/>
          <p:cNvSpPr/>
          <p:nvPr/>
        </p:nvSpPr>
        <p:spPr>
          <a:xfrm>
            <a:off x="5004979" y="2198492"/>
            <a:ext cx="1794477" cy="326691"/>
          </a:xfrm>
          <a:prstGeom prst="chevron">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Light"/>
              <a:ea typeface="+mn-ea"/>
              <a:cs typeface="+mn-cs"/>
            </a:endParaRPr>
          </a:p>
        </p:txBody>
      </p:sp>
      <p:sp>
        <p:nvSpPr>
          <p:cNvPr id="42" name="Chevron 41"/>
          <p:cNvSpPr/>
          <p:nvPr/>
        </p:nvSpPr>
        <p:spPr>
          <a:xfrm>
            <a:off x="6653781" y="2194029"/>
            <a:ext cx="1784546" cy="335046"/>
          </a:xfrm>
          <a:prstGeom prst="chevron">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Light"/>
              <a:ea typeface="+mn-ea"/>
              <a:cs typeface="+mn-cs"/>
            </a:endParaRPr>
          </a:p>
        </p:txBody>
      </p:sp>
      <p:sp>
        <p:nvSpPr>
          <p:cNvPr id="43" name="ZoneTexte 42"/>
          <p:cNvSpPr txBox="1"/>
          <p:nvPr/>
        </p:nvSpPr>
        <p:spPr>
          <a:xfrm>
            <a:off x="3375786" y="2219159"/>
            <a:ext cx="359536" cy="253916"/>
          </a:xfrm>
          <a:prstGeom prst="rect">
            <a:avLst/>
          </a:prstGeom>
          <a:solidFill>
            <a:schemeClr val="accent5">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B9BD5">
                    <a:lumMod val="75000"/>
                  </a:srgbClr>
                </a:solidFill>
                <a:effectLst/>
                <a:uLnTx/>
                <a:uFillTx/>
                <a:latin typeface="Calibri Light"/>
                <a:ea typeface="+mn-ea"/>
                <a:cs typeface="+mn-cs"/>
              </a:rPr>
              <a:t>D1</a:t>
            </a:r>
          </a:p>
        </p:txBody>
      </p:sp>
      <p:sp>
        <p:nvSpPr>
          <p:cNvPr id="44" name="ZoneTexte 43"/>
          <p:cNvSpPr txBox="1"/>
          <p:nvPr/>
        </p:nvSpPr>
        <p:spPr>
          <a:xfrm>
            <a:off x="3739347" y="2220543"/>
            <a:ext cx="440342" cy="253916"/>
          </a:xfrm>
          <a:prstGeom prst="rect">
            <a:avLst/>
          </a:prstGeom>
          <a:solidFill>
            <a:schemeClr val="accent5">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B9BD5">
                    <a:lumMod val="75000"/>
                  </a:srgbClr>
                </a:solidFill>
                <a:effectLst/>
                <a:uLnTx/>
                <a:uFillTx/>
                <a:latin typeface="Calibri Light"/>
                <a:ea typeface="+mn-ea"/>
                <a:cs typeface="+mn-cs"/>
              </a:rPr>
              <a:t>D8</a:t>
            </a:r>
          </a:p>
        </p:txBody>
      </p:sp>
      <p:sp>
        <p:nvSpPr>
          <p:cNvPr id="45" name="ZoneTexte 44"/>
          <p:cNvSpPr txBox="1"/>
          <p:nvPr/>
        </p:nvSpPr>
        <p:spPr>
          <a:xfrm>
            <a:off x="4133275" y="2217676"/>
            <a:ext cx="440341" cy="253916"/>
          </a:xfrm>
          <a:prstGeom prst="rect">
            <a:avLst/>
          </a:prstGeom>
          <a:solidFill>
            <a:schemeClr val="accent5">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B9BD5">
                    <a:lumMod val="75000"/>
                  </a:srgbClr>
                </a:solidFill>
                <a:effectLst/>
                <a:uLnTx/>
                <a:uFillTx/>
                <a:latin typeface="Calibri Light"/>
                <a:ea typeface="+mn-ea"/>
                <a:cs typeface="+mn-cs"/>
              </a:rPr>
              <a:t>D15</a:t>
            </a:r>
          </a:p>
        </p:txBody>
      </p:sp>
      <p:sp>
        <p:nvSpPr>
          <p:cNvPr id="53" name="ZoneTexte 52"/>
          <p:cNvSpPr txBox="1"/>
          <p:nvPr/>
        </p:nvSpPr>
        <p:spPr>
          <a:xfrm>
            <a:off x="5212158" y="2230195"/>
            <a:ext cx="378670" cy="253916"/>
          </a:xfrm>
          <a:prstGeom prst="rect">
            <a:avLst/>
          </a:prstGeom>
          <a:solidFill>
            <a:schemeClr val="accent6">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0AD47">
                    <a:lumMod val="50000"/>
                  </a:srgbClr>
                </a:solidFill>
                <a:effectLst/>
                <a:uLnTx/>
                <a:uFillTx/>
                <a:latin typeface="Calibri Light"/>
                <a:ea typeface="+mn-ea"/>
                <a:cs typeface="+mn-cs"/>
              </a:rPr>
              <a:t>D1</a:t>
            </a:r>
          </a:p>
        </p:txBody>
      </p:sp>
      <p:sp>
        <p:nvSpPr>
          <p:cNvPr id="54" name="ZoneTexte 53"/>
          <p:cNvSpPr txBox="1"/>
          <p:nvPr/>
        </p:nvSpPr>
        <p:spPr>
          <a:xfrm>
            <a:off x="5528453" y="2227327"/>
            <a:ext cx="378670" cy="253916"/>
          </a:xfrm>
          <a:prstGeom prst="rect">
            <a:avLst/>
          </a:prstGeom>
          <a:solidFill>
            <a:schemeClr val="accent6">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0AD47">
                    <a:lumMod val="50000"/>
                  </a:srgbClr>
                </a:solidFill>
                <a:effectLst/>
                <a:uLnTx/>
                <a:uFillTx/>
                <a:latin typeface="Calibri Light"/>
                <a:ea typeface="+mn-ea"/>
                <a:cs typeface="+mn-cs"/>
              </a:rPr>
              <a:t>D8</a:t>
            </a:r>
          </a:p>
        </p:txBody>
      </p:sp>
      <p:sp>
        <p:nvSpPr>
          <p:cNvPr id="55" name="ZoneTexte 54"/>
          <p:cNvSpPr txBox="1"/>
          <p:nvPr/>
        </p:nvSpPr>
        <p:spPr>
          <a:xfrm>
            <a:off x="5844879" y="2226281"/>
            <a:ext cx="483084" cy="253916"/>
          </a:xfrm>
          <a:prstGeom prst="rect">
            <a:avLst/>
          </a:prstGeom>
          <a:solidFill>
            <a:schemeClr val="accent6">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0AD47">
                    <a:lumMod val="50000"/>
                  </a:srgbClr>
                </a:solidFill>
                <a:effectLst/>
                <a:uLnTx/>
                <a:uFillTx/>
                <a:latin typeface="Calibri Light"/>
                <a:ea typeface="+mn-ea"/>
                <a:cs typeface="+mn-cs"/>
              </a:rPr>
              <a:t>D15</a:t>
            </a:r>
          </a:p>
        </p:txBody>
      </p:sp>
      <p:sp>
        <p:nvSpPr>
          <p:cNvPr id="58" name="ZoneTexte 57"/>
          <p:cNvSpPr txBox="1"/>
          <p:nvPr/>
        </p:nvSpPr>
        <p:spPr>
          <a:xfrm>
            <a:off x="6836636" y="2232205"/>
            <a:ext cx="411273" cy="253916"/>
          </a:xfrm>
          <a:prstGeom prst="rect">
            <a:avLst/>
          </a:prstGeom>
          <a:solidFill>
            <a:schemeClr val="accent4">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lumMod val="75000"/>
                  </a:srgbClr>
                </a:solidFill>
                <a:effectLst/>
                <a:uLnTx/>
                <a:uFillTx/>
                <a:latin typeface="Calibri Light"/>
                <a:ea typeface="+mn-ea"/>
                <a:cs typeface="+mn-cs"/>
              </a:rPr>
              <a:t>D1</a:t>
            </a:r>
          </a:p>
        </p:txBody>
      </p:sp>
      <p:sp>
        <p:nvSpPr>
          <p:cNvPr id="59" name="ZoneTexte 58"/>
          <p:cNvSpPr txBox="1"/>
          <p:nvPr/>
        </p:nvSpPr>
        <p:spPr>
          <a:xfrm>
            <a:off x="7144304" y="2229337"/>
            <a:ext cx="411273" cy="253916"/>
          </a:xfrm>
          <a:prstGeom prst="rect">
            <a:avLst/>
          </a:prstGeom>
          <a:solidFill>
            <a:schemeClr val="accent4">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lumMod val="75000"/>
                  </a:srgbClr>
                </a:solidFill>
                <a:effectLst/>
                <a:uLnTx/>
                <a:uFillTx/>
                <a:latin typeface="Calibri Light"/>
                <a:ea typeface="+mn-ea"/>
                <a:cs typeface="+mn-cs"/>
              </a:rPr>
              <a:t>D8</a:t>
            </a:r>
          </a:p>
        </p:txBody>
      </p:sp>
      <p:sp>
        <p:nvSpPr>
          <p:cNvPr id="60" name="ZoneTexte 59"/>
          <p:cNvSpPr txBox="1"/>
          <p:nvPr/>
        </p:nvSpPr>
        <p:spPr>
          <a:xfrm>
            <a:off x="7460597" y="2226469"/>
            <a:ext cx="496503" cy="253916"/>
          </a:xfrm>
          <a:prstGeom prst="rect">
            <a:avLst/>
          </a:prstGeom>
          <a:solidFill>
            <a:schemeClr val="accent4">
              <a:lumMod val="20000"/>
              <a:lumOff val="80000"/>
            </a:schemeClr>
          </a:solidFill>
        </p:spPr>
        <p:txBody>
          <a:bodyPr wrap="squar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D7D31">
                    <a:lumMod val="75000"/>
                  </a:srgbClr>
                </a:solidFill>
                <a:effectLst/>
                <a:uLnTx/>
                <a:uFillTx/>
                <a:latin typeface="Calibri Light"/>
                <a:ea typeface="+mn-ea"/>
                <a:cs typeface="+mn-cs"/>
              </a:rPr>
              <a:t>D15</a:t>
            </a:r>
          </a:p>
        </p:txBody>
      </p:sp>
      <p:sp>
        <p:nvSpPr>
          <p:cNvPr id="63" name="Rectangle 62"/>
          <p:cNvSpPr/>
          <p:nvPr/>
        </p:nvSpPr>
        <p:spPr>
          <a:xfrm>
            <a:off x="3979070" y="995972"/>
            <a:ext cx="2992069" cy="284742"/>
          </a:xfrm>
          <a:prstGeom prst="rect">
            <a:avLst/>
          </a:prstGeom>
        </p:spPr>
        <p:txBody>
          <a:bodyPr wrap="none" lIns="68580" tIns="34290" rIns="68580" bIns="3429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28-day cycle, until disease progression</a:t>
            </a: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64" name="Rectangle 63"/>
          <p:cNvSpPr/>
          <p:nvPr/>
        </p:nvSpPr>
        <p:spPr>
          <a:xfrm>
            <a:off x="622186" y="1827473"/>
            <a:ext cx="2624117" cy="284742"/>
          </a:xfrm>
          <a:prstGeom prst="rect">
            <a:avLst/>
          </a:prstGeom>
        </p:spPr>
        <p:txBody>
          <a:bodyPr wrap="square" lIns="68580" tIns="34290" rIns="68580" bIns="3429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Daratumumab </a:t>
            </a:r>
            <a:r>
              <a:rPr kumimoji="0" lang="en-US" sz="1400" b="0" i="0" u="none" strike="noStrike" kern="1200" cap="none" spc="0" normalizeH="0" baseline="0" noProof="0">
                <a:ln>
                  <a:noFill/>
                </a:ln>
                <a:solidFill>
                  <a:prstClr val="black"/>
                </a:solidFill>
                <a:effectLst/>
                <a:uLnTx/>
                <a:uFillTx/>
                <a:latin typeface="Calibri"/>
                <a:ea typeface="+mn-ea"/>
                <a:cs typeface="+mn-cs"/>
              </a:rPr>
              <a:t>– 16 mg/kg IV</a:t>
            </a:r>
          </a:p>
        </p:txBody>
      </p:sp>
      <p:sp>
        <p:nvSpPr>
          <p:cNvPr id="65" name="Rectangle 64"/>
          <p:cNvSpPr/>
          <p:nvPr/>
        </p:nvSpPr>
        <p:spPr>
          <a:xfrm>
            <a:off x="613564" y="2212775"/>
            <a:ext cx="2517733" cy="284742"/>
          </a:xfrm>
          <a:prstGeom prst="rect">
            <a:avLst/>
          </a:prstGeom>
        </p:spPr>
        <p:txBody>
          <a:bodyPr wrap="square" lIns="68580" tIns="34290" rIns="68580" bIns="3429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Ixazomib </a:t>
            </a:r>
            <a:r>
              <a:rPr kumimoji="0" lang="en-US" sz="1400" b="0" i="0" u="none" strike="noStrike" kern="1200" cap="none" spc="0" normalizeH="0" baseline="0" noProof="0">
                <a:ln>
                  <a:noFill/>
                </a:ln>
                <a:solidFill>
                  <a:prstClr val="black"/>
                </a:solidFill>
                <a:effectLst/>
                <a:uLnTx/>
                <a:uFillTx/>
                <a:latin typeface="Calibri"/>
                <a:ea typeface="+mn-ea"/>
                <a:cs typeface="+mn-cs"/>
              </a:rPr>
              <a:t>– 4 mg orally </a:t>
            </a:r>
          </a:p>
        </p:txBody>
      </p:sp>
      <p:sp>
        <p:nvSpPr>
          <p:cNvPr id="67" name="Rectangle à coins arrondis 66"/>
          <p:cNvSpPr/>
          <p:nvPr/>
        </p:nvSpPr>
        <p:spPr>
          <a:xfrm>
            <a:off x="613563" y="2895068"/>
            <a:ext cx="3566125" cy="1595887"/>
          </a:xfrm>
          <a:prstGeom prst="roundRect">
            <a:avLst/>
          </a:prstGeom>
          <a:no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Key inclusion criteria</a:t>
            </a: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 </a:t>
            </a: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Age &gt;65</a:t>
            </a: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R/R MM after 1 or 2 prior lines </a:t>
            </a: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Frailty score (IMWG) ≥2</a:t>
            </a: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Dara and Ixa naive</a:t>
            </a: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COG 0–2</a:t>
            </a: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Adequate bone marrow and organ function</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Rectangle à coins arrondis 68"/>
          <p:cNvSpPr/>
          <p:nvPr/>
        </p:nvSpPr>
        <p:spPr>
          <a:xfrm>
            <a:off x="4893973" y="2883573"/>
            <a:ext cx="3322749" cy="1595887"/>
          </a:xfrm>
          <a:prstGeom prst="roundRect">
            <a:avLst/>
          </a:prstGeom>
          <a:no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Objectives</a:t>
            </a: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 </a:t>
            </a: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Primary objective:</a:t>
            </a: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VGPR rate</a:t>
            </a:r>
          </a:p>
          <a:p>
            <a:pPr marL="228600" marR="0" lvl="1"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Secondary objectives:</a:t>
            </a:r>
          </a:p>
          <a:p>
            <a:pPr marL="228600" marR="0" lvl="1"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afety, ORR, PFS, OS, TTP, TTR</a:t>
            </a:r>
          </a:p>
        </p:txBody>
      </p:sp>
      <p:pic>
        <p:nvPicPr>
          <p:cNvPr id="70" name="Picture 3" descr="IDARA4.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8873" y="1022554"/>
            <a:ext cx="2478917" cy="741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 name="Text Box 15">
            <a:extLst>
              <a:ext uri="{FF2B5EF4-FFF2-40B4-BE49-F238E27FC236}">
                <a16:creationId xmlns:a16="http://schemas.microsoft.com/office/drawing/2014/main" id="{0D955926-0F01-495B-BB53-D964213C6E04}"/>
              </a:ext>
            </a:extLst>
          </p:cNvPr>
          <p:cNvSpPr txBox="1">
            <a:spLocks noChangeArrowheads="1"/>
          </p:cNvSpPr>
          <p:nvPr/>
        </p:nvSpPr>
        <p:spPr bwMode="auto">
          <a:xfrm>
            <a:off x="0" y="4904672"/>
            <a:ext cx="3771900" cy="230832"/>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Calibri"/>
                <a:ea typeface="+mn-ea"/>
                <a:cs typeface="+mn-cs"/>
              </a:rPr>
              <a:t>Clinicaltrials.gov </a:t>
            </a:r>
            <a:r>
              <a:rPr kumimoji="0" lang="en-US" altLang="en-US" sz="900" b="0" i="0" u="sng" strike="noStrike" kern="1200" cap="none" spc="-8" normalizeH="0" baseline="0" noProof="0">
                <a:ln>
                  <a:noFill/>
                </a:ln>
                <a:solidFill>
                  <a:srgbClr val="000000"/>
                </a:solidFill>
                <a:effectLst/>
                <a:uLnTx/>
                <a:uFillTx/>
                <a:latin typeface="Calibri"/>
                <a:ea typeface="+mn-ea"/>
                <a:cs typeface="Arial" panose="020B0604020202020204" pitchFamily="34" charset="0"/>
              </a:rPr>
              <a:t>NCT03757221</a:t>
            </a:r>
            <a:endParaRPr kumimoji="0" lang="de-DE" altLang="en-US" sz="900" b="0" i="0" u="sng" strike="noStrike" kern="1200" cap="none" spc="-8" normalizeH="0" baseline="0" noProof="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31121602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07251" y="160947"/>
            <a:ext cx="8229600" cy="369332"/>
          </a:xfrm>
        </p:spPr>
        <p:txBody>
          <a:bodyPr/>
          <a:lstStyle/>
          <a:p>
            <a:r>
              <a:rPr lang="en-US" sz="3000" b="1" noProof="0">
                <a:solidFill>
                  <a:srgbClr val="000090"/>
                </a:solidFill>
              </a:rPr>
              <a:t>Outcome (data cutoff 15 Oct 2021)</a:t>
            </a:r>
          </a:p>
        </p:txBody>
      </p:sp>
      <p:sp>
        <p:nvSpPr>
          <p:cNvPr id="4" name="ZoneTexte 3"/>
          <p:cNvSpPr txBox="1"/>
          <p:nvPr/>
        </p:nvSpPr>
        <p:spPr>
          <a:xfrm>
            <a:off x="5042273" y="4082202"/>
            <a:ext cx="2928366" cy="253916"/>
          </a:xfrm>
          <a:prstGeom prst="rect">
            <a:avLst/>
          </a:prstGeom>
          <a:noFill/>
        </p:spPr>
        <p:txBody>
          <a:bodyPr wrap="none" lIns="68580" tIns="34290" rIns="68580" bIns="3429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Calibri"/>
                <a:ea typeface="+mn-ea"/>
                <a:cs typeface="+mn-cs"/>
              </a:rPr>
              <a:t>N = 55 enrolled pts. Median OS not reached</a:t>
            </a:r>
          </a:p>
        </p:txBody>
      </p:sp>
      <p:sp>
        <p:nvSpPr>
          <p:cNvPr id="7" name="ZoneTexte 6"/>
          <p:cNvSpPr txBox="1"/>
          <p:nvPr/>
        </p:nvSpPr>
        <p:spPr>
          <a:xfrm>
            <a:off x="377569" y="4082203"/>
            <a:ext cx="4121128" cy="438582"/>
          </a:xfrm>
          <a:prstGeom prst="rect">
            <a:avLst/>
          </a:prstGeom>
          <a:noFill/>
        </p:spPr>
        <p:txBody>
          <a:bodyPr wrap="none" lIns="68580" tIns="34290" rIns="68580" bIns="3429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Calibri"/>
                <a:ea typeface="+mn-ea"/>
                <a:cs typeface="+mn-cs"/>
              </a:rPr>
              <a:t>N =  50 evaluable patients. Median FU: 7.6 months [3.8–11.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Calibri"/>
                <a:ea typeface="+mn-ea"/>
                <a:cs typeface="+mn-cs"/>
              </a:rPr>
              <a:t>Median PFS: 16 months [9.9–UD] </a:t>
            </a:r>
          </a:p>
        </p:txBody>
      </p:sp>
      <p:pic>
        <p:nvPicPr>
          <p:cNvPr id="1030" name="Picture 6" descr="roduct-Limit Survival Curve with Number of Subjects at Risk and 95% Pointwise Co"/>
          <p:cNvPicPr>
            <a:picLocks noGrp="1" noChangeAspect="1" noChangeArrowheads="1"/>
          </p:cNvPicPr>
          <p:nvPr>
            <p:ph idx="1"/>
          </p:nvPr>
        </p:nvPicPr>
        <p:blipFill rotWithShape="1">
          <a:blip r:embed="rId2" cstate="screen">
            <a:extLst>
              <a:ext uri="{28A0092B-C50C-407E-A947-70E740481C1C}">
                <a14:useLocalDpi xmlns:a14="http://schemas.microsoft.com/office/drawing/2010/main"/>
              </a:ext>
            </a:extLst>
          </a:blip>
          <a:srcRect/>
          <a:stretch/>
        </p:blipFill>
        <p:spPr bwMode="auto">
          <a:xfrm>
            <a:off x="517688" y="1307799"/>
            <a:ext cx="4020743" cy="2371060"/>
          </a:xfrm>
          <a:prstGeom prst="rect">
            <a:avLst/>
          </a:prstGeom>
          <a:noFill/>
          <a:extLst>
            <a:ext uri="{909E8E84-426E-40dd-AFC4-6F175D3DCCD1}">
              <a14:hiddenFill xmlns="" xmlns:a14="http://schemas.microsoft.com/office/drawing/2010/main">
                <a:solidFill>
                  <a:srgbClr val="FFFFFF"/>
                </a:solidFill>
              </a14:hiddenFill>
            </a:ext>
          </a:extLst>
        </p:spPr>
      </p:pic>
      <p:pic>
        <p:nvPicPr>
          <p:cNvPr id="1032" name="Picture 8" descr="roduct-Limit Survival Curve with Number of Subjects at Risk and 95% Pointwise Co"/>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875722" y="1322343"/>
            <a:ext cx="4015521" cy="2392327"/>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2"/>
          <p:cNvSpPr/>
          <p:nvPr/>
        </p:nvSpPr>
        <p:spPr>
          <a:xfrm>
            <a:off x="2211305" y="948733"/>
            <a:ext cx="473303" cy="346249"/>
          </a:xfrm>
          <a:prstGeom prst="rect">
            <a:avLst/>
          </a:prstGeom>
        </p:spPr>
        <p:txBody>
          <a:bodyPr wrap="none" lIns="68580" tIns="34290" rIns="68580" bIns="3429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black"/>
                </a:solidFill>
                <a:effectLst/>
                <a:uLnTx/>
                <a:uFillTx/>
                <a:latin typeface="Calibri"/>
                <a:ea typeface="+mn-ea"/>
                <a:cs typeface="+mn-cs"/>
              </a:rPr>
              <a:t>PFS</a:t>
            </a:r>
          </a:p>
        </p:txBody>
      </p:sp>
      <p:sp>
        <p:nvSpPr>
          <p:cNvPr id="8" name="Rectangle 7"/>
          <p:cNvSpPr/>
          <p:nvPr/>
        </p:nvSpPr>
        <p:spPr>
          <a:xfrm>
            <a:off x="6723661" y="948733"/>
            <a:ext cx="404198" cy="346249"/>
          </a:xfrm>
          <a:prstGeom prst="rect">
            <a:avLst/>
          </a:prstGeom>
        </p:spPr>
        <p:txBody>
          <a:bodyPr wrap="none" lIns="68580" tIns="34290" rIns="68580" bIns="3429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black"/>
                </a:solidFill>
                <a:effectLst/>
                <a:uLnTx/>
                <a:uFillTx/>
                <a:latin typeface="Calibri"/>
                <a:ea typeface="+mn-ea"/>
                <a:cs typeface="+mn-cs"/>
              </a:rPr>
              <a:t>OS</a:t>
            </a:r>
          </a:p>
        </p:txBody>
      </p:sp>
    </p:spTree>
    <p:extLst>
      <p:ext uri="{BB962C8B-B14F-4D97-AF65-F5344CB8AC3E}">
        <p14:creationId xmlns:p14="http://schemas.microsoft.com/office/powerpoint/2010/main" val="50163500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FB9FE-B409-4AE8-B94F-C7F3D54FE505}"/>
              </a:ext>
            </a:extLst>
          </p:cNvPr>
          <p:cNvSpPr>
            <a:spLocks noGrp="1"/>
          </p:cNvSpPr>
          <p:nvPr>
            <p:ph type="title"/>
          </p:nvPr>
        </p:nvSpPr>
        <p:spPr>
          <a:xfrm>
            <a:off x="606528" y="259096"/>
            <a:ext cx="8375240" cy="994172"/>
          </a:xfrm>
        </p:spPr>
        <p:txBody>
          <a:bodyPr/>
          <a:lstStyle/>
          <a:p>
            <a:r>
              <a:rPr lang="en-US" sz="3000" b="1" spc="-30" noProof="0">
                <a:solidFill>
                  <a:srgbClr val="000090"/>
                </a:solidFill>
                <a:cs typeface="Arial" panose="020B0604020202020204" pitchFamily="34" charset="0"/>
              </a:rPr>
              <a:t>CARTITUDE-5 (MMY3004, NCT04923893)</a:t>
            </a:r>
            <a:br>
              <a:rPr lang="en-US" sz="3000" b="1" spc="-30" noProof="0">
                <a:solidFill>
                  <a:srgbClr val="000090"/>
                </a:solidFill>
                <a:cs typeface="Arial" panose="020B0604020202020204" pitchFamily="34" charset="0"/>
              </a:rPr>
            </a:br>
            <a:r>
              <a:rPr lang="en-US" sz="3000" b="1" spc="-30" noProof="0">
                <a:solidFill>
                  <a:srgbClr val="000090"/>
                </a:solidFill>
                <a:cs typeface="Arial" panose="020B0604020202020204" pitchFamily="34" charset="0"/>
              </a:rPr>
              <a:t>Phase III Study in NDMM Not Intended for Transplant</a:t>
            </a:r>
            <a:br>
              <a:rPr lang="en-US" sz="3000" b="1" spc="-30" noProof="0">
                <a:solidFill>
                  <a:srgbClr val="000090"/>
                </a:solidFill>
                <a:cs typeface="Arial" panose="020B0604020202020204" pitchFamily="34" charset="0"/>
              </a:rPr>
            </a:br>
            <a:endParaRPr lang="en-US" sz="3000" noProof="0">
              <a:solidFill>
                <a:srgbClr val="000090"/>
              </a:solidFill>
              <a:cs typeface="Arial" panose="020B0604020202020204" pitchFamily="34" charset="0"/>
            </a:endParaRPr>
          </a:p>
        </p:txBody>
      </p:sp>
      <p:sp>
        <p:nvSpPr>
          <p:cNvPr id="5" name="Rectangle 4">
            <a:extLst>
              <a:ext uri="{FF2B5EF4-FFF2-40B4-BE49-F238E27FC236}">
                <a16:creationId xmlns:a16="http://schemas.microsoft.com/office/drawing/2014/main" id="{853B3595-A8EC-4FF2-9628-4938E52E71BC}"/>
              </a:ext>
            </a:extLst>
          </p:cNvPr>
          <p:cNvSpPr/>
          <p:nvPr/>
        </p:nvSpPr>
        <p:spPr>
          <a:xfrm>
            <a:off x="0" y="4787551"/>
            <a:ext cx="6679407" cy="350429"/>
          </a:xfrm>
          <a:prstGeom prst="rect">
            <a:avLst/>
          </a:prstGeom>
        </p:spPr>
        <p:txBody>
          <a:bodyPr wrap="square" lIns="91440" tIns="27000" rIns="135000" bIns="4572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prstClr val="black"/>
                </a:solidFill>
                <a:effectLst/>
                <a:uLnTx/>
                <a:uFillTx/>
                <a:latin typeface="Calibri"/>
                <a:ea typeface="+mn-ea"/>
                <a:cs typeface="+mn-cs"/>
              </a:rPr>
              <a:t>a</a:t>
            </a:r>
            <a:r>
              <a:rPr kumimoji="0" lang="en-US" sz="900" b="0" i="0" u="none" strike="noStrike" kern="1200" cap="none" spc="0" normalizeH="0" baseline="0" noProof="0">
                <a:ln>
                  <a:noFill/>
                </a:ln>
                <a:solidFill>
                  <a:prstClr val="black"/>
                </a:solidFill>
                <a:effectLst/>
                <a:uLnTx/>
                <a:uFillTx/>
                <a:latin typeface="Calibri"/>
                <a:ea typeface="+mn-ea"/>
                <a:cs typeface="+mn-cs"/>
              </a:rPr>
              <a:t>Participants who received 1 cycle of VRd prior to screening will only receive 5 cycles of VRd between screening and randomiz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Calibri"/>
                <a:ea typeface="+mn-ea"/>
                <a:cs typeface="+mn-cs"/>
              </a:rPr>
              <a:t>Clinicaltrials.gov </a:t>
            </a:r>
            <a:r>
              <a:rPr kumimoji="0" lang="en-US" sz="900" b="0" i="0" u="none" strike="noStrike" kern="1200" cap="none" spc="0" normalizeH="0" baseline="0" noProof="0">
                <a:ln>
                  <a:noFill/>
                </a:ln>
                <a:solidFill>
                  <a:prstClr val="black"/>
                </a:solidFill>
                <a:effectLst/>
                <a:uLnTx/>
                <a:uFillTx/>
                <a:latin typeface="Calibri"/>
                <a:ea typeface="+mn-ea"/>
                <a:cs typeface="+mn-cs"/>
                <a:hlinkClick r:id="rId2">
                  <a:extLst>
                    <a:ext uri="{A12FA001-AC4F-418D-AE19-62706E023703}">
                      <ahyp:hlinkClr xmlns:ahyp="http://schemas.microsoft.com/office/drawing/2018/hyperlinkcolor" val="tx"/>
                    </a:ext>
                  </a:extLst>
                </a:hlinkClick>
              </a:rPr>
              <a:t>NCT04923893</a:t>
            </a:r>
            <a:r>
              <a:rPr kumimoji="0" lang="en-US" sz="900" b="0" i="0" u="none" strike="noStrike" kern="1200" cap="none" spc="0" normalizeH="0" baseline="0" noProof="0">
                <a:ln>
                  <a:noFill/>
                </a:ln>
                <a:solidFill>
                  <a:prstClr val="black"/>
                </a:solidFill>
                <a:effectLst/>
                <a:uLnTx/>
                <a:uFillTx/>
                <a:latin typeface="Calibri"/>
                <a:ea typeface="+mn-ea"/>
                <a:cs typeface="+mn-cs"/>
              </a:rPr>
              <a:t>.</a:t>
            </a:r>
            <a:endParaRPr kumimoji="0" lang="da-DK" sz="900"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286AFBB6-17AB-4366-8161-918937C6F46F}"/>
              </a:ext>
            </a:extLst>
          </p:cNvPr>
          <p:cNvSpPr/>
          <p:nvPr/>
        </p:nvSpPr>
        <p:spPr>
          <a:xfrm>
            <a:off x="228601" y="1160955"/>
            <a:ext cx="8643257" cy="1325732"/>
          </a:xfrm>
          <a:prstGeom prst="roundRect">
            <a:avLst/>
          </a:prstGeom>
          <a:solidFill>
            <a:srgbClr val="1C75BC">
              <a:lumMod val="20000"/>
              <a:lumOff val="80000"/>
            </a:srgbClr>
          </a:solidFill>
          <a:ln w="9525" cap="flat" cmpd="sng" algn="ctr">
            <a:noFill/>
            <a:prstDash val="solid"/>
          </a:ln>
          <a:effectLst/>
        </p:spPr>
        <p:txBody>
          <a:bodyPr lIns="68580" tIns="34290" rIns="68580" bIns="34290" rtlCol="0" anchor="ctr"/>
          <a:lstStyle>
            <a:defPPr>
              <a:defRPr lang="en-US"/>
            </a:defPPr>
            <a:lvl1pPr marL="0" algn="l" defTabSz="1097280" rtl="0" eaLnBrk="1" latinLnBrk="0" hangingPunct="1">
              <a:defRPr sz="2160" kern="1200">
                <a:solidFill>
                  <a:schemeClr val="lt1"/>
                </a:solidFill>
                <a:latin typeface="+mn-lt"/>
                <a:ea typeface="+mn-ea"/>
                <a:cs typeface="+mn-cs"/>
              </a:defRPr>
            </a:lvl1pPr>
            <a:lvl2pPr marL="548640" algn="l" defTabSz="1097280" rtl="0" eaLnBrk="1" latinLnBrk="0" hangingPunct="1">
              <a:defRPr sz="2160" kern="1200">
                <a:solidFill>
                  <a:schemeClr val="lt1"/>
                </a:solidFill>
                <a:latin typeface="+mn-lt"/>
                <a:ea typeface="+mn-ea"/>
                <a:cs typeface="+mn-cs"/>
              </a:defRPr>
            </a:lvl2pPr>
            <a:lvl3pPr marL="1097280" algn="l" defTabSz="1097280" rtl="0" eaLnBrk="1" latinLnBrk="0" hangingPunct="1">
              <a:defRPr sz="2160" kern="1200">
                <a:solidFill>
                  <a:schemeClr val="lt1"/>
                </a:solidFill>
                <a:latin typeface="+mn-lt"/>
                <a:ea typeface="+mn-ea"/>
                <a:cs typeface="+mn-cs"/>
              </a:defRPr>
            </a:lvl3pPr>
            <a:lvl4pPr marL="1645920" algn="l" defTabSz="1097280" rtl="0" eaLnBrk="1" latinLnBrk="0" hangingPunct="1">
              <a:defRPr sz="2160" kern="1200">
                <a:solidFill>
                  <a:schemeClr val="lt1"/>
                </a:solidFill>
                <a:latin typeface="+mn-lt"/>
                <a:ea typeface="+mn-ea"/>
                <a:cs typeface="+mn-cs"/>
              </a:defRPr>
            </a:lvl4pPr>
            <a:lvl5pPr marL="2194560" algn="l" defTabSz="1097280" rtl="0" eaLnBrk="1" latinLnBrk="0" hangingPunct="1">
              <a:defRPr sz="2160" kern="1200">
                <a:solidFill>
                  <a:schemeClr val="lt1"/>
                </a:solidFill>
                <a:latin typeface="+mn-lt"/>
                <a:ea typeface="+mn-ea"/>
                <a:cs typeface="+mn-cs"/>
              </a:defRPr>
            </a:lvl5pPr>
            <a:lvl6pPr marL="2743200" algn="l" defTabSz="1097280" rtl="0" eaLnBrk="1" latinLnBrk="0" hangingPunct="1">
              <a:defRPr sz="2160" kern="1200">
                <a:solidFill>
                  <a:schemeClr val="lt1"/>
                </a:solidFill>
                <a:latin typeface="+mn-lt"/>
                <a:ea typeface="+mn-ea"/>
                <a:cs typeface="+mn-cs"/>
              </a:defRPr>
            </a:lvl6pPr>
            <a:lvl7pPr marL="3291840" algn="l" defTabSz="1097280" rtl="0" eaLnBrk="1" latinLnBrk="0" hangingPunct="1">
              <a:defRPr sz="2160" kern="1200">
                <a:solidFill>
                  <a:schemeClr val="lt1"/>
                </a:solidFill>
                <a:latin typeface="+mn-lt"/>
                <a:ea typeface="+mn-ea"/>
                <a:cs typeface="+mn-cs"/>
              </a:defRPr>
            </a:lvl7pPr>
            <a:lvl8pPr marL="3840480" algn="l" defTabSz="1097280" rtl="0" eaLnBrk="1" latinLnBrk="0" hangingPunct="1">
              <a:defRPr sz="2160" kern="1200">
                <a:solidFill>
                  <a:schemeClr val="lt1"/>
                </a:solidFill>
                <a:latin typeface="+mn-lt"/>
                <a:ea typeface="+mn-ea"/>
                <a:cs typeface="+mn-cs"/>
              </a:defRPr>
            </a:lvl8pPr>
            <a:lvl9pPr marL="4389120" algn="l" defTabSz="1097280" rtl="0" eaLnBrk="1" latinLnBrk="0" hangingPunct="1">
              <a:defRPr sz="2160" kern="1200">
                <a:solidFill>
                  <a:schemeClr val="lt1"/>
                </a:solidFill>
                <a:latin typeface="+mn-lt"/>
                <a:ea typeface="+mn-ea"/>
                <a:cs typeface="+mn-cs"/>
              </a:defRPr>
            </a:lvl9pPr>
          </a:lstStyle>
          <a:p>
            <a:pPr marL="0" marR="0" lvl="0" indent="0" algn="ctr" defTabSz="82296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7F905170-2AC8-492F-A052-C2E1B541C27D}"/>
              </a:ext>
            </a:extLst>
          </p:cNvPr>
          <p:cNvGrpSpPr/>
          <p:nvPr/>
        </p:nvGrpSpPr>
        <p:grpSpPr>
          <a:xfrm>
            <a:off x="511945" y="2559838"/>
            <a:ext cx="8076567" cy="2143082"/>
            <a:chOff x="-1031766" y="2738181"/>
            <a:chExt cx="14322394" cy="3248416"/>
          </a:xfrm>
        </p:grpSpPr>
        <p:sp>
          <p:nvSpPr>
            <p:cNvPr id="9" name="Freeform 49">
              <a:extLst>
                <a:ext uri="{FF2B5EF4-FFF2-40B4-BE49-F238E27FC236}">
                  <a16:creationId xmlns:a16="http://schemas.microsoft.com/office/drawing/2014/main" id="{FB869DEE-831B-40F9-8DE7-889956B581E0}"/>
                </a:ext>
              </a:extLst>
            </p:cNvPr>
            <p:cNvSpPr/>
            <p:nvPr/>
          </p:nvSpPr>
          <p:spPr>
            <a:xfrm>
              <a:off x="4900561" y="4519492"/>
              <a:ext cx="4576788" cy="875284"/>
            </a:xfrm>
            <a:custGeom>
              <a:avLst/>
              <a:gdLst>
                <a:gd name="connsiteX0" fmla="*/ 0 w 5012988"/>
                <a:gd name="connsiteY0" fmla="*/ 32426 h 1238655"/>
                <a:gd name="connsiteX1" fmla="*/ 0 w 5012988"/>
                <a:gd name="connsiteY1" fmla="*/ 1238655 h 1238655"/>
                <a:gd name="connsiteX2" fmla="*/ 155643 w 5012988"/>
                <a:gd name="connsiteY2" fmla="*/ 1238655 h 1238655"/>
                <a:gd name="connsiteX3" fmla="*/ 4935166 w 5012988"/>
                <a:gd name="connsiteY3" fmla="*/ 1238655 h 1238655"/>
                <a:gd name="connsiteX4" fmla="*/ 4935166 w 5012988"/>
                <a:gd name="connsiteY4" fmla="*/ 0 h 1238655"/>
                <a:gd name="connsiteX5" fmla="*/ 5012988 w 5012988"/>
                <a:gd name="connsiteY5" fmla="*/ 0 h 1238655"/>
                <a:gd name="connsiteX6" fmla="*/ 395592 w 5012988"/>
                <a:gd name="connsiteY6" fmla="*/ 201038 h 1238655"/>
                <a:gd name="connsiteX7" fmla="*/ 0 w 5012988"/>
                <a:gd name="connsiteY7" fmla="*/ 32426 h 1238655"/>
                <a:gd name="connsiteX0" fmla="*/ 395592 w 5012988"/>
                <a:gd name="connsiteY0" fmla="*/ 201038 h 1238655"/>
                <a:gd name="connsiteX1" fmla="*/ 0 w 5012988"/>
                <a:gd name="connsiteY1" fmla="*/ 32426 h 1238655"/>
                <a:gd name="connsiteX2" fmla="*/ 0 w 5012988"/>
                <a:gd name="connsiteY2" fmla="*/ 1238655 h 1238655"/>
                <a:gd name="connsiteX3" fmla="*/ 155643 w 5012988"/>
                <a:gd name="connsiteY3" fmla="*/ 1238655 h 1238655"/>
                <a:gd name="connsiteX4" fmla="*/ 4935166 w 5012988"/>
                <a:gd name="connsiteY4" fmla="*/ 1238655 h 1238655"/>
                <a:gd name="connsiteX5" fmla="*/ 4935166 w 5012988"/>
                <a:gd name="connsiteY5" fmla="*/ 0 h 1238655"/>
                <a:gd name="connsiteX6" fmla="*/ 5012988 w 5012988"/>
                <a:gd name="connsiteY6" fmla="*/ 0 h 1238655"/>
                <a:gd name="connsiteX7" fmla="*/ 487032 w 5012988"/>
                <a:gd name="connsiteY7" fmla="*/ 292478 h 1238655"/>
                <a:gd name="connsiteX0" fmla="*/ 395592 w 5012988"/>
                <a:gd name="connsiteY0" fmla="*/ 201038 h 1238655"/>
                <a:gd name="connsiteX1" fmla="*/ 0 w 5012988"/>
                <a:gd name="connsiteY1" fmla="*/ 32426 h 1238655"/>
                <a:gd name="connsiteX2" fmla="*/ 0 w 5012988"/>
                <a:gd name="connsiteY2" fmla="*/ 1238655 h 1238655"/>
                <a:gd name="connsiteX3" fmla="*/ 155643 w 5012988"/>
                <a:gd name="connsiteY3" fmla="*/ 1238655 h 1238655"/>
                <a:gd name="connsiteX4" fmla="*/ 4935166 w 5012988"/>
                <a:gd name="connsiteY4" fmla="*/ 1238655 h 1238655"/>
                <a:gd name="connsiteX5" fmla="*/ 4935166 w 5012988"/>
                <a:gd name="connsiteY5" fmla="*/ 0 h 1238655"/>
                <a:gd name="connsiteX6" fmla="*/ 5012988 w 5012988"/>
                <a:gd name="connsiteY6" fmla="*/ 0 h 1238655"/>
                <a:gd name="connsiteX0" fmla="*/ 0 w 5012988"/>
                <a:gd name="connsiteY0" fmla="*/ 32426 h 1238655"/>
                <a:gd name="connsiteX1" fmla="*/ 0 w 5012988"/>
                <a:gd name="connsiteY1" fmla="*/ 1238655 h 1238655"/>
                <a:gd name="connsiteX2" fmla="*/ 155643 w 5012988"/>
                <a:gd name="connsiteY2" fmla="*/ 1238655 h 1238655"/>
                <a:gd name="connsiteX3" fmla="*/ 4935166 w 5012988"/>
                <a:gd name="connsiteY3" fmla="*/ 1238655 h 1238655"/>
                <a:gd name="connsiteX4" fmla="*/ 4935166 w 5012988"/>
                <a:gd name="connsiteY4" fmla="*/ 0 h 1238655"/>
                <a:gd name="connsiteX5" fmla="*/ 5012988 w 5012988"/>
                <a:gd name="connsiteY5" fmla="*/ 0 h 1238655"/>
                <a:gd name="connsiteX0" fmla="*/ 0 w 4935166"/>
                <a:gd name="connsiteY0" fmla="*/ 32426 h 1238655"/>
                <a:gd name="connsiteX1" fmla="*/ 0 w 4935166"/>
                <a:gd name="connsiteY1" fmla="*/ 1238655 h 1238655"/>
                <a:gd name="connsiteX2" fmla="*/ 155643 w 4935166"/>
                <a:gd name="connsiteY2" fmla="*/ 1238655 h 1238655"/>
                <a:gd name="connsiteX3" fmla="*/ 4935166 w 4935166"/>
                <a:gd name="connsiteY3" fmla="*/ 1238655 h 1238655"/>
                <a:gd name="connsiteX4" fmla="*/ 4935166 w 4935166"/>
                <a:gd name="connsiteY4" fmla="*/ 0 h 1238655"/>
                <a:gd name="connsiteX0" fmla="*/ 0 w 4935166"/>
                <a:gd name="connsiteY0" fmla="*/ 32426 h 1238655"/>
                <a:gd name="connsiteX1" fmla="*/ 0 w 4935166"/>
                <a:gd name="connsiteY1" fmla="*/ 1238655 h 1238655"/>
                <a:gd name="connsiteX2" fmla="*/ 4935166 w 4935166"/>
                <a:gd name="connsiteY2" fmla="*/ 1238655 h 1238655"/>
                <a:gd name="connsiteX3" fmla="*/ 4935166 w 4935166"/>
                <a:gd name="connsiteY3" fmla="*/ 0 h 1238655"/>
                <a:gd name="connsiteX0" fmla="*/ 0 w 4935166"/>
                <a:gd name="connsiteY0" fmla="*/ 118998 h 1238655"/>
                <a:gd name="connsiteX1" fmla="*/ 0 w 4935166"/>
                <a:gd name="connsiteY1" fmla="*/ 1238655 h 1238655"/>
                <a:gd name="connsiteX2" fmla="*/ 4935166 w 4935166"/>
                <a:gd name="connsiteY2" fmla="*/ 1238655 h 1238655"/>
                <a:gd name="connsiteX3" fmla="*/ 4935166 w 4935166"/>
                <a:gd name="connsiteY3" fmla="*/ 0 h 1238655"/>
                <a:gd name="connsiteX0" fmla="*/ 0 w 4935166"/>
                <a:gd name="connsiteY0" fmla="*/ 0 h 1638053"/>
                <a:gd name="connsiteX1" fmla="*/ 0 w 4935166"/>
                <a:gd name="connsiteY1" fmla="*/ 1638053 h 1638053"/>
                <a:gd name="connsiteX2" fmla="*/ 4935166 w 4935166"/>
                <a:gd name="connsiteY2" fmla="*/ 1638053 h 1638053"/>
                <a:gd name="connsiteX3" fmla="*/ 4935166 w 4935166"/>
                <a:gd name="connsiteY3" fmla="*/ 399398 h 1638053"/>
              </a:gdLst>
              <a:ahLst/>
              <a:cxnLst>
                <a:cxn ang="0">
                  <a:pos x="connsiteX0" y="connsiteY0"/>
                </a:cxn>
                <a:cxn ang="0">
                  <a:pos x="connsiteX1" y="connsiteY1"/>
                </a:cxn>
                <a:cxn ang="0">
                  <a:pos x="connsiteX2" y="connsiteY2"/>
                </a:cxn>
                <a:cxn ang="0">
                  <a:pos x="connsiteX3" y="connsiteY3"/>
                </a:cxn>
              </a:cxnLst>
              <a:rect l="l" t="t" r="r" b="b"/>
              <a:pathLst>
                <a:path w="4935166" h="1638053">
                  <a:moveTo>
                    <a:pt x="0" y="0"/>
                  </a:moveTo>
                  <a:lnTo>
                    <a:pt x="0" y="1638053"/>
                  </a:lnTo>
                  <a:lnTo>
                    <a:pt x="4935166" y="1638053"/>
                  </a:lnTo>
                  <a:lnTo>
                    <a:pt x="4935166" y="399398"/>
                  </a:lnTo>
                </a:path>
              </a:pathLst>
            </a:custGeom>
            <a:noFill/>
            <a:ln w="95250" cap="sq" cmpd="sng" algn="ctr">
              <a:solidFill>
                <a:srgbClr val="777A80"/>
              </a:solidFill>
              <a:prstDash val="solid"/>
              <a:miter lim="800000"/>
              <a:tailEnd type="triangle" w="sm" len="sm"/>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10" name="Rounded Rectangle 52">
              <a:extLst>
                <a:ext uri="{FF2B5EF4-FFF2-40B4-BE49-F238E27FC236}">
                  <a16:creationId xmlns:a16="http://schemas.microsoft.com/office/drawing/2014/main" id="{DF0E1E3E-15E9-43A5-A0D5-08A066E42A13}"/>
                </a:ext>
              </a:extLst>
            </p:cNvPr>
            <p:cNvSpPr/>
            <p:nvPr/>
          </p:nvSpPr>
          <p:spPr>
            <a:xfrm>
              <a:off x="5057579" y="4757346"/>
              <a:ext cx="4245866" cy="575012"/>
            </a:xfrm>
            <a:prstGeom prst="roundRect">
              <a:avLst>
                <a:gd name="adj" fmla="val 0"/>
              </a:avLst>
            </a:prstGeom>
            <a:noFill/>
            <a:ln w="9525" cap="flat" cmpd="sng" algn="ctr">
              <a:noFill/>
              <a:prstDash val="solid"/>
            </a:ln>
            <a:effectLst/>
          </p:spPr>
          <p:txBody>
            <a:bodyPr lIns="0" tIns="0" rIns="0" bIns="0"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black"/>
                  </a:solidFill>
                  <a:effectLst/>
                  <a:uLnTx/>
                  <a:uFillTx/>
                  <a:latin typeface="Calibri"/>
                  <a:ea typeface="+mn-ea"/>
                  <a:cs typeface="Verdana" panose="020B0604030504040204" pitchFamily="34" charset="0"/>
                </a:rPr>
                <a:t>T-cell transduction and expansion to manufacture cilta-cel CAR T cells</a:t>
              </a:r>
            </a:p>
          </p:txBody>
        </p:sp>
        <p:sp>
          <p:nvSpPr>
            <p:cNvPr id="11" name="Rectangle 10">
              <a:extLst>
                <a:ext uri="{FF2B5EF4-FFF2-40B4-BE49-F238E27FC236}">
                  <a16:creationId xmlns:a16="http://schemas.microsoft.com/office/drawing/2014/main" id="{63AD88DF-84BA-4C9A-A5FE-7DBCA4979E30}"/>
                </a:ext>
              </a:extLst>
            </p:cNvPr>
            <p:cNvSpPr/>
            <p:nvPr/>
          </p:nvSpPr>
          <p:spPr bwMode="auto">
            <a:xfrm>
              <a:off x="2841646" y="3702998"/>
              <a:ext cx="1356892" cy="1016490"/>
            </a:xfrm>
            <a:prstGeom prst="rect">
              <a:avLst/>
            </a:prstGeom>
            <a:solidFill>
              <a:srgbClr val="ACD58A"/>
            </a:solidFill>
            <a:ln w="9525" cap="flat" cmpd="sng" algn="ctr">
              <a:noFill/>
              <a:prstDash val="solid"/>
            </a:ln>
            <a:effectLst/>
          </p:spPr>
          <p:txBody>
            <a:bodyPr vert="horz" wrap="square" lIns="68580" tIns="34291" rIns="68580" bIns="34291" numCol="1" rtlCol="0" anchor="ctr" anchorCtr="0" compatLnSpc="1">
              <a:prstTxWarp prst="textNoShape">
                <a:avLst/>
              </a:prstTxWarp>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Calibri"/>
                  <a:ea typeface="Arial" charset="0"/>
                  <a:cs typeface="+mn-cs"/>
                </a:rPr>
                <a:t>VRd  </a:t>
              </a:r>
              <a:br>
                <a:rPr kumimoji="0" lang="en-GB" sz="800" b="0" i="0" u="none" strike="noStrike" kern="0" cap="none" spc="0" normalizeH="0" baseline="0" noProof="0">
                  <a:ln>
                    <a:noFill/>
                  </a:ln>
                  <a:solidFill>
                    <a:prstClr val="black"/>
                  </a:solidFill>
                  <a:effectLst/>
                  <a:uLnTx/>
                  <a:uFillTx/>
                  <a:latin typeface="Calibri"/>
                  <a:ea typeface="Arial" charset="0"/>
                  <a:cs typeface="+mn-cs"/>
                </a:rPr>
              </a:br>
              <a:r>
                <a:rPr kumimoji="0" lang="en-GB" sz="800" b="0" i="0" u="none" strike="noStrike" kern="0" cap="none" spc="0" normalizeH="0" baseline="0" noProof="0">
                  <a:ln>
                    <a:noFill/>
                  </a:ln>
                  <a:solidFill>
                    <a:prstClr val="black"/>
                  </a:solidFill>
                  <a:effectLst/>
                  <a:uLnTx/>
                  <a:uFillTx/>
                  <a:latin typeface="Calibri"/>
                  <a:ea typeface="Arial" charset="0"/>
                  <a:cs typeface="+mn-cs"/>
                </a:rPr>
                <a:t>(2 cycles)</a:t>
              </a:r>
            </a:p>
          </p:txBody>
        </p:sp>
        <p:sp>
          <p:nvSpPr>
            <p:cNvPr id="12" name="Triangle 7">
              <a:extLst>
                <a:ext uri="{FF2B5EF4-FFF2-40B4-BE49-F238E27FC236}">
                  <a16:creationId xmlns:a16="http://schemas.microsoft.com/office/drawing/2014/main" id="{5FB5CFFC-14F9-46E6-B214-BA668EAA3D8E}"/>
                </a:ext>
              </a:extLst>
            </p:cNvPr>
            <p:cNvSpPr/>
            <p:nvPr/>
          </p:nvSpPr>
          <p:spPr>
            <a:xfrm rot="5400000">
              <a:off x="2547451" y="4125074"/>
              <a:ext cx="429105"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13" name="Triangle 7">
              <a:extLst>
                <a:ext uri="{FF2B5EF4-FFF2-40B4-BE49-F238E27FC236}">
                  <a16:creationId xmlns:a16="http://schemas.microsoft.com/office/drawing/2014/main" id="{856F49F9-97BA-4CD6-BA18-30F772C78EEA}"/>
                </a:ext>
              </a:extLst>
            </p:cNvPr>
            <p:cNvSpPr/>
            <p:nvPr/>
          </p:nvSpPr>
          <p:spPr>
            <a:xfrm rot="5400000">
              <a:off x="4063628" y="4125074"/>
              <a:ext cx="429105"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14" name="Triangle 7">
              <a:extLst>
                <a:ext uri="{FF2B5EF4-FFF2-40B4-BE49-F238E27FC236}">
                  <a16:creationId xmlns:a16="http://schemas.microsoft.com/office/drawing/2014/main" id="{C1CDEFF6-394A-447F-AC01-0EB95468F876}"/>
                </a:ext>
              </a:extLst>
            </p:cNvPr>
            <p:cNvSpPr/>
            <p:nvPr/>
          </p:nvSpPr>
          <p:spPr>
            <a:xfrm rot="5400000">
              <a:off x="5337188" y="4125074"/>
              <a:ext cx="429105"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3935EAD1-260E-4B29-B700-1315D370046F}"/>
                </a:ext>
              </a:extLst>
            </p:cNvPr>
            <p:cNvSpPr/>
            <p:nvPr/>
          </p:nvSpPr>
          <p:spPr>
            <a:xfrm>
              <a:off x="7147560" y="3706916"/>
              <a:ext cx="1661456" cy="1013199"/>
            </a:xfrm>
            <a:prstGeom prst="rect">
              <a:avLst/>
            </a:prstGeom>
            <a:noFill/>
            <a:ln w="9525" cap="flat" cmpd="sng" algn="ctr">
              <a:solidFill>
                <a:srgbClr val="0858A6"/>
              </a:solidFill>
              <a:prstDash val="solid"/>
            </a:ln>
            <a:effectLst/>
          </p:spPr>
          <p:txBody>
            <a:bodyPr lIns="0" tIns="0" rIns="0" bIns="0"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46"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rPr>
                <a:t>Day -7 to -5:</a:t>
              </a:r>
            </a:p>
            <a:p>
              <a:pPr marL="0" marR="0" lvl="0" indent="0" algn="ctr" defTabSz="914246"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rPr>
                <a:t>Conditioning regimen (3 days)</a:t>
              </a:r>
            </a:p>
            <a:p>
              <a:pPr marL="0" marR="0" lvl="0" indent="0" algn="ctr" defTabSz="914246"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rPr>
                <a:t>Cy/Flu</a:t>
              </a:r>
            </a:p>
          </p:txBody>
        </p:sp>
        <p:sp>
          <p:nvSpPr>
            <p:cNvPr id="16" name="Rectangle 15">
              <a:extLst>
                <a:ext uri="{FF2B5EF4-FFF2-40B4-BE49-F238E27FC236}">
                  <a16:creationId xmlns:a16="http://schemas.microsoft.com/office/drawing/2014/main" id="{B7B06083-A9E6-4009-9673-BC812AA18A54}"/>
                </a:ext>
              </a:extLst>
            </p:cNvPr>
            <p:cNvSpPr/>
            <p:nvPr/>
          </p:nvSpPr>
          <p:spPr>
            <a:xfrm>
              <a:off x="8968301" y="3707030"/>
              <a:ext cx="1166811" cy="1016490"/>
            </a:xfrm>
            <a:prstGeom prst="rect">
              <a:avLst/>
            </a:prstGeom>
            <a:solidFill>
              <a:srgbClr val="E03C6B"/>
            </a:solidFill>
            <a:ln w="9525" cap="flat" cmpd="sng" algn="ctr">
              <a:noFill/>
              <a:prstDash val="solid"/>
            </a:ln>
            <a:effectLst/>
          </p:spPr>
          <p:txBody>
            <a:bodyPr lIns="0" tIns="0" rIns="0" bIns="0"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46" rtl="0" eaLnBrk="1" fontAlgn="auto" latinLnBrk="0" hangingPunct="1">
                <a:lnSpc>
                  <a:spcPct val="90000"/>
                </a:lnSpc>
                <a:spcBef>
                  <a:spcPts val="0"/>
                </a:spcBef>
                <a:spcAft>
                  <a:spcPts val="0"/>
                </a:spcAft>
                <a:buClrTx/>
                <a:buSzTx/>
                <a:buFontTx/>
                <a:buNone/>
                <a:tabLst/>
                <a:defRPr/>
              </a:pPr>
              <a:r>
                <a:rPr kumimoji="0" lang="en-US" sz="800" b="1" i="0" u="none" strike="noStrike" kern="0" cap="none" spc="0" normalizeH="0" baseline="0" noProof="0">
                  <a:ln>
                    <a:noFill/>
                  </a:ln>
                  <a:solidFill>
                    <a:prstClr val="white"/>
                  </a:solidFill>
                  <a:effectLst/>
                  <a:uLnTx/>
                  <a:uFillTx/>
                  <a:latin typeface="Calibri"/>
                  <a:ea typeface="Verdana"/>
                  <a:cs typeface="Verdana"/>
                </a:rPr>
                <a:t>Day 1:</a:t>
              </a:r>
            </a:p>
            <a:p>
              <a:pPr marL="0" marR="0" lvl="0" indent="0" algn="ctr" defTabSz="914246"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Calibri"/>
                  <a:ea typeface="Verdana"/>
                  <a:cs typeface="Verdana"/>
                </a:rPr>
                <a:t>Cilta-cel </a:t>
              </a:r>
              <a:br>
                <a:rPr kumimoji="0" lang="en-US" sz="800" b="0" i="0" u="none" strike="noStrike" kern="0" cap="none" spc="0" normalizeH="0" baseline="0" noProof="0">
                  <a:ln>
                    <a:noFill/>
                  </a:ln>
                  <a:solidFill>
                    <a:prstClr val="white"/>
                  </a:solidFill>
                  <a:effectLst/>
                  <a:uLnTx/>
                  <a:uFillTx/>
                  <a:latin typeface="Calibri"/>
                  <a:ea typeface="Verdana"/>
                  <a:cs typeface="Verdana"/>
                </a:rPr>
              </a:br>
              <a:r>
                <a:rPr kumimoji="0" lang="en-US" sz="800" b="0" i="0" u="none" strike="noStrike" kern="0" cap="none" spc="0" normalizeH="0" baseline="0" noProof="0">
                  <a:ln>
                    <a:noFill/>
                  </a:ln>
                  <a:solidFill>
                    <a:prstClr val="white"/>
                  </a:solidFill>
                  <a:effectLst/>
                  <a:uLnTx/>
                  <a:uFillTx/>
                  <a:latin typeface="Calibri"/>
                  <a:ea typeface="Verdana"/>
                  <a:cs typeface="Verdana"/>
                </a:rPr>
                <a:t>Infusion</a:t>
              </a:r>
            </a:p>
            <a:p>
              <a:pPr marL="0" marR="0" lvl="0" indent="0" algn="ctr" defTabSz="914246" rtl="0" eaLnBrk="1" fontAlgn="auto" latinLnBrk="0" hangingPunct="1">
                <a:lnSpc>
                  <a:spcPct val="90000"/>
                </a:lnSpc>
                <a:spcBef>
                  <a:spcPts val="0"/>
                </a:spcBef>
                <a:spcAft>
                  <a:spcPts val="0"/>
                </a:spcAft>
                <a:buClrTx/>
                <a:buSzTx/>
                <a:buFontTx/>
                <a:buNone/>
                <a:tabLst/>
                <a:defRPr/>
              </a:pPr>
              <a:r>
                <a:rPr kumimoji="0" lang="en-GB" sz="700" b="0" i="0" u="none" strike="noStrike" kern="0" cap="none" spc="0" normalizeH="0" baseline="0" noProof="0">
                  <a:ln>
                    <a:noFill/>
                  </a:ln>
                  <a:solidFill>
                    <a:prstClr val="white"/>
                  </a:solidFill>
                  <a:effectLst/>
                  <a:uLnTx/>
                  <a:uFillTx/>
                  <a:latin typeface="Calibri"/>
                  <a:ea typeface="+mn-ea"/>
                  <a:cs typeface="+mn-cs"/>
                </a:rPr>
                <a:t>(Target: </a:t>
              </a:r>
              <a:r>
                <a:rPr kumimoji="0" lang="de-DE" sz="700" b="0" i="0" u="none" strike="noStrike" kern="0" cap="none" spc="0" normalizeH="0" baseline="0" noProof="0">
                  <a:ln>
                    <a:noFill/>
                  </a:ln>
                  <a:solidFill>
                    <a:prstClr val="white"/>
                  </a:solidFill>
                  <a:effectLst/>
                  <a:uLnTx/>
                  <a:uFillTx/>
                  <a:latin typeface="Calibri"/>
                  <a:ea typeface="+mn-ea"/>
                  <a:cs typeface="+mn-cs"/>
                </a:rPr>
                <a:t>0.75 × 10</a:t>
              </a:r>
              <a:r>
                <a:rPr kumimoji="0" lang="de-DE" sz="700" b="0" i="0" u="none" strike="noStrike" kern="0" cap="none" spc="0" normalizeH="0" baseline="30000" noProof="0">
                  <a:ln>
                    <a:noFill/>
                  </a:ln>
                  <a:solidFill>
                    <a:prstClr val="white"/>
                  </a:solidFill>
                  <a:effectLst/>
                  <a:uLnTx/>
                  <a:uFillTx/>
                  <a:latin typeface="Calibri"/>
                  <a:ea typeface="+mn-ea"/>
                  <a:cs typeface="+mn-cs"/>
                </a:rPr>
                <a:t>6</a:t>
              </a:r>
              <a:r>
                <a:rPr kumimoji="0" lang="de-DE" sz="700" b="0" i="0" u="none" strike="noStrike" kern="0" cap="none" spc="0" normalizeH="0" baseline="0" noProof="0">
                  <a:ln>
                    <a:noFill/>
                  </a:ln>
                  <a:solidFill>
                    <a:prstClr val="white"/>
                  </a:solidFill>
                  <a:effectLst/>
                  <a:uLnTx/>
                  <a:uFillTx/>
                  <a:latin typeface="Calibri"/>
                  <a:ea typeface="+mn-ea"/>
                  <a:cs typeface="+mn-cs"/>
                </a:rPr>
                <a:t> </a:t>
              </a:r>
            </a:p>
            <a:p>
              <a:pPr marL="0" marR="0" lvl="0" indent="0" algn="ctr" defTabSz="914246" rtl="0" eaLnBrk="1" fontAlgn="auto" latinLnBrk="0" hangingPunct="1">
                <a:lnSpc>
                  <a:spcPct val="90000"/>
                </a:lnSpc>
                <a:spcBef>
                  <a:spcPts val="0"/>
                </a:spcBef>
                <a:spcAft>
                  <a:spcPts val="0"/>
                </a:spcAft>
                <a:buClrTx/>
                <a:buSzTx/>
                <a:buFontTx/>
                <a:buNone/>
                <a:tabLst/>
                <a:defRPr/>
              </a:pPr>
              <a:r>
                <a:rPr kumimoji="0" lang="de-DE" sz="700" b="0" i="0" u="none" strike="noStrike" kern="0" cap="none" spc="0" normalizeH="0" baseline="0" noProof="0">
                  <a:ln>
                    <a:noFill/>
                  </a:ln>
                  <a:solidFill>
                    <a:prstClr val="white"/>
                  </a:solidFill>
                  <a:effectLst/>
                  <a:uLnTx/>
                  <a:uFillTx/>
                  <a:latin typeface="Calibri"/>
                  <a:ea typeface="+mn-ea"/>
                  <a:cs typeface="+mn-cs"/>
                </a:rPr>
                <a:t>CAR+ T cells/kg)</a:t>
              </a:r>
              <a:endParaRPr kumimoji="0" lang="en-US" sz="700" b="0" i="0" u="none" strike="noStrike" kern="0" cap="none" spc="0" normalizeH="0" baseline="0" noProof="0">
                <a:ln>
                  <a:noFill/>
                </a:ln>
                <a:solidFill>
                  <a:prstClr val="white"/>
                </a:solidFill>
                <a:effectLst/>
                <a:uLnTx/>
                <a:uFillTx/>
                <a:latin typeface="Calibri"/>
                <a:ea typeface="Verdana"/>
                <a:cs typeface="Verdana"/>
              </a:endParaRPr>
            </a:p>
          </p:txBody>
        </p:sp>
        <p:sp>
          <p:nvSpPr>
            <p:cNvPr id="17" name="Triangle 7">
              <a:extLst>
                <a:ext uri="{FF2B5EF4-FFF2-40B4-BE49-F238E27FC236}">
                  <a16:creationId xmlns:a16="http://schemas.microsoft.com/office/drawing/2014/main" id="{D46E27BE-C17A-41D0-8686-15E37531D580}"/>
                </a:ext>
              </a:extLst>
            </p:cNvPr>
            <p:cNvSpPr/>
            <p:nvPr/>
          </p:nvSpPr>
          <p:spPr>
            <a:xfrm rot="5400000">
              <a:off x="8674106" y="4125074"/>
              <a:ext cx="429105"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18" name="Triangle 7">
              <a:extLst>
                <a:ext uri="{FF2B5EF4-FFF2-40B4-BE49-F238E27FC236}">
                  <a16:creationId xmlns:a16="http://schemas.microsoft.com/office/drawing/2014/main" id="{40A379B6-6D9D-41D5-8235-9044518B4535}"/>
                </a:ext>
              </a:extLst>
            </p:cNvPr>
            <p:cNvSpPr/>
            <p:nvPr/>
          </p:nvSpPr>
          <p:spPr>
            <a:xfrm rot="5400000">
              <a:off x="10013494" y="4125074"/>
              <a:ext cx="429105"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19" name="Triangle 7">
              <a:extLst>
                <a:ext uri="{FF2B5EF4-FFF2-40B4-BE49-F238E27FC236}">
                  <a16:creationId xmlns:a16="http://schemas.microsoft.com/office/drawing/2014/main" id="{BFF967C1-F7FB-48B3-A479-BCA040250051}"/>
                </a:ext>
              </a:extLst>
            </p:cNvPr>
            <p:cNvSpPr/>
            <p:nvPr/>
          </p:nvSpPr>
          <p:spPr>
            <a:xfrm rot="5400000">
              <a:off x="22727" y="3781024"/>
              <a:ext cx="443912"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D49AF909-1032-4C4A-8378-DDAFD6D87667}"/>
                </a:ext>
              </a:extLst>
            </p:cNvPr>
            <p:cNvSpPr/>
            <p:nvPr/>
          </p:nvSpPr>
          <p:spPr>
            <a:xfrm>
              <a:off x="11966422" y="3074684"/>
              <a:ext cx="1324206" cy="1675456"/>
            </a:xfrm>
            <a:prstGeom prst="rect">
              <a:avLst/>
            </a:prstGeom>
            <a:noFill/>
            <a:ln w="9525" cap="flat" cmpd="sng" algn="ctr">
              <a:solidFill>
                <a:srgbClr val="0858A6"/>
              </a:solidFill>
              <a:prstDash val="solid"/>
            </a:ln>
            <a:effectLst/>
          </p:spPr>
          <p:txBody>
            <a:bodyPr lIns="91440" tIns="0" rIns="91440" bIns="0"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46"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prstClr val="black"/>
                  </a:solidFill>
                  <a:effectLst/>
                  <a:uLnTx/>
                  <a:uFillTx/>
                  <a:latin typeface="Calibri"/>
                  <a:ea typeface="Verdana" panose="020B0604030504040204" pitchFamily="34" charset="0"/>
                  <a:cs typeface="Verdana" panose="020B0604030504040204" pitchFamily="34" charset="0"/>
                </a:rPr>
                <a:t>Long-term follow-up for survival, subsequent therapies, and SPMs</a:t>
              </a:r>
            </a:p>
          </p:txBody>
        </p:sp>
        <p:sp>
          <p:nvSpPr>
            <p:cNvPr id="21" name="Triangle 7">
              <a:extLst>
                <a:ext uri="{FF2B5EF4-FFF2-40B4-BE49-F238E27FC236}">
                  <a16:creationId xmlns:a16="http://schemas.microsoft.com/office/drawing/2014/main" id="{6602D5E5-4A91-4740-9D69-6C9EBCB6C041}"/>
                </a:ext>
              </a:extLst>
            </p:cNvPr>
            <p:cNvSpPr/>
            <p:nvPr/>
          </p:nvSpPr>
          <p:spPr>
            <a:xfrm rot="5400000">
              <a:off x="4087736" y="3285697"/>
              <a:ext cx="429105"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22" name="Triangle 7">
              <a:extLst>
                <a:ext uri="{FF2B5EF4-FFF2-40B4-BE49-F238E27FC236}">
                  <a16:creationId xmlns:a16="http://schemas.microsoft.com/office/drawing/2014/main" id="{F788E2AA-F820-4F24-B449-C62394536097}"/>
                </a:ext>
              </a:extLst>
            </p:cNvPr>
            <p:cNvSpPr/>
            <p:nvPr/>
          </p:nvSpPr>
          <p:spPr>
            <a:xfrm rot="5400000">
              <a:off x="2547451" y="3283865"/>
              <a:ext cx="429105"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4AEA2C1D-0679-4240-B73A-DDFB5A07B7A0}"/>
                </a:ext>
              </a:extLst>
            </p:cNvPr>
            <p:cNvSpPr/>
            <p:nvPr/>
          </p:nvSpPr>
          <p:spPr bwMode="auto">
            <a:xfrm>
              <a:off x="-1031766" y="3442004"/>
              <a:ext cx="1196806" cy="822960"/>
            </a:xfrm>
            <a:prstGeom prst="rect">
              <a:avLst/>
            </a:prstGeom>
            <a:solidFill>
              <a:srgbClr val="FFFFFF"/>
            </a:solidFill>
            <a:ln w="9525" cap="flat" cmpd="sng" algn="ctr">
              <a:solidFill>
                <a:srgbClr val="0858A6"/>
              </a:solidFill>
              <a:prstDash val="solid"/>
            </a:ln>
            <a:effectLst/>
          </p:spPr>
          <p:txBody>
            <a:bodyPr vert="horz" wrap="square" lIns="68580" tIns="34291" rIns="68580" bIns="34291" numCol="1" rtlCol="0" anchor="ctr" anchorCtr="0" compatLnSpc="1">
              <a:prstTxWarp prst="textNoShape">
                <a:avLst/>
              </a:prstTxWarp>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514313" rtl="0" eaLnBrk="1" fontAlgn="auto" latinLnBrk="0" hangingPunct="1">
                <a:lnSpc>
                  <a:spcPct val="100000"/>
                </a:lnSpc>
                <a:spcBef>
                  <a:spcPts val="0"/>
                </a:spcBef>
                <a:spcAft>
                  <a:spcPts val="338"/>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a:ea typeface="Arial" charset="0"/>
                  <a:cs typeface="+mn-cs"/>
                </a:rPr>
                <a:t>Screening</a:t>
              </a:r>
              <a:r>
                <a:rPr kumimoji="0" lang="en-US" sz="800" b="1" i="0" u="none" strike="noStrike" kern="0" cap="none" spc="0" normalizeH="0" baseline="0" noProof="0">
                  <a:ln>
                    <a:noFill/>
                  </a:ln>
                  <a:solidFill>
                    <a:prstClr val="black"/>
                  </a:solidFill>
                  <a:effectLst/>
                  <a:uLnTx/>
                  <a:uFillTx/>
                  <a:latin typeface="Calibri"/>
                  <a:ea typeface="Arial" charset="0"/>
                  <a:cs typeface="+mn-cs"/>
                </a:rPr>
                <a:t> </a:t>
              </a:r>
              <a:br>
                <a:rPr kumimoji="0" lang="en-US" sz="800" b="1" i="0" u="none" strike="noStrike" kern="0" cap="none" spc="0" normalizeH="0" baseline="0" noProof="0">
                  <a:ln>
                    <a:noFill/>
                  </a:ln>
                  <a:solidFill>
                    <a:prstClr val="black"/>
                  </a:solidFill>
                  <a:effectLst/>
                  <a:uLnTx/>
                  <a:uFillTx/>
                  <a:latin typeface="Calibri"/>
                  <a:ea typeface="Arial" charset="0"/>
                  <a:cs typeface="+mn-cs"/>
                </a:rPr>
              </a:br>
              <a:r>
                <a:rPr kumimoji="0" lang="en-US" sz="800" b="0" i="0" u="none" strike="noStrike" kern="0" cap="none" spc="0" normalizeH="0" baseline="0" noProof="0">
                  <a:ln>
                    <a:noFill/>
                  </a:ln>
                  <a:solidFill>
                    <a:prstClr val="black"/>
                  </a:solidFill>
                  <a:effectLst/>
                  <a:uLnTx/>
                  <a:uFillTx/>
                  <a:latin typeface="Calibri"/>
                  <a:ea typeface="Arial" charset="0"/>
                  <a:cs typeface="+mn-cs"/>
                </a:rPr>
                <a:t>(28 days)</a:t>
              </a:r>
            </a:p>
          </p:txBody>
        </p:sp>
        <p:sp>
          <p:nvSpPr>
            <p:cNvPr id="24" name="TextBox 45">
              <a:extLst>
                <a:ext uri="{FF2B5EF4-FFF2-40B4-BE49-F238E27FC236}">
                  <a16:creationId xmlns:a16="http://schemas.microsoft.com/office/drawing/2014/main" id="{9DC89370-2678-4D75-BAA6-3FB81557050A}"/>
                </a:ext>
              </a:extLst>
            </p:cNvPr>
            <p:cNvSpPr txBox="1"/>
            <p:nvPr/>
          </p:nvSpPr>
          <p:spPr>
            <a:xfrm rot="16200000">
              <a:off x="1434651" y="3472406"/>
              <a:ext cx="1675455" cy="819964"/>
            </a:xfrm>
            <a:prstGeom prst="rect">
              <a:avLst/>
            </a:prstGeom>
            <a:solidFill>
              <a:srgbClr val="FFFFFF"/>
            </a:solidFill>
            <a:ln w="9525" cap="flat" cmpd="sng" algn="ctr">
              <a:solidFill>
                <a:srgbClr val="0858A6"/>
              </a:solidFill>
              <a:prstDash val="solid"/>
            </a:ln>
            <a:effectLst/>
          </p:spPr>
          <p:txBody>
            <a:bodyPr wrap="square" rtlCol="0" anchor="ctr">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black"/>
                  </a:solidFill>
                  <a:effectLst/>
                  <a:uLnTx/>
                  <a:uFillTx/>
                  <a:latin typeface="Calibri"/>
                  <a:ea typeface="Arial" charset="0"/>
                  <a:cs typeface="+mn-cs"/>
                </a:rPr>
                <a:t>1:1 randomization </a:t>
              </a:r>
              <a:br>
                <a:rPr kumimoji="0" lang="en-US" sz="800" b="0" i="0" u="none" strike="noStrike" kern="0" cap="none" spc="0" normalizeH="0" baseline="0" noProof="0">
                  <a:ln>
                    <a:noFill/>
                  </a:ln>
                  <a:solidFill>
                    <a:prstClr val="black"/>
                  </a:solidFill>
                  <a:effectLst/>
                  <a:uLnTx/>
                  <a:uFillTx/>
                  <a:latin typeface="Calibri"/>
                  <a:ea typeface="Arial" charset="0"/>
                  <a:cs typeface="+mn-cs"/>
                </a:rPr>
              </a:br>
              <a:r>
                <a:rPr kumimoji="0" lang="en-US" sz="800" b="0" i="0" u="none" strike="noStrike" kern="0" cap="none" spc="0" normalizeH="0" baseline="0" noProof="0">
                  <a:ln>
                    <a:noFill/>
                  </a:ln>
                  <a:solidFill>
                    <a:prstClr val="black"/>
                  </a:solidFill>
                  <a:effectLst/>
                  <a:uLnTx/>
                  <a:uFillTx/>
                  <a:latin typeface="Calibri"/>
                  <a:ea typeface="Arial" charset="0"/>
                  <a:cs typeface="+mn-cs"/>
                </a:rPr>
                <a:t>(n = 650)</a:t>
              </a:r>
            </a:p>
          </p:txBody>
        </p:sp>
        <p:sp>
          <p:nvSpPr>
            <p:cNvPr id="25" name="Rectangle 24">
              <a:extLst>
                <a:ext uri="{FF2B5EF4-FFF2-40B4-BE49-F238E27FC236}">
                  <a16:creationId xmlns:a16="http://schemas.microsoft.com/office/drawing/2014/main" id="{53647148-50CB-40C7-ABB9-26CEECEFDE35}"/>
                </a:ext>
              </a:extLst>
            </p:cNvPr>
            <p:cNvSpPr/>
            <p:nvPr/>
          </p:nvSpPr>
          <p:spPr bwMode="auto">
            <a:xfrm>
              <a:off x="4357822" y="3062100"/>
              <a:ext cx="7512063" cy="578477"/>
            </a:xfrm>
            <a:prstGeom prst="rect">
              <a:avLst/>
            </a:prstGeom>
            <a:solidFill>
              <a:srgbClr val="ACD58A"/>
            </a:solidFill>
            <a:ln w="9525" cap="flat" cmpd="sng" algn="ctr">
              <a:noFill/>
              <a:prstDash val="solid"/>
            </a:ln>
            <a:effectLst/>
          </p:spPr>
          <p:txBody>
            <a:bodyPr vert="horz" wrap="square" lIns="68580" tIns="34291" rIns="68580" bIns="34291" numCol="1" rtlCol="0" anchor="ctr" anchorCtr="0" compatLnSpc="1">
              <a:prstTxWarp prst="textNoShape">
                <a:avLst/>
              </a:prstTxWarp>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Calibri"/>
                  <a:ea typeface="Arial" charset="0"/>
                  <a:cs typeface="+mn-cs"/>
                </a:rPr>
                <a:t>Rd maintenance (until progression)</a:t>
              </a:r>
            </a:p>
          </p:txBody>
        </p:sp>
        <p:sp>
          <p:nvSpPr>
            <p:cNvPr id="26" name="Rectangle 25">
              <a:extLst>
                <a:ext uri="{FF2B5EF4-FFF2-40B4-BE49-F238E27FC236}">
                  <a16:creationId xmlns:a16="http://schemas.microsoft.com/office/drawing/2014/main" id="{14CD4615-9051-4467-9C94-355DD0557BF7}"/>
                </a:ext>
              </a:extLst>
            </p:cNvPr>
            <p:cNvSpPr/>
            <p:nvPr/>
          </p:nvSpPr>
          <p:spPr>
            <a:xfrm>
              <a:off x="4357823" y="3707030"/>
              <a:ext cx="1114275" cy="1016490"/>
            </a:xfrm>
            <a:prstGeom prst="rect">
              <a:avLst/>
            </a:prstGeom>
            <a:solidFill>
              <a:srgbClr val="E03C6B"/>
            </a:solidFill>
            <a:ln>
              <a:noFill/>
            </a:ln>
            <a:effectLst/>
          </p:spPr>
          <p:txBody>
            <a:bodyPr lIns="0" tIns="0" rIns="0" bIns="0"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a:ea typeface="+mn-ea"/>
                  <a:cs typeface="+mn-cs"/>
                </a:rPr>
                <a:t>Apheresis</a:t>
              </a:r>
            </a:p>
          </p:txBody>
        </p:sp>
        <p:sp>
          <p:nvSpPr>
            <p:cNvPr id="27" name="Rectangle 26">
              <a:extLst>
                <a:ext uri="{FF2B5EF4-FFF2-40B4-BE49-F238E27FC236}">
                  <a16:creationId xmlns:a16="http://schemas.microsoft.com/office/drawing/2014/main" id="{9A6DB37F-D528-4100-B274-63FF08498119}"/>
                </a:ext>
              </a:extLst>
            </p:cNvPr>
            <p:cNvSpPr/>
            <p:nvPr/>
          </p:nvSpPr>
          <p:spPr bwMode="auto">
            <a:xfrm>
              <a:off x="5631383" y="3710270"/>
              <a:ext cx="1356892" cy="1016490"/>
            </a:xfrm>
            <a:prstGeom prst="rect">
              <a:avLst/>
            </a:prstGeom>
            <a:solidFill>
              <a:srgbClr val="ACD58A"/>
            </a:solidFill>
            <a:ln w="9525" cap="flat" cmpd="sng" algn="ctr">
              <a:noFill/>
              <a:prstDash val="solid"/>
            </a:ln>
            <a:effectLst/>
          </p:spPr>
          <p:txBody>
            <a:bodyPr vert="horz" wrap="square" lIns="68580" tIns="34291" rIns="68580" bIns="34291" numCol="1" rtlCol="0" anchor="ctr" anchorCtr="0" compatLnSpc="1">
              <a:prstTxWarp prst="textNoShape">
                <a:avLst/>
              </a:prstTxWarp>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Calibri"/>
                  <a:ea typeface="Arial" charset="0"/>
                  <a:cs typeface="+mn-cs"/>
                </a:rPr>
                <a:t>VRd </a:t>
              </a:r>
            </a:p>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Calibri"/>
                  <a:ea typeface="Arial" charset="0"/>
                  <a:cs typeface="+mn-cs"/>
                </a:rPr>
                <a:t>bridging</a:t>
              </a:r>
            </a:p>
          </p:txBody>
        </p:sp>
        <p:sp>
          <p:nvSpPr>
            <p:cNvPr id="28" name="Rectangle 27">
              <a:extLst>
                <a:ext uri="{FF2B5EF4-FFF2-40B4-BE49-F238E27FC236}">
                  <a16:creationId xmlns:a16="http://schemas.microsoft.com/office/drawing/2014/main" id="{8A0B3F54-2ADF-4FE4-9285-31EBB8156524}"/>
                </a:ext>
              </a:extLst>
            </p:cNvPr>
            <p:cNvSpPr/>
            <p:nvPr/>
          </p:nvSpPr>
          <p:spPr bwMode="auto">
            <a:xfrm>
              <a:off x="10348788" y="3702998"/>
              <a:ext cx="1521098" cy="1016490"/>
            </a:xfrm>
            <a:prstGeom prst="rect">
              <a:avLst/>
            </a:prstGeom>
            <a:noFill/>
            <a:ln w="9525" cap="flat" cmpd="sng" algn="ctr">
              <a:solidFill>
                <a:srgbClr val="003479"/>
              </a:solidFill>
              <a:prstDash val="solid"/>
            </a:ln>
            <a:effectLst/>
          </p:spPr>
          <p:txBody>
            <a:bodyPr vert="horz" wrap="square" lIns="68580" tIns="34291" rIns="68580" bIns="34291" numCol="1" rtlCol="0" anchor="ctr" anchorCtr="0" compatLnSpc="1">
              <a:prstTxWarp prst="textNoShape">
                <a:avLst/>
              </a:prstTxWarp>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Calibri"/>
                  <a:ea typeface="Arial" charset="0"/>
                  <a:cs typeface="+mn-cs"/>
                </a:rPr>
                <a:t>Observation</a:t>
              </a:r>
            </a:p>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Calibri"/>
                  <a:ea typeface="Arial" charset="0"/>
                  <a:cs typeface="+mn-cs"/>
                </a:rPr>
                <a:t>(until progression)</a:t>
              </a:r>
            </a:p>
          </p:txBody>
        </p:sp>
        <p:sp>
          <p:nvSpPr>
            <p:cNvPr id="29" name="Rectangle 28">
              <a:extLst>
                <a:ext uri="{FF2B5EF4-FFF2-40B4-BE49-F238E27FC236}">
                  <a16:creationId xmlns:a16="http://schemas.microsoft.com/office/drawing/2014/main" id="{E98FFA42-A9BD-48AA-945A-B14C658D3337}"/>
                </a:ext>
              </a:extLst>
            </p:cNvPr>
            <p:cNvSpPr/>
            <p:nvPr/>
          </p:nvSpPr>
          <p:spPr>
            <a:xfrm>
              <a:off x="1382481" y="4688775"/>
              <a:ext cx="3626936" cy="1297822"/>
            </a:xfrm>
            <a:prstGeom prst="rect">
              <a:avLst/>
            </a:prstGeom>
          </p:spPr>
          <p:txBody>
            <a:bodyPr wrap="none">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547660" rtl="0" eaLnBrk="1" fontAlgn="base" latinLnBrk="0" hangingPunct="1">
                <a:lnSpc>
                  <a:spcPct val="100000"/>
                </a:lnSpc>
                <a:spcBef>
                  <a:spcPts val="0"/>
                </a:spcBef>
                <a:spcAft>
                  <a:spcPct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a:ea typeface="+mn-ea"/>
                  <a:cs typeface="+mn-cs"/>
                </a:rPr>
                <a:t>Stratification factors: </a:t>
              </a:r>
            </a:p>
            <a:p>
              <a:pPr marL="0" marR="0" lvl="0" indent="0" algn="l" defTabSz="547660" rtl="0" eaLnBrk="1" fontAlgn="base" latinLnBrk="0" hangingPunct="1">
                <a:lnSpc>
                  <a:spcPct val="100000"/>
                </a:lnSpc>
                <a:spcBef>
                  <a:spcPts val="0"/>
                </a:spcBef>
                <a:spcAft>
                  <a:spcPct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a:ea typeface="+mn-ea"/>
                  <a:cs typeface="+mn-cs"/>
                </a:rPr>
                <a:t> R-ISS (I, II, III) </a:t>
              </a:r>
            </a:p>
            <a:p>
              <a:pPr marL="0" marR="0" lvl="0" indent="0" algn="l" defTabSz="547660" rtl="0" eaLnBrk="1" fontAlgn="base" latinLnBrk="0" hangingPunct="1">
                <a:lnSpc>
                  <a:spcPct val="100000"/>
                </a:lnSpc>
                <a:spcBef>
                  <a:spcPts val="0"/>
                </a:spcBef>
                <a:spcAft>
                  <a:spcPct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a:ea typeface="+mn-ea"/>
                  <a:cs typeface="+mn-cs"/>
                </a:rPr>
                <a:t> Age/transplant eligibility</a:t>
              </a:r>
            </a:p>
            <a:p>
              <a:pPr marL="0" marR="0" lvl="0" indent="0" algn="l" defTabSz="547660" rtl="0" eaLnBrk="1" fontAlgn="base" latinLnBrk="0" hangingPunct="1">
                <a:lnSpc>
                  <a:spcPct val="100000"/>
                </a:lnSpc>
                <a:spcBef>
                  <a:spcPts val="0"/>
                </a:spcBef>
                <a:spcAft>
                  <a:spcPct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a:ea typeface="+mn-ea"/>
                  <a:cs typeface="+mn-cs"/>
                </a:rPr>
                <a:t>≥70 years</a:t>
              </a:r>
            </a:p>
            <a:p>
              <a:pPr marL="0" marR="0" lvl="0" indent="0" algn="l" defTabSz="547660" rtl="0" eaLnBrk="1" fontAlgn="base" latinLnBrk="0" hangingPunct="1">
                <a:lnSpc>
                  <a:spcPct val="100000"/>
                </a:lnSpc>
                <a:spcBef>
                  <a:spcPts val="0"/>
                </a:spcBef>
                <a:spcAft>
                  <a:spcPct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a:ea typeface="+mn-ea"/>
                  <a:cs typeface="+mn-cs"/>
                </a:rPr>
                <a:t>&lt;70 years and SCT ineligible due to comorbidities</a:t>
              </a:r>
            </a:p>
            <a:p>
              <a:pPr marL="0" marR="0" lvl="0" indent="0" algn="l" defTabSz="547660" rtl="0" eaLnBrk="1" fontAlgn="base" latinLnBrk="0" hangingPunct="1">
                <a:lnSpc>
                  <a:spcPct val="100000"/>
                </a:lnSpc>
                <a:spcBef>
                  <a:spcPts val="0"/>
                </a:spcBef>
                <a:spcAft>
                  <a:spcPct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a:ea typeface="+mn-ea"/>
                  <a:cs typeface="+mn-cs"/>
                </a:rPr>
                <a:t>&lt;70 years and SCT deferred</a:t>
              </a:r>
            </a:p>
            <a:p>
              <a:pPr marL="0" marR="0" lvl="0" indent="0" algn="l" defTabSz="547660" rtl="0" eaLnBrk="1" fontAlgn="base" latinLnBrk="0" hangingPunct="1">
                <a:lnSpc>
                  <a:spcPct val="100000"/>
                </a:lnSpc>
                <a:spcBef>
                  <a:spcPts val="0"/>
                </a:spcBef>
                <a:spcAft>
                  <a:spcPct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a:ea typeface="+mn-ea"/>
                  <a:cs typeface="+mn-cs"/>
                </a:rPr>
                <a:t> Response to VRd induction (≥VGPR, &lt;VGPR)</a:t>
              </a:r>
            </a:p>
          </p:txBody>
        </p:sp>
        <p:sp>
          <p:nvSpPr>
            <p:cNvPr id="30" name="Triangle 7">
              <a:extLst>
                <a:ext uri="{FF2B5EF4-FFF2-40B4-BE49-F238E27FC236}">
                  <a16:creationId xmlns:a16="http://schemas.microsoft.com/office/drawing/2014/main" id="{78A56069-D98C-4807-B2D8-18C7CAA29182}"/>
                </a:ext>
              </a:extLst>
            </p:cNvPr>
            <p:cNvSpPr/>
            <p:nvPr/>
          </p:nvSpPr>
          <p:spPr>
            <a:xfrm rot="5400000">
              <a:off x="6853365" y="4125074"/>
              <a:ext cx="429105"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31" name="TextBox 52">
              <a:extLst>
                <a:ext uri="{FF2B5EF4-FFF2-40B4-BE49-F238E27FC236}">
                  <a16:creationId xmlns:a16="http://schemas.microsoft.com/office/drawing/2014/main" id="{89041F7B-6729-4575-82EB-ADFB93D564BA}"/>
                </a:ext>
              </a:extLst>
            </p:cNvPr>
            <p:cNvSpPr txBox="1"/>
            <p:nvPr/>
          </p:nvSpPr>
          <p:spPr>
            <a:xfrm>
              <a:off x="-999860" y="2738181"/>
              <a:ext cx="817830" cy="513169"/>
            </a:xfrm>
            <a:prstGeom prst="rect">
              <a:avLst/>
            </a:prstGeom>
            <a:noFill/>
          </p:spPr>
          <p:txBody>
            <a:bodyPr wrap="none" rtlCol="0">
              <a:sp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Study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a:ea typeface="+mn-ea"/>
                  <a:cs typeface="+mn-cs"/>
                </a:rPr>
                <a:t>design</a:t>
              </a:r>
              <a:endParaRPr kumimoji="0" lang="en-US" sz="800" b="1" i="0" u="none" strike="noStrike" kern="1200" cap="none" spc="0" normalizeH="0" baseline="30000" noProof="0">
                <a:ln>
                  <a:noFill/>
                </a:ln>
                <a:solidFill>
                  <a:prstClr val="black"/>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5D66AA1A-0039-45F0-B8C4-600E58EEB281}"/>
                </a:ext>
              </a:extLst>
            </p:cNvPr>
            <p:cNvSpPr/>
            <p:nvPr/>
          </p:nvSpPr>
          <p:spPr bwMode="auto">
            <a:xfrm>
              <a:off x="350663" y="3075680"/>
              <a:ext cx="1356892" cy="1643807"/>
            </a:xfrm>
            <a:prstGeom prst="rect">
              <a:avLst/>
            </a:prstGeom>
            <a:solidFill>
              <a:srgbClr val="ACD58A"/>
            </a:solidFill>
            <a:ln w="9525" cap="flat" cmpd="sng" algn="ctr">
              <a:noFill/>
              <a:prstDash val="solid"/>
            </a:ln>
            <a:effectLst/>
          </p:spPr>
          <p:txBody>
            <a:bodyPr vert="horz" wrap="square" lIns="68580" tIns="34291" rIns="68580" bIns="34291" numCol="1" rtlCol="0" anchor="ctr" anchorCtr="0" compatLnSpc="1">
              <a:prstTxWarp prst="textNoShape">
                <a:avLst/>
              </a:prstTxWarp>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Calibri"/>
                  <a:ea typeface="Arial" charset="0"/>
                  <a:cs typeface="+mn-cs"/>
                </a:rPr>
                <a:t>VRd induction</a:t>
              </a:r>
            </a:p>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Calibri"/>
                  <a:ea typeface="Arial" charset="0"/>
                  <a:cs typeface="+mn-cs"/>
                </a:rPr>
                <a:t>(6 cycles)</a:t>
              </a:r>
              <a:r>
                <a:rPr kumimoji="0" lang="en-GB" sz="800" b="0" i="0" u="none" strike="noStrike" kern="0" cap="none" spc="0" normalizeH="0" baseline="30000" noProof="0">
                  <a:ln>
                    <a:noFill/>
                  </a:ln>
                  <a:solidFill>
                    <a:prstClr val="black"/>
                  </a:solidFill>
                  <a:effectLst/>
                  <a:uLnTx/>
                  <a:uFillTx/>
                  <a:latin typeface="Calibri"/>
                  <a:ea typeface="Arial" charset="0"/>
                  <a:cs typeface="+mn-cs"/>
                </a:rPr>
                <a:t>a</a:t>
              </a:r>
              <a:endParaRPr kumimoji="0" lang="en-GB" sz="800" b="0" i="0" u="none" strike="noStrike" kern="0" cap="none" spc="0" normalizeH="0" baseline="0" noProof="0">
                <a:ln>
                  <a:noFill/>
                </a:ln>
                <a:solidFill>
                  <a:prstClr val="black"/>
                </a:solidFill>
                <a:effectLst/>
                <a:uLnTx/>
                <a:uFillTx/>
                <a:latin typeface="Calibri"/>
                <a:ea typeface="Arial" charset="0"/>
                <a:cs typeface="+mn-cs"/>
              </a:endParaRPr>
            </a:p>
          </p:txBody>
        </p:sp>
        <p:sp>
          <p:nvSpPr>
            <p:cNvPr id="33" name="Triangle 7">
              <a:extLst>
                <a:ext uri="{FF2B5EF4-FFF2-40B4-BE49-F238E27FC236}">
                  <a16:creationId xmlns:a16="http://schemas.microsoft.com/office/drawing/2014/main" id="{B27EA6A3-9392-4B05-B14F-0066606CED56}"/>
                </a:ext>
              </a:extLst>
            </p:cNvPr>
            <p:cNvSpPr/>
            <p:nvPr/>
          </p:nvSpPr>
          <p:spPr>
            <a:xfrm rot="5400000">
              <a:off x="1560797" y="3781025"/>
              <a:ext cx="443912" cy="144921"/>
            </a:xfrm>
            <a:prstGeom prst="triangle">
              <a:avLst/>
            </a:prstGeom>
            <a:solidFill>
              <a:srgbClr val="777A80"/>
            </a:solidFill>
            <a:ln w="9525" cap="flat" cmpd="sng" algn="ctr">
              <a:noFill/>
              <a:prstDash val="solid"/>
            </a:ln>
            <a:effectLst/>
          </p:spPr>
          <p:txBody>
            <a:bodyPr rtlCol="0" anchor="ct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91426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prstClr val="black"/>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2975736D-364C-40FD-B0B7-65ABBECEF1DA}"/>
                </a:ext>
              </a:extLst>
            </p:cNvPr>
            <p:cNvSpPr/>
            <p:nvPr/>
          </p:nvSpPr>
          <p:spPr bwMode="auto">
            <a:xfrm>
              <a:off x="2841646" y="3044660"/>
              <a:ext cx="1356892" cy="595920"/>
            </a:xfrm>
            <a:prstGeom prst="rect">
              <a:avLst/>
            </a:prstGeom>
            <a:solidFill>
              <a:srgbClr val="ACD58A"/>
            </a:solidFill>
            <a:ln w="9525" cap="flat" cmpd="sng" algn="ctr">
              <a:noFill/>
              <a:prstDash val="solid"/>
            </a:ln>
            <a:effectLst/>
          </p:spPr>
          <p:txBody>
            <a:bodyPr vert="horz" wrap="square" lIns="68580" tIns="34291" rIns="68580" bIns="34291" numCol="1" rtlCol="0" anchor="ctr" anchorCtr="0" compatLnSpc="1">
              <a:prstTxWarp prst="textNoShape">
                <a:avLst/>
              </a:prstTxWarp>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ctr" defTabSz="514313"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black"/>
                  </a:solidFill>
                  <a:effectLst/>
                  <a:uLnTx/>
                  <a:uFillTx/>
                  <a:latin typeface="Calibri"/>
                  <a:ea typeface="Arial" charset="0"/>
                  <a:cs typeface="+mn-cs"/>
                </a:rPr>
                <a:t>VRd  </a:t>
              </a:r>
              <a:br>
                <a:rPr kumimoji="0" lang="en-GB" sz="800" b="0" i="0" u="none" strike="noStrike" kern="0" cap="none" spc="0" normalizeH="0" baseline="0" noProof="0">
                  <a:ln>
                    <a:noFill/>
                  </a:ln>
                  <a:solidFill>
                    <a:prstClr val="black"/>
                  </a:solidFill>
                  <a:effectLst/>
                  <a:uLnTx/>
                  <a:uFillTx/>
                  <a:latin typeface="Calibri"/>
                  <a:ea typeface="Arial" charset="0"/>
                  <a:cs typeface="+mn-cs"/>
                </a:rPr>
              </a:br>
              <a:r>
                <a:rPr kumimoji="0" lang="en-GB" sz="800" b="0" i="0" u="none" strike="noStrike" kern="0" cap="none" spc="0" normalizeH="0" baseline="0" noProof="0">
                  <a:ln>
                    <a:noFill/>
                  </a:ln>
                  <a:solidFill>
                    <a:prstClr val="black"/>
                  </a:solidFill>
                  <a:effectLst/>
                  <a:uLnTx/>
                  <a:uFillTx/>
                  <a:latin typeface="Calibri"/>
                  <a:ea typeface="Arial" charset="0"/>
                  <a:cs typeface="+mn-cs"/>
                </a:rPr>
                <a:t>(2 cycles)</a:t>
              </a:r>
            </a:p>
          </p:txBody>
        </p:sp>
      </p:grpSp>
      <p:sp>
        <p:nvSpPr>
          <p:cNvPr id="35" name="Content Placeholder 2">
            <a:extLst>
              <a:ext uri="{FF2B5EF4-FFF2-40B4-BE49-F238E27FC236}">
                <a16:creationId xmlns:a16="http://schemas.microsoft.com/office/drawing/2014/main" id="{7C56AF3E-1004-4009-8238-E2E8D3E56A1D}"/>
              </a:ext>
            </a:extLst>
          </p:cNvPr>
          <p:cNvSpPr>
            <a:spLocks noGrp="1"/>
          </p:cNvSpPr>
          <p:nvPr/>
        </p:nvSpPr>
        <p:spPr>
          <a:xfrm>
            <a:off x="424298" y="1160224"/>
            <a:ext cx="3194825" cy="1389839"/>
          </a:xfrm>
          <a:prstGeom prst="rect">
            <a:avLst/>
          </a:prstGeom>
        </p:spPr>
        <p:txBody>
          <a:bodyPr vert="horz" lIns="0" tIns="34290" rIns="68580" bIns="34290" rtlCol="0">
            <a:no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450"/>
              </a:spcBef>
              <a:spcAft>
                <a:spcPts val="0"/>
              </a:spcAft>
              <a:buClrTx/>
              <a:buSzPct val="125000"/>
              <a:buFontTx/>
              <a:buNone/>
              <a:tabLst/>
              <a:defRPr/>
            </a:pPr>
            <a:r>
              <a:rPr kumimoji="0" lang="en-GB" sz="800" b="1" i="0" u="none" strike="noStrike" kern="0" cap="none" spc="0" normalizeH="0" baseline="0" noProof="0">
                <a:ln>
                  <a:noFill/>
                </a:ln>
                <a:solidFill>
                  <a:srgbClr val="333333"/>
                </a:solidFill>
                <a:effectLst/>
                <a:uLnTx/>
                <a:uFillTx/>
                <a:latin typeface="Calibri"/>
                <a:ea typeface="+mn-ea"/>
                <a:cs typeface="+mn-cs"/>
              </a:rPr>
              <a:t>Primary objective</a:t>
            </a:r>
          </a:p>
          <a:p>
            <a:pPr marL="205740" marR="0" lvl="0" indent="-205740" algn="l" defTabSz="685800" rtl="0" eaLnBrk="1" fontAlgn="auto" latinLnBrk="0" hangingPunct="1">
              <a:lnSpc>
                <a:spcPct val="100000"/>
              </a:lnSpc>
              <a:spcBef>
                <a:spcPts val="450"/>
              </a:spcBef>
              <a:spcAft>
                <a:spcPts val="0"/>
              </a:spcAft>
              <a:buClrTx/>
              <a:buSzPct val="125000"/>
              <a:buFont typeface="Arial" panose="020B0604020202020204" pitchFamily="34" charset="0"/>
              <a:buChar char="•"/>
              <a:tabLst/>
              <a:defRPr/>
            </a:pPr>
            <a:r>
              <a:rPr kumimoji="0" lang="en-US" sz="800" b="0" i="0" u="none" strike="noStrike" kern="0" cap="none" spc="0" normalizeH="0" baseline="0" noProof="0">
                <a:ln>
                  <a:noFill/>
                </a:ln>
                <a:solidFill>
                  <a:srgbClr val="333333"/>
                </a:solidFill>
                <a:effectLst/>
                <a:uLnTx/>
                <a:uFillTx/>
                <a:latin typeface="Calibri"/>
                <a:ea typeface="+mn-ea"/>
                <a:cs typeface="+mn-cs"/>
              </a:rPr>
              <a:t>To compare efficacy of VRd followed by cilta-cel vs VRd followed by Rd therapy in terms of PFS</a:t>
            </a:r>
          </a:p>
          <a:p>
            <a:pPr marL="0" marR="0" lvl="0" indent="0" algn="l" defTabSz="685800" rtl="0" eaLnBrk="1" fontAlgn="auto" latinLnBrk="0" hangingPunct="1">
              <a:lnSpc>
                <a:spcPct val="100000"/>
              </a:lnSpc>
              <a:spcBef>
                <a:spcPts val="450"/>
              </a:spcBef>
              <a:spcAft>
                <a:spcPts val="0"/>
              </a:spcAft>
              <a:buClrTx/>
              <a:buSzPct val="125000"/>
              <a:buFontTx/>
              <a:buNone/>
              <a:tabLst/>
              <a:defRPr/>
            </a:pPr>
            <a:r>
              <a:rPr kumimoji="0" lang="en-GB" sz="800" b="1" i="0" u="none" strike="noStrike" kern="0" cap="none" spc="0" normalizeH="0" baseline="0" noProof="0">
                <a:ln>
                  <a:noFill/>
                </a:ln>
                <a:solidFill>
                  <a:srgbClr val="333333"/>
                </a:solidFill>
                <a:effectLst/>
                <a:uLnTx/>
                <a:uFillTx/>
                <a:latin typeface="Calibri"/>
                <a:ea typeface="+mn-ea"/>
                <a:cs typeface="+mn-cs"/>
              </a:rPr>
              <a:t>Secondary objectives</a:t>
            </a:r>
          </a:p>
          <a:p>
            <a:pPr marL="205740" marR="0" lvl="0" indent="-205740" algn="l" defTabSz="685800" rtl="0" eaLnBrk="1" fontAlgn="auto" latinLnBrk="0" hangingPunct="1">
              <a:lnSpc>
                <a:spcPct val="100000"/>
              </a:lnSpc>
              <a:spcBef>
                <a:spcPts val="0"/>
              </a:spcBef>
              <a:spcAft>
                <a:spcPts val="0"/>
              </a:spcAft>
              <a:buClrTx/>
              <a:buSzPct val="125000"/>
              <a:buFont typeface="Arial" panose="020B0604020202020204" pitchFamily="34" charset="0"/>
              <a:buChar char="•"/>
              <a:tabLst/>
              <a:defRPr/>
            </a:pPr>
            <a:r>
              <a:rPr kumimoji="0" lang="en-US" sz="800" b="0" i="0" u="none" strike="noStrike" kern="0" cap="none" spc="0" normalizeH="0" baseline="0" noProof="0">
                <a:ln>
                  <a:noFill/>
                </a:ln>
                <a:solidFill>
                  <a:srgbClr val="333333"/>
                </a:solidFill>
                <a:effectLst/>
                <a:uLnTx/>
                <a:uFillTx/>
                <a:latin typeface="Calibri"/>
                <a:ea typeface="+mn-ea"/>
                <a:cs typeface="+mn-cs"/>
              </a:rPr>
              <a:t>To characterize MRD negativity</a:t>
            </a:r>
          </a:p>
          <a:p>
            <a:pPr marL="205740" marR="0" lvl="0" indent="-205740" algn="l" defTabSz="685800" rtl="0" eaLnBrk="1" fontAlgn="auto" latinLnBrk="0" hangingPunct="1">
              <a:lnSpc>
                <a:spcPct val="100000"/>
              </a:lnSpc>
              <a:spcBef>
                <a:spcPts val="0"/>
              </a:spcBef>
              <a:spcAft>
                <a:spcPts val="0"/>
              </a:spcAft>
              <a:buClrTx/>
              <a:buSzPct val="125000"/>
              <a:buFont typeface="Arial" panose="020B0604020202020204" pitchFamily="34" charset="0"/>
              <a:buChar char="•"/>
              <a:tabLst/>
              <a:defRPr/>
            </a:pPr>
            <a:r>
              <a:rPr kumimoji="0" lang="en-US" sz="800" b="0" i="0" u="none" strike="noStrike" kern="0" cap="none" spc="0" normalizeH="0" baseline="0" noProof="0">
                <a:ln>
                  <a:noFill/>
                </a:ln>
                <a:solidFill>
                  <a:srgbClr val="333333"/>
                </a:solidFill>
                <a:effectLst/>
                <a:uLnTx/>
                <a:uFillTx/>
                <a:latin typeface="Calibri"/>
                <a:ea typeface="+mn-ea"/>
                <a:cs typeface="+mn-cs"/>
              </a:rPr>
              <a:t>To further compare efficacy of VRd followed by cilta-cel vs VRd followed by Rd therapy: ≥CR, PFS2, OS</a:t>
            </a:r>
          </a:p>
          <a:p>
            <a:pPr marL="205740" marR="0" lvl="0" indent="-205740" algn="l" defTabSz="685800" rtl="0" eaLnBrk="1" fontAlgn="auto" latinLnBrk="0" hangingPunct="1">
              <a:lnSpc>
                <a:spcPct val="100000"/>
              </a:lnSpc>
              <a:spcBef>
                <a:spcPts val="0"/>
              </a:spcBef>
              <a:spcAft>
                <a:spcPts val="0"/>
              </a:spcAft>
              <a:buClrTx/>
              <a:buSzPct val="125000"/>
              <a:buFont typeface="Arial" panose="020B0604020202020204" pitchFamily="34" charset="0"/>
              <a:buChar char="•"/>
              <a:tabLst/>
              <a:defRPr/>
            </a:pPr>
            <a:r>
              <a:rPr kumimoji="0" lang="en-US" sz="800" b="0" i="0" u="none" strike="noStrike" kern="0" cap="none" spc="0" normalizeH="0" baseline="0" noProof="0">
                <a:ln>
                  <a:noFill/>
                </a:ln>
                <a:solidFill>
                  <a:srgbClr val="333333"/>
                </a:solidFill>
                <a:effectLst/>
                <a:uLnTx/>
                <a:uFillTx/>
                <a:latin typeface="Calibri"/>
                <a:ea typeface="+mn-ea"/>
                <a:cs typeface="+mn-cs"/>
              </a:rPr>
              <a:t>To characterize safety, PK and PD of cilta-cel</a:t>
            </a:r>
          </a:p>
          <a:p>
            <a:pPr marL="205740" marR="0" lvl="0" indent="-205740" algn="l" defTabSz="685800" rtl="0" eaLnBrk="1" fontAlgn="auto" latinLnBrk="0" hangingPunct="1">
              <a:lnSpc>
                <a:spcPct val="100000"/>
              </a:lnSpc>
              <a:spcBef>
                <a:spcPts val="0"/>
              </a:spcBef>
              <a:spcAft>
                <a:spcPts val="0"/>
              </a:spcAft>
              <a:buClrTx/>
              <a:buSzPct val="125000"/>
              <a:buFont typeface="Arial" panose="020B0604020202020204" pitchFamily="34" charset="0"/>
              <a:buChar char="•"/>
              <a:tabLst/>
              <a:defRPr/>
            </a:pPr>
            <a:r>
              <a:rPr kumimoji="0" lang="en-US" sz="800" b="0" i="0" u="none" strike="noStrike" kern="0" cap="none" spc="0" normalizeH="0" baseline="0" noProof="0">
                <a:ln>
                  <a:noFill/>
                </a:ln>
                <a:solidFill>
                  <a:srgbClr val="333333"/>
                </a:solidFill>
                <a:effectLst/>
                <a:uLnTx/>
                <a:uFillTx/>
                <a:latin typeface="Calibri"/>
                <a:ea typeface="+mn-ea"/>
                <a:cs typeface="+mn-cs"/>
              </a:rPr>
              <a:t>To evaluate PROs</a:t>
            </a:r>
          </a:p>
        </p:txBody>
      </p:sp>
      <p:sp>
        <p:nvSpPr>
          <p:cNvPr id="36" name="Content Placeholder 2">
            <a:extLst>
              <a:ext uri="{FF2B5EF4-FFF2-40B4-BE49-F238E27FC236}">
                <a16:creationId xmlns:a16="http://schemas.microsoft.com/office/drawing/2014/main" id="{0992DA40-BA50-4528-AB9D-15C38F156C65}"/>
              </a:ext>
            </a:extLst>
          </p:cNvPr>
          <p:cNvSpPr>
            <a:spLocks noGrp="1"/>
          </p:cNvSpPr>
          <p:nvPr/>
        </p:nvSpPr>
        <p:spPr>
          <a:xfrm>
            <a:off x="3619900" y="1160223"/>
            <a:ext cx="2735006" cy="1684747"/>
          </a:xfrm>
          <a:prstGeom prst="rect">
            <a:avLst/>
          </a:prstGeom>
        </p:spPr>
        <p:txBody>
          <a:bodyPr vert="horz" lIns="0" tIns="34290" rIns="68580" bIns="34290" rtlCol="0">
            <a:norm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450"/>
              </a:spcBef>
              <a:spcAft>
                <a:spcPts val="0"/>
              </a:spcAft>
              <a:buClrTx/>
              <a:buSzPct val="125000"/>
              <a:buFontTx/>
              <a:buNone/>
              <a:tabLst/>
              <a:defRPr/>
            </a:pPr>
            <a:r>
              <a:rPr kumimoji="0" lang="en-GB" sz="800" b="1" i="0" u="none" strike="noStrike" kern="0" cap="none" spc="0" normalizeH="0" baseline="0" noProof="0">
                <a:ln>
                  <a:noFill/>
                </a:ln>
                <a:solidFill>
                  <a:srgbClr val="333333"/>
                </a:solidFill>
                <a:effectLst/>
                <a:uLnTx/>
                <a:uFillTx/>
                <a:latin typeface="Calibri"/>
                <a:ea typeface="+mn-ea"/>
                <a:cs typeface="+mn-cs"/>
              </a:rPr>
              <a:t>Key inclusion criteria</a:t>
            </a:r>
          </a:p>
          <a:p>
            <a:pPr marL="211931" marR="0" lvl="0" indent="-211931" algn="l" defTabSz="685800" rtl="0" eaLnBrk="1" fontAlgn="auto" latinLnBrk="0" hangingPunct="1">
              <a:lnSpc>
                <a:spcPct val="100000"/>
              </a:lnSpc>
              <a:spcBef>
                <a:spcPts val="450"/>
              </a:spcBef>
              <a:spcAft>
                <a:spcPts val="0"/>
              </a:spcAft>
              <a:buClrTx/>
              <a:buSzPct val="125000"/>
              <a:buFont typeface="Arial" panose="020B0604020202020204" pitchFamily="34" charset="0"/>
              <a:buChar char="•"/>
              <a:tabLst/>
              <a:defRPr/>
            </a:pPr>
            <a:r>
              <a:rPr kumimoji="0" lang="en-US" sz="800" b="0" i="0" u="none" strike="noStrike" kern="1200" cap="none" spc="0" normalizeH="0" baseline="0" noProof="0">
                <a:ln>
                  <a:noFill/>
                </a:ln>
                <a:solidFill>
                  <a:srgbClr val="333333"/>
                </a:solidFill>
                <a:effectLst/>
                <a:uLnTx/>
                <a:uFillTx/>
                <a:latin typeface="Calibri"/>
                <a:ea typeface="+mn-ea"/>
                <a:cs typeface="+mn-cs"/>
              </a:rPr>
              <a:t>Newly diagnosed multiple myeloma</a:t>
            </a:r>
          </a:p>
          <a:p>
            <a:pPr marL="211931" marR="0" lvl="0" indent="-211931" algn="l" defTabSz="685800" rtl="0" eaLnBrk="1" fontAlgn="auto" latinLnBrk="0" hangingPunct="1">
              <a:lnSpc>
                <a:spcPct val="100000"/>
              </a:lnSpc>
              <a:spcBef>
                <a:spcPts val="450"/>
              </a:spcBef>
              <a:spcAft>
                <a:spcPts val="0"/>
              </a:spcAft>
              <a:buClrTx/>
              <a:buSzPct val="125000"/>
              <a:buFont typeface="Arial" panose="020B0604020202020204" pitchFamily="34" charset="0"/>
              <a:buChar char="•"/>
              <a:tabLst/>
              <a:defRPr/>
            </a:pPr>
            <a:r>
              <a:rPr kumimoji="0" lang="en-US" sz="800" b="0" i="0" u="none" strike="noStrike" kern="1200" cap="none" spc="0" normalizeH="0" baseline="0" noProof="0">
                <a:ln>
                  <a:noFill/>
                </a:ln>
                <a:solidFill>
                  <a:srgbClr val="333333"/>
                </a:solidFill>
                <a:effectLst/>
                <a:uLnTx/>
                <a:uFillTx/>
                <a:latin typeface="Calibri"/>
                <a:ea typeface="+mn-ea"/>
                <a:cs typeface="+mn-cs"/>
              </a:rPr>
              <a:t>Not considered candidate for high-dose chemotherapy with SCT due to advanced age or presence of comorbid condition(s) likely to have a negative impact on tolerability of high-dose chemotherapy with SCT or defer high-dose chemotherapy with SCT as initial treatment</a:t>
            </a:r>
          </a:p>
        </p:txBody>
      </p:sp>
      <p:sp>
        <p:nvSpPr>
          <p:cNvPr id="37" name="Content Placeholder 2">
            <a:extLst>
              <a:ext uri="{FF2B5EF4-FFF2-40B4-BE49-F238E27FC236}">
                <a16:creationId xmlns:a16="http://schemas.microsoft.com/office/drawing/2014/main" id="{94142823-CC95-4CDB-B980-AF26876ED690}"/>
              </a:ext>
            </a:extLst>
          </p:cNvPr>
          <p:cNvSpPr>
            <a:spLocks noGrp="1"/>
          </p:cNvSpPr>
          <p:nvPr/>
        </p:nvSpPr>
        <p:spPr>
          <a:xfrm>
            <a:off x="6679407" y="1160223"/>
            <a:ext cx="2113772" cy="1452831"/>
          </a:xfrm>
          <a:prstGeom prst="rect">
            <a:avLst/>
          </a:prstGeom>
        </p:spPr>
        <p:txBody>
          <a:bodyPr vert="horz" lIns="0" tIns="34290" rIns="68580" bIns="34290" rtlCol="0">
            <a:normAutofit/>
          </a:bodyPr>
          <a:lst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450"/>
              </a:spcBef>
              <a:spcAft>
                <a:spcPts val="0"/>
              </a:spcAft>
              <a:buClrTx/>
              <a:buSzPct val="125000"/>
              <a:buFontTx/>
              <a:buNone/>
              <a:tabLst/>
              <a:defRPr/>
            </a:pPr>
            <a:r>
              <a:rPr kumimoji="0" lang="en-GB" sz="800" b="1" i="0" u="none" strike="noStrike" kern="0" cap="none" spc="0" normalizeH="0" baseline="0" noProof="0">
                <a:ln>
                  <a:noFill/>
                </a:ln>
                <a:solidFill>
                  <a:srgbClr val="333333"/>
                </a:solidFill>
                <a:effectLst/>
                <a:uLnTx/>
                <a:uFillTx/>
                <a:latin typeface="Calibri"/>
                <a:ea typeface="+mn-ea"/>
                <a:cs typeface="+mn-cs"/>
              </a:rPr>
              <a:t>Key exclusion criteria</a:t>
            </a:r>
          </a:p>
          <a:p>
            <a:pPr marL="211931" marR="0" lvl="0" indent="-211931" algn="l" defTabSz="685800" rtl="0" eaLnBrk="1" fontAlgn="auto" latinLnBrk="0" hangingPunct="1">
              <a:lnSpc>
                <a:spcPct val="100000"/>
              </a:lnSpc>
              <a:spcBef>
                <a:spcPts val="450"/>
              </a:spcBef>
              <a:spcAft>
                <a:spcPts val="0"/>
              </a:spcAft>
              <a:buClrTx/>
              <a:buSzPct val="125000"/>
              <a:buFont typeface="Arial" panose="020B0604020202020204" pitchFamily="34" charset="0"/>
              <a:buChar char="•"/>
              <a:tabLst/>
              <a:defRPr/>
            </a:pPr>
            <a:r>
              <a:rPr kumimoji="0" lang="en-US" sz="800" b="0" i="0" u="none" strike="noStrike" kern="1200" cap="none" spc="0" normalizeH="0" baseline="0" noProof="0">
                <a:ln>
                  <a:noFill/>
                </a:ln>
                <a:solidFill>
                  <a:srgbClr val="333333"/>
                </a:solidFill>
                <a:effectLst/>
                <a:uLnTx/>
                <a:uFillTx/>
                <a:latin typeface="Calibri"/>
                <a:ea typeface="+mn-ea"/>
                <a:cs typeface="+mn-cs"/>
              </a:rPr>
              <a:t>Frailty index of ≥2 according to Myeloma Geriatric Assessment score</a:t>
            </a:r>
          </a:p>
          <a:p>
            <a:pPr marL="211931" marR="0" lvl="0" indent="-211931" algn="l" defTabSz="685800" rtl="0" eaLnBrk="1" fontAlgn="auto" latinLnBrk="0" hangingPunct="1">
              <a:lnSpc>
                <a:spcPct val="100000"/>
              </a:lnSpc>
              <a:spcBef>
                <a:spcPts val="450"/>
              </a:spcBef>
              <a:spcAft>
                <a:spcPts val="0"/>
              </a:spcAft>
              <a:buClrTx/>
              <a:buSzPct val="125000"/>
              <a:buFont typeface="Arial" panose="020B0604020202020204" pitchFamily="34" charset="0"/>
              <a:buChar char="•"/>
              <a:tabLst/>
              <a:defRPr/>
            </a:pPr>
            <a:r>
              <a:rPr kumimoji="0" lang="en-US" sz="800" b="0" i="0" u="none" strike="noStrike" kern="1200" cap="none" spc="0" normalizeH="0" baseline="0" noProof="0">
                <a:ln>
                  <a:noFill/>
                </a:ln>
                <a:solidFill>
                  <a:srgbClr val="333333"/>
                </a:solidFill>
                <a:effectLst/>
                <a:uLnTx/>
                <a:uFillTx/>
                <a:latin typeface="Calibri"/>
                <a:ea typeface="+mn-ea"/>
                <a:cs typeface="+mn-cs"/>
              </a:rPr>
              <a:t>Prior CAR T or BCMA-targeting therapy</a:t>
            </a:r>
          </a:p>
          <a:p>
            <a:pPr marL="211931" marR="0" lvl="0" indent="-211931" algn="l" defTabSz="685800" rtl="0" eaLnBrk="1" fontAlgn="auto" latinLnBrk="0" hangingPunct="1">
              <a:lnSpc>
                <a:spcPct val="100000"/>
              </a:lnSpc>
              <a:spcBef>
                <a:spcPts val="450"/>
              </a:spcBef>
              <a:spcAft>
                <a:spcPts val="0"/>
              </a:spcAft>
              <a:buClrTx/>
              <a:buSzPct val="125000"/>
              <a:buFont typeface="Arial" panose="020B0604020202020204" pitchFamily="34" charset="0"/>
              <a:buChar char="•"/>
              <a:tabLst/>
              <a:defRPr/>
            </a:pPr>
            <a:r>
              <a:rPr kumimoji="0" lang="en-US" sz="800" b="0" i="0" u="none" strike="noStrike" kern="1200" cap="none" spc="0" normalizeH="0" baseline="0" noProof="0">
                <a:ln>
                  <a:noFill/>
                </a:ln>
                <a:solidFill>
                  <a:srgbClr val="333333"/>
                </a:solidFill>
                <a:effectLst/>
                <a:uLnTx/>
                <a:uFillTx/>
                <a:latin typeface="Calibri"/>
                <a:ea typeface="+mn-ea"/>
                <a:cs typeface="+mn-cs"/>
              </a:rPr>
              <a:t>Any prior therapy for multiple myeloma or smoldering myeloma</a:t>
            </a:r>
          </a:p>
        </p:txBody>
      </p:sp>
    </p:spTree>
    <p:extLst>
      <p:ext uri="{BB962C8B-B14F-4D97-AF65-F5344CB8AC3E}">
        <p14:creationId xmlns:p14="http://schemas.microsoft.com/office/powerpoint/2010/main" val="258379848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a:extLst>
              <a:ext uri="{FF2B5EF4-FFF2-40B4-BE49-F238E27FC236}">
                <a16:creationId xmlns:a16="http://schemas.microsoft.com/office/drawing/2014/main" id="{4E2726E0-5ADA-4CAB-8793-557BF6609F07}"/>
              </a:ext>
            </a:extLst>
          </p:cNvPr>
          <p:cNvSpPr>
            <a:spLocks noGrp="1"/>
          </p:cNvSpPr>
          <p:nvPr>
            <p:ph type="title"/>
          </p:nvPr>
        </p:nvSpPr>
        <p:spPr>
          <a:xfrm>
            <a:off x="610909" y="95698"/>
            <a:ext cx="7886700" cy="994172"/>
          </a:xfrm>
        </p:spPr>
        <p:txBody>
          <a:bodyPr anchor="t"/>
          <a:lstStyle/>
          <a:p>
            <a:pPr eaLnBrk="1" hangingPunct="1"/>
            <a:r>
              <a:rPr lang="en-US" altLang="en-US" sz="3000" b="1" noProof="0">
                <a:solidFill>
                  <a:srgbClr val="000090"/>
                </a:solidFill>
                <a:ea typeface="ＭＳ Ｐゴシック" panose="020B0600070205080204" pitchFamily="34" charset="-128"/>
              </a:rPr>
              <a:t>Clinical Take-Homes: Induction Therapy</a:t>
            </a:r>
          </a:p>
        </p:txBody>
      </p:sp>
      <p:graphicFrame>
        <p:nvGraphicFramePr>
          <p:cNvPr id="5" name="Table 4">
            <a:extLst>
              <a:ext uri="{FF2B5EF4-FFF2-40B4-BE49-F238E27FC236}">
                <a16:creationId xmlns:a16="http://schemas.microsoft.com/office/drawing/2014/main" id="{E2FFE20C-B5F6-4B40-BF90-7F6D2D477451}"/>
              </a:ext>
            </a:extLst>
          </p:cNvPr>
          <p:cNvGraphicFramePr>
            <a:graphicFrameLocks noGrp="1"/>
          </p:cNvGraphicFramePr>
          <p:nvPr>
            <p:extLst>
              <p:ext uri="{D42A27DB-BD31-4B8C-83A1-F6EECF244321}">
                <p14:modId xmlns:p14="http://schemas.microsoft.com/office/powerpoint/2010/main" val="3183856364"/>
              </p:ext>
            </p:extLst>
          </p:nvPr>
        </p:nvGraphicFramePr>
        <p:xfrm>
          <a:off x="246459" y="758506"/>
          <a:ext cx="8651081" cy="3642311"/>
        </p:xfrm>
        <a:graphic>
          <a:graphicData uri="http://schemas.openxmlformats.org/drawingml/2006/table">
            <a:tbl>
              <a:tblPr firstRow="1" bandRow="1">
                <a:tableStyleId>{21E4AEA4-8DFA-4A89-87EB-49C32662AFE0}</a:tableStyleId>
              </a:tblPr>
              <a:tblGrid>
                <a:gridCol w="8651081">
                  <a:extLst>
                    <a:ext uri="{9D8B030D-6E8A-4147-A177-3AD203B41FA5}">
                      <a16:colId xmlns:a16="http://schemas.microsoft.com/office/drawing/2014/main" val="20000"/>
                    </a:ext>
                  </a:extLst>
                </a:gridCol>
              </a:tblGrid>
              <a:tr h="342851">
                <a:tc>
                  <a:txBody>
                    <a:bodyPr/>
                    <a:lstStyle/>
                    <a:p>
                      <a:pPr marL="0" marR="0" lvl="0" indent="0" algn="l" defTabSz="914400" rtl="0" eaLnBrk="1" fontAlgn="base" latinLnBrk="0" hangingPunct="1">
                        <a:lnSpc>
                          <a:spcPct val="100000"/>
                        </a:lnSpc>
                        <a:spcBef>
                          <a:spcPts val="0"/>
                        </a:spcBef>
                        <a:spcAft>
                          <a:spcPct val="0"/>
                        </a:spcAft>
                        <a:buClr>
                          <a:srgbClr val="006099"/>
                        </a:buClr>
                        <a:buSzTx/>
                        <a:buFontTx/>
                        <a:buNone/>
                        <a:tabLst/>
                      </a:pPr>
                      <a:r>
                        <a:rPr kumimoji="0" lang="en-US" sz="1700" u="none" strike="noStrike" cap="none" normalizeH="0" baseline="0">
                          <a:ln>
                            <a:noFill/>
                          </a:ln>
                          <a:effectLst/>
                        </a:rPr>
                        <a:t>Transplant-Ineligible Patients</a:t>
                      </a:r>
                      <a:endParaRPr kumimoji="0" lang="en-US" sz="1700" b="1" i="0" u="none" strike="noStrike" cap="none" normalizeH="0" baseline="0">
                        <a:ln>
                          <a:noFill/>
                        </a:ln>
                        <a:solidFill>
                          <a:schemeClr val="bg1"/>
                        </a:solidFill>
                        <a:effectLst/>
                        <a:latin typeface="+mn-lt"/>
                      </a:endParaRPr>
                    </a:p>
                  </a:txBody>
                  <a:tcPr marL="91445" marR="91445"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969481">
                <a:tc>
                  <a:txBody>
                    <a:bodyPr/>
                    <a:lstStyle/>
                    <a:p>
                      <a:pPr marL="308610" indent="-285750" fontAlgn="base">
                        <a:spcAft>
                          <a:spcPts val="600"/>
                        </a:spcAft>
                        <a:buClr>
                          <a:srgbClr val="161A2E"/>
                        </a:buClr>
                        <a:buFont typeface="Arial" panose="020B0604020202020204" pitchFamily="34" charset="0"/>
                        <a:buChar char="•"/>
                        <a:defRPr/>
                      </a:pPr>
                      <a:r>
                        <a:rPr lang="en-CA" sz="2400" b="0">
                          <a:solidFill>
                            <a:srgbClr val="000000"/>
                          </a:solidFill>
                        </a:rPr>
                        <a:t>VRD-lite and Rd remain standards (and CyBorD)</a:t>
                      </a:r>
                    </a:p>
                    <a:p>
                      <a:pPr marL="308610" indent="-285750" fontAlgn="base">
                        <a:spcAft>
                          <a:spcPts val="600"/>
                        </a:spcAft>
                        <a:buClr>
                          <a:srgbClr val="161A2E"/>
                        </a:buClr>
                        <a:buFont typeface="Arial" panose="020B0604020202020204" pitchFamily="34" charset="0"/>
                        <a:buChar char="•"/>
                        <a:defRPr/>
                      </a:pPr>
                      <a:r>
                        <a:rPr lang="en-CA" sz="2400" b="0">
                          <a:solidFill>
                            <a:srgbClr val="000000"/>
                          </a:solidFill>
                        </a:rPr>
                        <a:t>Daratumumab + Rd adoption</a:t>
                      </a:r>
                      <a:r>
                        <a:rPr lang="en-CA" sz="2400" b="0" baseline="0">
                          <a:solidFill>
                            <a:srgbClr val="000000"/>
                          </a:solidFill>
                        </a:rPr>
                        <a:t> high as regulators approve around the world</a:t>
                      </a:r>
                      <a:endParaRPr lang="en-CA" sz="2400" b="0">
                        <a:solidFill>
                          <a:srgbClr val="000000"/>
                        </a:solidFill>
                      </a:endParaRPr>
                    </a:p>
                    <a:p>
                      <a:pPr marL="308610" indent="-285750" fontAlgn="base">
                        <a:spcAft>
                          <a:spcPts val="600"/>
                        </a:spcAft>
                        <a:buClr>
                          <a:srgbClr val="161A2E"/>
                        </a:buClr>
                        <a:buFont typeface="Arial" panose="020B0604020202020204" pitchFamily="34" charset="0"/>
                        <a:buChar char="•"/>
                        <a:defRPr/>
                      </a:pPr>
                      <a:r>
                        <a:rPr lang="en-CA" sz="2400" b="0">
                          <a:solidFill>
                            <a:srgbClr val="000000"/>
                          </a:solidFill>
                        </a:rPr>
                        <a:t>Other daratumumab-based combinations (eg, VMP-Dara) are FDA approved and incorporated into treatment guidelines on the basis of phase III evidence</a:t>
                      </a:r>
                    </a:p>
                    <a:p>
                      <a:pPr marL="308610" indent="-285750" fontAlgn="base">
                        <a:spcAft>
                          <a:spcPts val="600"/>
                        </a:spcAft>
                        <a:buClr>
                          <a:srgbClr val="161A2E"/>
                        </a:buClr>
                        <a:buFont typeface="Arial" panose="020B0604020202020204" pitchFamily="34" charset="0"/>
                        <a:buChar char="•"/>
                        <a:defRPr/>
                      </a:pPr>
                      <a:r>
                        <a:rPr lang="en-CA" sz="2400" b="1">
                          <a:solidFill>
                            <a:srgbClr val="000000"/>
                          </a:solidFill>
                        </a:rPr>
                        <a:t>Future:</a:t>
                      </a:r>
                      <a:r>
                        <a:rPr lang="en-CA" sz="2400" b="0">
                          <a:solidFill>
                            <a:srgbClr val="000000"/>
                          </a:solidFill>
                        </a:rPr>
                        <a:t> Early CAR T? </a:t>
                      </a:r>
                    </a:p>
                    <a:p>
                      <a:pPr marL="308610" indent="-285750" fontAlgn="base">
                        <a:spcAft>
                          <a:spcPts val="600"/>
                        </a:spcAft>
                        <a:buClr>
                          <a:srgbClr val="161A2E"/>
                        </a:buClr>
                        <a:buFont typeface="Arial" panose="020B0604020202020204" pitchFamily="34" charset="0"/>
                        <a:buChar char="•"/>
                        <a:defRPr/>
                      </a:pPr>
                      <a:r>
                        <a:rPr lang="en-CA" sz="2400" b="1" spc="-20" baseline="0">
                          <a:solidFill>
                            <a:srgbClr val="000000"/>
                          </a:solidFill>
                        </a:rPr>
                        <a:t>Long-term future:</a:t>
                      </a:r>
                      <a:r>
                        <a:rPr lang="en-CA" sz="2400" b="0" spc="-20" baseline="0">
                          <a:solidFill>
                            <a:srgbClr val="000000"/>
                          </a:solidFill>
                        </a:rPr>
                        <a:t> Introduction of venetoclax and T-cell engagers?</a:t>
                      </a:r>
                    </a:p>
                  </a:txBody>
                  <a:tcPr marL="91445" marR="91445"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9FB5E860-8B25-45D4-BB1C-39CDC1A7693D}"/>
              </a:ext>
            </a:extLst>
          </p:cNvPr>
          <p:cNvPicPr>
            <a:picLocks noGrp="1" noChangeAspect="1"/>
          </p:cNvPicPr>
          <p:nvPr>
            <p:ph idx="1"/>
          </p:nvPr>
        </p:nvPicPr>
        <p:blipFill>
          <a:blip r:embed="rId2"/>
          <a:stretch>
            <a:fillRect/>
          </a:stretch>
        </p:blipFill>
        <p:spPr>
          <a:xfrm>
            <a:off x="477141" y="1392119"/>
            <a:ext cx="7727673" cy="3043303"/>
          </a:xfrm>
          <a:prstGeom prst="rect">
            <a:avLst/>
          </a:prstGeom>
        </p:spPr>
      </p:pic>
      <p:grpSp>
        <p:nvGrpSpPr>
          <p:cNvPr id="5" name="Group 4">
            <a:extLst>
              <a:ext uri="{FF2B5EF4-FFF2-40B4-BE49-F238E27FC236}">
                <a16:creationId xmlns:a16="http://schemas.microsoft.com/office/drawing/2014/main" id="{B6A1A895-7402-4D99-B2C9-991E5EECD62C}"/>
              </a:ext>
            </a:extLst>
          </p:cNvPr>
          <p:cNvGrpSpPr/>
          <p:nvPr/>
        </p:nvGrpSpPr>
        <p:grpSpPr>
          <a:xfrm>
            <a:off x="1218913" y="510377"/>
            <a:ext cx="6399251" cy="766778"/>
            <a:chOff x="2489200" y="1554143"/>
            <a:chExt cx="7334211" cy="1022370"/>
          </a:xfrm>
        </p:grpSpPr>
        <p:sp>
          <p:nvSpPr>
            <p:cNvPr id="6" name="Content Placeholder 2">
              <a:extLst>
                <a:ext uri="{FF2B5EF4-FFF2-40B4-BE49-F238E27FC236}">
                  <a16:creationId xmlns:a16="http://schemas.microsoft.com/office/drawing/2014/main" id="{4E04FE1F-52E5-4DEA-85CB-8C45F1398576}"/>
                </a:ext>
              </a:extLst>
            </p:cNvPr>
            <p:cNvSpPr txBox="1">
              <a:spLocks noChangeArrowheads="1"/>
            </p:cNvSpPr>
            <p:nvPr/>
          </p:nvSpPr>
          <p:spPr bwMode="auto">
            <a:xfrm>
              <a:off x="4179888" y="1841500"/>
              <a:ext cx="297180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182563">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730250" indent="-182563">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004888" indent="-182563">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1187450" indent="-136525">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16446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1018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25590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0162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lgn="ctr" defTabSz="685800">
                <a:buClr>
                  <a:srgbClr val="4F81BD"/>
                </a:buClr>
                <a:buSzPct val="85000"/>
                <a:buNone/>
              </a:pPr>
              <a:r>
                <a:rPr lang="en-US" altLang="en-US" sz="1275">
                  <a:solidFill>
                    <a:prstClr val="black"/>
                  </a:solidFill>
                  <a:cs typeface="Arial" panose="020B0604020202020204" pitchFamily="34" charset="0"/>
                </a:rPr>
                <a:t>Pre-neoplasia</a:t>
              </a:r>
            </a:p>
          </p:txBody>
        </p:sp>
        <p:sp>
          <p:nvSpPr>
            <p:cNvPr id="7" name="Right Arrow 39">
              <a:extLst>
                <a:ext uri="{FF2B5EF4-FFF2-40B4-BE49-F238E27FC236}">
                  <a16:creationId xmlns:a16="http://schemas.microsoft.com/office/drawing/2014/main" id="{14A56D94-44F5-497B-A82B-93707072176D}"/>
                </a:ext>
              </a:extLst>
            </p:cNvPr>
            <p:cNvSpPr/>
            <p:nvPr/>
          </p:nvSpPr>
          <p:spPr bwMode="auto">
            <a:xfrm>
              <a:off x="4675821" y="2088577"/>
              <a:ext cx="2286000" cy="487936"/>
            </a:xfrm>
            <a:prstGeom prst="rightArrow">
              <a:avLst/>
            </a:prstGeom>
            <a:gradFill flip="none" rotWithShape="1">
              <a:gsLst>
                <a:gs pos="98000">
                  <a:srgbClr val="FFFD78"/>
                </a:gs>
                <a:gs pos="48000">
                  <a:srgbClr val="FFC000"/>
                </a:gs>
              </a:gsLst>
              <a:path path="circle">
                <a:fillToRect l="100000" t="100000"/>
              </a:path>
              <a:tileRect r="-100000" b="-100000"/>
            </a:gradFill>
            <a:ln w="9525" cap="flat" cmpd="sng" algn="ctr">
              <a:noFill/>
              <a:prstDash val="solid"/>
              <a:round/>
              <a:headEnd type="none" w="med" len="med"/>
              <a:tailEnd type="triangle" w="med" len="med"/>
            </a:ln>
            <a:effectLst/>
          </p:spPr>
          <p:txBody>
            <a:bodyPr/>
            <a:lstStyle/>
            <a:p>
              <a:pPr algn="ctr" defTabSz="685800">
                <a:defRPr/>
              </a:pPr>
              <a:endParaRPr lang="en-US" sz="1500">
                <a:solidFill>
                  <a:prstClr val="white"/>
                </a:solidFill>
                <a:latin typeface="Arial"/>
                <a:cs typeface="Arial"/>
              </a:endParaRPr>
            </a:p>
          </p:txBody>
        </p:sp>
        <p:sp>
          <p:nvSpPr>
            <p:cNvPr id="8" name="Content Placeholder 2">
              <a:extLst>
                <a:ext uri="{FF2B5EF4-FFF2-40B4-BE49-F238E27FC236}">
                  <a16:creationId xmlns:a16="http://schemas.microsoft.com/office/drawing/2014/main" id="{D7241CF5-BFB8-477E-AFAC-FEF6462A28D4}"/>
                </a:ext>
              </a:extLst>
            </p:cNvPr>
            <p:cNvSpPr txBox="1">
              <a:spLocks noChangeArrowheads="1"/>
            </p:cNvSpPr>
            <p:nvPr/>
          </p:nvSpPr>
          <p:spPr bwMode="auto">
            <a:xfrm>
              <a:off x="2489200" y="1554143"/>
              <a:ext cx="217011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182563">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730250" indent="-182563">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004888" indent="-182563">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1187450" indent="-136525">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16446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1018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25590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0162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lgn="ctr" defTabSz="685800">
                <a:buClr>
                  <a:srgbClr val="4F81BD"/>
                </a:buClr>
                <a:buSzPct val="85000"/>
                <a:buNone/>
              </a:pPr>
              <a:endParaRPr lang="en-US" altLang="en-US" sz="1275">
                <a:solidFill>
                  <a:prstClr val="black"/>
                </a:solidFill>
                <a:cs typeface="Arial" panose="020B0604020202020204" pitchFamily="34" charset="0"/>
              </a:endParaRPr>
            </a:p>
            <a:p>
              <a:pPr algn="ctr" defTabSz="685800">
                <a:buClr>
                  <a:srgbClr val="4F81BD"/>
                </a:buClr>
                <a:buSzPct val="85000"/>
                <a:buNone/>
              </a:pPr>
              <a:r>
                <a:rPr lang="en-US" altLang="en-US" sz="1275">
                  <a:solidFill>
                    <a:prstClr val="black"/>
                  </a:solidFill>
                  <a:cs typeface="Arial" panose="020B0604020202020204" pitchFamily="34" charset="0"/>
                </a:rPr>
                <a:t>Normal</a:t>
              </a:r>
            </a:p>
          </p:txBody>
        </p:sp>
        <p:sp>
          <p:nvSpPr>
            <p:cNvPr id="9" name="Content Placeholder 2">
              <a:extLst>
                <a:ext uri="{FF2B5EF4-FFF2-40B4-BE49-F238E27FC236}">
                  <a16:creationId xmlns:a16="http://schemas.microsoft.com/office/drawing/2014/main" id="{04FB1912-837C-477B-932F-8F2326D572AD}"/>
                </a:ext>
              </a:extLst>
            </p:cNvPr>
            <p:cNvSpPr txBox="1">
              <a:spLocks noChangeArrowheads="1"/>
            </p:cNvSpPr>
            <p:nvPr/>
          </p:nvSpPr>
          <p:spPr bwMode="auto">
            <a:xfrm>
              <a:off x="6988175" y="1846263"/>
              <a:ext cx="2681288"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182563">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730250" indent="-182563">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004888" indent="-182563">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1187450" indent="-136525">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16446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1018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25590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016250" indent="-136525"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lgn="ctr" defTabSz="685800">
                <a:buClr>
                  <a:srgbClr val="4F81BD"/>
                </a:buClr>
                <a:buSzPct val="85000"/>
                <a:buNone/>
              </a:pPr>
              <a:r>
                <a:rPr lang="en-US" altLang="en-US" sz="1275">
                  <a:solidFill>
                    <a:prstClr val="black"/>
                  </a:solidFill>
                  <a:cs typeface="Arial" panose="020B0604020202020204" pitchFamily="34" charset="0"/>
                </a:rPr>
                <a:t>Cancer</a:t>
              </a:r>
            </a:p>
          </p:txBody>
        </p:sp>
        <p:sp>
          <p:nvSpPr>
            <p:cNvPr id="10" name="Right Arrow 31">
              <a:extLst>
                <a:ext uri="{FF2B5EF4-FFF2-40B4-BE49-F238E27FC236}">
                  <a16:creationId xmlns:a16="http://schemas.microsoft.com/office/drawing/2014/main" id="{A46A8D20-EDD9-4F72-8053-2E0A8B4D6A2C}"/>
                </a:ext>
              </a:extLst>
            </p:cNvPr>
            <p:cNvSpPr/>
            <p:nvPr/>
          </p:nvSpPr>
          <p:spPr bwMode="auto">
            <a:xfrm>
              <a:off x="2647457" y="2103677"/>
              <a:ext cx="2011680" cy="456119"/>
            </a:xfrm>
            <a:prstGeom prst="rightArrow">
              <a:avLst/>
            </a:prstGeom>
            <a:gradFill flip="none" rotWithShape="1">
              <a:gsLst>
                <a:gs pos="0">
                  <a:schemeClr val="accent6">
                    <a:lumMod val="75000"/>
                  </a:schemeClr>
                </a:gs>
                <a:gs pos="100000">
                  <a:schemeClr val="accent6">
                    <a:lumMod val="60000"/>
                    <a:lumOff val="40000"/>
                  </a:schemeClr>
                </a:gs>
              </a:gsLst>
              <a:lin ang="0" scaled="1"/>
              <a:tileRect/>
            </a:gradFill>
            <a:ln w="9525" cap="flat" cmpd="sng" algn="ctr">
              <a:gradFill flip="none" rotWithShape="1">
                <a:gsLst>
                  <a:gs pos="0">
                    <a:schemeClr val="accent6">
                      <a:lumMod val="75000"/>
                    </a:schemeClr>
                  </a:gs>
                  <a:gs pos="100000">
                    <a:schemeClr val="accent6">
                      <a:lumMod val="40000"/>
                      <a:lumOff val="60000"/>
                    </a:schemeClr>
                  </a:gs>
                </a:gsLst>
                <a:lin ang="0" scaled="1"/>
                <a:tileRect/>
              </a:gradFill>
              <a:prstDash val="solid"/>
              <a:round/>
              <a:headEnd type="none" w="med" len="med"/>
              <a:tailEnd type="triangle" w="med" len="med"/>
            </a:ln>
            <a:effectLst/>
          </p:spPr>
          <p:txBody>
            <a:bodyPr/>
            <a:lstStyle/>
            <a:p>
              <a:pPr algn="ctr" defTabSz="685800">
                <a:defRPr/>
              </a:pPr>
              <a:endParaRPr lang="en-US" sz="1500">
                <a:solidFill>
                  <a:prstClr val="white"/>
                </a:solidFill>
                <a:latin typeface="Arial"/>
                <a:cs typeface="Arial"/>
              </a:endParaRPr>
            </a:p>
          </p:txBody>
        </p:sp>
        <p:sp>
          <p:nvSpPr>
            <p:cNvPr id="11" name="Right Arrow 40">
              <a:extLst>
                <a:ext uri="{FF2B5EF4-FFF2-40B4-BE49-F238E27FC236}">
                  <a16:creationId xmlns:a16="http://schemas.microsoft.com/office/drawing/2014/main" id="{1C826569-EFCE-468E-99B7-51FDB8B26318}"/>
                </a:ext>
              </a:extLst>
            </p:cNvPr>
            <p:cNvSpPr/>
            <p:nvPr/>
          </p:nvSpPr>
          <p:spPr bwMode="auto">
            <a:xfrm>
              <a:off x="6988771" y="2070867"/>
              <a:ext cx="2834640" cy="496524"/>
            </a:xfrm>
            <a:prstGeom prst="rightArrow">
              <a:avLst/>
            </a:prstGeom>
            <a:gradFill flip="none" rotWithShape="1">
              <a:gsLst>
                <a:gs pos="28000">
                  <a:srgbClr val="FF0000"/>
                </a:gs>
                <a:gs pos="75000">
                  <a:srgbClr val="FF6600"/>
                </a:gs>
              </a:gsLst>
              <a:path path="circle">
                <a:fillToRect l="100000" t="100000"/>
              </a:path>
              <a:tileRect r="-100000" b="-100000"/>
            </a:gradFill>
            <a:ln w="9525" cap="flat" cmpd="sng" algn="ctr">
              <a:noFill/>
              <a:prstDash val="solid"/>
              <a:round/>
              <a:headEnd type="none" w="med" len="med"/>
              <a:tailEnd type="triangle" w="med" len="med"/>
            </a:ln>
            <a:effectLst/>
          </p:spPr>
          <p:txBody>
            <a:bodyPr/>
            <a:lstStyle/>
            <a:p>
              <a:pPr algn="ctr" defTabSz="685800">
                <a:defRPr/>
              </a:pPr>
              <a:endParaRPr lang="en-US" sz="1500">
                <a:solidFill>
                  <a:prstClr val="white"/>
                </a:solidFill>
                <a:latin typeface="Arial"/>
                <a:cs typeface="Arial"/>
              </a:endParaRPr>
            </a:p>
          </p:txBody>
        </p:sp>
      </p:grpSp>
      <p:sp>
        <p:nvSpPr>
          <p:cNvPr id="12" name="TextBox 11">
            <a:extLst>
              <a:ext uri="{FF2B5EF4-FFF2-40B4-BE49-F238E27FC236}">
                <a16:creationId xmlns:a16="http://schemas.microsoft.com/office/drawing/2014/main" id="{C7464ABB-6758-48EE-9219-DB946363D8B1}"/>
              </a:ext>
            </a:extLst>
          </p:cNvPr>
          <p:cNvSpPr txBox="1"/>
          <p:nvPr/>
        </p:nvSpPr>
        <p:spPr>
          <a:xfrm>
            <a:off x="1026078" y="103257"/>
            <a:ext cx="6987346" cy="461665"/>
          </a:xfrm>
          <a:prstGeom prst="rect">
            <a:avLst/>
          </a:prstGeom>
          <a:noFill/>
          <a:ln w="19050">
            <a:noFill/>
          </a:ln>
        </p:spPr>
        <p:txBody>
          <a:bodyPr wrap="square" rtlCol="0">
            <a:spAutoFit/>
          </a:bodyPr>
          <a:lstStyle/>
          <a:p>
            <a:pPr algn="ctr" defTabSz="685800"/>
            <a:r>
              <a:rPr lang="en-US" altLang="en-US" sz="2400" b="1">
                <a:solidFill>
                  <a:srgbClr val="0070C0"/>
                </a:solidFill>
                <a:latin typeface="Arial" panose="020B0604020202020204" pitchFamily="34" charset="0"/>
                <a:cs typeface="Arial" panose="020B0604020202020204" pitchFamily="34" charset="0"/>
              </a:rPr>
              <a:t>The need for early detection</a:t>
            </a:r>
            <a:endParaRPr lang="en-US" sz="2400">
              <a:solidFill>
                <a:srgbClr val="0070C0"/>
              </a:solidFill>
              <a:latin typeface="Arial" panose="020B0604020202020204" pitchFamily="34" charset="0"/>
              <a:cs typeface="Arial" panose="020B0604020202020204" pitchFamily="34" charset="0"/>
            </a:endParaRPr>
          </a:p>
        </p:txBody>
      </p:sp>
      <p:sp>
        <p:nvSpPr>
          <p:cNvPr id="14" name="object 53">
            <a:extLst>
              <a:ext uri="{FF2B5EF4-FFF2-40B4-BE49-F238E27FC236}">
                <a16:creationId xmlns:a16="http://schemas.microsoft.com/office/drawing/2014/main" id="{521F9B83-1D0D-434F-9A85-066B95A4933D}"/>
              </a:ext>
            </a:extLst>
          </p:cNvPr>
          <p:cNvSpPr/>
          <p:nvPr/>
        </p:nvSpPr>
        <p:spPr>
          <a:xfrm>
            <a:off x="6675642" y="142717"/>
            <a:ext cx="435323" cy="435323"/>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266">
              <a:solidFill>
                <a:prstClr val="black"/>
              </a:solidFill>
              <a:latin typeface="Calibri"/>
            </a:endParaRPr>
          </a:p>
        </p:txBody>
      </p:sp>
    </p:spTree>
    <p:extLst>
      <p:ext uri="{BB962C8B-B14F-4D97-AF65-F5344CB8AC3E}">
        <p14:creationId xmlns:p14="http://schemas.microsoft.com/office/powerpoint/2010/main" val="941280022"/>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DD0B02-6B07-4D00-8BA0-3F3B75D31725}"/>
              </a:ext>
            </a:extLst>
          </p:cNvPr>
          <p:cNvSpPr>
            <a:spLocks noGrp="1"/>
          </p:cNvSpPr>
          <p:nvPr>
            <p:ph type="title"/>
          </p:nvPr>
        </p:nvSpPr>
        <p:spPr>
          <a:xfrm>
            <a:off x="797698" y="90431"/>
            <a:ext cx="7886700" cy="994172"/>
          </a:xfrm>
        </p:spPr>
        <p:txBody>
          <a:bodyPr anchor="t"/>
          <a:lstStyle/>
          <a:p>
            <a:pPr>
              <a:spcBef>
                <a:spcPts val="0"/>
              </a:spcBef>
              <a:spcAft>
                <a:spcPts val="0"/>
              </a:spcAft>
            </a:pPr>
            <a:r>
              <a:rPr lang="en-US" sz="3000" b="1" noProof="0">
                <a:solidFill>
                  <a:srgbClr val="000090"/>
                </a:solidFill>
                <a:ea typeface="Calibri" panose="020F0502020204030204" pitchFamily="34" charset="0"/>
              </a:rPr>
              <a:t>When using Rd as induction in an elderly patient, which of the following statements is true?</a:t>
            </a:r>
          </a:p>
        </p:txBody>
      </p:sp>
      <p:sp>
        <p:nvSpPr>
          <p:cNvPr id="3" name="Content Placeholder 2">
            <a:extLst>
              <a:ext uri="{FF2B5EF4-FFF2-40B4-BE49-F238E27FC236}">
                <a16:creationId xmlns:a16="http://schemas.microsoft.com/office/drawing/2014/main" id="{668CC0B3-B44F-478E-AFB5-834768A23266}"/>
              </a:ext>
            </a:extLst>
          </p:cNvPr>
          <p:cNvSpPr>
            <a:spLocks noGrp="1"/>
          </p:cNvSpPr>
          <p:nvPr>
            <p:ph idx="1"/>
          </p:nvPr>
        </p:nvSpPr>
        <p:spPr>
          <a:xfrm>
            <a:off x="628650" y="1369219"/>
            <a:ext cx="8055748" cy="3263504"/>
          </a:xfrm>
        </p:spPr>
        <p:txBody>
          <a:bodyPr/>
          <a:lstStyle/>
          <a:p>
            <a:pPr marL="342900" indent="-342900" defTabSz="685800" eaLnBrk="1" hangingPunct="1">
              <a:lnSpc>
                <a:spcPct val="100000"/>
              </a:lnSpc>
              <a:spcBef>
                <a:spcPts val="2400"/>
              </a:spcBef>
              <a:spcAft>
                <a:spcPts val="0"/>
              </a:spcAft>
              <a:buClr>
                <a:schemeClr val="accent1"/>
              </a:buClr>
              <a:buFont typeface="+mj-lt"/>
              <a:buAutoNum type="arabicPeriod"/>
            </a:pPr>
            <a:r>
              <a:rPr lang="en-US" sz="1800" noProof="0">
                <a:solidFill>
                  <a:schemeClr val="tx1">
                    <a:lumMod val="85000"/>
                    <a:lumOff val="15000"/>
                  </a:schemeClr>
                </a:solidFill>
                <a:latin typeface="Arial" panose="020B0604020202020204" pitchFamily="34" charset="0"/>
                <a:ea typeface="+mn-ea"/>
                <a:cs typeface="Arial" panose="020B0604020202020204" pitchFamily="34" charset="0"/>
              </a:rPr>
              <a:t>Full-dose lenalidomide 25 mg continuous provides the best outcomes</a:t>
            </a:r>
          </a:p>
          <a:p>
            <a:pPr marL="342900" indent="-342900" defTabSz="685800" eaLnBrk="1" hangingPunct="1">
              <a:lnSpc>
                <a:spcPct val="100000"/>
              </a:lnSpc>
              <a:spcBef>
                <a:spcPts val="2400"/>
              </a:spcBef>
              <a:spcAft>
                <a:spcPts val="0"/>
              </a:spcAft>
              <a:buClr>
                <a:schemeClr val="accent1"/>
              </a:buClr>
              <a:buFont typeface="+mj-lt"/>
              <a:buAutoNum type="arabicPeriod"/>
            </a:pPr>
            <a:r>
              <a:rPr lang="en-US" sz="1800" noProof="0">
                <a:solidFill>
                  <a:schemeClr val="tx1">
                    <a:lumMod val="85000"/>
                    <a:lumOff val="15000"/>
                  </a:schemeClr>
                </a:solidFill>
                <a:latin typeface="Arial" panose="020B0604020202020204" pitchFamily="34" charset="0"/>
                <a:ea typeface="+mn-ea"/>
                <a:cs typeface="Arial" panose="020B0604020202020204" pitchFamily="34" charset="0"/>
              </a:rPr>
              <a:t>Dexamethasone 20 mg weekly until progression provides optimal results </a:t>
            </a:r>
          </a:p>
          <a:p>
            <a:pPr marL="342900" indent="-342900" defTabSz="685800" eaLnBrk="1" hangingPunct="1">
              <a:lnSpc>
                <a:spcPct val="100000"/>
              </a:lnSpc>
              <a:spcBef>
                <a:spcPts val="2400"/>
              </a:spcBef>
              <a:spcAft>
                <a:spcPts val="0"/>
              </a:spcAft>
              <a:buClr>
                <a:schemeClr val="accent1"/>
              </a:buClr>
              <a:buFont typeface="+mj-lt"/>
              <a:buAutoNum type="arabicPeriod"/>
            </a:pPr>
            <a:r>
              <a:rPr lang="en-US" sz="1800" noProof="0">
                <a:solidFill>
                  <a:schemeClr val="tx1">
                    <a:lumMod val="85000"/>
                    <a:lumOff val="15000"/>
                  </a:schemeClr>
                </a:solidFill>
                <a:latin typeface="Arial" panose="020B0604020202020204" pitchFamily="34" charset="0"/>
                <a:ea typeface="+mn-ea"/>
                <a:cs typeface="Arial" panose="020B0604020202020204" pitchFamily="34" charset="0"/>
              </a:rPr>
              <a:t>Fixed-duration therapy is recommended to avoid second primary malignancies</a:t>
            </a:r>
          </a:p>
          <a:p>
            <a:pPr marL="342900" indent="-342900" defTabSz="685800" eaLnBrk="1" hangingPunct="1">
              <a:lnSpc>
                <a:spcPct val="100000"/>
              </a:lnSpc>
              <a:spcBef>
                <a:spcPts val="2400"/>
              </a:spcBef>
              <a:spcAft>
                <a:spcPts val="0"/>
              </a:spcAft>
              <a:buClr>
                <a:schemeClr val="accent1"/>
              </a:buClr>
              <a:buFont typeface="+mj-lt"/>
              <a:buAutoNum type="arabicPeriod"/>
            </a:pPr>
            <a:r>
              <a:rPr lang="en-US" sz="1800" noProof="0">
                <a:solidFill>
                  <a:schemeClr val="tx1">
                    <a:lumMod val="85000"/>
                    <a:lumOff val="15000"/>
                  </a:schemeClr>
                </a:solidFill>
                <a:latin typeface="Arial" panose="020B0604020202020204" pitchFamily="34" charset="0"/>
                <a:ea typeface="+mn-ea"/>
                <a:cs typeface="Arial" panose="020B0604020202020204" pitchFamily="34" charset="0"/>
              </a:rPr>
              <a:t>Lenalidomide 10 mg is recommended after fixed-duration lenalidomide and dexamethasone</a:t>
            </a:r>
          </a:p>
          <a:p>
            <a:pPr marL="342900" indent="-342900" defTabSz="685800" eaLnBrk="1" hangingPunct="1">
              <a:lnSpc>
                <a:spcPct val="100000"/>
              </a:lnSpc>
              <a:spcBef>
                <a:spcPts val="2400"/>
              </a:spcBef>
              <a:spcAft>
                <a:spcPts val="0"/>
              </a:spcAft>
              <a:buClr>
                <a:schemeClr val="accent1"/>
              </a:buClr>
              <a:buFont typeface="+mj-lt"/>
              <a:buAutoNum type="arabicPeriod"/>
            </a:pPr>
            <a:r>
              <a:rPr lang="en-US" sz="1800" noProof="0">
                <a:solidFill>
                  <a:schemeClr val="tx1">
                    <a:lumMod val="85000"/>
                    <a:lumOff val="15000"/>
                  </a:schemeClr>
                </a:solidFill>
                <a:latin typeface="Arial" panose="020B0604020202020204" pitchFamily="34" charset="0"/>
                <a:ea typeface="+mn-ea"/>
                <a:cs typeface="Arial" panose="020B0604020202020204" pitchFamily="34" charset="0"/>
              </a:rPr>
              <a:t>Lenalidomide should not be used if creatinine clearance is &lt;45 </a:t>
            </a:r>
          </a:p>
          <a:p>
            <a:pPr marL="0" indent="0">
              <a:lnSpc>
                <a:spcPct val="100000"/>
              </a:lnSpc>
              <a:spcBef>
                <a:spcPts val="2400"/>
              </a:spcBef>
              <a:buNone/>
            </a:pPr>
            <a:endParaRPr lang="en-US" noProof="0"/>
          </a:p>
        </p:txBody>
      </p:sp>
      <p:grpSp>
        <p:nvGrpSpPr>
          <p:cNvPr id="7" name="Group 6">
            <a:extLst>
              <a:ext uri="{FF2B5EF4-FFF2-40B4-BE49-F238E27FC236}">
                <a16:creationId xmlns:a16="http://schemas.microsoft.com/office/drawing/2014/main" id="{18889634-4B57-47B9-A6D7-C5D1B7D209FF}"/>
              </a:ext>
            </a:extLst>
          </p:cNvPr>
          <p:cNvGrpSpPr/>
          <p:nvPr/>
        </p:nvGrpSpPr>
        <p:grpSpPr>
          <a:xfrm>
            <a:off x="69157" y="67379"/>
            <a:ext cx="720000" cy="720000"/>
            <a:chOff x="8151603" y="218984"/>
            <a:chExt cx="720000" cy="720000"/>
          </a:xfrm>
        </p:grpSpPr>
        <p:sp>
          <p:nvSpPr>
            <p:cNvPr id="8" name="Teardrop 7">
              <a:extLst>
                <a:ext uri="{FF2B5EF4-FFF2-40B4-BE49-F238E27FC236}">
                  <a16:creationId xmlns:a16="http://schemas.microsoft.com/office/drawing/2014/main" id="{AA4F34B2-3E16-49DA-A291-DAC95917DC91}"/>
                </a:ext>
              </a:extLst>
            </p:cNvPr>
            <p:cNvSpPr/>
            <p:nvPr/>
          </p:nvSpPr>
          <p:spPr bwMode="auto">
            <a:xfrm rot="5400000">
              <a:off x="8151603" y="218984"/>
              <a:ext cx="720000" cy="720000"/>
            </a:xfrm>
            <a:prstGeom prst="teardrop">
              <a:avLst/>
            </a:prstGeom>
            <a:solidFill>
              <a:srgbClr val="00AAB8"/>
            </a:solidFill>
            <a:ln>
              <a:solidFill>
                <a:srgbClr val="00AAB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NL" sz="2800" b="1" i="0" u="none" strike="noStrike" kern="1200" cap="none" spc="0" normalizeH="0" baseline="0" noProof="0">
                <a:ln>
                  <a:noFill/>
                </a:ln>
                <a:solidFill>
                  <a:srgbClr val="FFFF00"/>
                </a:solidFill>
                <a:effectLst/>
                <a:uLnTx/>
                <a:uFillTx/>
                <a:latin typeface="Arial" pitchFamily="34" charset="0"/>
                <a:ea typeface="+mn-ea"/>
                <a:cs typeface="+mn-cs"/>
              </a:endParaRPr>
            </a:p>
          </p:txBody>
        </p:sp>
        <p:sp>
          <p:nvSpPr>
            <p:cNvPr id="9" name="TextBox 8">
              <a:extLst>
                <a:ext uri="{FF2B5EF4-FFF2-40B4-BE49-F238E27FC236}">
                  <a16:creationId xmlns:a16="http://schemas.microsoft.com/office/drawing/2014/main" id="{EDFB2513-13B7-4BEE-8C87-42D220D58650}"/>
                </a:ext>
              </a:extLst>
            </p:cNvPr>
            <p:cNvSpPr txBox="1"/>
            <p:nvPr/>
          </p:nvSpPr>
          <p:spPr>
            <a:xfrm>
              <a:off x="8278208" y="255820"/>
              <a:ext cx="466795" cy="646331"/>
            </a:xfrm>
            <a:prstGeom prst="rect">
              <a:avLst/>
            </a:prstGeom>
            <a:noFill/>
            <a:ln>
              <a:no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NL"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3084940452"/>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871EA-1F01-48C4-B482-CB79F20CA107}"/>
              </a:ext>
            </a:extLst>
          </p:cNvPr>
          <p:cNvSpPr>
            <a:spLocks noGrp="1"/>
          </p:cNvSpPr>
          <p:nvPr>
            <p:ph type="ctrTitle"/>
          </p:nvPr>
        </p:nvSpPr>
        <p:spPr>
          <a:xfrm>
            <a:off x="4271601" y="1282044"/>
            <a:ext cx="4534294" cy="1548390"/>
          </a:xfrm>
        </p:spPr>
        <p:txBody>
          <a:bodyPr>
            <a:normAutofit/>
          </a:bodyPr>
          <a:lstStyle/>
          <a:p>
            <a:r>
              <a:rPr lang="en-US" sz="3200" noProof="0"/>
              <a:t>Discussion</a:t>
            </a:r>
          </a:p>
        </p:txBody>
      </p:sp>
    </p:spTree>
    <p:extLst>
      <p:ext uri="{BB962C8B-B14F-4D97-AF65-F5344CB8AC3E}">
        <p14:creationId xmlns:p14="http://schemas.microsoft.com/office/powerpoint/2010/main" val="81070787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a:xfrm>
            <a:off x="4270847" y="1694782"/>
            <a:ext cx="4534294" cy="1548390"/>
          </a:xfrm>
        </p:spPr>
        <p:txBody>
          <a:bodyPr>
            <a:noAutofit/>
          </a:bodyPr>
          <a:lstStyle/>
          <a:p>
            <a:pPr marR="0" algn="l" defTabSz="914400" rtl="0" eaLnBrk="1" latinLnBrk="0" hangingPunct="1">
              <a:lnSpc>
                <a:spcPct val="100000"/>
              </a:lnSpc>
              <a:spcBef>
                <a:spcPts val="0"/>
              </a:spcBef>
              <a:spcAft>
                <a:spcPts val="0"/>
              </a:spcAft>
            </a:pPr>
            <a:r>
              <a:rPr lang="en-US" sz="2800" b="1" u="none" kern="1200" noProof="0">
                <a:effectLst/>
                <a:latin typeface="Arial" panose="020B0604020202020204" pitchFamily="34" charset="0"/>
                <a:cs typeface="Arial" panose="020B0604020202020204" pitchFamily="34" charset="0"/>
              </a:rPr>
              <a:t>Debate:</a:t>
            </a:r>
            <a:br>
              <a:rPr lang="en-US" sz="2800" b="1" u="none" kern="1200" noProof="0">
                <a:effectLst/>
                <a:latin typeface="Arial" panose="020B0604020202020204" pitchFamily="34" charset="0"/>
                <a:cs typeface="Arial" panose="020B0604020202020204" pitchFamily="34" charset="0"/>
              </a:rPr>
            </a:br>
            <a:r>
              <a:rPr lang="en-US" sz="2800" b="0" u="none" kern="1200" noProof="0">
                <a:effectLst/>
                <a:latin typeface="Arial" panose="020B0604020202020204" pitchFamily="34" charset="0"/>
                <a:cs typeface="Arial" panose="020B0604020202020204" pitchFamily="34" charset="0"/>
              </a:rPr>
              <a:t>Smoldering Myeloma: To Treat or Not to Treat? </a:t>
            </a:r>
            <a:br>
              <a:rPr lang="en-US" sz="2800" b="0" u="none" kern="1200" noProof="0">
                <a:effectLst/>
                <a:latin typeface="Arial" panose="020B0604020202020204" pitchFamily="34" charset="0"/>
                <a:cs typeface="Arial" panose="020B0604020202020204" pitchFamily="34" charset="0"/>
              </a:rPr>
            </a:br>
            <a:endParaRPr lang="en-US" sz="2800" b="1" u="none" noProof="0">
              <a:effectLst/>
              <a:latin typeface="Arial" panose="020B0604020202020204" pitchFamily="34" charset="0"/>
              <a:cs typeface="Arial" panose="020B0604020202020204" pitchFamily="34" charset="0"/>
            </a:endParaRPr>
          </a:p>
        </p:txBody>
      </p:sp>
      <p:sp>
        <p:nvSpPr>
          <p:cNvPr id="7" name="Subtitle 6">
            <a:extLst>
              <a:ext uri="{FF2B5EF4-FFF2-40B4-BE49-F238E27FC236}">
                <a16:creationId xmlns:a16="http://schemas.microsoft.com/office/drawing/2014/main" id="{81E62135-1198-4298-84EC-45D95B29EE63}"/>
              </a:ext>
            </a:extLst>
          </p:cNvPr>
          <p:cNvSpPr>
            <a:spLocks noGrp="1"/>
          </p:cNvSpPr>
          <p:nvPr>
            <p:ph type="subTitle" idx="1"/>
          </p:nvPr>
        </p:nvSpPr>
        <p:spPr>
          <a:xfrm>
            <a:off x="4270847" y="2984989"/>
            <a:ext cx="5223427" cy="1073784"/>
          </a:xfrm>
        </p:spPr>
        <p:txBody>
          <a:bodyPr/>
          <a:lstStyle/>
          <a:p>
            <a:r>
              <a:rPr lang="en-US" sz="1700" b="0" strike="noStrike" kern="1200" noProof="0">
                <a:effectLst/>
                <a:latin typeface="Arial" panose="020B0604020202020204" pitchFamily="34" charset="0"/>
                <a:cs typeface="Arial" panose="020B0604020202020204" pitchFamily="34" charset="0"/>
              </a:rPr>
              <a:t>Irene Ghobrial (yes) vs Meletios Dimopoulos (no)</a:t>
            </a:r>
          </a:p>
          <a:p>
            <a:endParaRPr lang="en-US" noProof="0"/>
          </a:p>
        </p:txBody>
      </p:sp>
      <p:pic>
        <p:nvPicPr>
          <p:cNvPr id="6" name="Picture 5">
            <a:extLst>
              <a:ext uri="{FF2B5EF4-FFF2-40B4-BE49-F238E27FC236}">
                <a16:creationId xmlns:a16="http://schemas.microsoft.com/office/drawing/2014/main" id="{8A5AD985-5D17-480A-96D0-63A25D8FEE6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6949465" y="3408137"/>
            <a:ext cx="1188720" cy="1188720"/>
          </a:xfrm>
          <a:prstGeom prst="teardrop">
            <a:avLst/>
          </a:prstGeom>
          <a:solidFill>
            <a:schemeClr val="tx2"/>
          </a:solidFill>
        </p:spPr>
      </p:pic>
      <p:pic>
        <p:nvPicPr>
          <p:cNvPr id="8" name="Picture 7">
            <a:extLst>
              <a:ext uri="{FF2B5EF4-FFF2-40B4-BE49-F238E27FC236}">
                <a16:creationId xmlns:a16="http://schemas.microsoft.com/office/drawing/2014/main" id="{8C87EF88-1122-4751-B19E-A07B611631A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rot="5400000">
            <a:off x="4272415" y="3417281"/>
            <a:ext cx="1179576" cy="1179576"/>
          </a:xfrm>
          <a:prstGeom prst="teardrop">
            <a:avLst/>
          </a:prstGeom>
        </p:spPr>
      </p:pic>
    </p:spTree>
    <p:extLst>
      <p:ext uri="{BB962C8B-B14F-4D97-AF65-F5344CB8AC3E}">
        <p14:creationId xmlns:p14="http://schemas.microsoft.com/office/powerpoint/2010/main" val="255948194"/>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0D257-64B5-427E-8A99-47116EE43388}"/>
              </a:ext>
            </a:extLst>
          </p:cNvPr>
          <p:cNvSpPr>
            <a:spLocks noGrp="1"/>
          </p:cNvSpPr>
          <p:nvPr>
            <p:ph type="title"/>
          </p:nvPr>
        </p:nvSpPr>
        <p:spPr>
          <a:xfrm>
            <a:off x="915762" y="188166"/>
            <a:ext cx="8030275" cy="527130"/>
          </a:xfrm>
        </p:spPr>
        <p:txBody>
          <a:bodyPr/>
          <a:lstStyle/>
          <a:p>
            <a:pPr>
              <a:lnSpc>
                <a:spcPct val="100000"/>
              </a:lnSpc>
            </a:pPr>
            <a:r>
              <a:rPr lang="en-US" noProof="0"/>
              <a:t>Pre-Debate Question for the Audience</a:t>
            </a:r>
          </a:p>
        </p:txBody>
      </p:sp>
      <p:sp>
        <p:nvSpPr>
          <p:cNvPr id="5" name="Content Placeholder 4">
            <a:extLst>
              <a:ext uri="{FF2B5EF4-FFF2-40B4-BE49-F238E27FC236}">
                <a16:creationId xmlns:a16="http://schemas.microsoft.com/office/drawing/2014/main" id="{7943291D-5CB9-4257-9D5B-0DE1C025958C}"/>
              </a:ext>
            </a:extLst>
          </p:cNvPr>
          <p:cNvSpPr>
            <a:spLocks noGrp="1"/>
          </p:cNvSpPr>
          <p:nvPr>
            <p:ph idx="1"/>
          </p:nvPr>
        </p:nvSpPr>
        <p:spPr>
          <a:xfrm>
            <a:off x="267597" y="870305"/>
            <a:ext cx="8776355" cy="3378958"/>
          </a:xfrm>
        </p:spPr>
        <p:txBody>
          <a:bodyPr>
            <a:normAutofit/>
          </a:bodyPr>
          <a:lstStyle/>
          <a:p>
            <a:pPr marL="0" indent="0">
              <a:buNone/>
            </a:pPr>
            <a:r>
              <a:rPr lang="en-US" noProof="0">
                <a:effectLst/>
                <a:latin typeface="Arial" panose="020B0604020202020204" pitchFamily="34" charset="0"/>
                <a:ea typeface="Arial" panose="020B0604020202020204" pitchFamily="34" charset="0"/>
              </a:rPr>
              <a:t>In your opinion, would you treat smoldering myeloma?</a:t>
            </a:r>
          </a:p>
          <a:p>
            <a:pPr marL="360363" indent="-360363" algn="l" rtl="0" fontAlgn="base">
              <a:buFont typeface="+mj-lt"/>
              <a:buAutoNum type="arabicPeriod"/>
            </a:pPr>
            <a:r>
              <a:rPr lang="en-US" sz="1800" b="0" i="0" u="none" strike="noStrike" noProof="0">
                <a:solidFill>
                  <a:srgbClr val="262626"/>
                </a:solidFill>
                <a:effectLst/>
                <a:latin typeface="Arial Nova" panose="020B0504020202020204" pitchFamily="34" charset="0"/>
              </a:rPr>
              <a:t>Yes</a:t>
            </a:r>
          </a:p>
          <a:p>
            <a:pPr marL="360363" indent="-360363" algn="l" rtl="0" fontAlgn="base">
              <a:buFont typeface="+mj-lt"/>
              <a:buAutoNum type="arabicPeriod"/>
            </a:pPr>
            <a:r>
              <a:rPr lang="en-US" sz="1800" b="0" i="0" u="none" strike="noStrike" noProof="0">
                <a:solidFill>
                  <a:srgbClr val="262626"/>
                </a:solidFill>
                <a:effectLst/>
                <a:latin typeface="Arial Nova" panose="020B0504020202020204" pitchFamily="34" charset="0"/>
              </a:rPr>
              <a:t>No</a:t>
            </a:r>
            <a:endParaRPr lang="en-US" sz="1800" noProof="0"/>
          </a:p>
        </p:txBody>
      </p:sp>
      <p:grpSp>
        <p:nvGrpSpPr>
          <p:cNvPr id="6" name="Group 5">
            <a:extLst>
              <a:ext uri="{FF2B5EF4-FFF2-40B4-BE49-F238E27FC236}">
                <a16:creationId xmlns:a16="http://schemas.microsoft.com/office/drawing/2014/main" id="{1CFE6036-5B5A-4271-91D4-22086B1523F6}"/>
              </a:ext>
            </a:extLst>
          </p:cNvPr>
          <p:cNvGrpSpPr/>
          <p:nvPr/>
        </p:nvGrpSpPr>
        <p:grpSpPr>
          <a:xfrm>
            <a:off x="69157" y="67379"/>
            <a:ext cx="720000" cy="720000"/>
            <a:chOff x="8151603" y="218984"/>
            <a:chExt cx="720000" cy="720000"/>
          </a:xfrm>
        </p:grpSpPr>
        <p:sp>
          <p:nvSpPr>
            <p:cNvPr id="7" name="Teardrop 6">
              <a:extLst>
                <a:ext uri="{FF2B5EF4-FFF2-40B4-BE49-F238E27FC236}">
                  <a16:creationId xmlns:a16="http://schemas.microsoft.com/office/drawing/2014/main" id="{8EC77D26-5F1F-4D5E-A0B4-EE77963F8D95}"/>
                </a:ext>
              </a:extLst>
            </p:cNvPr>
            <p:cNvSpPr/>
            <p:nvPr/>
          </p:nvSpPr>
          <p:spPr bwMode="auto">
            <a:xfrm rot="5400000">
              <a:off x="8151603" y="218984"/>
              <a:ext cx="720000" cy="720000"/>
            </a:xfrm>
            <a:prstGeom prst="teardrop">
              <a:avLst/>
            </a:prstGeom>
            <a:solidFill>
              <a:srgbClr val="00AAB8"/>
            </a:solidFill>
            <a:ln>
              <a:solidFill>
                <a:srgbClr val="00AAB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NL" sz="2800" b="1" i="0" u="none" strike="noStrike" kern="1200" cap="none" spc="0" normalizeH="0" baseline="0" noProof="0">
                <a:ln>
                  <a:noFill/>
                </a:ln>
                <a:solidFill>
                  <a:srgbClr val="FFFF00"/>
                </a:solidFill>
                <a:effectLst/>
                <a:uLnTx/>
                <a:uFillTx/>
                <a:latin typeface="Arial" pitchFamily="34" charset="0"/>
                <a:ea typeface="+mn-ea"/>
                <a:cs typeface="+mn-cs"/>
              </a:endParaRPr>
            </a:p>
          </p:txBody>
        </p:sp>
        <p:sp>
          <p:nvSpPr>
            <p:cNvPr id="8" name="TextBox 7">
              <a:extLst>
                <a:ext uri="{FF2B5EF4-FFF2-40B4-BE49-F238E27FC236}">
                  <a16:creationId xmlns:a16="http://schemas.microsoft.com/office/drawing/2014/main" id="{7D70FB32-8C70-41E1-ADA9-5A22300D3EA5}"/>
                </a:ext>
              </a:extLst>
            </p:cNvPr>
            <p:cNvSpPr txBox="1"/>
            <p:nvPr/>
          </p:nvSpPr>
          <p:spPr>
            <a:xfrm>
              <a:off x="8278208" y="255820"/>
              <a:ext cx="466795" cy="646331"/>
            </a:xfrm>
            <a:prstGeom prst="rect">
              <a:avLst/>
            </a:prstGeom>
            <a:noFill/>
            <a:ln>
              <a:no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NL"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880453055"/>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a:xfrm>
            <a:off x="4270617" y="1691556"/>
            <a:ext cx="4534294" cy="1548390"/>
          </a:xfrm>
        </p:spPr>
        <p:txBody>
          <a:bodyPr>
            <a:noAutofit/>
          </a:bodyPr>
          <a:lstStyle/>
          <a:p>
            <a:pPr marR="0" algn="l" defTabSz="914400" rtl="0" eaLnBrk="1" latinLnBrk="0" hangingPunct="1">
              <a:lnSpc>
                <a:spcPct val="100000"/>
              </a:lnSpc>
              <a:spcBef>
                <a:spcPts val="0"/>
              </a:spcBef>
              <a:spcAft>
                <a:spcPts val="0"/>
              </a:spcAft>
            </a:pPr>
            <a:r>
              <a:rPr lang="en-US" sz="2800" b="1" u="none" kern="1200" noProof="0">
                <a:effectLst/>
                <a:latin typeface="Arial" panose="020B0604020202020204" pitchFamily="34" charset="0"/>
                <a:cs typeface="Arial" panose="020B0604020202020204" pitchFamily="34" charset="0"/>
              </a:rPr>
              <a:t>Debate:</a:t>
            </a:r>
            <a:br>
              <a:rPr lang="en-US" sz="2800" b="1" u="none" kern="1200" noProof="0">
                <a:effectLst/>
                <a:latin typeface="Arial" panose="020B0604020202020204" pitchFamily="34" charset="0"/>
                <a:cs typeface="Arial" panose="020B0604020202020204" pitchFamily="34" charset="0"/>
              </a:rPr>
            </a:br>
            <a:r>
              <a:rPr lang="en-US" sz="2800" b="0" u="none" kern="1200" noProof="0">
                <a:effectLst/>
                <a:latin typeface="Arial" panose="020B0604020202020204" pitchFamily="34" charset="0"/>
                <a:cs typeface="Arial" panose="020B0604020202020204" pitchFamily="34" charset="0"/>
              </a:rPr>
              <a:t>Smoldering Myeloma: To Treat or Not to Treat? </a:t>
            </a:r>
            <a:br>
              <a:rPr lang="en-US" sz="2800" b="0" u="none" kern="1200" noProof="0">
                <a:effectLst/>
                <a:latin typeface="Arial" panose="020B0604020202020204" pitchFamily="34" charset="0"/>
                <a:cs typeface="Arial" panose="020B0604020202020204" pitchFamily="34" charset="0"/>
              </a:rPr>
            </a:br>
            <a:endParaRPr lang="en-US" sz="2800" b="1" u="none" noProof="0">
              <a:effectLst/>
              <a:latin typeface="Arial" panose="020B0604020202020204" pitchFamily="34" charset="0"/>
              <a:cs typeface="Arial" panose="020B0604020202020204" pitchFamily="34" charset="0"/>
            </a:endParaRPr>
          </a:p>
        </p:txBody>
      </p:sp>
      <p:sp>
        <p:nvSpPr>
          <p:cNvPr id="7" name="Subtitle 6">
            <a:extLst>
              <a:ext uri="{FF2B5EF4-FFF2-40B4-BE49-F238E27FC236}">
                <a16:creationId xmlns:a16="http://schemas.microsoft.com/office/drawing/2014/main" id="{81E62135-1198-4298-84EC-45D95B29EE63}"/>
              </a:ext>
            </a:extLst>
          </p:cNvPr>
          <p:cNvSpPr>
            <a:spLocks noGrp="1"/>
          </p:cNvSpPr>
          <p:nvPr>
            <p:ph type="subTitle" idx="1"/>
          </p:nvPr>
        </p:nvSpPr>
        <p:spPr>
          <a:xfrm>
            <a:off x="4270617" y="2985871"/>
            <a:ext cx="4534294" cy="1073784"/>
          </a:xfrm>
        </p:spPr>
        <p:txBody>
          <a:bodyPr/>
          <a:lstStyle/>
          <a:p>
            <a:pPr>
              <a:spcBef>
                <a:spcPts val="0"/>
              </a:spcBef>
            </a:pPr>
            <a:r>
              <a:rPr lang="en-US" sz="1800" b="0" strike="noStrike" kern="1200" noProof="0">
                <a:effectLst/>
                <a:latin typeface="Arial" panose="020B0604020202020204" pitchFamily="34" charset="0"/>
                <a:cs typeface="Arial" panose="020B0604020202020204" pitchFamily="34" charset="0"/>
              </a:rPr>
              <a:t>Yes – Irene Ghobrial, MD</a:t>
            </a:r>
          </a:p>
          <a:p>
            <a:pPr>
              <a:spcBef>
                <a:spcPts val="0"/>
              </a:spcBef>
            </a:pPr>
            <a:endParaRPr lang="en-US" noProof="0"/>
          </a:p>
        </p:txBody>
      </p:sp>
      <p:pic>
        <p:nvPicPr>
          <p:cNvPr id="5" name="Picture 4">
            <a:extLst>
              <a:ext uri="{FF2B5EF4-FFF2-40B4-BE49-F238E27FC236}">
                <a16:creationId xmlns:a16="http://schemas.microsoft.com/office/drawing/2014/main" id="{B9BCB047-B271-4902-B983-B82EF87DA2E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2415" y="3417281"/>
            <a:ext cx="1179576" cy="1179576"/>
          </a:xfrm>
          <a:prstGeom prst="teardrop">
            <a:avLst/>
          </a:prstGeom>
        </p:spPr>
      </p:pic>
    </p:spTree>
    <p:extLst>
      <p:ext uri="{BB962C8B-B14F-4D97-AF65-F5344CB8AC3E}">
        <p14:creationId xmlns:p14="http://schemas.microsoft.com/office/powerpoint/2010/main" val="2099198147"/>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Title 1">
            <a:extLst>
              <a:ext uri="{FF2B5EF4-FFF2-40B4-BE49-F238E27FC236}">
                <a16:creationId xmlns:a16="http://schemas.microsoft.com/office/drawing/2014/main" id="{81E373CF-A65E-6949-A209-D5514D28226A}"/>
              </a:ext>
            </a:extLst>
          </p:cNvPr>
          <p:cNvSpPr>
            <a:spLocks noGrp="1"/>
          </p:cNvSpPr>
          <p:nvPr>
            <p:ph type="title" idx="4294967295"/>
          </p:nvPr>
        </p:nvSpPr>
        <p:spPr>
          <a:xfrm>
            <a:off x="0" y="15349"/>
            <a:ext cx="9144000" cy="669251"/>
          </a:xfrm>
        </p:spPr>
        <p:txBody>
          <a:bodyPr>
            <a:normAutofit/>
          </a:bodyPr>
          <a:lstStyle/>
          <a:p>
            <a:pPr algn="ctr"/>
            <a:r>
              <a:rPr lang="en-US" altLang="es-ES" sz="2400" b="1" noProof="0">
                <a:solidFill>
                  <a:srgbClr val="0070C0"/>
                </a:solidFill>
                <a:latin typeface="Arial" panose="020B0604020202020204" pitchFamily="34" charset="0"/>
                <a:cs typeface="Arial" panose="020B0604020202020204" pitchFamily="34" charset="0"/>
              </a:rPr>
              <a:t>Progression risk incorporating FISH</a:t>
            </a:r>
          </a:p>
        </p:txBody>
      </p:sp>
      <p:sp>
        <p:nvSpPr>
          <p:cNvPr id="83970" name="Rectangle 3">
            <a:extLst>
              <a:ext uri="{FF2B5EF4-FFF2-40B4-BE49-F238E27FC236}">
                <a16:creationId xmlns:a16="http://schemas.microsoft.com/office/drawing/2014/main" id="{0853C6B3-2451-9243-A43F-CF6D0D2C5173}"/>
              </a:ext>
            </a:extLst>
          </p:cNvPr>
          <p:cNvSpPr>
            <a:spLocks noChangeArrowheads="1"/>
          </p:cNvSpPr>
          <p:nvPr/>
        </p:nvSpPr>
        <p:spPr bwMode="auto">
          <a:xfrm>
            <a:off x="288924" y="559156"/>
            <a:ext cx="85661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eaLnBrk="0" fontAlgn="base" hangingPunct="0">
              <a:spcBef>
                <a:spcPct val="0"/>
              </a:spcBef>
              <a:spcAft>
                <a:spcPct val="0"/>
              </a:spcAft>
              <a:defRPr/>
            </a:pPr>
            <a:r>
              <a:rPr lang="en-US" altLang="es-ES" sz="1400">
                <a:solidFill>
                  <a:srgbClr val="C00000"/>
                </a:solidFill>
              </a:rPr>
              <a:t>The presence of </a:t>
            </a:r>
            <a:r>
              <a:rPr lang="en-US" altLang="es-ES" sz="1400" b="1">
                <a:solidFill>
                  <a:srgbClr val="C00000"/>
                </a:solidFill>
              </a:rPr>
              <a:t>t(4,14), t(14,16), 1q gain, or del13q </a:t>
            </a:r>
            <a:r>
              <a:rPr lang="en-US" altLang="es-ES" sz="1400">
                <a:solidFill>
                  <a:srgbClr val="C00000"/>
                </a:solidFill>
              </a:rPr>
              <a:t>was defined as an additional risk factor </a:t>
            </a:r>
          </a:p>
        </p:txBody>
      </p:sp>
      <p:graphicFrame>
        <p:nvGraphicFramePr>
          <p:cNvPr id="5" name="Table 4">
            <a:extLst>
              <a:ext uri="{FF2B5EF4-FFF2-40B4-BE49-F238E27FC236}">
                <a16:creationId xmlns:a16="http://schemas.microsoft.com/office/drawing/2014/main" id="{4C9817C3-22F8-454E-BDA2-1F7F98F05DB3}"/>
              </a:ext>
            </a:extLst>
          </p:cNvPr>
          <p:cNvGraphicFramePr>
            <a:graphicFrameLocks noGrp="1"/>
          </p:cNvGraphicFramePr>
          <p:nvPr/>
        </p:nvGraphicFramePr>
        <p:xfrm>
          <a:off x="314078" y="3297868"/>
          <a:ext cx="8515845" cy="1485900"/>
        </p:xfrm>
        <a:graphic>
          <a:graphicData uri="http://schemas.openxmlformats.org/drawingml/2006/table">
            <a:tbl>
              <a:tblPr firstRow="1" bandRow="1">
                <a:tableStyleId>{073A0DAA-6AF3-43AB-8588-CEC1D06C72B9}</a:tableStyleId>
              </a:tblPr>
              <a:tblGrid>
                <a:gridCol w="2317805">
                  <a:extLst>
                    <a:ext uri="{9D8B030D-6E8A-4147-A177-3AD203B41FA5}">
                      <a16:colId xmlns:a16="http://schemas.microsoft.com/office/drawing/2014/main" val="20000"/>
                    </a:ext>
                  </a:extLst>
                </a:gridCol>
                <a:gridCol w="1220525">
                  <a:extLst>
                    <a:ext uri="{9D8B030D-6E8A-4147-A177-3AD203B41FA5}">
                      <a16:colId xmlns:a16="http://schemas.microsoft.com/office/drawing/2014/main" val="20001"/>
                    </a:ext>
                  </a:extLst>
                </a:gridCol>
                <a:gridCol w="2099145">
                  <a:extLst>
                    <a:ext uri="{9D8B030D-6E8A-4147-A177-3AD203B41FA5}">
                      <a16:colId xmlns:a16="http://schemas.microsoft.com/office/drawing/2014/main" val="20002"/>
                    </a:ext>
                  </a:extLst>
                </a:gridCol>
                <a:gridCol w="1554479">
                  <a:extLst>
                    <a:ext uri="{9D8B030D-6E8A-4147-A177-3AD203B41FA5}">
                      <a16:colId xmlns:a16="http://schemas.microsoft.com/office/drawing/2014/main" val="20003"/>
                    </a:ext>
                  </a:extLst>
                </a:gridCol>
                <a:gridCol w="1323891">
                  <a:extLst>
                    <a:ext uri="{9D8B030D-6E8A-4147-A177-3AD203B41FA5}">
                      <a16:colId xmlns:a16="http://schemas.microsoft.com/office/drawing/2014/main" val="20004"/>
                    </a:ext>
                  </a:extLst>
                </a:gridCol>
              </a:tblGrid>
              <a:tr h="434340">
                <a:tc>
                  <a:txBody>
                    <a:bodyPr/>
                    <a:lstStyle/>
                    <a:p>
                      <a:r>
                        <a:rPr lang="en-CA" sz="1100">
                          <a:latin typeface="Arial" panose="020B0604020202020204" pitchFamily="34" charset="0"/>
                          <a:cs typeface="Arial" panose="020B0604020202020204" pitchFamily="34" charset="0"/>
                        </a:rPr>
                        <a:t>Risk-stratification groups</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tc>
                  <a:txBody>
                    <a:bodyPr/>
                    <a:lstStyle/>
                    <a:p>
                      <a:pPr algn="ctr"/>
                      <a:r>
                        <a:rPr lang="en-US" sz="1100">
                          <a:latin typeface="Arial" panose="020B0604020202020204" pitchFamily="34" charset="0"/>
                          <a:cs typeface="Arial" panose="020B0604020202020204" pitchFamily="34" charset="0"/>
                        </a:rPr>
                        <a:t>Number of risk factors</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tc>
                  <a:txBody>
                    <a:bodyPr/>
                    <a:lstStyle/>
                    <a:p>
                      <a:pPr algn="ctr"/>
                      <a:r>
                        <a:rPr lang="en-CA" sz="1100">
                          <a:latin typeface="Arial" panose="020B0604020202020204" pitchFamily="34" charset="0"/>
                          <a:cs typeface="Arial" panose="020B0604020202020204" pitchFamily="34" charset="0"/>
                        </a:rPr>
                        <a:t>Hazard ratio (95% CI)</a:t>
                      </a:r>
                    </a:p>
                    <a:p>
                      <a:pPr algn="ctr"/>
                      <a:r>
                        <a:rPr lang="en-CA" sz="1100">
                          <a:latin typeface="Arial" panose="020B0604020202020204" pitchFamily="34" charset="0"/>
                          <a:cs typeface="Arial" panose="020B0604020202020204" pitchFamily="34" charset="0"/>
                        </a:rPr>
                        <a:t>vs low-risk group</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tc>
                  <a:txBody>
                    <a:bodyPr/>
                    <a:lstStyle/>
                    <a:p>
                      <a:pPr algn="ctr"/>
                      <a:r>
                        <a:rPr lang="en-CA" sz="1100">
                          <a:latin typeface="Arial" panose="020B0604020202020204" pitchFamily="34" charset="0"/>
                          <a:cs typeface="Arial" panose="020B0604020202020204" pitchFamily="34" charset="0"/>
                        </a:rPr>
                        <a:t>Risk of progression at 2 years</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tc>
                  <a:txBody>
                    <a:bodyPr/>
                    <a:lstStyle/>
                    <a:p>
                      <a:pPr algn="ctr"/>
                      <a:r>
                        <a:rPr lang="en-CA" sz="1100">
                          <a:latin typeface="Arial" panose="020B0604020202020204" pitchFamily="34" charset="0"/>
                          <a:cs typeface="Arial" panose="020B0604020202020204" pitchFamily="34" charset="0"/>
                        </a:rPr>
                        <a:t>Number of patients</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extLst>
                  <a:ext uri="{0D108BD9-81ED-4DB2-BD59-A6C34878D82A}">
                    <a16:rowId xmlns:a16="http://schemas.microsoft.com/office/drawing/2014/main" val="10000"/>
                  </a:ext>
                </a:extLst>
              </a:tr>
              <a:tr h="262890">
                <a:tc>
                  <a:txBody>
                    <a:bodyPr/>
                    <a:lstStyle/>
                    <a:p>
                      <a:r>
                        <a:rPr lang="en-CA" sz="1100" b="1">
                          <a:latin typeface="Arial" panose="020B0604020202020204" pitchFamily="34" charset="0"/>
                          <a:cs typeface="Arial" panose="020B0604020202020204" pitchFamily="34" charset="0"/>
                        </a:rPr>
                        <a:t>Low-risk group</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algn="ctr"/>
                      <a:r>
                        <a:rPr lang="en-US" sz="1100">
                          <a:latin typeface="Arial" panose="020B0604020202020204" pitchFamily="34" charset="0"/>
                          <a:cs typeface="Arial" panose="020B0604020202020204" pitchFamily="34" charset="0"/>
                        </a:rPr>
                        <a:t>0</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algn="ctr"/>
                      <a:r>
                        <a:rPr lang="en-US" sz="1100">
                          <a:latin typeface="Arial" panose="020B0604020202020204" pitchFamily="34" charset="0"/>
                          <a:cs typeface="Arial" panose="020B0604020202020204" pitchFamily="34" charset="0"/>
                        </a:rPr>
                        <a:t>Reference</a:t>
                      </a:r>
                      <a:endParaRPr lang="en-US" sz="1100" b="1">
                        <a:latin typeface="Arial" panose="020B0604020202020204" pitchFamily="34" charset="0"/>
                        <a:cs typeface="Arial" panose="020B0604020202020204" pitchFamily="34" charset="0"/>
                      </a:endParaRPr>
                    </a:p>
                  </a:txBody>
                  <a:tcPr anchor="ctr"/>
                </a:tc>
                <a:tc>
                  <a:txBody>
                    <a:bodyPr/>
                    <a:lstStyle/>
                    <a:p>
                      <a:pPr algn="ctr"/>
                      <a:r>
                        <a:rPr lang="en-US" sz="1100" b="1">
                          <a:solidFill>
                            <a:srgbClr val="C00000"/>
                          </a:solidFill>
                          <a:latin typeface="Arial" panose="020B0604020202020204" pitchFamily="34" charset="0"/>
                          <a:cs typeface="Arial" panose="020B0604020202020204" pitchFamily="34" charset="0"/>
                        </a:rPr>
                        <a:t>8%</a:t>
                      </a:r>
                    </a:p>
                  </a:txBody>
                  <a:tcPr anchor="ctr"/>
                </a:tc>
                <a:tc>
                  <a:txBody>
                    <a:bodyPr/>
                    <a:lstStyle/>
                    <a:p>
                      <a:pPr algn="ctr"/>
                      <a:r>
                        <a:rPr lang="en-US" sz="1100" b="1">
                          <a:latin typeface="Arial" panose="020B0604020202020204" pitchFamily="34" charset="0"/>
                          <a:cs typeface="Arial" panose="020B0604020202020204" pitchFamily="34" charset="0"/>
                        </a:rPr>
                        <a:t>232</a:t>
                      </a:r>
                      <a:endParaRPr lang="en-US" sz="1100" b="1">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1"/>
                  </a:ext>
                </a:extLst>
              </a:tr>
              <a:tr h="262890">
                <a:tc>
                  <a:txBody>
                    <a:bodyPr/>
                    <a:lstStyle/>
                    <a:p>
                      <a:r>
                        <a:rPr lang="en-CA" sz="1100" b="1">
                          <a:latin typeface="Arial" panose="020B0604020202020204" pitchFamily="34" charset="0"/>
                          <a:cs typeface="Arial" panose="020B0604020202020204" pitchFamily="34" charset="0"/>
                        </a:rPr>
                        <a:t>Low-intermediate-risk group</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algn="ctr"/>
                      <a:r>
                        <a:rPr lang="en-US" sz="1100">
                          <a:latin typeface="Arial" panose="020B0604020202020204" pitchFamily="34" charset="0"/>
                          <a:cs typeface="Arial" panose="020B0604020202020204" pitchFamily="34" charset="0"/>
                        </a:rPr>
                        <a:t>1</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algn="ctr"/>
                      <a:r>
                        <a:rPr lang="en-CA" sz="1100">
                          <a:latin typeface="Arial" panose="020B0604020202020204" pitchFamily="34" charset="0"/>
                          <a:cs typeface="Arial" panose="020B0604020202020204" pitchFamily="34" charset="0"/>
                        </a:rPr>
                        <a:t>2.25 (1.62, 3.11)</a:t>
                      </a:r>
                      <a:endParaRPr lang="en-US" sz="1100" b="1">
                        <a:latin typeface="Arial" panose="020B0604020202020204" pitchFamily="34" charset="0"/>
                        <a:cs typeface="Arial" panose="020B0604020202020204" pitchFamily="34" charset="0"/>
                      </a:endParaRPr>
                    </a:p>
                  </a:txBody>
                  <a:tcPr anchor="ctr"/>
                </a:tc>
                <a:tc>
                  <a:txBody>
                    <a:bodyPr/>
                    <a:lstStyle/>
                    <a:p>
                      <a:pPr algn="ctr"/>
                      <a:r>
                        <a:rPr lang="en-US" sz="1100" b="1">
                          <a:solidFill>
                            <a:srgbClr val="C00000"/>
                          </a:solidFill>
                          <a:latin typeface="Arial" panose="020B0604020202020204" pitchFamily="34" charset="0"/>
                          <a:cs typeface="Arial" panose="020B0604020202020204" pitchFamily="34" charset="0"/>
                        </a:rPr>
                        <a:t>21%</a:t>
                      </a:r>
                    </a:p>
                  </a:txBody>
                  <a:tcPr anchor="ctr"/>
                </a:tc>
                <a:tc>
                  <a:txBody>
                    <a:bodyPr/>
                    <a:lstStyle/>
                    <a:p>
                      <a:pPr algn="ctr"/>
                      <a:r>
                        <a:rPr lang="en-US" sz="1100" b="1">
                          <a:latin typeface="Arial" panose="020B0604020202020204" pitchFamily="34" charset="0"/>
                          <a:cs typeface="Arial" panose="020B0604020202020204" pitchFamily="34" charset="0"/>
                        </a:rPr>
                        <a:t>322</a:t>
                      </a:r>
                      <a:endParaRPr lang="en-US" sz="1100" b="1">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2"/>
                  </a:ext>
                </a:extLst>
              </a:tr>
              <a:tr h="262890">
                <a:tc>
                  <a:txBody>
                    <a:bodyPr/>
                    <a:lstStyle/>
                    <a:p>
                      <a:r>
                        <a:rPr lang="en-US" sz="1100" b="1">
                          <a:latin typeface="Arial" panose="020B0604020202020204" pitchFamily="34" charset="0"/>
                          <a:cs typeface="Arial" panose="020B0604020202020204" pitchFamily="34" charset="0"/>
                        </a:rPr>
                        <a:t>Intermediate-risk</a:t>
                      </a:r>
                      <a:r>
                        <a:rPr lang="en-US" sz="1100" b="1" baseline="0">
                          <a:latin typeface="Arial" panose="020B0604020202020204" pitchFamily="34" charset="0"/>
                          <a:cs typeface="Arial" panose="020B0604020202020204" pitchFamily="34" charset="0"/>
                        </a:rPr>
                        <a:t> group</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2</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3.69</a:t>
                      </a:r>
                      <a:r>
                        <a:rPr lang="en-US" sz="1100" baseline="0">
                          <a:latin typeface="Arial" panose="020B0604020202020204" pitchFamily="34" charset="0"/>
                          <a:cs typeface="Arial" panose="020B0604020202020204" pitchFamily="34" charset="0"/>
                        </a:rPr>
                        <a:t> (2.68, 5.09)</a:t>
                      </a:r>
                      <a:endParaRPr lang="en-US" sz="1100" b="1">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C00000"/>
                          </a:solidFill>
                          <a:latin typeface="Arial" panose="020B0604020202020204" pitchFamily="34" charset="0"/>
                          <a:cs typeface="Arial" panose="020B0604020202020204" pitchFamily="34" charset="0"/>
                        </a:rPr>
                        <a:t>3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latin typeface="Arial" panose="020B0604020202020204" pitchFamily="34" charset="0"/>
                          <a:cs typeface="Arial" panose="020B0604020202020204" pitchFamily="34" charset="0"/>
                        </a:rPr>
                        <a:t>253</a:t>
                      </a:r>
                      <a:endParaRPr lang="en-US" sz="1100" b="1">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3"/>
                  </a:ext>
                </a:extLst>
              </a:tr>
              <a:tr h="2628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b="1">
                          <a:latin typeface="Arial" panose="020B0604020202020204" pitchFamily="34" charset="0"/>
                          <a:cs typeface="Arial" panose="020B0604020202020204" pitchFamily="34" charset="0"/>
                        </a:rPr>
                        <a:t>High-risk group</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3</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7.52 (5.36,</a:t>
                      </a:r>
                      <a:r>
                        <a:rPr lang="en-US" sz="1100" baseline="0">
                          <a:latin typeface="Arial" panose="020B0604020202020204" pitchFamily="34" charset="0"/>
                          <a:cs typeface="Arial" panose="020B0604020202020204" pitchFamily="34" charset="0"/>
                        </a:rPr>
                        <a:t> 10.54)</a:t>
                      </a:r>
                      <a:endParaRPr lang="en-US" sz="1100" b="1">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C00000"/>
                          </a:solidFill>
                          <a:latin typeface="Arial" panose="020B0604020202020204" pitchFamily="34" charset="0"/>
                          <a:cs typeface="Arial" panose="020B0604020202020204" pitchFamily="34" charset="0"/>
                        </a:rPr>
                        <a:t>59%</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latin typeface="Arial" panose="020B0604020202020204" pitchFamily="34" charset="0"/>
                          <a:cs typeface="Arial" panose="020B0604020202020204" pitchFamily="34" charset="0"/>
                        </a:rPr>
                        <a:t>145</a:t>
                      </a:r>
                      <a:endParaRPr lang="en-US" sz="1100" b="1">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4"/>
                  </a:ext>
                </a:extLst>
              </a:tr>
            </a:tbl>
          </a:graphicData>
        </a:graphic>
      </p:graphicFrame>
      <p:grpSp>
        <p:nvGrpSpPr>
          <p:cNvPr id="2" name="Group 1">
            <a:extLst>
              <a:ext uri="{FF2B5EF4-FFF2-40B4-BE49-F238E27FC236}">
                <a16:creationId xmlns:a16="http://schemas.microsoft.com/office/drawing/2014/main" id="{AD49851C-17EA-4D55-A3B6-841D8CFF090E}"/>
              </a:ext>
            </a:extLst>
          </p:cNvPr>
          <p:cNvGrpSpPr/>
          <p:nvPr/>
        </p:nvGrpSpPr>
        <p:grpSpPr>
          <a:xfrm>
            <a:off x="240357" y="892802"/>
            <a:ext cx="5741095" cy="2276433"/>
            <a:chOff x="240357" y="892801"/>
            <a:chExt cx="5741095" cy="2276433"/>
          </a:xfrm>
        </p:grpSpPr>
        <p:sp>
          <p:nvSpPr>
            <p:cNvPr id="84011" name="Line 7">
              <a:extLst>
                <a:ext uri="{FF2B5EF4-FFF2-40B4-BE49-F238E27FC236}">
                  <a16:creationId xmlns:a16="http://schemas.microsoft.com/office/drawing/2014/main" id="{6ACE0E6C-BF72-ED47-A1CB-1DEABEDBAABE}"/>
                </a:ext>
              </a:extLst>
            </p:cNvPr>
            <p:cNvSpPr>
              <a:spLocks noChangeShapeType="1"/>
            </p:cNvSpPr>
            <p:nvPr/>
          </p:nvSpPr>
          <p:spPr bwMode="auto">
            <a:xfrm flipH="1">
              <a:off x="681655" y="2839766"/>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2" name="Line 8">
              <a:extLst>
                <a:ext uri="{FF2B5EF4-FFF2-40B4-BE49-F238E27FC236}">
                  <a16:creationId xmlns:a16="http://schemas.microsoft.com/office/drawing/2014/main" id="{285E3980-49E7-584F-B78B-1E5A09FA79D6}"/>
                </a:ext>
              </a:extLst>
            </p:cNvPr>
            <p:cNvSpPr>
              <a:spLocks noChangeShapeType="1"/>
            </p:cNvSpPr>
            <p:nvPr/>
          </p:nvSpPr>
          <p:spPr bwMode="auto">
            <a:xfrm flipH="1">
              <a:off x="681655" y="2648148"/>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3" name="Line 9">
              <a:extLst>
                <a:ext uri="{FF2B5EF4-FFF2-40B4-BE49-F238E27FC236}">
                  <a16:creationId xmlns:a16="http://schemas.microsoft.com/office/drawing/2014/main" id="{B1CAAA8B-E6AA-DE4F-B393-9BAC693C2C28}"/>
                </a:ext>
              </a:extLst>
            </p:cNvPr>
            <p:cNvSpPr>
              <a:spLocks noChangeShapeType="1"/>
            </p:cNvSpPr>
            <p:nvPr/>
          </p:nvSpPr>
          <p:spPr bwMode="auto">
            <a:xfrm flipH="1">
              <a:off x="681655" y="2458514"/>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4" name="Line 10">
              <a:extLst>
                <a:ext uri="{FF2B5EF4-FFF2-40B4-BE49-F238E27FC236}">
                  <a16:creationId xmlns:a16="http://schemas.microsoft.com/office/drawing/2014/main" id="{EECBEDDF-E747-2842-B152-167D4682CE0B}"/>
                </a:ext>
              </a:extLst>
            </p:cNvPr>
            <p:cNvSpPr>
              <a:spLocks noChangeShapeType="1"/>
            </p:cNvSpPr>
            <p:nvPr/>
          </p:nvSpPr>
          <p:spPr bwMode="auto">
            <a:xfrm flipH="1">
              <a:off x="681655" y="2269874"/>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5" name="Line 11">
              <a:extLst>
                <a:ext uri="{FF2B5EF4-FFF2-40B4-BE49-F238E27FC236}">
                  <a16:creationId xmlns:a16="http://schemas.microsoft.com/office/drawing/2014/main" id="{C88E220D-4440-EE4D-9FEA-6E8FC57AA28D}"/>
                </a:ext>
              </a:extLst>
            </p:cNvPr>
            <p:cNvSpPr>
              <a:spLocks noChangeShapeType="1"/>
            </p:cNvSpPr>
            <p:nvPr/>
          </p:nvSpPr>
          <p:spPr bwMode="auto">
            <a:xfrm flipH="1">
              <a:off x="681655" y="2077262"/>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6" name="Line 12">
              <a:extLst>
                <a:ext uri="{FF2B5EF4-FFF2-40B4-BE49-F238E27FC236}">
                  <a16:creationId xmlns:a16="http://schemas.microsoft.com/office/drawing/2014/main" id="{BE18A88F-7BF7-FB40-B3F2-510CFC419718}"/>
                </a:ext>
              </a:extLst>
            </p:cNvPr>
            <p:cNvSpPr>
              <a:spLocks noChangeShapeType="1"/>
            </p:cNvSpPr>
            <p:nvPr/>
          </p:nvSpPr>
          <p:spPr bwMode="auto">
            <a:xfrm flipH="1">
              <a:off x="681655" y="1888622"/>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7" name="Line 13">
              <a:extLst>
                <a:ext uri="{FF2B5EF4-FFF2-40B4-BE49-F238E27FC236}">
                  <a16:creationId xmlns:a16="http://schemas.microsoft.com/office/drawing/2014/main" id="{F84D152A-925B-7740-AD4F-4147763E6D5B}"/>
                </a:ext>
              </a:extLst>
            </p:cNvPr>
            <p:cNvSpPr>
              <a:spLocks noChangeShapeType="1"/>
            </p:cNvSpPr>
            <p:nvPr/>
          </p:nvSpPr>
          <p:spPr bwMode="auto">
            <a:xfrm flipH="1">
              <a:off x="681655" y="1699982"/>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8" name="Line 14">
              <a:extLst>
                <a:ext uri="{FF2B5EF4-FFF2-40B4-BE49-F238E27FC236}">
                  <a16:creationId xmlns:a16="http://schemas.microsoft.com/office/drawing/2014/main" id="{995358D7-9F04-1747-BCCE-D179026A0613}"/>
                </a:ext>
              </a:extLst>
            </p:cNvPr>
            <p:cNvSpPr>
              <a:spLocks noChangeShapeType="1"/>
            </p:cNvSpPr>
            <p:nvPr/>
          </p:nvSpPr>
          <p:spPr bwMode="auto">
            <a:xfrm flipH="1">
              <a:off x="681655" y="1507371"/>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9" name="Line 15">
              <a:extLst>
                <a:ext uri="{FF2B5EF4-FFF2-40B4-BE49-F238E27FC236}">
                  <a16:creationId xmlns:a16="http://schemas.microsoft.com/office/drawing/2014/main" id="{A21B0927-9A06-0C48-837F-583A7B9F03E4}"/>
                </a:ext>
              </a:extLst>
            </p:cNvPr>
            <p:cNvSpPr>
              <a:spLocks noChangeShapeType="1"/>
            </p:cNvSpPr>
            <p:nvPr/>
          </p:nvSpPr>
          <p:spPr bwMode="auto">
            <a:xfrm flipH="1">
              <a:off x="681655" y="1318730"/>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20" name="Line 16">
              <a:extLst>
                <a:ext uri="{FF2B5EF4-FFF2-40B4-BE49-F238E27FC236}">
                  <a16:creationId xmlns:a16="http://schemas.microsoft.com/office/drawing/2014/main" id="{A04C2A69-C827-EF40-AB97-DC034CE337A4}"/>
                </a:ext>
              </a:extLst>
            </p:cNvPr>
            <p:cNvSpPr>
              <a:spLocks noChangeShapeType="1"/>
            </p:cNvSpPr>
            <p:nvPr/>
          </p:nvSpPr>
          <p:spPr bwMode="auto">
            <a:xfrm flipH="1">
              <a:off x="681655" y="1126119"/>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21" name="Line 17">
              <a:extLst>
                <a:ext uri="{FF2B5EF4-FFF2-40B4-BE49-F238E27FC236}">
                  <a16:creationId xmlns:a16="http://schemas.microsoft.com/office/drawing/2014/main" id="{7210E271-80CC-984A-B83D-629CF214E836}"/>
                </a:ext>
              </a:extLst>
            </p:cNvPr>
            <p:cNvSpPr>
              <a:spLocks noChangeShapeType="1"/>
            </p:cNvSpPr>
            <p:nvPr/>
          </p:nvSpPr>
          <p:spPr bwMode="auto">
            <a:xfrm flipH="1">
              <a:off x="681655" y="937479"/>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8" name="Rectangle 18">
              <a:extLst>
                <a:ext uri="{FF2B5EF4-FFF2-40B4-BE49-F238E27FC236}">
                  <a16:creationId xmlns:a16="http://schemas.microsoft.com/office/drawing/2014/main" id="{D8EACE0A-FA1D-4C46-8694-75AD9871DB25}"/>
                </a:ext>
              </a:extLst>
            </p:cNvPr>
            <p:cNvSpPr>
              <a:spLocks noChangeArrowheads="1"/>
            </p:cNvSpPr>
            <p:nvPr/>
          </p:nvSpPr>
          <p:spPr bwMode="auto">
            <a:xfrm rot="16200000">
              <a:off x="-371830" y="1779442"/>
              <a:ext cx="135133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Probability of progression, %</a:t>
              </a:r>
              <a:endParaRPr lang="en-US" altLang="en-US" sz="1350">
                <a:solidFill>
                  <a:prstClr val="black"/>
                </a:solidFill>
              </a:endParaRPr>
            </a:p>
          </p:txBody>
        </p:sp>
        <p:sp>
          <p:nvSpPr>
            <p:cNvPr id="19" name="Rectangle 19">
              <a:extLst>
                <a:ext uri="{FF2B5EF4-FFF2-40B4-BE49-F238E27FC236}">
                  <a16:creationId xmlns:a16="http://schemas.microsoft.com/office/drawing/2014/main" id="{E54D7918-429E-6147-A008-A64DA3CE21CF}"/>
                </a:ext>
              </a:extLst>
            </p:cNvPr>
            <p:cNvSpPr>
              <a:spLocks noChangeArrowheads="1"/>
            </p:cNvSpPr>
            <p:nvPr/>
          </p:nvSpPr>
          <p:spPr bwMode="auto">
            <a:xfrm>
              <a:off x="540374" y="279621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0</a:t>
              </a:r>
              <a:endParaRPr lang="en-US" altLang="en-US" sz="1350">
                <a:solidFill>
                  <a:prstClr val="black"/>
                </a:solidFill>
              </a:endParaRPr>
            </a:p>
          </p:txBody>
        </p:sp>
        <p:sp>
          <p:nvSpPr>
            <p:cNvPr id="20" name="Rectangle 20">
              <a:extLst>
                <a:ext uri="{FF2B5EF4-FFF2-40B4-BE49-F238E27FC236}">
                  <a16:creationId xmlns:a16="http://schemas.microsoft.com/office/drawing/2014/main" id="{199D5EEC-4812-5F4F-BA46-CDFDF9EF7600}"/>
                </a:ext>
              </a:extLst>
            </p:cNvPr>
            <p:cNvSpPr>
              <a:spLocks noChangeArrowheads="1"/>
            </p:cNvSpPr>
            <p:nvPr/>
          </p:nvSpPr>
          <p:spPr bwMode="auto">
            <a:xfrm>
              <a:off x="487987" y="2604126"/>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0</a:t>
              </a:r>
              <a:endParaRPr lang="en-US" altLang="en-US" sz="1350">
                <a:solidFill>
                  <a:prstClr val="black"/>
                </a:solidFill>
              </a:endParaRPr>
            </a:p>
          </p:txBody>
        </p:sp>
        <p:sp>
          <p:nvSpPr>
            <p:cNvPr id="21" name="Rectangle 21">
              <a:extLst>
                <a:ext uri="{FF2B5EF4-FFF2-40B4-BE49-F238E27FC236}">
                  <a16:creationId xmlns:a16="http://schemas.microsoft.com/office/drawing/2014/main" id="{7D1F0FB2-9DAD-4F43-880B-07E670D5BAA4}"/>
                </a:ext>
              </a:extLst>
            </p:cNvPr>
            <p:cNvSpPr>
              <a:spLocks noChangeArrowheads="1"/>
            </p:cNvSpPr>
            <p:nvPr/>
          </p:nvSpPr>
          <p:spPr bwMode="auto">
            <a:xfrm>
              <a:off x="487987" y="2413626"/>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20</a:t>
              </a:r>
              <a:endParaRPr lang="en-US" altLang="en-US" sz="1350">
                <a:solidFill>
                  <a:prstClr val="black"/>
                </a:solidFill>
              </a:endParaRPr>
            </a:p>
          </p:txBody>
        </p:sp>
        <p:sp>
          <p:nvSpPr>
            <p:cNvPr id="22" name="Rectangle 22">
              <a:extLst>
                <a:ext uri="{FF2B5EF4-FFF2-40B4-BE49-F238E27FC236}">
                  <a16:creationId xmlns:a16="http://schemas.microsoft.com/office/drawing/2014/main" id="{7F10515F-5B42-514F-A4BD-E2C2901C9636}"/>
                </a:ext>
              </a:extLst>
            </p:cNvPr>
            <p:cNvSpPr>
              <a:spLocks noChangeArrowheads="1"/>
            </p:cNvSpPr>
            <p:nvPr/>
          </p:nvSpPr>
          <p:spPr bwMode="auto">
            <a:xfrm>
              <a:off x="487987" y="222471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30</a:t>
              </a:r>
              <a:endParaRPr lang="en-US" altLang="en-US" sz="1350">
                <a:solidFill>
                  <a:prstClr val="black"/>
                </a:solidFill>
              </a:endParaRPr>
            </a:p>
          </p:txBody>
        </p:sp>
        <p:sp>
          <p:nvSpPr>
            <p:cNvPr id="23" name="Rectangle 23">
              <a:extLst>
                <a:ext uri="{FF2B5EF4-FFF2-40B4-BE49-F238E27FC236}">
                  <a16:creationId xmlns:a16="http://schemas.microsoft.com/office/drawing/2014/main" id="{258412EB-9262-B645-AEC0-AF4EF755C7ED}"/>
                </a:ext>
              </a:extLst>
            </p:cNvPr>
            <p:cNvSpPr>
              <a:spLocks noChangeArrowheads="1"/>
            </p:cNvSpPr>
            <p:nvPr/>
          </p:nvSpPr>
          <p:spPr bwMode="auto">
            <a:xfrm>
              <a:off x="487987" y="2032626"/>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40</a:t>
              </a:r>
              <a:endParaRPr lang="en-US" altLang="en-US" sz="1350">
                <a:solidFill>
                  <a:prstClr val="black"/>
                </a:solidFill>
              </a:endParaRPr>
            </a:p>
          </p:txBody>
        </p:sp>
        <p:sp>
          <p:nvSpPr>
            <p:cNvPr id="24" name="Rectangle 24">
              <a:extLst>
                <a:ext uri="{FF2B5EF4-FFF2-40B4-BE49-F238E27FC236}">
                  <a16:creationId xmlns:a16="http://schemas.microsoft.com/office/drawing/2014/main" id="{5B620B2A-BD84-B642-8A35-B439231E0971}"/>
                </a:ext>
              </a:extLst>
            </p:cNvPr>
            <p:cNvSpPr>
              <a:spLocks noChangeArrowheads="1"/>
            </p:cNvSpPr>
            <p:nvPr/>
          </p:nvSpPr>
          <p:spPr bwMode="auto">
            <a:xfrm>
              <a:off x="487987" y="184371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50</a:t>
              </a:r>
              <a:endParaRPr lang="en-US" altLang="en-US" sz="1350">
                <a:solidFill>
                  <a:prstClr val="black"/>
                </a:solidFill>
              </a:endParaRPr>
            </a:p>
          </p:txBody>
        </p:sp>
        <p:sp>
          <p:nvSpPr>
            <p:cNvPr id="25" name="Rectangle 25">
              <a:extLst>
                <a:ext uri="{FF2B5EF4-FFF2-40B4-BE49-F238E27FC236}">
                  <a16:creationId xmlns:a16="http://schemas.microsoft.com/office/drawing/2014/main" id="{FEA695DB-84AE-694F-8308-3E5448161BDB}"/>
                </a:ext>
              </a:extLst>
            </p:cNvPr>
            <p:cNvSpPr>
              <a:spLocks noChangeArrowheads="1"/>
            </p:cNvSpPr>
            <p:nvPr/>
          </p:nvSpPr>
          <p:spPr bwMode="auto">
            <a:xfrm>
              <a:off x="487987" y="1651626"/>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60</a:t>
              </a:r>
              <a:endParaRPr lang="en-US" altLang="en-US" sz="1350">
                <a:solidFill>
                  <a:prstClr val="black"/>
                </a:solidFill>
              </a:endParaRPr>
            </a:p>
          </p:txBody>
        </p:sp>
        <p:sp>
          <p:nvSpPr>
            <p:cNvPr id="26" name="Rectangle 26">
              <a:extLst>
                <a:ext uri="{FF2B5EF4-FFF2-40B4-BE49-F238E27FC236}">
                  <a16:creationId xmlns:a16="http://schemas.microsoft.com/office/drawing/2014/main" id="{980F23DF-6A63-804F-AB03-574975B2EA3F}"/>
                </a:ext>
              </a:extLst>
            </p:cNvPr>
            <p:cNvSpPr>
              <a:spLocks noChangeArrowheads="1"/>
            </p:cNvSpPr>
            <p:nvPr/>
          </p:nvSpPr>
          <p:spPr bwMode="auto">
            <a:xfrm>
              <a:off x="487987" y="146271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70</a:t>
              </a:r>
              <a:endParaRPr lang="en-US" altLang="en-US" sz="1350">
                <a:solidFill>
                  <a:prstClr val="black"/>
                </a:solidFill>
              </a:endParaRPr>
            </a:p>
          </p:txBody>
        </p:sp>
        <p:sp>
          <p:nvSpPr>
            <p:cNvPr id="27" name="Rectangle 27">
              <a:extLst>
                <a:ext uri="{FF2B5EF4-FFF2-40B4-BE49-F238E27FC236}">
                  <a16:creationId xmlns:a16="http://schemas.microsoft.com/office/drawing/2014/main" id="{6C63E0C2-A219-8247-8F28-ACA6C9715CC6}"/>
                </a:ext>
              </a:extLst>
            </p:cNvPr>
            <p:cNvSpPr>
              <a:spLocks noChangeArrowheads="1"/>
            </p:cNvSpPr>
            <p:nvPr/>
          </p:nvSpPr>
          <p:spPr bwMode="auto">
            <a:xfrm>
              <a:off x="487987" y="1273801"/>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80</a:t>
              </a:r>
              <a:endParaRPr lang="en-US" altLang="en-US" sz="1350">
                <a:solidFill>
                  <a:prstClr val="black"/>
                </a:solidFill>
              </a:endParaRPr>
            </a:p>
          </p:txBody>
        </p:sp>
        <p:sp>
          <p:nvSpPr>
            <p:cNvPr id="28" name="Rectangle 28">
              <a:extLst>
                <a:ext uri="{FF2B5EF4-FFF2-40B4-BE49-F238E27FC236}">
                  <a16:creationId xmlns:a16="http://schemas.microsoft.com/office/drawing/2014/main" id="{7F7B6B0F-ED94-7D44-9374-3871A5121FEA}"/>
                </a:ext>
              </a:extLst>
            </p:cNvPr>
            <p:cNvSpPr>
              <a:spLocks noChangeArrowheads="1"/>
            </p:cNvSpPr>
            <p:nvPr/>
          </p:nvSpPr>
          <p:spPr bwMode="auto">
            <a:xfrm>
              <a:off x="487987" y="108171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90</a:t>
              </a:r>
              <a:endParaRPr lang="en-US" altLang="en-US" sz="1350">
                <a:solidFill>
                  <a:prstClr val="black"/>
                </a:solidFill>
              </a:endParaRPr>
            </a:p>
          </p:txBody>
        </p:sp>
        <p:sp>
          <p:nvSpPr>
            <p:cNvPr id="29" name="Rectangle 29">
              <a:extLst>
                <a:ext uri="{FF2B5EF4-FFF2-40B4-BE49-F238E27FC236}">
                  <a16:creationId xmlns:a16="http://schemas.microsoft.com/office/drawing/2014/main" id="{AD07AA64-A638-8B4D-A3FD-139839CAF867}"/>
                </a:ext>
              </a:extLst>
            </p:cNvPr>
            <p:cNvSpPr>
              <a:spLocks noChangeArrowheads="1"/>
            </p:cNvSpPr>
            <p:nvPr/>
          </p:nvSpPr>
          <p:spPr bwMode="auto">
            <a:xfrm>
              <a:off x="435599" y="892801"/>
              <a:ext cx="177934"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00</a:t>
              </a:r>
              <a:endParaRPr lang="en-US" altLang="en-US" sz="1350">
                <a:solidFill>
                  <a:prstClr val="black"/>
                </a:solidFill>
              </a:endParaRPr>
            </a:p>
          </p:txBody>
        </p:sp>
        <p:sp>
          <p:nvSpPr>
            <p:cNvPr id="84034" name="Line 30">
              <a:extLst>
                <a:ext uri="{FF2B5EF4-FFF2-40B4-BE49-F238E27FC236}">
                  <a16:creationId xmlns:a16="http://schemas.microsoft.com/office/drawing/2014/main" id="{C66F54F9-6CEF-B745-AAE8-2285AC85978D}"/>
                </a:ext>
              </a:extLst>
            </p:cNvPr>
            <p:cNvSpPr>
              <a:spLocks noChangeShapeType="1"/>
            </p:cNvSpPr>
            <p:nvPr/>
          </p:nvSpPr>
          <p:spPr bwMode="auto">
            <a:xfrm>
              <a:off x="925869"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5" name="Line 31">
              <a:extLst>
                <a:ext uri="{FF2B5EF4-FFF2-40B4-BE49-F238E27FC236}">
                  <a16:creationId xmlns:a16="http://schemas.microsoft.com/office/drawing/2014/main" id="{FA53CFE3-A82C-D845-8A1B-B258496B8A04}"/>
                </a:ext>
              </a:extLst>
            </p:cNvPr>
            <p:cNvSpPr>
              <a:spLocks noChangeShapeType="1"/>
            </p:cNvSpPr>
            <p:nvPr/>
          </p:nvSpPr>
          <p:spPr bwMode="auto">
            <a:xfrm>
              <a:off x="1457324"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6" name="Line 32">
              <a:extLst>
                <a:ext uri="{FF2B5EF4-FFF2-40B4-BE49-F238E27FC236}">
                  <a16:creationId xmlns:a16="http://schemas.microsoft.com/office/drawing/2014/main" id="{30C36007-422C-884A-833F-326AEA0CF39F}"/>
                </a:ext>
              </a:extLst>
            </p:cNvPr>
            <p:cNvSpPr>
              <a:spLocks noChangeShapeType="1"/>
            </p:cNvSpPr>
            <p:nvPr/>
          </p:nvSpPr>
          <p:spPr bwMode="auto">
            <a:xfrm>
              <a:off x="1989943"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7" name="Line 33">
              <a:extLst>
                <a:ext uri="{FF2B5EF4-FFF2-40B4-BE49-F238E27FC236}">
                  <a16:creationId xmlns:a16="http://schemas.microsoft.com/office/drawing/2014/main" id="{7C066688-B992-B342-8F48-8EE1AA6D295C}"/>
                </a:ext>
              </a:extLst>
            </p:cNvPr>
            <p:cNvSpPr>
              <a:spLocks noChangeShapeType="1"/>
            </p:cNvSpPr>
            <p:nvPr/>
          </p:nvSpPr>
          <p:spPr bwMode="auto">
            <a:xfrm>
              <a:off x="2517909"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8" name="Line 34">
              <a:extLst>
                <a:ext uri="{FF2B5EF4-FFF2-40B4-BE49-F238E27FC236}">
                  <a16:creationId xmlns:a16="http://schemas.microsoft.com/office/drawing/2014/main" id="{AF7148C0-7F93-9945-81CD-2280A13D1ECD}"/>
                </a:ext>
              </a:extLst>
            </p:cNvPr>
            <p:cNvSpPr>
              <a:spLocks noChangeShapeType="1"/>
            </p:cNvSpPr>
            <p:nvPr/>
          </p:nvSpPr>
          <p:spPr bwMode="auto">
            <a:xfrm>
              <a:off x="3050527"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9" name="Line 35">
              <a:extLst>
                <a:ext uri="{FF2B5EF4-FFF2-40B4-BE49-F238E27FC236}">
                  <a16:creationId xmlns:a16="http://schemas.microsoft.com/office/drawing/2014/main" id="{7C905E53-85A2-1A47-B57C-A9E0D48071B9}"/>
                </a:ext>
              </a:extLst>
            </p:cNvPr>
            <p:cNvSpPr>
              <a:spLocks noChangeShapeType="1"/>
            </p:cNvSpPr>
            <p:nvPr/>
          </p:nvSpPr>
          <p:spPr bwMode="auto">
            <a:xfrm>
              <a:off x="3581982"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40" name="Line 36">
              <a:extLst>
                <a:ext uri="{FF2B5EF4-FFF2-40B4-BE49-F238E27FC236}">
                  <a16:creationId xmlns:a16="http://schemas.microsoft.com/office/drawing/2014/main" id="{707CF64C-3960-8341-A85B-D09E99CC92FD}"/>
                </a:ext>
              </a:extLst>
            </p:cNvPr>
            <p:cNvSpPr>
              <a:spLocks noChangeShapeType="1"/>
            </p:cNvSpPr>
            <p:nvPr/>
          </p:nvSpPr>
          <p:spPr bwMode="auto">
            <a:xfrm>
              <a:off x="4114600"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41" name="Line 37">
              <a:extLst>
                <a:ext uri="{FF2B5EF4-FFF2-40B4-BE49-F238E27FC236}">
                  <a16:creationId xmlns:a16="http://schemas.microsoft.com/office/drawing/2014/main" id="{FF3F8B23-2DF6-F641-B893-323FAD7E1FFE}"/>
                </a:ext>
              </a:extLst>
            </p:cNvPr>
            <p:cNvSpPr>
              <a:spLocks noChangeShapeType="1"/>
            </p:cNvSpPr>
            <p:nvPr/>
          </p:nvSpPr>
          <p:spPr bwMode="auto">
            <a:xfrm>
              <a:off x="4647218"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42" name="Line 38">
              <a:extLst>
                <a:ext uri="{FF2B5EF4-FFF2-40B4-BE49-F238E27FC236}">
                  <a16:creationId xmlns:a16="http://schemas.microsoft.com/office/drawing/2014/main" id="{921F0170-025A-334C-BDEC-768A43852994}"/>
                </a:ext>
              </a:extLst>
            </p:cNvPr>
            <p:cNvSpPr>
              <a:spLocks noChangeShapeType="1"/>
            </p:cNvSpPr>
            <p:nvPr/>
          </p:nvSpPr>
          <p:spPr bwMode="auto">
            <a:xfrm>
              <a:off x="5178674"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43" name="Line 39">
              <a:extLst>
                <a:ext uri="{FF2B5EF4-FFF2-40B4-BE49-F238E27FC236}">
                  <a16:creationId xmlns:a16="http://schemas.microsoft.com/office/drawing/2014/main" id="{F369EC94-3852-3847-98CC-9EBCD8A662AB}"/>
                </a:ext>
              </a:extLst>
            </p:cNvPr>
            <p:cNvSpPr>
              <a:spLocks noChangeShapeType="1"/>
            </p:cNvSpPr>
            <p:nvPr/>
          </p:nvSpPr>
          <p:spPr bwMode="auto">
            <a:xfrm>
              <a:off x="5711292"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40" name="Rectangle 40">
              <a:extLst>
                <a:ext uri="{FF2B5EF4-FFF2-40B4-BE49-F238E27FC236}">
                  <a16:creationId xmlns:a16="http://schemas.microsoft.com/office/drawing/2014/main" id="{5C6E76BD-3FE6-614E-967A-3587ABE28F63}"/>
                </a:ext>
              </a:extLst>
            </p:cNvPr>
            <p:cNvSpPr>
              <a:spLocks noChangeArrowheads="1"/>
            </p:cNvSpPr>
            <p:nvPr/>
          </p:nvSpPr>
          <p:spPr bwMode="auto">
            <a:xfrm>
              <a:off x="2701677" y="3042276"/>
              <a:ext cx="125515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Time to progression, years</a:t>
              </a:r>
              <a:endParaRPr lang="en-US" altLang="en-US" sz="1350">
                <a:solidFill>
                  <a:prstClr val="black"/>
                </a:solidFill>
              </a:endParaRPr>
            </a:p>
          </p:txBody>
        </p:sp>
        <p:sp>
          <p:nvSpPr>
            <p:cNvPr id="41" name="Rectangle 41">
              <a:extLst>
                <a:ext uri="{FF2B5EF4-FFF2-40B4-BE49-F238E27FC236}">
                  <a16:creationId xmlns:a16="http://schemas.microsoft.com/office/drawing/2014/main" id="{5D50C54A-6BC7-4743-BEB0-90A7551DB931}"/>
                </a:ext>
              </a:extLst>
            </p:cNvPr>
            <p:cNvSpPr>
              <a:spLocks noChangeArrowheads="1"/>
            </p:cNvSpPr>
            <p:nvPr/>
          </p:nvSpPr>
          <p:spPr bwMode="auto">
            <a:xfrm>
              <a:off x="899864"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0</a:t>
              </a:r>
              <a:endParaRPr lang="en-US" altLang="en-US" sz="1350">
                <a:solidFill>
                  <a:prstClr val="black"/>
                </a:solidFill>
              </a:endParaRPr>
            </a:p>
          </p:txBody>
        </p:sp>
        <p:sp>
          <p:nvSpPr>
            <p:cNvPr id="42" name="Rectangle 42">
              <a:extLst>
                <a:ext uri="{FF2B5EF4-FFF2-40B4-BE49-F238E27FC236}">
                  <a16:creationId xmlns:a16="http://schemas.microsoft.com/office/drawing/2014/main" id="{FECF7E3B-5508-FD46-93F2-500182C9CA45}"/>
                </a:ext>
              </a:extLst>
            </p:cNvPr>
            <p:cNvSpPr>
              <a:spLocks noChangeArrowheads="1"/>
            </p:cNvSpPr>
            <p:nvPr/>
          </p:nvSpPr>
          <p:spPr bwMode="auto">
            <a:xfrm>
              <a:off x="1431677"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2</a:t>
              </a:r>
              <a:endParaRPr lang="en-US" altLang="en-US" sz="1350">
                <a:solidFill>
                  <a:prstClr val="black"/>
                </a:solidFill>
              </a:endParaRPr>
            </a:p>
          </p:txBody>
        </p:sp>
        <p:sp>
          <p:nvSpPr>
            <p:cNvPr id="43" name="Rectangle 43">
              <a:extLst>
                <a:ext uri="{FF2B5EF4-FFF2-40B4-BE49-F238E27FC236}">
                  <a16:creationId xmlns:a16="http://schemas.microsoft.com/office/drawing/2014/main" id="{0DAF7157-B62A-6C45-8A77-2E23AE34EE6C}"/>
                </a:ext>
              </a:extLst>
            </p:cNvPr>
            <p:cNvSpPr>
              <a:spLocks noChangeArrowheads="1"/>
            </p:cNvSpPr>
            <p:nvPr/>
          </p:nvSpPr>
          <p:spPr bwMode="auto">
            <a:xfrm>
              <a:off x="1963489"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4</a:t>
              </a:r>
              <a:endParaRPr lang="en-US" altLang="en-US" sz="1350">
                <a:solidFill>
                  <a:prstClr val="black"/>
                </a:solidFill>
              </a:endParaRPr>
            </a:p>
          </p:txBody>
        </p:sp>
        <p:sp>
          <p:nvSpPr>
            <p:cNvPr id="44" name="Rectangle 44">
              <a:extLst>
                <a:ext uri="{FF2B5EF4-FFF2-40B4-BE49-F238E27FC236}">
                  <a16:creationId xmlns:a16="http://schemas.microsoft.com/office/drawing/2014/main" id="{03FCF642-3478-D441-8328-E41DE65BB315}"/>
                </a:ext>
              </a:extLst>
            </p:cNvPr>
            <p:cNvSpPr>
              <a:spLocks noChangeArrowheads="1"/>
            </p:cNvSpPr>
            <p:nvPr/>
          </p:nvSpPr>
          <p:spPr bwMode="auto">
            <a:xfrm>
              <a:off x="2492127"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6</a:t>
              </a:r>
              <a:endParaRPr lang="en-US" altLang="en-US" sz="1350">
                <a:solidFill>
                  <a:prstClr val="black"/>
                </a:solidFill>
              </a:endParaRPr>
            </a:p>
          </p:txBody>
        </p:sp>
        <p:sp>
          <p:nvSpPr>
            <p:cNvPr id="45" name="Rectangle 45">
              <a:extLst>
                <a:ext uri="{FF2B5EF4-FFF2-40B4-BE49-F238E27FC236}">
                  <a16:creationId xmlns:a16="http://schemas.microsoft.com/office/drawing/2014/main" id="{5454C5A4-52B0-2C45-A318-5C615AFAD6AC}"/>
                </a:ext>
              </a:extLst>
            </p:cNvPr>
            <p:cNvSpPr>
              <a:spLocks noChangeArrowheads="1"/>
            </p:cNvSpPr>
            <p:nvPr/>
          </p:nvSpPr>
          <p:spPr bwMode="auto">
            <a:xfrm>
              <a:off x="3023939"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8</a:t>
              </a:r>
              <a:endParaRPr lang="en-US" altLang="en-US" sz="1350">
                <a:solidFill>
                  <a:prstClr val="black"/>
                </a:solidFill>
              </a:endParaRPr>
            </a:p>
          </p:txBody>
        </p:sp>
        <p:sp>
          <p:nvSpPr>
            <p:cNvPr id="46" name="Rectangle 46">
              <a:extLst>
                <a:ext uri="{FF2B5EF4-FFF2-40B4-BE49-F238E27FC236}">
                  <a16:creationId xmlns:a16="http://schemas.microsoft.com/office/drawing/2014/main" id="{99ABAEF2-FCD9-0F41-8CF6-4DEE1A9E9D24}"/>
                </a:ext>
              </a:extLst>
            </p:cNvPr>
            <p:cNvSpPr>
              <a:spLocks noChangeArrowheads="1"/>
            </p:cNvSpPr>
            <p:nvPr/>
          </p:nvSpPr>
          <p:spPr bwMode="auto">
            <a:xfrm>
              <a:off x="3530352"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0</a:t>
              </a:r>
              <a:endParaRPr lang="en-US" altLang="en-US" sz="1350">
                <a:solidFill>
                  <a:prstClr val="black"/>
                </a:solidFill>
              </a:endParaRPr>
            </a:p>
          </p:txBody>
        </p:sp>
        <p:sp>
          <p:nvSpPr>
            <p:cNvPr id="47" name="Rectangle 47">
              <a:extLst>
                <a:ext uri="{FF2B5EF4-FFF2-40B4-BE49-F238E27FC236}">
                  <a16:creationId xmlns:a16="http://schemas.microsoft.com/office/drawing/2014/main" id="{44F83507-415D-964C-99AE-65E3A0877091}"/>
                </a:ext>
              </a:extLst>
            </p:cNvPr>
            <p:cNvSpPr>
              <a:spLocks noChangeArrowheads="1"/>
            </p:cNvSpPr>
            <p:nvPr/>
          </p:nvSpPr>
          <p:spPr bwMode="auto">
            <a:xfrm>
              <a:off x="4062164"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2</a:t>
              </a:r>
              <a:endParaRPr lang="en-US" altLang="en-US" sz="1350">
                <a:solidFill>
                  <a:prstClr val="black"/>
                </a:solidFill>
              </a:endParaRPr>
            </a:p>
          </p:txBody>
        </p:sp>
        <p:sp>
          <p:nvSpPr>
            <p:cNvPr id="48" name="Rectangle 48">
              <a:extLst>
                <a:ext uri="{FF2B5EF4-FFF2-40B4-BE49-F238E27FC236}">
                  <a16:creationId xmlns:a16="http://schemas.microsoft.com/office/drawing/2014/main" id="{72088E89-2FE1-864A-B170-B4B13350740D}"/>
                </a:ext>
              </a:extLst>
            </p:cNvPr>
            <p:cNvSpPr>
              <a:spLocks noChangeArrowheads="1"/>
            </p:cNvSpPr>
            <p:nvPr/>
          </p:nvSpPr>
          <p:spPr bwMode="auto">
            <a:xfrm>
              <a:off x="4595564"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4</a:t>
              </a:r>
              <a:endParaRPr lang="en-US" altLang="en-US" sz="1350">
                <a:solidFill>
                  <a:prstClr val="black"/>
                </a:solidFill>
              </a:endParaRPr>
            </a:p>
          </p:txBody>
        </p:sp>
        <p:sp>
          <p:nvSpPr>
            <p:cNvPr id="49" name="Rectangle 49">
              <a:extLst>
                <a:ext uri="{FF2B5EF4-FFF2-40B4-BE49-F238E27FC236}">
                  <a16:creationId xmlns:a16="http://schemas.microsoft.com/office/drawing/2014/main" id="{F58E0C86-E564-0344-9A77-52FC72E87611}"/>
                </a:ext>
              </a:extLst>
            </p:cNvPr>
            <p:cNvSpPr>
              <a:spLocks noChangeArrowheads="1"/>
            </p:cNvSpPr>
            <p:nvPr/>
          </p:nvSpPr>
          <p:spPr bwMode="auto">
            <a:xfrm>
              <a:off x="5125789"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6</a:t>
              </a:r>
              <a:endParaRPr lang="en-US" altLang="en-US" sz="1350">
                <a:solidFill>
                  <a:prstClr val="black"/>
                </a:solidFill>
              </a:endParaRPr>
            </a:p>
          </p:txBody>
        </p:sp>
        <p:sp>
          <p:nvSpPr>
            <p:cNvPr id="50" name="Rectangle 50">
              <a:extLst>
                <a:ext uri="{FF2B5EF4-FFF2-40B4-BE49-F238E27FC236}">
                  <a16:creationId xmlns:a16="http://schemas.microsoft.com/office/drawing/2014/main" id="{DD426527-0A24-624E-B8CB-75C786E4DAC0}"/>
                </a:ext>
              </a:extLst>
            </p:cNvPr>
            <p:cNvSpPr>
              <a:spLocks noChangeArrowheads="1"/>
            </p:cNvSpPr>
            <p:nvPr/>
          </p:nvSpPr>
          <p:spPr bwMode="auto">
            <a:xfrm>
              <a:off x="5659189"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8</a:t>
              </a:r>
              <a:endParaRPr lang="en-US" altLang="en-US" sz="1350">
                <a:solidFill>
                  <a:prstClr val="black"/>
                </a:solidFill>
              </a:endParaRPr>
            </a:p>
          </p:txBody>
        </p:sp>
        <p:sp>
          <p:nvSpPr>
            <p:cNvPr id="84055" name="Freeform 60">
              <a:extLst>
                <a:ext uri="{FF2B5EF4-FFF2-40B4-BE49-F238E27FC236}">
                  <a16:creationId xmlns:a16="http://schemas.microsoft.com/office/drawing/2014/main" id="{20870F25-182A-F441-A1C1-48259C256DB4}"/>
                </a:ext>
              </a:extLst>
            </p:cNvPr>
            <p:cNvSpPr>
              <a:spLocks/>
            </p:cNvSpPr>
            <p:nvPr/>
          </p:nvSpPr>
          <p:spPr bwMode="auto">
            <a:xfrm>
              <a:off x="921217" y="2836788"/>
              <a:ext cx="86056" cy="9928"/>
            </a:xfrm>
            <a:custGeom>
              <a:avLst/>
              <a:gdLst>
                <a:gd name="T0" fmla="*/ 2147483646 w 74"/>
                <a:gd name="T1" fmla="*/ 2147483646 h 10"/>
                <a:gd name="T2" fmla="*/ 0 w 74"/>
                <a:gd name="T3" fmla="*/ 2147483646 h 10"/>
                <a:gd name="T4" fmla="*/ 0 w 74"/>
                <a:gd name="T5" fmla="*/ 2147483646 h 10"/>
                <a:gd name="T6" fmla="*/ 0 w 74"/>
                <a:gd name="T7" fmla="*/ 2147483646 h 10"/>
                <a:gd name="T8" fmla="*/ 0 w 74"/>
                <a:gd name="T9" fmla="*/ 0 h 10"/>
                <a:gd name="T10" fmla="*/ 2147483646 w 74"/>
                <a:gd name="T11" fmla="*/ 0 h 10"/>
                <a:gd name="T12" fmla="*/ 2147483646 w 74"/>
                <a:gd name="T13" fmla="*/ 0 h 10"/>
                <a:gd name="T14" fmla="*/ 2147483646 w 74"/>
                <a:gd name="T15" fmla="*/ 0 h 10"/>
                <a:gd name="T16" fmla="*/ 2147483646 w 74"/>
                <a:gd name="T17" fmla="*/ 2147483646 h 10"/>
                <a:gd name="T18" fmla="*/ 2147483646 w 74"/>
                <a:gd name="T19" fmla="*/ 2147483646 h 10"/>
                <a:gd name="T20" fmla="*/ 2147483646 w 74"/>
                <a:gd name="T21" fmla="*/ 2147483646 h 10"/>
                <a:gd name="T22" fmla="*/ 2147483646 w 74"/>
                <a:gd name="T23" fmla="*/ 2147483646 h 10"/>
                <a:gd name="T24" fmla="*/ 2147483646 w 7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0">
                  <a:moveTo>
                    <a:pt x="4" y="10"/>
                  </a:moveTo>
                  <a:lnTo>
                    <a:pt x="0" y="7"/>
                  </a:lnTo>
                  <a:lnTo>
                    <a:pt x="0" y="3"/>
                  </a:lnTo>
                  <a:lnTo>
                    <a:pt x="0" y="0"/>
                  </a:lnTo>
                  <a:lnTo>
                    <a:pt x="4" y="0"/>
                  </a:lnTo>
                  <a:lnTo>
                    <a:pt x="71" y="0"/>
                  </a:lnTo>
                  <a:lnTo>
                    <a:pt x="74" y="0"/>
                  </a:lnTo>
                  <a:lnTo>
                    <a:pt x="74" y="3"/>
                  </a:lnTo>
                  <a:lnTo>
                    <a:pt x="74" y="7"/>
                  </a:lnTo>
                  <a:lnTo>
                    <a:pt x="71"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56" name="Freeform 61">
              <a:extLst>
                <a:ext uri="{FF2B5EF4-FFF2-40B4-BE49-F238E27FC236}">
                  <a16:creationId xmlns:a16="http://schemas.microsoft.com/office/drawing/2014/main" id="{DEC67DB2-C1A5-B047-B9E1-C5656716BBB0}"/>
                </a:ext>
              </a:extLst>
            </p:cNvPr>
            <p:cNvSpPr>
              <a:spLocks/>
            </p:cNvSpPr>
            <p:nvPr/>
          </p:nvSpPr>
          <p:spPr bwMode="auto">
            <a:xfrm>
              <a:off x="1000296" y="2836788"/>
              <a:ext cx="45354" cy="9928"/>
            </a:xfrm>
            <a:custGeom>
              <a:avLst/>
              <a:gdLst>
                <a:gd name="T0" fmla="*/ 2147483646 w 39"/>
                <a:gd name="T1" fmla="*/ 2147483646 h 10"/>
                <a:gd name="T2" fmla="*/ 0 w 39"/>
                <a:gd name="T3" fmla="*/ 2147483646 h 10"/>
                <a:gd name="T4" fmla="*/ 0 w 39"/>
                <a:gd name="T5" fmla="*/ 2147483646 h 10"/>
                <a:gd name="T6" fmla="*/ 0 w 39"/>
                <a:gd name="T7" fmla="*/ 2147483646 h 10"/>
                <a:gd name="T8" fmla="*/ 0 w 39"/>
                <a:gd name="T9" fmla="*/ 0 h 10"/>
                <a:gd name="T10" fmla="*/ 2147483646 w 39"/>
                <a:gd name="T11" fmla="*/ 0 h 10"/>
                <a:gd name="T12" fmla="*/ 2147483646 w 39"/>
                <a:gd name="T13" fmla="*/ 0 h 10"/>
                <a:gd name="T14" fmla="*/ 2147483646 w 39"/>
                <a:gd name="T15" fmla="*/ 0 h 10"/>
                <a:gd name="T16" fmla="*/ 2147483646 w 39"/>
                <a:gd name="T17" fmla="*/ 2147483646 h 10"/>
                <a:gd name="T18" fmla="*/ 2147483646 w 39"/>
                <a:gd name="T19" fmla="*/ 2147483646 h 10"/>
                <a:gd name="T20" fmla="*/ 2147483646 w 39"/>
                <a:gd name="T21" fmla="*/ 2147483646 h 10"/>
                <a:gd name="T22" fmla="*/ 2147483646 w 39"/>
                <a:gd name="T23" fmla="*/ 2147483646 h 10"/>
                <a:gd name="T24" fmla="*/ 2147483646 w 3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10">
                  <a:moveTo>
                    <a:pt x="3" y="10"/>
                  </a:moveTo>
                  <a:lnTo>
                    <a:pt x="0" y="7"/>
                  </a:lnTo>
                  <a:lnTo>
                    <a:pt x="0" y="3"/>
                  </a:lnTo>
                  <a:lnTo>
                    <a:pt x="0" y="0"/>
                  </a:lnTo>
                  <a:lnTo>
                    <a:pt x="3" y="0"/>
                  </a:lnTo>
                  <a:lnTo>
                    <a:pt x="35" y="0"/>
                  </a:lnTo>
                  <a:lnTo>
                    <a:pt x="39" y="0"/>
                  </a:lnTo>
                  <a:lnTo>
                    <a:pt x="39" y="3"/>
                  </a:lnTo>
                  <a:lnTo>
                    <a:pt x="39" y="7"/>
                  </a:lnTo>
                  <a:lnTo>
                    <a:pt x="3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57" name="Freeform 62">
              <a:extLst>
                <a:ext uri="{FF2B5EF4-FFF2-40B4-BE49-F238E27FC236}">
                  <a16:creationId xmlns:a16="http://schemas.microsoft.com/office/drawing/2014/main" id="{1207D6D2-5072-614C-A6EC-B44A964A0DF8}"/>
                </a:ext>
              </a:extLst>
            </p:cNvPr>
            <p:cNvSpPr>
              <a:spLocks/>
            </p:cNvSpPr>
            <p:nvPr/>
          </p:nvSpPr>
          <p:spPr bwMode="auto">
            <a:xfrm>
              <a:off x="1037509" y="282785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58" name="Freeform 63">
              <a:extLst>
                <a:ext uri="{FF2B5EF4-FFF2-40B4-BE49-F238E27FC236}">
                  <a16:creationId xmlns:a16="http://schemas.microsoft.com/office/drawing/2014/main" id="{25C104B1-91A7-9E44-8060-572235E65195}"/>
                </a:ext>
              </a:extLst>
            </p:cNvPr>
            <p:cNvSpPr>
              <a:spLocks/>
            </p:cNvSpPr>
            <p:nvPr/>
          </p:nvSpPr>
          <p:spPr bwMode="auto">
            <a:xfrm>
              <a:off x="1037509" y="2827852"/>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3" y="9"/>
                  </a:moveTo>
                  <a:lnTo>
                    <a:pt x="0" y="6"/>
                  </a:lnTo>
                  <a:lnTo>
                    <a:pt x="0" y="3"/>
                  </a:lnTo>
                  <a:lnTo>
                    <a:pt x="0" y="0"/>
                  </a:lnTo>
                  <a:lnTo>
                    <a:pt x="3" y="0"/>
                  </a:lnTo>
                  <a:lnTo>
                    <a:pt x="16" y="0"/>
                  </a:lnTo>
                  <a:lnTo>
                    <a:pt x="20" y="0"/>
                  </a:lnTo>
                  <a:lnTo>
                    <a:pt x="20" y="3"/>
                  </a:lnTo>
                  <a:lnTo>
                    <a:pt x="20" y="6"/>
                  </a:lnTo>
                  <a:lnTo>
                    <a:pt x="1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59" name="Freeform 64">
              <a:extLst>
                <a:ext uri="{FF2B5EF4-FFF2-40B4-BE49-F238E27FC236}">
                  <a16:creationId xmlns:a16="http://schemas.microsoft.com/office/drawing/2014/main" id="{570ACFFC-9B3C-9143-B108-0838DEBDE450}"/>
                </a:ext>
              </a:extLst>
            </p:cNvPr>
            <p:cNvSpPr>
              <a:spLocks/>
            </p:cNvSpPr>
            <p:nvPr/>
          </p:nvSpPr>
          <p:spPr bwMode="auto">
            <a:xfrm>
              <a:off x="1052628" y="282090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0" name="Freeform 65">
              <a:extLst>
                <a:ext uri="{FF2B5EF4-FFF2-40B4-BE49-F238E27FC236}">
                  <a16:creationId xmlns:a16="http://schemas.microsoft.com/office/drawing/2014/main" id="{2DF1C23F-5267-C340-8218-BAC43E2DA241}"/>
                </a:ext>
              </a:extLst>
            </p:cNvPr>
            <p:cNvSpPr>
              <a:spLocks/>
            </p:cNvSpPr>
            <p:nvPr/>
          </p:nvSpPr>
          <p:spPr bwMode="auto">
            <a:xfrm>
              <a:off x="1052628" y="2820902"/>
              <a:ext cx="45354" cy="9928"/>
            </a:xfrm>
            <a:custGeom>
              <a:avLst/>
              <a:gdLst>
                <a:gd name="T0" fmla="*/ 2147483646 w 39"/>
                <a:gd name="T1" fmla="*/ 2147483646 h 10"/>
                <a:gd name="T2" fmla="*/ 0 w 39"/>
                <a:gd name="T3" fmla="*/ 2147483646 h 10"/>
                <a:gd name="T4" fmla="*/ 0 w 39"/>
                <a:gd name="T5" fmla="*/ 2147483646 h 10"/>
                <a:gd name="T6" fmla="*/ 0 w 39"/>
                <a:gd name="T7" fmla="*/ 2147483646 h 10"/>
                <a:gd name="T8" fmla="*/ 0 w 39"/>
                <a:gd name="T9" fmla="*/ 0 h 10"/>
                <a:gd name="T10" fmla="*/ 2147483646 w 39"/>
                <a:gd name="T11" fmla="*/ 0 h 10"/>
                <a:gd name="T12" fmla="*/ 2147483646 w 39"/>
                <a:gd name="T13" fmla="*/ 0 h 10"/>
                <a:gd name="T14" fmla="*/ 2147483646 w 39"/>
                <a:gd name="T15" fmla="*/ 0 h 10"/>
                <a:gd name="T16" fmla="*/ 2147483646 w 39"/>
                <a:gd name="T17" fmla="*/ 2147483646 h 10"/>
                <a:gd name="T18" fmla="*/ 2147483646 w 39"/>
                <a:gd name="T19" fmla="*/ 2147483646 h 10"/>
                <a:gd name="T20" fmla="*/ 2147483646 w 39"/>
                <a:gd name="T21" fmla="*/ 2147483646 h 10"/>
                <a:gd name="T22" fmla="*/ 2147483646 w 39"/>
                <a:gd name="T23" fmla="*/ 2147483646 h 10"/>
                <a:gd name="T24" fmla="*/ 2147483646 w 3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10">
                  <a:moveTo>
                    <a:pt x="3" y="10"/>
                  </a:moveTo>
                  <a:lnTo>
                    <a:pt x="0" y="7"/>
                  </a:lnTo>
                  <a:lnTo>
                    <a:pt x="0" y="3"/>
                  </a:lnTo>
                  <a:lnTo>
                    <a:pt x="0" y="0"/>
                  </a:lnTo>
                  <a:lnTo>
                    <a:pt x="3" y="0"/>
                  </a:lnTo>
                  <a:lnTo>
                    <a:pt x="36" y="0"/>
                  </a:lnTo>
                  <a:lnTo>
                    <a:pt x="39" y="0"/>
                  </a:lnTo>
                  <a:lnTo>
                    <a:pt x="39" y="3"/>
                  </a:lnTo>
                  <a:lnTo>
                    <a:pt x="39" y="7"/>
                  </a:lnTo>
                  <a:lnTo>
                    <a:pt x="3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1" name="Freeform 66">
              <a:extLst>
                <a:ext uri="{FF2B5EF4-FFF2-40B4-BE49-F238E27FC236}">
                  <a16:creationId xmlns:a16="http://schemas.microsoft.com/office/drawing/2014/main" id="{FB0C94C9-38C5-7B4F-BDC0-5EDF5CABD4C5}"/>
                </a:ext>
              </a:extLst>
            </p:cNvPr>
            <p:cNvSpPr>
              <a:spLocks/>
            </p:cNvSpPr>
            <p:nvPr/>
          </p:nvSpPr>
          <p:spPr bwMode="auto">
            <a:xfrm>
              <a:off x="1089841" y="2810974"/>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2" name="Freeform 67">
              <a:extLst>
                <a:ext uri="{FF2B5EF4-FFF2-40B4-BE49-F238E27FC236}">
                  <a16:creationId xmlns:a16="http://schemas.microsoft.com/office/drawing/2014/main" id="{FD603C93-130C-CA47-81B1-1900A96E95F7}"/>
                </a:ext>
              </a:extLst>
            </p:cNvPr>
            <p:cNvSpPr>
              <a:spLocks/>
            </p:cNvSpPr>
            <p:nvPr/>
          </p:nvSpPr>
          <p:spPr bwMode="auto">
            <a:xfrm>
              <a:off x="1089841" y="280203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3" name="Freeform 68">
              <a:extLst>
                <a:ext uri="{FF2B5EF4-FFF2-40B4-BE49-F238E27FC236}">
                  <a16:creationId xmlns:a16="http://schemas.microsoft.com/office/drawing/2014/main" id="{6D24B9E7-4C57-3C42-9337-E1B9439D7077}"/>
                </a:ext>
              </a:extLst>
            </p:cNvPr>
            <p:cNvSpPr>
              <a:spLocks/>
            </p:cNvSpPr>
            <p:nvPr/>
          </p:nvSpPr>
          <p:spPr bwMode="auto">
            <a:xfrm>
              <a:off x="1089841" y="280203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4" name="Freeform 69">
              <a:extLst>
                <a:ext uri="{FF2B5EF4-FFF2-40B4-BE49-F238E27FC236}">
                  <a16:creationId xmlns:a16="http://schemas.microsoft.com/office/drawing/2014/main" id="{CD08539B-5B6C-2D4B-94FF-F8296CAF8811}"/>
                </a:ext>
              </a:extLst>
            </p:cNvPr>
            <p:cNvSpPr>
              <a:spLocks/>
            </p:cNvSpPr>
            <p:nvPr/>
          </p:nvSpPr>
          <p:spPr bwMode="auto">
            <a:xfrm>
              <a:off x="1094493" y="279508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5" name="Freeform 70">
              <a:extLst>
                <a:ext uri="{FF2B5EF4-FFF2-40B4-BE49-F238E27FC236}">
                  <a16:creationId xmlns:a16="http://schemas.microsoft.com/office/drawing/2014/main" id="{E2799739-77AC-8148-9CBA-6EA4BDD47E7F}"/>
                </a:ext>
              </a:extLst>
            </p:cNvPr>
            <p:cNvSpPr>
              <a:spLocks/>
            </p:cNvSpPr>
            <p:nvPr/>
          </p:nvSpPr>
          <p:spPr bwMode="auto">
            <a:xfrm>
              <a:off x="1094493" y="279508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6" name="Freeform 71">
              <a:extLst>
                <a:ext uri="{FF2B5EF4-FFF2-40B4-BE49-F238E27FC236}">
                  <a16:creationId xmlns:a16="http://schemas.microsoft.com/office/drawing/2014/main" id="{AD705309-AF9A-D744-BDD5-761B6B47ED31}"/>
                </a:ext>
              </a:extLst>
            </p:cNvPr>
            <p:cNvSpPr>
              <a:spLocks/>
            </p:cNvSpPr>
            <p:nvPr/>
          </p:nvSpPr>
          <p:spPr bwMode="auto">
            <a:xfrm>
              <a:off x="1097981" y="2786152"/>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7" name="Freeform 72">
              <a:extLst>
                <a:ext uri="{FF2B5EF4-FFF2-40B4-BE49-F238E27FC236}">
                  <a16:creationId xmlns:a16="http://schemas.microsoft.com/office/drawing/2014/main" id="{00E37626-2287-1947-97C1-74F7A2FB7D0B}"/>
                </a:ext>
              </a:extLst>
            </p:cNvPr>
            <p:cNvSpPr>
              <a:spLocks/>
            </p:cNvSpPr>
            <p:nvPr/>
          </p:nvSpPr>
          <p:spPr bwMode="auto">
            <a:xfrm>
              <a:off x="1097981" y="2786152"/>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8" name="Freeform 73">
              <a:extLst>
                <a:ext uri="{FF2B5EF4-FFF2-40B4-BE49-F238E27FC236}">
                  <a16:creationId xmlns:a16="http://schemas.microsoft.com/office/drawing/2014/main" id="{A9895B50-128E-8443-88F4-ABA36039DEAD}"/>
                </a:ext>
              </a:extLst>
            </p:cNvPr>
            <p:cNvSpPr>
              <a:spLocks/>
            </p:cNvSpPr>
            <p:nvPr/>
          </p:nvSpPr>
          <p:spPr bwMode="auto">
            <a:xfrm>
              <a:off x="1101470" y="277920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9" name="Freeform 74">
              <a:extLst>
                <a:ext uri="{FF2B5EF4-FFF2-40B4-BE49-F238E27FC236}">
                  <a16:creationId xmlns:a16="http://schemas.microsoft.com/office/drawing/2014/main" id="{B7CA5ED9-79AD-F141-BAEE-EB8A5F1791F3}"/>
                </a:ext>
              </a:extLst>
            </p:cNvPr>
            <p:cNvSpPr>
              <a:spLocks/>
            </p:cNvSpPr>
            <p:nvPr/>
          </p:nvSpPr>
          <p:spPr bwMode="auto">
            <a:xfrm>
              <a:off x="1101470" y="277920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0" name="Freeform 75">
              <a:extLst>
                <a:ext uri="{FF2B5EF4-FFF2-40B4-BE49-F238E27FC236}">
                  <a16:creationId xmlns:a16="http://schemas.microsoft.com/office/drawing/2014/main" id="{280AE024-BDBB-1E40-9A26-0EE2A92086EF}"/>
                </a:ext>
              </a:extLst>
            </p:cNvPr>
            <p:cNvSpPr>
              <a:spLocks/>
            </p:cNvSpPr>
            <p:nvPr/>
          </p:nvSpPr>
          <p:spPr bwMode="auto">
            <a:xfrm>
              <a:off x="1113100" y="2769274"/>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1" name="Freeform 76">
              <a:extLst>
                <a:ext uri="{FF2B5EF4-FFF2-40B4-BE49-F238E27FC236}">
                  <a16:creationId xmlns:a16="http://schemas.microsoft.com/office/drawing/2014/main" id="{A751F60A-64DD-F044-831F-41544B25196B}"/>
                </a:ext>
              </a:extLst>
            </p:cNvPr>
            <p:cNvSpPr>
              <a:spLocks/>
            </p:cNvSpPr>
            <p:nvPr/>
          </p:nvSpPr>
          <p:spPr bwMode="auto">
            <a:xfrm>
              <a:off x="1113100" y="2769274"/>
              <a:ext cx="55820" cy="9928"/>
            </a:xfrm>
            <a:custGeom>
              <a:avLst/>
              <a:gdLst>
                <a:gd name="T0" fmla="*/ 2147483646 w 48"/>
                <a:gd name="T1" fmla="*/ 2147483646 h 10"/>
                <a:gd name="T2" fmla="*/ 0 w 48"/>
                <a:gd name="T3" fmla="*/ 2147483646 h 10"/>
                <a:gd name="T4" fmla="*/ 0 w 48"/>
                <a:gd name="T5" fmla="*/ 2147483646 h 10"/>
                <a:gd name="T6" fmla="*/ 0 w 48"/>
                <a:gd name="T7" fmla="*/ 2147483646 h 10"/>
                <a:gd name="T8" fmla="*/ 0 w 48"/>
                <a:gd name="T9" fmla="*/ 0 h 10"/>
                <a:gd name="T10" fmla="*/ 2147483646 w 48"/>
                <a:gd name="T11" fmla="*/ 0 h 10"/>
                <a:gd name="T12" fmla="*/ 2147483646 w 48"/>
                <a:gd name="T13" fmla="*/ 0 h 10"/>
                <a:gd name="T14" fmla="*/ 2147483646 w 48"/>
                <a:gd name="T15" fmla="*/ 0 h 10"/>
                <a:gd name="T16" fmla="*/ 2147483646 w 48"/>
                <a:gd name="T17" fmla="*/ 2147483646 h 10"/>
                <a:gd name="T18" fmla="*/ 2147483646 w 48"/>
                <a:gd name="T19" fmla="*/ 2147483646 h 10"/>
                <a:gd name="T20" fmla="*/ 2147483646 w 48"/>
                <a:gd name="T21" fmla="*/ 2147483646 h 10"/>
                <a:gd name="T22" fmla="*/ 2147483646 w 48"/>
                <a:gd name="T23" fmla="*/ 2147483646 h 10"/>
                <a:gd name="T24" fmla="*/ 2147483646 w 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0">
                  <a:moveTo>
                    <a:pt x="3" y="10"/>
                  </a:moveTo>
                  <a:lnTo>
                    <a:pt x="0" y="7"/>
                  </a:lnTo>
                  <a:lnTo>
                    <a:pt x="0" y="4"/>
                  </a:lnTo>
                  <a:lnTo>
                    <a:pt x="0" y="0"/>
                  </a:lnTo>
                  <a:lnTo>
                    <a:pt x="3" y="0"/>
                  </a:lnTo>
                  <a:lnTo>
                    <a:pt x="45" y="0"/>
                  </a:lnTo>
                  <a:lnTo>
                    <a:pt x="48" y="0"/>
                  </a:lnTo>
                  <a:lnTo>
                    <a:pt x="48" y="4"/>
                  </a:lnTo>
                  <a:lnTo>
                    <a:pt x="48" y="7"/>
                  </a:lnTo>
                  <a:lnTo>
                    <a:pt x="4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2" name="Freeform 77">
              <a:extLst>
                <a:ext uri="{FF2B5EF4-FFF2-40B4-BE49-F238E27FC236}">
                  <a16:creationId xmlns:a16="http://schemas.microsoft.com/office/drawing/2014/main" id="{1B98CC95-5E99-2143-A603-1E2975AC4C55}"/>
                </a:ext>
              </a:extLst>
            </p:cNvPr>
            <p:cNvSpPr>
              <a:spLocks/>
            </p:cNvSpPr>
            <p:nvPr/>
          </p:nvSpPr>
          <p:spPr bwMode="auto">
            <a:xfrm>
              <a:off x="1161942" y="2769274"/>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3" name="Freeform 78">
              <a:extLst>
                <a:ext uri="{FF2B5EF4-FFF2-40B4-BE49-F238E27FC236}">
                  <a16:creationId xmlns:a16="http://schemas.microsoft.com/office/drawing/2014/main" id="{08A10127-2DF5-A646-9710-033CE40A66B2}"/>
                </a:ext>
              </a:extLst>
            </p:cNvPr>
            <p:cNvSpPr>
              <a:spLocks/>
            </p:cNvSpPr>
            <p:nvPr/>
          </p:nvSpPr>
          <p:spPr bwMode="auto">
            <a:xfrm>
              <a:off x="1175897" y="276331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4" name="Freeform 79">
              <a:extLst>
                <a:ext uri="{FF2B5EF4-FFF2-40B4-BE49-F238E27FC236}">
                  <a16:creationId xmlns:a16="http://schemas.microsoft.com/office/drawing/2014/main" id="{0ECB64DE-8D1B-8F41-8279-57BB3C7FE8CD}"/>
                </a:ext>
              </a:extLst>
            </p:cNvPr>
            <p:cNvSpPr>
              <a:spLocks/>
            </p:cNvSpPr>
            <p:nvPr/>
          </p:nvSpPr>
          <p:spPr bwMode="auto">
            <a:xfrm>
              <a:off x="1175897" y="276331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5" name="Freeform 80">
              <a:extLst>
                <a:ext uri="{FF2B5EF4-FFF2-40B4-BE49-F238E27FC236}">
                  <a16:creationId xmlns:a16="http://schemas.microsoft.com/office/drawing/2014/main" id="{2C870386-9C29-5444-8555-88A09EFD819E}"/>
                </a:ext>
              </a:extLst>
            </p:cNvPr>
            <p:cNvSpPr>
              <a:spLocks/>
            </p:cNvSpPr>
            <p:nvPr/>
          </p:nvSpPr>
          <p:spPr bwMode="auto">
            <a:xfrm>
              <a:off x="1180549" y="276331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6" name="Freeform 81">
              <a:extLst>
                <a:ext uri="{FF2B5EF4-FFF2-40B4-BE49-F238E27FC236}">
                  <a16:creationId xmlns:a16="http://schemas.microsoft.com/office/drawing/2014/main" id="{E4FEECF7-8E21-F24B-B127-A9B130383729}"/>
                </a:ext>
              </a:extLst>
            </p:cNvPr>
            <p:cNvSpPr>
              <a:spLocks/>
            </p:cNvSpPr>
            <p:nvPr/>
          </p:nvSpPr>
          <p:spPr bwMode="auto">
            <a:xfrm>
              <a:off x="1184038" y="276331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7" name="Freeform 82">
              <a:extLst>
                <a:ext uri="{FF2B5EF4-FFF2-40B4-BE49-F238E27FC236}">
                  <a16:creationId xmlns:a16="http://schemas.microsoft.com/office/drawing/2014/main" id="{84FE1A40-1D2E-5E40-923F-59A8211FE148}"/>
                </a:ext>
              </a:extLst>
            </p:cNvPr>
            <p:cNvSpPr>
              <a:spLocks/>
            </p:cNvSpPr>
            <p:nvPr/>
          </p:nvSpPr>
          <p:spPr bwMode="auto">
            <a:xfrm>
              <a:off x="1187527" y="275338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4"/>
                  </a:lnTo>
                  <a:lnTo>
                    <a:pt x="0" y="0"/>
                  </a:lnTo>
                  <a:lnTo>
                    <a:pt x="3" y="0"/>
                  </a:lnTo>
                  <a:lnTo>
                    <a:pt x="7" y="0"/>
                  </a:lnTo>
                  <a:lnTo>
                    <a:pt x="10" y="4"/>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8" name="Freeform 83">
              <a:extLst>
                <a:ext uri="{FF2B5EF4-FFF2-40B4-BE49-F238E27FC236}">
                  <a16:creationId xmlns:a16="http://schemas.microsoft.com/office/drawing/2014/main" id="{355F4871-BDE0-7D48-B041-DFA2A6D38399}"/>
                </a:ext>
              </a:extLst>
            </p:cNvPr>
            <p:cNvSpPr>
              <a:spLocks/>
            </p:cNvSpPr>
            <p:nvPr/>
          </p:nvSpPr>
          <p:spPr bwMode="auto">
            <a:xfrm>
              <a:off x="1187527" y="275338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9" name="Freeform 84">
              <a:extLst>
                <a:ext uri="{FF2B5EF4-FFF2-40B4-BE49-F238E27FC236}">
                  <a16:creationId xmlns:a16="http://schemas.microsoft.com/office/drawing/2014/main" id="{C1D139DD-2FC1-D745-A196-3C61C2CCF600}"/>
                </a:ext>
              </a:extLst>
            </p:cNvPr>
            <p:cNvSpPr>
              <a:spLocks/>
            </p:cNvSpPr>
            <p:nvPr/>
          </p:nvSpPr>
          <p:spPr bwMode="auto">
            <a:xfrm>
              <a:off x="1195667" y="2753389"/>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2" y="0"/>
                  </a:lnTo>
                  <a:lnTo>
                    <a:pt x="16" y="0"/>
                  </a:lnTo>
                  <a:lnTo>
                    <a:pt x="16" y="4"/>
                  </a:lnTo>
                  <a:lnTo>
                    <a:pt x="16" y="7"/>
                  </a:lnTo>
                  <a:lnTo>
                    <a:pt x="1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0" name="Freeform 85">
              <a:extLst>
                <a:ext uri="{FF2B5EF4-FFF2-40B4-BE49-F238E27FC236}">
                  <a16:creationId xmlns:a16="http://schemas.microsoft.com/office/drawing/2014/main" id="{771EAE08-2ABA-AB43-B37C-AEEED391A3B0}"/>
                </a:ext>
              </a:extLst>
            </p:cNvPr>
            <p:cNvSpPr>
              <a:spLocks/>
            </p:cNvSpPr>
            <p:nvPr/>
          </p:nvSpPr>
          <p:spPr bwMode="auto">
            <a:xfrm>
              <a:off x="1206133" y="274445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1" name="Freeform 86">
              <a:extLst>
                <a:ext uri="{FF2B5EF4-FFF2-40B4-BE49-F238E27FC236}">
                  <a16:creationId xmlns:a16="http://schemas.microsoft.com/office/drawing/2014/main" id="{00C3C9A4-A1C7-B446-8EDD-D8D0757CF70B}"/>
                </a:ext>
              </a:extLst>
            </p:cNvPr>
            <p:cNvSpPr>
              <a:spLocks/>
            </p:cNvSpPr>
            <p:nvPr/>
          </p:nvSpPr>
          <p:spPr bwMode="auto">
            <a:xfrm>
              <a:off x="1206133" y="274445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2" name="Freeform 87">
              <a:extLst>
                <a:ext uri="{FF2B5EF4-FFF2-40B4-BE49-F238E27FC236}">
                  <a16:creationId xmlns:a16="http://schemas.microsoft.com/office/drawing/2014/main" id="{CDBD8B1C-1D1F-5B4B-89B9-E24A8F2D719C}"/>
                </a:ext>
              </a:extLst>
            </p:cNvPr>
            <p:cNvSpPr>
              <a:spLocks/>
            </p:cNvSpPr>
            <p:nvPr/>
          </p:nvSpPr>
          <p:spPr bwMode="auto">
            <a:xfrm>
              <a:off x="1209622" y="273750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3" name="Freeform 88">
              <a:extLst>
                <a:ext uri="{FF2B5EF4-FFF2-40B4-BE49-F238E27FC236}">
                  <a16:creationId xmlns:a16="http://schemas.microsoft.com/office/drawing/2014/main" id="{937A210E-3573-384F-B88D-15D5E9BF4FD0}"/>
                </a:ext>
              </a:extLst>
            </p:cNvPr>
            <p:cNvSpPr>
              <a:spLocks/>
            </p:cNvSpPr>
            <p:nvPr/>
          </p:nvSpPr>
          <p:spPr bwMode="auto">
            <a:xfrm>
              <a:off x="1209622" y="2737503"/>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4" y="10"/>
                  </a:moveTo>
                  <a:lnTo>
                    <a:pt x="0" y="7"/>
                  </a:lnTo>
                  <a:lnTo>
                    <a:pt x="0" y="3"/>
                  </a:lnTo>
                  <a:lnTo>
                    <a:pt x="0" y="0"/>
                  </a:lnTo>
                  <a:lnTo>
                    <a:pt x="4" y="0"/>
                  </a:lnTo>
                  <a:lnTo>
                    <a:pt x="23" y="0"/>
                  </a:lnTo>
                  <a:lnTo>
                    <a:pt x="26" y="0"/>
                  </a:lnTo>
                  <a:lnTo>
                    <a:pt x="26" y="3"/>
                  </a:lnTo>
                  <a:lnTo>
                    <a:pt x="26" y="7"/>
                  </a:lnTo>
                  <a:lnTo>
                    <a:pt x="2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4" name="Freeform 89">
              <a:extLst>
                <a:ext uri="{FF2B5EF4-FFF2-40B4-BE49-F238E27FC236}">
                  <a16:creationId xmlns:a16="http://schemas.microsoft.com/office/drawing/2014/main" id="{1BAF3257-D097-4F46-87DC-900A433ADEDF}"/>
                </a:ext>
              </a:extLst>
            </p:cNvPr>
            <p:cNvSpPr>
              <a:spLocks/>
            </p:cNvSpPr>
            <p:nvPr/>
          </p:nvSpPr>
          <p:spPr bwMode="auto">
            <a:xfrm>
              <a:off x="1232880" y="273750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5" name="Freeform 90">
              <a:extLst>
                <a:ext uri="{FF2B5EF4-FFF2-40B4-BE49-F238E27FC236}">
                  <a16:creationId xmlns:a16="http://schemas.microsoft.com/office/drawing/2014/main" id="{7684EF4E-5970-1346-8D4D-7CD8482B38A5}"/>
                </a:ext>
              </a:extLst>
            </p:cNvPr>
            <p:cNvSpPr>
              <a:spLocks/>
            </p:cNvSpPr>
            <p:nvPr/>
          </p:nvSpPr>
          <p:spPr bwMode="auto">
            <a:xfrm>
              <a:off x="1236369" y="273750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6" name="Freeform 91">
              <a:extLst>
                <a:ext uri="{FF2B5EF4-FFF2-40B4-BE49-F238E27FC236}">
                  <a16:creationId xmlns:a16="http://schemas.microsoft.com/office/drawing/2014/main" id="{98FBCC12-2029-E240-8C68-D82CAC47042A}"/>
                </a:ext>
              </a:extLst>
            </p:cNvPr>
            <p:cNvSpPr>
              <a:spLocks/>
            </p:cNvSpPr>
            <p:nvPr/>
          </p:nvSpPr>
          <p:spPr bwMode="auto">
            <a:xfrm>
              <a:off x="1239858" y="273750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7" name="Freeform 92">
              <a:extLst>
                <a:ext uri="{FF2B5EF4-FFF2-40B4-BE49-F238E27FC236}">
                  <a16:creationId xmlns:a16="http://schemas.microsoft.com/office/drawing/2014/main" id="{385C1845-3D1F-D949-8B6E-24F3052991D8}"/>
                </a:ext>
              </a:extLst>
            </p:cNvPr>
            <p:cNvSpPr>
              <a:spLocks/>
            </p:cNvSpPr>
            <p:nvPr/>
          </p:nvSpPr>
          <p:spPr bwMode="auto">
            <a:xfrm>
              <a:off x="1243347" y="273750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8" name="Freeform 93">
              <a:extLst>
                <a:ext uri="{FF2B5EF4-FFF2-40B4-BE49-F238E27FC236}">
                  <a16:creationId xmlns:a16="http://schemas.microsoft.com/office/drawing/2014/main" id="{36350EEB-CA9B-1542-B2B9-F5D1B561F569}"/>
                </a:ext>
              </a:extLst>
            </p:cNvPr>
            <p:cNvSpPr>
              <a:spLocks/>
            </p:cNvSpPr>
            <p:nvPr/>
          </p:nvSpPr>
          <p:spPr bwMode="auto">
            <a:xfrm>
              <a:off x="1251487" y="273750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9" name="Freeform 94">
              <a:extLst>
                <a:ext uri="{FF2B5EF4-FFF2-40B4-BE49-F238E27FC236}">
                  <a16:creationId xmlns:a16="http://schemas.microsoft.com/office/drawing/2014/main" id="{A18ED530-85A1-5043-8888-AE16822A8752}"/>
                </a:ext>
              </a:extLst>
            </p:cNvPr>
            <p:cNvSpPr>
              <a:spLocks/>
            </p:cNvSpPr>
            <p:nvPr/>
          </p:nvSpPr>
          <p:spPr bwMode="auto">
            <a:xfrm>
              <a:off x="1254976" y="273750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0" name="Freeform 95">
              <a:extLst>
                <a:ext uri="{FF2B5EF4-FFF2-40B4-BE49-F238E27FC236}">
                  <a16:creationId xmlns:a16="http://schemas.microsoft.com/office/drawing/2014/main" id="{62EA024A-EB6A-054D-BEB3-A205CDAB5E98}"/>
                </a:ext>
              </a:extLst>
            </p:cNvPr>
            <p:cNvSpPr>
              <a:spLocks/>
            </p:cNvSpPr>
            <p:nvPr/>
          </p:nvSpPr>
          <p:spPr bwMode="auto">
            <a:xfrm>
              <a:off x="1266605" y="273750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1" name="Freeform 96">
              <a:extLst>
                <a:ext uri="{FF2B5EF4-FFF2-40B4-BE49-F238E27FC236}">
                  <a16:creationId xmlns:a16="http://schemas.microsoft.com/office/drawing/2014/main" id="{6C40F7EA-6A9A-C049-B650-9D94636D2797}"/>
                </a:ext>
              </a:extLst>
            </p:cNvPr>
            <p:cNvSpPr>
              <a:spLocks/>
            </p:cNvSpPr>
            <p:nvPr/>
          </p:nvSpPr>
          <p:spPr bwMode="auto">
            <a:xfrm>
              <a:off x="1273583" y="272856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2" name="Freeform 97">
              <a:extLst>
                <a:ext uri="{FF2B5EF4-FFF2-40B4-BE49-F238E27FC236}">
                  <a16:creationId xmlns:a16="http://schemas.microsoft.com/office/drawing/2014/main" id="{FAEF7373-16C3-C848-8834-CD080FC9D17A}"/>
                </a:ext>
              </a:extLst>
            </p:cNvPr>
            <p:cNvSpPr>
              <a:spLocks/>
            </p:cNvSpPr>
            <p:nvPr/>
          </p:nvSpPr>
          <p:spPr bwMode="auto">
            <a:xfrm>
              <a:off x="1273583" y="272856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3" name="Freeform 98">
              <a:extLst>
                <a:ext uri="{FF2B5EF4-FFF2-40B4-BE49-F238E27FC236}">
                  <a16:creationId xmlns:a16="http://schemas.microsoft.com/office/drawing/2014/main" id="{E119673A-1C2A-AF46-B47F-F54653946361}"/>
                </a:ext>
              </a:extLst>
            </p:cNvPr>
            <p:cNvSpPr>
              <a:spLocks/>
            </p:cNvSpPr>
            <p:nvPr/>
          </p:nvSpPr>
          <p:spPr bwMode="auto">
            <a:xfrm>
              <a:off x="1285212" y="272856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4" name="Freeform 99">
              <a:extLst>
                <a:ext uri="{FF2B5EF4-FFF2-40B4-BE49-F238E27FC236}">
                  <a16:creationId xmlns:a16="http://schemas.microsoft.com/office/drawing/2014/main" id="{AD191221-11A9-9046-A954-9428633E4A6F}"/>
                </a:ext>
              </a:extLst>
            </p:cNvPr>
            <p:cNvSpPr>
              <a:spLocks/>
            </p:cNvSpPr>
            <p:nvPr/>
          </p:nvSpPr>
          <p:spPr bwMode="auto">
            <a:xfrm>
              <a:off x="1296841" y="2728568"/>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5" name="Freeform 100">
              <a:extLst>
                <a:ext uri="{FF2B5EF4-FFF2-40B4-BE49-F238E27FC236}">
                  <a16:creationId xmlns:a16="http://schemas.microsoft.com/office/drawing/2014/main" id="{4D5A216E-D6A6-D14E-9C32-908A04505CF7}"/>
                </a:ext>
              </a:extLst>
            </p:cNvPr>
            <p:cNvSpPr>
              <a:spLocks/>
            </p:cNvSpPr>
            <p:nvPr/>
          </p:nvSpPr>
          <p:spPr bwMode="auto">
            <a:xfrm>
              <a:off x="1310796" y="272856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6" name="Freeform 101">
              <a:extLst>
                <a:ext uri="{FF2B5EF4-FFF2-40B4-BE49-F238E27FC236}">
                  <a16:creationId xmlns:a16="http://schemas.microsoft.com/office/drawing/2014/main" id="{0968DED0-A21D-5841-9A9E-BAFE2CAFF51E}"/>
                </a:ext>
              </a:extLst>
            </p:cNvPr>
            <p:cNvSpPr>
              <a:spLocks/>
            </p:cNvSpPr>
            <p:nvPr/>
          </p:nvSpPr>
          <p:spPr bwMode="auto">
            <a:xfrm>
              <a:off x="1315448" y="272856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7" name="Freeform 102">
              <a:extLst>
                <a:ext uri="{FF2B5EF4-FFF2-40B4-BE49-F238E27FC236}">
                  <a16:creationId xmlns:a16="http://schemas.microsoft.com/office/drawing/2014/main" id="{2BBE0BB7-7AE2-2A40-81CE-2AF097BD1C81}"/>
                </a:ext>
              </a:extLst>
            </p:cNvPr>
            <p:cNvSpPr>
              <a:spLocks/>
            </p:cNvSpPr>
            <p:nvPr/>
          </p:nvSpPr>
          <p:spPr bwMode="auto">
            <a:xfrm>
              <a:off x="1318936" y="271863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8" name="Freeform 103">
              <a:extLst>
                <a:ext uri="{FF2B5EF4-FFF2-40B4-BE49-F238E27FC236}">
                  <a16:creationId xmlns:a16="http://schemas.microsoft.com/office/drawing/2014/main" id="{30F3EE86-BD38-AA49-843C-3D50B2E141EA}"/>
                </a:ext>
              </a:extLst>
            </p:cNvPr>
            <p:cNvSpPr>
              <a:spLocks/>
            </p:cNvSpPr>
            <p:nvPr/>
          </p:nvSpPr>
          <p:spPr bwMode="auto">
            <a:xfrm>
              <a:off x="1318936" y="271863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9" name="Freeform 104">
              <a:extLst>
                <a:ext uri="{FF2B5EF4-FFF2-40B4-BE49-F238E27FC236}">
                  <a16:creationId xmlns:a16="http://schemas.microsoft.com/office/drawing/2014/main" id="{4FF24119-244F-6349-84BB-4D2A3E81BF59}"/>
                </a:ext>
              </a:extLst>
            </p:cNvPr>
            <p:cNvSpPr>
              <a:spLocks/>
            </p:cNvSpPr>
            <p:nvPr/>
          </p:nvSpPr>
          <p:spPr bwMode="auto">
            <a:xfrm>
              <a:off x="1325914" y="270871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0" name="Freeform 105">
              <a:extLst>
                <a:ext uri="{FF2B5EF4-FFF2-40B4-BE49-F238E27FC236}">
                  <a16:creationId xmlns:a16="http://schemas.microsoft.com/office/drawing/2014/main" id="{F7C4E3FF-6FC4-1A43-9A20-D56F80119481}"/>
                </a:ext>
              </a:extLst>
            </p:cNvPr>
            <p:cNvSpPr>
              <a:spLocks/>
            </p:cNvSpPr>
            <p:nvPr/>
          </p:nvSpPr>
          <p:spPr bwMode="auto">
            <a:xfrm>
              <a:off x="1325914" y="2708711"/>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4" y="10"/>
                  </a:moveTo>
                  <a:lnTo>
                    <a:pt x="0" y="7"/>
                  </a:lnTo>
                  <a:lnTo>
                    <a:pt x="0" y="3"/>
                  </a:lnTo>
                  <a:lnTo>
                    <a:pt x="0" y="0"/>
                  </a:lnTo>
                  <a:lnTo>
                    <a:pt x="4" y="0"/>
                  </a:lnTo>
                  <a:lnTo>
                    <a:pt x="39" y="0"/>
                  </a:lnTo>
                  <a:lnTo>
                    <a:pt x="42" y="0"/>
                  </a:lnTo>
                  <a:lnTo>
                    <a:pt x="42" y="3"/>
                  </a:lnTo>
                  <a:lnTo>
                    <a:pt x="42" y="7"/>
                  </a:lnTo>
                  <a:lnTo>
                    <a:pt x="39"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1" name="Freeform 106">
              <a:extLst>
                <a:ext uri="{FF2B5EF4-FFF2-40B4-BE49-F238E27FC236}">
                  <a16:creationId xmlns:a16="http://schemas.microsoft.com/office/drawing/2014/main" id="{25864877-4A2A-A948-91CA-289EBE08A5C6}"/>
                </a:ext>
              </a:extLst>
            </p:cNvPr>
            <p:cNvSpPr>
              <a:spLocks/>
            </p:cNvSpPr>
            <p:nvPr/>
          </p:nvSpPr>
          <p:spPr bwMode="auto">
            <a:xfrm>
              <a:off x="1367779" y="2708711"/>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2" name="Freeform 107">
              <a:extLst>
                <a:ext uri="{FF2B5EF4-FFF2-40B4-BE49-F238E27FC236}">
                  <a16:creationId xmlns:a16="http://schemas.microsoft.com/office/drawing/2014/main" id="{BD306A4E-0223-D445-9650-9EBAFE691772}"/>
                </a:ext>
              </a:extLst>
            </p:cNvPr>
            <p:cNvSpPr>
              <a:spLocks/>
            </p:cNvSpPr>
            <p:nvPr/>
          </p:nvSpPr>
          <p:spPr bwMode="auto">
            <a:xfrm>
              <a:off x="1371268" y="270871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3" name="Freeform 108">
              <a:extLst>
                <a:ext uri="{FF2B5EF4-FFF2-40B4-BE49-F238E27FC236}">
                  <a16:creationId xmlns:a16="http://schemas.microsoft.com/office/drawing/2014/main" id="{05AFC1E2-D6CC-5945-A681-5490D6B7F4BC}"/>
                </a:ext>
              </a:extLst>
            </p:cNvPr>
            <p:cNvSpPr>
              <a:spLocks/>
            </p:cNvSpPr>
            <p:nvPr/>
          </p:nvSpPr>
          <p:spPr bwMode="auto">
            <a:xfrm>
              <a:off x="1374757" y="270871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4" name="Freeform 109">
              <a:extLst>
                <a:ext uri="{FF2B5EF4-FFF2-40B4-BE49-F238E27FC236}">
                  <a16:creationId xmlns:a16="http://schemas.microsoft.com/office/drawing/2014/main" id="{E75AC4D5-F718-0448-A58D-F19E9E00B2C6}"/>
                </a:ext>
              </a:extLst>
            </p:cNvPr>
            <p:cNvSpPr>
              <a:spLocks/>
            </p:cNvSpPr>
            <p:nvPr/>
          </p:nvSpPr>
          <p:spPr bwMode="auto">
            <a:xfrm>
              <a:off x="1382898" y="2698782"/>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5" name="Freeform 110">
              <a:extLst>
                <a:ext uri="{FF2B5EF4-FFF2-40B4-BE49-F238E27FC236}">
                  <a16:creationId xmlns:a16="http://schemas.microsoft.com/office/drawing/2014/main" id="{344D1BCF-BCF4-734B-8A2E-F3C9ACF13C52}"/>
                </a:ext>
              </a:extLst>
            </p:cNvPr>
            <p:cNvSpPr>
              <a:spLocks/>
            </p:cNvSpPr>
            <p:nvPr/>
          </p:nvSpPr>
          <p:spPr bwMode="auto">
            <a:xfrm>
              <a:off x="1382898" y="2698782"/>
              <a:ext cx="37213" cy="9928"/>
            </a:xfrm>
            <a:custGeom>
              <a:avLst/>
              <a:gdLst>
                <a:gd name="T0" fmla="*/ 2147483646 w 32"/>
                <a:gd name="T1" fmla="*/ 2147483646 h 10"/>
                <a:gd name="T2" fmla="*/ 0 w 32"/>
                <a:gd name="T3" fmla="*/ 2147483646 h 10"/>
                <a:gd name="T4" fmla="*/ 0 w 32"/>
                <a:gd name="T5" fmla="*/ 2147483646 h 10"/>
                <a:gd name="T6" fmla="*/ 0 w 32"/>
                <a:gd name="T7" fmla="*/ 2147483646 h 10"/>
                <a:gd name="T8" fmla="*/ 0 w 32"/>
                <a:gd name="T9" fmla="*/ 0 h 10"/>
                <a:gd name="T10" fmla="*/ 2147483646 w 32"/>
                <a:gd name="T11" fmla="*/ 0 h 10"/>
                <a:gd name="T12" fmla="*/ 2147483646 w 32"/>
                <a:gd name="T13" fmla="*/ 0 h 10"/>
                <a:gd name="T14" fmla="*/ 2147483646 w 32"/>
                <a:gd name="T15" fmla="*/ 0 h 10"/>
                <a:gd name="T16" fmla="*/ 2147483646 w 32"/>
                <a:gd name="T17" fmla="*/ 2147483646 h 10"/>
                <a:gd name="T18" fmla="*/ 2147483646 w 32"/>
                <a:gd name="T19" fmla="*/ 2147483646 h 10"/>
                <a:gd name="T20" fmla="*/ 2147483646 w 32"/>
                <a:gd name="T21" fmla="*/ 2147483646 h 10"/>
                <a:gd name="T22" fmla="*/ 2147483646 w 32"/>
                <a:gd name="T23" fmla="*/ 2147483646 h 10"/>
                <a:gd name="T24" fmla="*/ 2147483646 w 3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10">
                  <a:moveTo>
                    <a:pt x="3" y="10"/>
                  </a:moveTo>
                  <a:lnTo>
                    <a:pt x="0" y="7"/>
                  </a:lnTo>
                  <a:lnTo>
                    <a:pt x="0" y="4"/>
                  </a:lnTo>
                  <a:lnTo>
                    <a:pt x="0" y="0"/>
                  </a:lnTo>
                  <a:lnTo>
                    <a:pt x="3" y="0"/>
                  </a:lnTo>
                  <a:lnTo>
                    <a:pt x="29" y="0"/>
                  </a:lnTo>
                  <a:lnTo>
                    <a:pt x="32" y="0"/>
                  </a:lnTo>
                  <a:lnTo>
                    <a:pt x="32" y="4"/>
                  </a:lnTo>
                  <a:lnTo>
                    <a:pt x="32" y="7"/>
                  </a:lnTo>
                  <a:lnTo>
                    <a:pt x="2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6" name="Freeform 111">
              <a:extLst>
                <a:ext uri="{FF2B5EF4-FFF2-40B4-BE49-F238E27FC236}">
                  <a16:creationId xmlns:a16="http://schemas.microsoft.com/office/drawing/2014/main" id="{CD52E52C-4F24-D44A-A690-4E83551666CA}"/>
                </a:ext>
              </a:extLst>
            </p:cNvPr>
            <p:cNvSpPr>
              <a:spLocks/>
            </p:cNvSpPr>
            <p:nvPr/>
          </p:nvSpPr>
          <p:spPr bwMode="auto">
            <a:xfrm>
              <a:off x="1411970" y="269878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7" name="Freeform 112">
              <a:extLst>
                <a:ext uri="{FF2B5EF4-FFF2-40B4-BE49-F238E27FC236}">
                  <a16:creationId xmlns:a16="http://schemas.microsoft.com/office/drawing/2014/main" id="{9033C614-FF0C-2E49-B45D-51EAF8B250C8}"/>
                </a:ext>
              </a:extLst>
            </p:cNvPr>
            <p:cNvSpPr>
              <a:spLocks/>
            </p:cNvSpPr>
            <p:nvPr/>
          </p:nvSpPr>
          <p:spPr bwMode="auto">
            <a:xfrm>
              <a:off x="1416622" y="269878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8" name="Freeform 113">
              <a:extLst>
                <a:ext uri="{FF2B5EF4-FFF2-40B4-BE49-F238E27FC236}">
                  <a16:creationId xmlns:a16="http://schemas.microsoft.com/office/drawing/2014/main" id="{9A317696-F482-D047-8443-5138100D4D77}"/>
                </a:ext>
              </a:extLst>
            </p:cNvPr>
            <p:cNvSpPr>
              <a:spLocks/>
            </p:cNvSpPr>
            <p:nvPr/>
          </p:nvSpPr>
          <p:spPr bwMode="auto">
            <a:xfrm>
              <a:off x="1420111" y="269878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9" name="Freeform 114">
              <a:extLst>
                <a:ext uri="{FF2B5EF4-FFF2-40B4-BE49-F238E27FC236}">
                  <a16:creationId xmlns:a16="http://schemas.microsoft.com/office/drawing/2014/main" id="{80BFC9DA-8120-7E48-8DB4-E0204FE0E630}"/>
                </a:ext>
              </a:extLst>
            </p:cNvPr>
            <p:cNvSpPr>
              <a:spLocks/>
            </p:cNvSpPr>
            <p:nvPr/>
          </p:nvSpPr>
          <p:spPr bwMode="auto">
            <a:xfrm>
              <a:off x="1423599" y="269878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0" name="Freeform 115">
              <a:extLst>
                <a:ext uri="{FF2B5EF4-FFF2-40B4-BE49-F238E27FC236}">
                  <a16:creationId xmlns:a16="http://schemas.microsoft.com/office/drawing/2014/main" id="{D6C149F7-4623-7245-B05C-86FC1B45C5F3}"/>
                </a:ext>
              </a:extLst>
            </p:cNvPr>
            <p:cNvSpPr>
              <a:spLocks/>
            </p:cNvSpPr>
            <p:nvPr/>
          </p:nvSpPr>
          <p:spPr bwMode="auto">
            <a:xfrm>
              <a:off x="1431740" y="2692825"/>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1" name="Freeform 116">
              <a:extLst>
                <a:ext uri="{FF2B5EF4-FFF2-40B4-BE49-F238E27FC236}">
                  <a16:creationId xmlns:a16="http://schemas.microsoft.com/office/drawing/2014/main" id="{93AACF61-8C75-D847-85CB-51837ECD4353}"/>
                </a:ext>
              </a:extLst>
            </p:cNvPr>
            <p:cNvSpPr>
              <a:spLocks/>
            </p:cNvSpPr>
            <p:nvPr/>
          </p:nvSpPr>
          <p:spPr bwMode="auto">
            <a:xfrm>
              <a:off x="1431740" y="2692825"/>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2" name="Freeform 117">
              <a:extLst>
                <a:ext uri="{FF2B5EF4-FFF2-40B4-BE49-F238E27FC236}">
                  <a16:creationId xmlns:a16="http://schemas.microsoft.com/office/drawing/2014/main" id="{97EDD937-E490-8E44-B995-4006ACCCAEF4}"/>
                </a:ext>
              </a:extLst>
            </p:cNvPr>
            <p:cNvSpPr>
              <a:spLocks/>
            </p:cNvSpPr>
            <p:nvPr/>
          </p:nvSpPr>
          <p:spPr bwMode="auto">
            <a:xfrm>
              <a:off x="1435229" y="2692825"/>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3" name="Freeform 118">
              <a:extLst>
                <a:ext uri="{FF2B5EF4-FFF2-40B4-BE49-F238E27FC236}">
                  <a16:creationId xmlns:a16="http://schemas.microsoft.com/office/drawing/2014/main" id="{975F3D14-B8C5-2E4A-B603-5789C5069193}"/>
                </a:ext>
              </a:extLst>
            </p:cNvPr>
            <p:cNvSpPr>
              <a:spLocks/>
            </p:cNvSpPr>
            <p:nvPr/>
          </p:nvSpPr>
          <p:spPr bwMode="auto">
            <a:xfrm>
              <a:off x="1445695" y="26928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4" name="Freeform 119">
              <a:extLst>
                <a:ext uri="{FF2B5EF4-FFF2-40B4-BE49-F238E27FC236}">
                  <a16:creationId xmlns:a16="http://schemas.microsoft.com/office/drawing/2014/main" id="{11091462-6AA8-7549-A94B-9D5A97DEDDD8}"/>
                </a:ext>
              </a:extLst>
            </p:cNvPr>
            <p:cNvSpPr>
              <a:spLocks/>
            </p:cNvSpPr>
            <p:nvPr/>
          </p:nvSpPr>
          <p:spPr bwMode="auto">
            <a:xfrm>
              <a:off x="1450347" y="2692825"/>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5" name="Freeform 120">
              <a:extLst>
                <a:ext uri="{FF2B5EF4-FFF2-40B4-BE49-F238E27FC236}">
                  <a16:creationId xmlns:a16="http://schemas.microsoft.com/office/drawing/2014/main" id="{D0CB2D08-9D60-6949-BCD9-501B8DD71E68}"/>
                </a:ext>
              </a:extLst>
            </p:cNvPr>
            <p:cNvSpPr>
              <a:spLocks/>
            </p:cNvSpPr>
            <p:nvPr/>
          </p:nvSpPr>
          <p:spPr bwMode="auto">
            <a:xfrm>
              <a:off x="1465465" y="2692825"/>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2" y="0"/>
                  </a:lnTo>
                  <a:lnTo>
                    <a:pt x="16" y="0"/>
                  </a:lnTo>
                  <a:lnTo>
                    <a:pt x="16" y="3"/>
                  </a:lnTo>
                  <a:lnTo>
                    <a:pt x="16" y="6"/>
                  </a:lnTo>
                  <a:lnTo>
                    <a:pt x="1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6" name="Freeform 121">
              <a:extLst>
                <a:ext uri="{FF2B5EF4-FFF2-40B4-BE49-F238E27FC236}">
                  <a16:creationId xmlns:a16="http://schemas.microsoft.com/office/drawing/2014/main" id="{1ED6001F-B13A-824A-90D1-3FCE95E7EA01}"/>
                </a:ext>
              </a:extLst>
            </p:cNvPr>
            <p:cNvSpPr>
              <a:spLocks/>
            </p:cNvSpPr>
            <p:nvPr/>
          </p:nvSpPr>
          <p:spPr bwMode="auto">
            <a:xfrm>
              <a:off x="1475931" y="26928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7" name="Freeform 122">
              <a:extLst>
                <a:ext uri="{FF2B5EF4-FFF2-40B4-BE49-F238E27FC236}">
                  <a16:creationId xmlns:a16="http://schemas.microsoft.com/office/drawing/2014/main" id="{7AC3A2A7-8B0B-3B49-809A-2BEA5E173BA3}"/>
                </a:ext>
              </a:extLst>
            </p:cNvPr>
            <p:cNvSpPr>
              <a:spLocks/>
            </p:cNvSpPr>
            <p:nvPr/>
          </p:nvSpPr>
          <p:spPr bwMode="auto">
            <a:xfrm>
              <a:off x="1479420" y="268289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4"/>
                  </a:lnTo>
                  <a:lnTo>
                    <a:pt x="0" y="0"/>
                  </a:lnTo>
                  <a:lnTo>
                    <a:pt x="4" y="0"/>
                  </a:lnTo>
                  <a:lnTo>
                    <a:pt x="7" y="0"/>
                  </a:lnTo>
                  <a:lnTo>
                    <a:pt x="10" y="4"/>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8" name="Freeform 123">
              <a:extLst>
                <a:ext uri="{FF2B5EF4-FFF2-40B4-BE49-F238E27FC236}">
                  <a16:creationId xmlns:a16="http://schemas.microsoft.com/office/drawing/2014/main" id="{3AD4E671-C721-8940-B6B5-EA169146E903}"/>
                </a:ext>
              </a:extLst>
            </p:cNvPr>
            <p:cNvSpPr>
              <a:spLocks/>
            </p:cNvSpPr>
            <p:nvPr/>
          </p:nvSpPr>
          <p:spPr bwMode="auto">
            <a:xfrm>
              <a:off x="1479420" y="268289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4"/>
                  </a:lnTo>
                  <a:lnTo>
                    <a:pt x="0" y="0"/>
                  </a:lnTo>
                  <a:lnTo>
                    <a:pt x="4" y="0"/>
                  </a:lnTo>
                  <a:lnTo>
                    <a:pt x="10" y="0"/>
                  </a:lnTo>
                  <a:lnTo>
                    <a:pt x="13" y="0"/>
                  </a:lnTo>
                  <a:lnTo>
                    <a:pt x="13" y="4"/>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9" name="Freeform 124">
              <a:extLst>
                <a:ext uri="{FF2B5EF4-FFF2-40B4-BE49-F238E27FC236}">
                  <a16:creationId xmlns:a16="http://schemas.microsoft.com/office/drawing/2014/main" id="{CB15F2CB-A11F-4A41-91C2-F4EB1ED17AF6}"/>
                </a:ext>
              </a:extLst>
            </p:cNvPr>
            <p:cNvSpPr>
              <a:spLocks/>
            </p:cNvSpPr>
            <p:nvPr/>
          </p:nvSpPr>
          <p:spPr bwMode="auto">
            <a:xfrm>
              <a:off x="1487560" y="2682897"/>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0" name="Freeform 125">
              <a:extLst>
                <a:ext uri="{FF2B5EF4-FFF2-40B4-BE49-F238E27FC236}">
                  <a16:creationId xmlns:a16="http://schemas.microsoft.com/office/drawing/2014/main" id="{55F815E1-8D3C-A74C-ADAB-C5C95590D58A}"/>
                </a:ext>
              </a:extLst>
            </p:cNvPr>
            <p:cNvSpPr>
              <a:spLocks/>
            </p:cNvSpPr>
            <p:nvPr/>
          </p:nvSpPr>
          <p:spPr bwMode="auto">
            <a:xfrm>
              <a:off x="1502678" y="2669990"/>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6" y="20"/>
                  </a:lnTo>
                  <a:lnTo>
                    <a:pt x="3" y="20"/>
                  </a:lnTo>
                  <a:lnTo>
                    <a:pt x="0" y="20"/>
                  </a:lnTo>
                  <a:lnTo>
                    <a:pt x="0" y="17"/>
                  </a:lnTo>
                  <a:lnTo>
                    <a:pt x="0" y="4"/>
                  </a:lnTo>
                  <a:lnTo>
                    <a:pt x="0" y="0"/>
                  </a:lnTo>
                  <a:lnTo>
                    <a:pt x="3" y="0"/>
                  </a:lnTo>
                  <a:lnTo>
                    <a:pt x="6" y="0"/>
                  </a:lnTo>
                  <a:lnTo>
                    <a:pt x="10" y="4"/>
                  </a:lnTo>
                  <a:lnTo>
                    <a:pt x="10" y="1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1" name="Freeform 126">
              <a:extLst>
                <a:ext uri="{FF2B5EF4-FFF2-40B4-BE49-F238E27FC236}">
                  <a16:creationId xmlns:a16="http://schemas.microsoft.com/office/drawing/2014/main" id="{2AA401DF-91AA-B042-B715-A98C59B36F11}"/>
                </a:ext>
              </a:extLst>
            </p:cNvPr>
            <p:cNvSpPr>
              <a:spLocks/>
            </p:cNvSpPr>
            <p:nvPr/>
          </p:nvSpPr>
          <p:spPr bwMode="auto">
            <a:xfrm>
              <a:off x="1502678" y="26699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2" name="Freeform 127">
              <a:extLst>
                <a:ext uri="{FF2B5EF4-FFF2-40B4-BE49-F238E27FC236}">
                  <a16:creationId xmlns:a16="http://schemas.microsoft.com/office/drawing/2014/main" id="{F39956E0-CB3B-8845-AE71-F42D62B74993}"/>
                </a:ext>
              </a:extLst>
            </p:cNvPr>
            <p:cNvSpPr>
              <a:spLocks/>
            </p:cNvSpPr>
            <p:nvPr/>
          </p:nvSpPr>
          <p:spPr bwMode="auto">
            <a:xfrm>
              <a:off x="1509656" y="266999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7"/>
                  </a:lnTo>
                  <a:lnTo>
                    <a:pt x="0" y="4"/>
                  </a:lnTo>
                  <a:lnTo>
                    <a:pt x="0" y="0"/>
                  </a:lnTo>
                  <a:lnTo>
                    <a:pt x="4" y="0"/>
                  </a:lnTo>
                  <a:lnTo>
                    <a:pt x="13" y="0"/>
                  </a:lnTo>
                  <a:lnTo>
                    <a:pt x="16" y="0"/>
                  </a:lnTo>
                  <a:lnTo>
                    <a:pt x="16" y="4"/>
                  </a:lnTo>
                  <a:lnTo>
                    <a:pt x="16" y="7"/>
                  </a:lnTo>
                  <a:lnTo>
                    <a:pt x="1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3" name="Freeform 128">
              <a:extLst>
                <a:ext uri="{FF2B5EF4-FFF2-40B4-BE49-F238E27FC236}">
                  <a16:creationId xmlns:a16="http://schemas.microsoft.com/office/drawing/2014/main" id="{A32DFA67-4B6D-9047-BC11-0842D28F9593}"/>
                </a:ext>
              </a:extLst>
            </p:cNvPr>
            <p:cNvSpPr>
              <a:spLocks/>
            </p:cNvSpPr>
            <p:nvPr/>
          </p:nvSpPr>
          <p:spPr bwMode="auto">
            <a:xfrm>
              <a:off x="1521285" y="26699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4" name="Freeform 129">
              <a:extLst>
                <a:ext uri="{FF2B5EF4-FFF2-40B4-BE49-F238E27FC236}">
                  <a16:creationId xmlns:a16="http://schemas.microsoft.com/office/drawing/2014/main" id="{280CA113-CFDA-CC4A-9D18-90E4E5913BC9}"/>
                </a:ext>
              </a:extLst>
            </p:cNvPr>
            <p:cNvSpPr>
              <a:spLocks/>
            </p:cNvSpPr>
            <p:nvPr/>
          </p:nvSpPr>
          <p:spPr bwMode="auto">
            <a:xfrm>
              <a:off x="1528262" y="26699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4"/>
                  </a:lnTo>
                  <a:lnTo>
                    <a:pt x="0" y="0"/>
                  </a:lnTo>
                  <a:lnTo>
                    <a:pt x="4" y="0"/>
                  </a:lnTo>
                  <a:lnTo>
                    <a:pt x="10" y="0"/>
                  </a:lnTo>
                  <a:lnTo>
                    <a:pt x="13" y="0"/>
                  </a:lnTo>
                  <a:lnTo>
                    <a:pt x="13" y="4"/>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5" name="Freeform 130">
              <a:extLst>
                <a:ext uri="{FF2B5EF4-FFF2-40B4-BE49-F238E27FC236}">
                  <a16:creationId xmlns:a16="http://schemas.microsoft.com/office/drawing/2014/main" id="{198D9907-1FFD-5449-A178-CD45A0AA3FBE}"/>
                </a:ext>
              </a:extLst>
            </p:cNvPr>
            <p:cNvSpPr>
              <a:spLocks/>
            </p:cNvSpPr>
            <p:nvPr/>
          </p:nvSpPr>
          <p:spPr bwMode="auto">
            <a:xfrm>
              <a:off x="1536403" y="26699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6" name="Freeform 131">
              <a:extLst>
                <a:ext uri="{FF2B5EF4-FFF2-40B4-BE49-F238E27FC236}">
                  <a16:creationId xmlns:a16="http://schemas.microsoft.com/office/drawing/2014/main" id="{3D9AA6B0-4C93-D644-864F-1E1CC179DEE0}"/>
                </a:ext>
              </a:extLst>
            </p:cNvPr>
            <p:cNvSpPr>
              <a:spLocks/>
            </p:cNvSpPr>
            <p:nvPr/>
          </p:nvSpPr>
          <p:spPr bwMode="auto">
            <a:xfrm>
              <a:off x="1543381" y="2669990"/>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4"/>
                  </a:lnTo>
                  <a:lnTo>
                    <a:pt x="0" y="0"/>
                  </a:lnTo>
                  <a:lnTo>
                    <a:pt x="4" y="0"/>
                  </a:lnTo>
                  <a:lnTo>
                    <a:pt x="16" y="0"/>
                  </a:lnTo>
                  <a:lnTo>
                    <a:pt x="20" y="0"/>
                  </a:lnTo>
                  <a:lnTo>
                    <a:pt x="20" y="4"/>
                  </a:lnTo>
                  <a:lnTo>
                    <a:pt x="20" y="7"/>
                  </a:lnTo>
                  <a:lnTo>
                    <a:pt x="16"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7" name="Freeform 132">
              <a:extLst>
                <a:ext uri="{FF2B5EF4-FFF2-40B4-BE49-F238E27FC236}">
                  <a16:creationId xmlns:a16="http://schemas.microsoft.com/office/drawing/2014/main" id="{E44EA753-E5D3-CC4F-B16B-8D0DAA0C6539}"/>
                </a:ext>
              </a:extLst>
            </p:cNvPr>
            <p:cNvSpPr>
              <a:spLocks/>
            </p:cNvSpPr>
            <p:nvPr/>
          </p:nvSpPr>
          <p:spPr bwMode="auto">
            <a:xfrm>
              <a:off x="1558498" y="266999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8" name="Freeform 133">
              <a:extLst>
                <a:ext uri="{FF2B5EF4-FFF2-40B4-BE49-F238E27FC236}">
                  <a16:creationId xmlns:a16="http://schemas.microsoft.com/office/drawing/2014/main" id="{05C39D6A-5F83-4F4C-BAB9-79605D349849}"/>
                </a:ext>
              </a:extLst>
            </p:cNvPr>
            <p:cNvSpPr>
              <a:spLocks/>
            </p:cNvSpPr>
            <p:nvPr/>
          </p:nvSpPr>
          <p:spPr bwMode="auto">
            <a:xfrm>
              <a:off x="1561987" y="266999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9" name="Freeform 134">
              <a:extLst>
                <a:ext uri="{FF2B5EF4-FFF2-40B4-BE49-F238E27FC236}">
                  <a16:creationId xmlns:a16="http://schemas.microsoft.com/office/drawing/2014/main" id="{82EEB032-B72C-F944-8381-B7BAA8CBACFD}"/>
                </a:ext>
              </a:extLst>
            </p:cNvPr>
            <p:cNvSpPr>
              <a:spLocks/>
            </p:cNvSpPr>
            <p:nvPr/>
          </p:nvSpPr>
          <p:spPr bwMode="auto">
            <a:xfrm>
              <a:off x="1566639" y="266999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0" name="Freeform 135">
              <a:extLst>
                <a:ext uri="{FF2B5EF4-FFF2-40B4-BE49-F238E27FC236}">
                  <a16:creationId xmlns:a16="http://schemas.microsoft.com/office/drawing/2014/main" id="{D29BBA17-6E07-6B40-87E1-6E4C3ED31866}"/>
                </a:ext>
              </a:extLst>
            </p:cNvPr>
            <p:cNvSpPr>
              <a:spLocks/>
            </p:cNvSpPr>
            <p:nvPr/>
          </p:nvSpPr>
          <p:spPr bwMode="auto">
            <a:xfrm>
              <a:off x="1570128" y="266999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1" name="Freeform 136">
              <a:extLst>
                <a:ext uri="{FF2B5EF4-FFF2-40B4-BE49-F238E27FC236}">
                  <a16:creationId xmlns:a16="http://schemas.microsoft.com/office/drawing/2014/main" id="{8EAC9923-9050-9C4A-B27D-C58775DAA714}"/>
                </a:ext>
              </a:extLst>
            </p:cNvPr>
            <p:cNvSpPr>
              <a:spLocks/>
            </p:cNvSpPr>
            <p:nvPr/>
          </p:nvSpPr>
          <p:spPr bwMode="auto">
            <a:xfrm>
              <a:off x="1573617" y="266105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2" name="Freeform 137">
              <a:extLst>
                <a:ext uri="{FF2B5EF4-FFF2-40B4-BE49-F238E27FC236}">
                  <a16:creationId xmlns:a16="http://schemas.microsoft.com/office/drawing/2014/main" id="{D00A5078-87D4-7F49-8040-AD9ABF877F70}"/>
                </a:ext>
              </a:extLst>
            </p:cNvPr>
            <p:cNvSpPr>
              <a:spLocks/>
            </p:cNvSpPr>
            <p:nvPr/>
          </p:nvSpPr>
          <p:spPr bwMode="auto">
            <a:xfrm>
              <a:off x="1573617" y="266105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3" name="Freeform 138">
              <a:extLst>
                <a:ext uri="{FF2B5EF4-FFF2-40B4-BE49-F238E27FC236}">
                  <a16:creationId xmlns:a16="http://schemas.microsoft.com/office/drawing/2014/main" id="{9C897EE8-581A-4B46-A507-C90D514A5789}"/>
                </a:ext>
              </a:extLst>
            </p:cNvPr>
            <p:cNvSpPr>
              <a:spLocks/>
            </p:cNvSpPr>
            <p:nvPr/>
          </p:nvSpPr>
          <p:spPr bwMode="auto">
            <a:xfrm>
              <a:off x="1581757" y="2661054"/>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4" name="Freeform 139">
              <a:extLst>
                <a:ext uri="{FF2B5EF4-FFF2-40B4-BE49-F238E27FC236}">
                  <a16:creationId xmlns:a16="http://schemas.microsoft.com/office/drawing/2014/main" id="{5C883782-01EF-814F-B606-5C622284D2DF}"/>
                </a:ext>
              </a:extLst>
            </p:cNvPr>
            <p:cNvSpPr>
              <a:spLocks/>
            </p:cNvSpPr>
            <p:nvPr/>
          </p:nvSpPr>
          <p:spPr bwMode="auto">
            <a:xfrm>
              <a:off x="1585246" y="2661054"/>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5" name="Freeform 140">
              <a:extLst>
                <a:ext uri="{FF2B5EF4-FFF2-40B4-BE49-F238E27FC236}">
                  <a16:creationId xmlns:a16="http://schemas.microsoft.com/office/drawing/2014/main" id="{F5A66B8E-2C17-D447-8CBC-967CE48109B9}"/>
                </a:ext>
              </a:extLst>
            </p:cNvPr>
            <p:cNvSpPr>
              <a:spLocks/>
            </p:cNvSpPr>
            <p:nvPr/>
          </p:nvSpPr>
          <p:spPr bwMode="auto">
            <a:xfrm>
              <a:off x="1600363" y="2661054"/>
              <a:ext cx="25584" cy="8936"/>
            </a:xfrm>
            <a:custGeom>
              <a:avLst/>
              <a:gdLst>
                <a:gd name="T0" fmla="*/ 2147483646 w 22"/>
                <a:gd name="T1" fmla="*/ 2147483646 h 9"/>
                <a:gd name="T2" fmla="*/ 0 w 22"/>
                <a:gd name="T3" fmla="*/ 2147483646 h 9"/>
                <a:gd name="T4" fmla="*/ 0 w 22"/>
                <a:gd name="T5" fmla="*/ 2147483646 h 9"/>
                <a:gd name="T6" fmla="*/ 0 w 22"/>
                <a:gd name="T7" fmla="*/ 2147483646 h 9"/>
                <a:gd name="T8" fmla="*/ 0 w 22"/>
                <a:gd name="T9" fmla="*/ 0 h 9"/>
                <a:gd name="T10" fmla="*/ 2147483646 w 22"/>
                <a:gd name="T11" fmla="*/ 0 h 9"/>
                <a:gd name="T12" fmla="*/ 2147483646 w 22"/>
                <a:gd name="T13" fmla="*/ 0 h 9"/>
                <a:gd name="T14" fmla="*/ 2147483646 w 22"/>
                <a:gd name="T15" fmla="*/ 0 h 9"/>
                <a:gd name="T16" fmla="*/ 2147483646 w 22"/>
                <a:gd name="T17" fmla="*/ 2147483646 h 9"/>
                <a:gd name="T18" fmla="*/ 2147483646 w 22"/>
                <a:gd name="T19" fmla="*/ 2147483646 h 9"/>
                <a:gd name="T20" fmla="*/ 2147483646 w 22"/>
                <a:gd name="T21" fmla="*/ 2147483646 h 9"/>
                <a:gd name="T22" fmla="*/ 2147483646 w 22"/>
                <a:gd name="T23" fmla="*/ 2147483646 h 9"/>
                <a:gd name="T24" fmla="*/ 2147483646 w 2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9">
                  <a:moveTo>
                    <a:pt x="3" y="9"/>
                  </a:moveTo>
                  <a:lnTo>
                    <a:pt x="0" y="6"/>
                  </a:lnTo>
                  <a:lnTo>
                    <a:pt x="0" y="3"/>
                  </a:lnTo>
                  <a:lnTo>
                    <a:pt x="0" y="0"/>
                  </a:lnTo>
                  <a:lnTo>
                    <a:pt x="3" y="0"/>
                  </a:lnTo>
                  <a:lnTo>
                    <a:pt x="19" y="0"/>
                  </a:lnTo>
                  <a:lnTo>
                    <a:pt x="22" y="0"/>
                  </a:lnTo>
                  <a:lnTo>
                    <a:pt x="22" y="3"/>
                  </a:lnTo>
                  <a:lnTo>
                    <a:pt x="22" y="6"/>
                  </a:lnTo>
                  <a:lnTo>
                    <a:pt x="19"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6" name="Freeform 141">
              <a:extLst>
                <a:ext uri="{FF2B5EF4-FFF2-40B4-BE49-F238E27FC236}">
                  <a16:creationId xmlns:a16="http://schemas.microsoft.com/office/drawing/2014/main" id="{0DF886B5-D88F-AC44-8031-72F4E9FB33D1}"/>
                </a:ext>
              </a:extLst>
            </p:cNvPr>
            <p:cNvSpPr>
              <a:spLocks/>
            </p:cNvSpPr>
            <p:nvPr/>
          </p:nvSpPr>
          <p:spPr bwMode="auto">
            <a:xfrm>
              <a:off x="1618970" y="2661054"/>
              <a:ext cx="33725" cy="8936"/>
            </a:xfrm>
            <a:custGeom>
              <a:avLst/>
              <a:gdLst>
                <a:gd name="T0" fmla="*/ 2147483646 w 29"/>
                <a:gd name="T1" fmla="*/ 2147483646 h 9"/>
                <a:gd name="T2" fmla="*/ 0 w 29"/>
                <a:gd name="T3" fmla="*/ 2147483646 h 9"/>
                <a:gd name="T4" fmla="*/ 0 w 29"/>
                <a:gd name="T5" fmla="*/ 2147483646 h 9"/>
                <a:gd name="T6" fmla="*/ 0 w 29"/>
                <a:gd name="T7" fmla="*/ 2147483646 h 9"/>
                <a:gd name="T8" fmla="*/ 0 w 29"/>
                <a:gd name="T9" fmla="*/ 0 h 9"/>
                <a:gd name="T10" fmla="*/ 2147483646 w 29"/>
                <a:gd name="T11" fmla="*/ 0 h 9"/>
                <a:gd name="T12" fmla="*/ 2147483646 w 29"/>
                <a:gd name="T13" fmla="*/ 0 h 9"/>
                <a:gd name="T14" fmla="*/ 2147483646 w 29"/>
                <a:gd name="T15" fmla="*/ 0 h 9"/>
                <a:gd name="T16" fmla="*/ 2147483646 w 29"/>
                <a:gd name="T17" fmla="*/ 2147483646 h 9"/>
                <a:gd name="T18" fmla="*/ 2147483646 w 29"/>
                <a:gd name="T19" fmla="*/ 2147483646 h 9"/>
                <a:gd name="T20" fmla="*/ 2147483646 w 29"/>
                <a:gd name="T21" fmla="*/ 2147483646 h 9"/>
                <a:gd name="T22" fmla="*/ 2147483646 w 29"/>
                <a:gd name="T23" fmla="*/ 2147483646 h 9"/>
                <a:gd name="T24" fmla="*/ 2147483646 w 2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9">
                  <a:moveTo>
                    <a:pt x="3" y="9"/>
                  </a:moveTo>
                  <a:lnTo>
                    <a:pt x="0" y="6"/>
                  </a:lnTo>
                  <a:lnTo>
                    <a:pt x="0" y="3"/>
                  </a:lnTo>
                  <a:lnTo>
                    <a:pt x="0" y="0"/>
                  </a:lnTo>
                  <a:lnTo>
                    <a:pt x="3" y="0"/>
                  </a:lnTo>
                  <a:lnTo>
                    <a:pt x="26" y="0"/>
                  </a:lnTo>
                  <a:lnTo>
                    <a:pt x="29" y="0"/>
                  </a:lnTo>
                  <a:lnTo>
                    <a:pt x="29" y="3"/>
                  </a:lnTo>
                  <a:lnTo>
                    <a:pt x="29" y="6"/>
                  </a:lnTo>
                  <a:lnTo>
                    <a:pt x="2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7" name="Freeform 142">
              <a:extLst>
                <a:ext uri="{FF2B5EF4-FFF2-40B4-BE49-F238E27FC236}">
                  <a16:creationId xmlns:a16="http://schemas.microsoft.com/office/drawing/2014/main" id="{EC2A9306-7366-014C-A37B-4D6824D7F0C2}"/>
                </a:ext>
              </a:extLst>
            </p:cNvPr>
            <p:cNvSpPr>
              <a:spLocks/>
            </p:cNvSpPr>
            <p:nvPr/>
          </p:nvSpPr>
          <p:spPr bwMode="auto">
            <a:xfrm>
              <a:off x="1644555" y="265112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8" name="Freeform 143">
              <a:extLst>
                <a:ext uri="{FF2B5EF4-FFF2-40B4-BE49-F238E27FC236}">
                  <a16:creationId xmlns:a16="http://schemas.microsoft.com/office/drawing/2014/main" id="{1F39F30C-E57E-CA46-B5DB-7E13C61DB09D}"/>
                </a:ext>
              </a:extLst>
            </p:cNvPr>
            <p:cNvSpPr>
              <a:spLocks/>
            </p:cNvSpPr>
            <p:nvPr/>
          </p:nvSpPr>
          <p:spPr bwMode="auto">
            <a:xfrm>
              <a:off x="1644555" y="265112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9" name="Freeform 144">
              <a:extLst>
                <a:ext uri="{FF2B5EF4-FFF2-40B4-BE49-F238E27FC236}">
                  <a16:creationId xmlns:a16="http://schemas.microsoft.com/office/drawing/2014/main" id="{14BB1557-0A2F-F647-83DB-E7FEED0CA2A2}"/>
                </a:ext>
              </a:extLst>
            </p:cNvPr>
            <p:cNvSpPr>
              <a:spLocks/>
            </p:cNvSpPr>
            <p:nvPr/>
          </p:nvSpPr>
          <p:spPr bwMode="auto">
            <a:xfrm>
              <a:off x="1649206" y="265112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0" name="Freeform 145">
              <a:extLst>
                <a:ext uri="{FF2B5EF4-FFF2-40B4-BE49-F238E27FC236}">
                  <a16:creationId xmlns:a16="http://schemas.microsoft.com/office/drawing/2014/main" id="{14B76CDB-B0E4-CC43-A3EC-9AC31C862355}"/>
                </a:ext>
              </a:extLst>
            </p:cNvPr>
            <p:cNvSpPr>
              <a:spLocks/>
            </p:cNvSpPr>
            <p:nvPr/>
          </p:nvSpPr>
          <p:spPr bwMode="auto">
            <a:xfrm>
              <a:off x="1652695" y="2641197"/>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1" name="Freeform 146">
              <a:extLst>
                <a:ext uri="{FF2B5EF4-FFF2-40B4-BE49-F238E27FC236}">
                  <a16:creationId xmlns:a16="http://schemas.microsoft.com/office/drawing/2014/main" id="{EB44DB45-5C36-F144-A27C-4078DB5EA1AC}"/>
                </a:ext>
              </a:extLst>
            </p:cNvPr>
            <p:cNvSpPr>
              <a:spLocks/>
            </p:cNvSpPr>
            <p:nvPr/>
          </p:nvSpPr>
          <p:spPr bwMode="auto">
            <a:xfrm>
              <a:off x="1652695" y="264119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2" name="Freeform 147">
              <a:extLst>
                <a:ext uri="{FF2B5EF4-FFF2-40B4-BE49-F238E27FC236}">
                  <a16:creationId xmlns:a16="http://schemas.microsoft.com/office/drawing/2014/main" id="{7A18D63A-1DE1-084A-9DBF-CED87FA3FD04}"/>
                </a:ext>
              </a:extLst>
            </p:cNvPr>
            <p:cNvSpPr>
              <a:spLocks/>
            </p:cNvSpPr>
            <p:nvPr/>
          </p:nvSpPr>
          <p:spPr bwMode="auto">
            <a:xfrm>
              <a:off x="1656184" y="264119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3" name="Freeform 148">
              <a:extLst>
                <a:ext uri="{FF2B5EF4-FFF2-40B4-BE49-F238E27FC236}">
                  <a16:creationId xmlns:a16="http://schemas.microsoft.com/office/drawing/2014/main" id="{B78CE3EE-3846-5A4E-B4D2-D2482647ECC3}"/>
                </a:ext>
              </a:extLst>
            </p:cNvPr>
            <p:cNvSpPr>
              <a:spLocks/>
            </p:cNvSpPr>
            <p:nvPr/>
          </p:nvSpPr>
          <p:spPr bwMode="auto">
            <a:xfrm>
              <a:off x="1659673" y="2628291"/>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3" y="20"/>
                  </a:lnTo>
                  <a:lnTo>
                    <a:pt x="0" y="20"/>
                  </a:lnTo>
                  <a:lnTo>
                    <a:pt x="0" y="17"/>
                  </a:lnTo>
                  <a:lnTo>
                    <a:pt x="0" y="4"/>
                  </a:lnTo>
                  <a:lnTo>
                    <a:pt x="0" y="0"/>
                  </a:lnTo>
                  <a:lnTo>
                    <a:pt x="3" y="0"/>
                  </a:lnTo>
                  <a:lnTo>
                    <a:pt x="7" y="0"/>
                  </a:lnTo>
                  <a:lnTo>
                    <a:pt x="10" y="4"/>
                  </a:lnTo>
                  <a:lnTo>
                    <a:pt x="10" y="1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4" name="Freeform 149">
              <a:extLst>
                <a:ext uri="{FF2B5EF4-FFF2-40B4-BE49-F238E27FC236}">
                  <a16:creationId xmlns:a16="http://schemas.microsoft.com/office/drawing/2014/main" id="{3124A617-EEBA-1C42-B669-CD1DF808DE25}"/>
                </a:ext>
              </a:extLst>
            </p:cNvPr>
            <p:cNvSpPr>
              <a:spLocks/>
            </p:cNvSpPr>
            <p:nvPr/>
          </p:nvSpPr>
          <p:spPr bwMode="auto">
            <a:xfrm>
              <a:off x="1659673" y="2628291"/>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3" y="10"/>
                  </a:moveTo>
                  <a:lnTo>
                    <a:pt x="0" y="7"/>
                  </a:lnTo>
                  <a:lnTo>
                    <a:pt x="0" y="4"/>
                  </a:lnTo>
                  <a:lnTo>
                    <a:pt x="0" y="0"/>
                  </a:lnTo>
                  <a:lnTo>
                    <a:pt x="3" y="0"/>
                  </a:lnTo>
                  <a:lnTo>
                    <a:pt x="16" y="0"/>
                  </a:lnTo>
                  <a:lnTo>
                    <a:pt x="20" y="0"/>
                  </a:lnTo>
                  <a:lnTo>
                    <a:pt x="20" y="4"/>
                  </a:lnTo>
                  <a:lnTo>
                    <a:pt x="20"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5" name="Freeform 150">
              <a:extLst>
                <a:ext uri="{FF2B5EF4-FFF2-40B4-BE49-F238E27FC236}">
                  <a16:creationId xmlns:a16="http://schemas.microsoft.com/office/drawing/2014/main" id="{BF793343-FA9E-5D4E-82DC-0F86F5E64B3C}"/>
                </a:ext>
              </a:extLst>
            </p:cNvPr>
            <p:cNvSpPr>
              <a:spLocks/>
            </p:cNvSpPr>
            <p:nvPr/>
          </p:nvSpPr>
          <p:spPr bwMode="auto">
            <a:xfrm>
              <a:off x="1674790" y="262829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6" name="Freeform 151">
              <a:extLst>
                <a:ext uri="{FF2B5EF4-FFF2-40B4-BE49-F238E27FC236}">
                  <a16:creationId xmlns:a16="http://schemas.microsoft.com/office/drawing/2014/main" id="{A7FB312D-E85D-B34C-BACD-32DC509D3909}"/>
                </a:ext>
              </a:extLst>
            </p:cNvPr>
            <p:cNvSpPr>
              <a:spLocks/>
            </p:cNvSpPr>
            <p:nvPr/>
          </p:nvSpPr>
          <p:spPr bwMode="auto">
            <a:xfrm>
              <a:off x="1678280" y="261935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7" name="Freeform 152">
              <a:extLst>
                <a:ext uri="{FF2B5EF4-FFF2-40B4-BE49-F238E27FC236}">
                  <a16:creationId xmlns:a16="http://schemas.microsoft.com/office/drawing/2014/main" id="{47420452-DC3C-8242-8B7E-78A52457C687}"/>
                </a:ext>
              </a:extLst>
            </p:cNvPr>
            <p:cNvSpPr>
              <a:spLocks/>
            </p:cNvSpPr>
            <p:nvPr/>
          </p:nvSpPr>
          <p:spPr bwMode="auto">
            <a:xfrm>
              <a:off x="1678280" y="261935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8" name="Freeform 153">
              <a:extLst>
                <a:ext uri="{FF2B5EF4-FFF2-40B4-BE49-F238E27FC236}">
                  <a16:creationId xmlns:a16="http://schemas.microsoft.com/office/drawing/2014/main" id="{B2BEB8A0-BA89-7640-8A24-C1196E146BE2}"/>
                </a:ext>
              </a:extLst>
            </p:cNvPr>
            <p:cNvSpPr>
              <a:spLocks/>
            </p:cNvSpPr>
            <p:nvPr/>
          </p:nvSpPr>
          <p:spPr bwMode="auto">
            <a:xfrm>
              <a:off x="1682931" y="2619355"/>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9" name="Freeform 154">
              <a:extLst>
                <a:ext uri="{FF2B5EF4-FFF2-40B4-BE49-F238E27FC236}">
                  <a16:creationId xmlns:a16="http://schemas.microsoft.com/office/drawing/2014/main" id="{4879065E-C50D-D24E-B673-A57DB8D8CDFC}"/>
                </a:ext>
              </a:extLst>
            </p:cNvPr>
            <p:cNvSpPr>
              <a:spLocks/>
            </p:cNvSpPr>
            <p:nvPr/>
          </p:nvSpPr>
          <p:spPr bwMode="auto">
            <a:xfrm>
              <a:off x="1696886" y="2619355"/>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0" name="Freeform 155">
              <a:extLst>
                <a:ext uri="{FF2B5EF4-FFF2-40B4-BE49-F238E27FC236}">
                  <a16:creationId xmlns:a16="http://schemas.microsoft.com/office/drawing/2014/main" id="{482D96C0-24B0-BD46-A6BA-DF7968643D11}"/>
                </a:ext>
              </a:extLst>
            </p:cNvPr>
            <p:cNvSpPr>
              <a:spLocks/>
            </p:cNvSpPr>
            <p:nvPr/>
          </p:nvSpPr>
          <p:spPr bwMode="auto">
            <a:xfrm>
              <a:off x="1705026" y="261935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1" name="Freeform 156">
              <a:extLst>
                <a:ext uri="{FF2B5EF4-FFF2-40B4-BE49-F238E27FC236}">
                  <a16:creationId xmlns:a16="http://schemas.microsoft.com/office/drawing/2014/main" id="{8059D6F1-943B-4B41-AF11-DFB6C2C5E8B0}"/>
                </a:ext>
              </a:extLst>
            </p:cNvPr>
            <p:cNvSpPr>
              <a:spLocks/>
            </p:cNvSpPr>
            <p:nvPr/>
          </p:nvSpPr>
          <p:spPr bwMode="auto">
            <a:xfrm>
              <a:off x="1708516" y="2619355"/>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2" name="Freeform 157">
              <a:extLst>
                <a:ext uri="{FF2B5EF4-FFF2-40B4-BE49-F238E27FC236}">
                  <a16:creationId xmlns:a16="http://schemas.microsoft.com/office/drawing/2014/main" id="{D2346789-C37D-254B-9C1A-5F0B4D80B421}"/>
                </a:ext>
              </a:extLst>
            </p:cNvPr>
            <p:cNvSpPr>
              <a:spLocks/>
            </p:cNvSpPr>
            <p:nvPr/>
          </p:nvSpPr>
          <p:spPr bwMode="auto">
            <a:xfrm>
              <a:off x="1716656" y="2619355"/>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3" name="Freeform 158">
              <a:extLst>
                <a:ext uri="{FF2B5EF4-FFF2-40B4-BE49-F238E27FC236}">
                  <a16:creationId xmlns:a16="http://schemas.microsoft.com/office/drawing/2014/main" id="{ADC57BCC-48E0-624F-B413-760767A6A347}"/>
                </a:ext>
              </a:extLst>
            </p:cNvPr>
            <p:cNvSpPr>
              <a:spLocks/>
            </p:cNvSpPr>
            <p:nvPr/>
          </p:nvSpPr>
          <p:spPr bwMode="auto">
            <a:xfrm>
              <a:off x="1720145" y="2606448"/>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4" name="Freeform 159">
              <a:extLst>
                <a:ext uri="{FF2B5EF4-FFF2-40B4-BE49-F238E27FC236}">
                  <a16:creationId xmlns:a16="http://schemas.microsoft.com/office/drawing/2014/main" id="{890E65A9-6237-C54F-A0FA-93D71E0D0A96}"/>
                </a:ext>
              </a:extLst>
            </p:cNvPr>
            <p:cNvSpPr>
              <a:spLocks/>
            </p:cNvSpPr>
            <p:nvPr/>
          </p:nvSpPr>
          <p:spPr bwMode="auto">
            <a:xfrm>
              <a:off x="1720145" y="260644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5" name="Freeform 160">
              <a:extLst>
                <a:ext uri="{FF2B5EF4-FFF2-40B4-BE49-F238E27FC236}">
                  <a16:creationId xmlns:a16="http://schemas.microsoft.com/office/drawing/2014/main" id="{B89FB1E6-A4C5-D741-ABD1-CB00D02A6D1D}"/>
                </a:ext>
              </a:extLst>
            </p:cNvPr>
            <p:cNvSpPr>
              <a:spLocks/>
            </p:cNvSpPr>
            <p:nvPr/>
          </p:nvSpPr>
          <p:spPr bwMode="auto">
            <a:xfrm>
              <a:off x="1727122" y="260644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6" name="Freeform 161">
              <a:extLst>
                <a:ext uri="{FF2B5EF4-FFF2-40B4-BE49-F238E27FC236}">
                  <a16:creationId xmlns:a16="http://schemas.microsoft.com/office/drawing/2014/main" id="{5F9FAF2B-CC7F-984C-AC7D-97F6D1EC982F}"/>
                </a:ext>
              </a:extLst>
            </p:cNvPr>
            <p:cNvSpPr>
              <a:spLocks/>
            </p:cNvSpPr>
            <p:nvPr/>
          </p:nvSpPr>
          <p:spPr bwMode="auto">
            <a:xfrm>
              <a:off x="1730611" y="259652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7" name="Freeform 162">
              <a:extLst>
                <a:ext uri="{FF2B5EF4-FFF2-40B4-BE49-F238E27FC236}">
                  <a16:creationId xmlns:a16="http://schemas.microsoft.com/office/drawing/2014/main" id="{6A8A3A33-EDD0-6947-9016-BFFFE92ECC06}"/>
                </a:ext>
              </a:extLst>
            </p:cNvPr>
            <p:cNvSpPr>
              <a:spLocks/>
            </p:cNvSpPr>
            <p:nvPr/>
          </p:nvSpPr>
          <p:spPr bwMode="auto">
            <a:xfrm>
              <a:off x="1730611" y="259652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8" name="Freeform 163">
              <a:extLst>
                <a:ext uri="{FF2B5EF4-FFF2-40B4-BE49-F238E27FC236}">
                  <a16:creationId xmlns:a16="http://schemas.microsoft.com/office/drawing/2014/main" id="{9F5C9914-0650-5B4F-9D6F-63B280916EF0}"/>
                </a:ext>
              </a:extLst>
            </p:cNvPr>
            <p:cNvSpPr>
              <a:spLocks/>
            </p:cNvSpPr>
            <p:nvPr/>
          </p:nvSpPr>
          <p:spPr bwMode="auto">
            <a:xfrm>
              <a:off x="1738752" y="259652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9" name="Freeform 164">
              <a:extLst>
                <a:ext uri="{FF2B5EF4-FFF2-40B4-BE49-F238E27FC236}">
                  <a16:creationId xmlns:a16="http://schemas.microsoft.com/office/drawing/2014/main" id="{ED7917F4-7FE2-7741-9798-786128FAA902}"/>
                </a:ext>
              </a:extLst>
            </p:cNvPr>
            <p:cNvSpPr>
              <a:spLocks/>
            </p:cNvSpPr>
            <p:nvPr/>
          </p:nvSpPr>
          <p:spPr bwMode="auto">
            <a:xfrm>
              <a:off x="1742240" y="259652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0" name="Freeform 165">
              <a:extLst>
                <a:ext uri="{FF2B5EF4-FFF2-40B4-BE49-F238E27FC236}">
                  <a16:creationId xmlns:a16="http://schemas.microsoft.com/office/drawing/2014/main" id="{B71BB49E-5552-C749-B16F-CDE364BAB11A}"/>
                </a:ext>
              </a:extLst>
            </p:cNvPr>
            <p:cNvSpPr>
              <a:spLocks/>
            </p:cNvSpPr>
            <p:nvPr/>
          </p:nvSpPr>
          <p:spPr bwMode="auto">
            <a:xfrm>
              <a:off x="1757358" y="259652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1" name="Freeform 166">
              <a:extLst>
                <a:ext uri="{FF2B5EF4-FFF2-40B4-BE49-F238E27FC236}">
                  <a16:creationId xmlns:a16="http://schemas.microsoft.com/office/drawing/2014/main" id="{E982B867-9521-FF48-AC27-4B315BDBCACA}"/>
                </a:ext>
              </a:extLst>
            </p:cNvPr>
            <p:cNvSpPr>
              <a:spLocks/>
            </p:cNvSpPr>
            <p:nvPr/>
          </p:nvSpPr>
          <p:spPr bwMode="auto">
            <a:xfrm>
              <a:off x="1760847" y="2583612"/>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4"/>
                  </a:lnTo>
                  <a:lnTo>
                    <a:pt x="0" y="0"/>
                  </a:lnTo>
                  <a:lnTo>
                    <a:pt x="3" y="0"/>
                  </a:lnTo>
                  <a:lnTo>
                    <a:pt x="7" y="0"/>
                  </a:lnTo>
                  <a:lnTo>
                    <a:pt x="10" y="4"/>
                  </a:lnTo>
                  <a:lnTo>
                    <a:pt x="10"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2" name="Freeform 167">
              <a:extLst>
                <a:ext uri="{FF2B5EF4-FFF2-40B4-BE49-F238E27FC236}">
                  <a16:creationId xmlns:a16="http://schemas.microsoft.com/office/drawing/2014/main" id="{9D37351A-7442-7841-A019-70048C2F4CFF}"/>
                </a:ext>
              </a:extLst>
            </p:cNvPr>
            <p:cNvSpPr>
              <a:spLocks/>
            </p:cNvSpPr>
            <p:nvPr/>
          </p:nvSpPr>
          <p:spPr bwMode="auto">
            <a:xfrm>
              <a:off x="1760847" y="258361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3" name="Freeform 168">
              <a:extLst>
                <a:ext uri="{FF2B5EF4-FFF2-40B4-BE49-F238E27FC236}">
                  <a16:creationId xmlns:a16="http://schemas.microsoft.com/office/drawing/2014/main" id="{0EB9EAC2-1A07-2D4B-B309-3BC2791B1A01}"/>
                </a:ext>
              </a:extLst>
            </p:cNvPr>
            <p:cNvSpPr>
              <a:spLocks/>
            </p:cNvSpPr>
            <p:nvPr/>
          </p:nvSpPr>
          <p:spPr bwMode="auto">
            <a:xfrm>
              <a:off x="1768987" y="258361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4" name="Freeform 169">
              <a:extLst>
                <a:ext uri="{FF2B5EF4-FFF2-40B4-BE49-F238E27FC236}">
                  <a16:creationId xmlns:a16="http://schemas.microsoft.com/office/drawing/2014/main" id="{C24EBF99-B39F-444F-8866-AFC82113FBC2}"/>
                </a:ext>
              </a:extLst>
            </p:cNvPr>
            <p:cNvSpPr>
              <a:spLocks/>
            </p:cNvSpPr>
            <p:nvPr/>
          </p:nvSpPr>
          <p:spPr bwMode="auto">
            <a:xfrm>
              <a:off x="1772476" y="2570706"/>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6" y="20"/>
                  </a:lnTo>
                  <a:lnTo>
                    <a:pt x="3" y="20"/>
                  </a:lnTo>
                  <a:lnTo>
                    <a:pt x="0" y="20"/>
                  </a:lnTo>
                  <a:lnTo>
                    <a:pt x="0" y="17"/>
                  </a:lnTo>
                  <a:lnTo>
                    <a:pt x="0" y="4"/>
                  </a:lnTo>
                  <a:lnTo>
                    <a:pt x="0" y="0"/>
                  </a:lnTo>
                  <a:lnTo>
                    <a:pt x="3" y="0"/>
                  </a:lnTo>
                  <a:lnTo>
                    <a:pt x="6" y="0"/>
                  </a:lnTo>
                  <a:lnTo>
                    <a:pt x="10" y="4"/>
                  </a:lnTo>
                  <a:lnTo>
                    <a:pt x="10" y="1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5" name="Freeform 170">
              <a:extLst>
                <a:ext uri="{FF2B5EF4-FFF2-40B4-BE49-F238E27FC236}">
                  <a16:creationId xmlns:a16="http://schemas.microsoft.com/office/drawing/2014/main" id="{DE7BF352-F769-0842-87EB-E000EB68CCE5}"/>
                </a:ext>
              </a:extLst>
            </p:cNvPr>
            <p:cNvSpPr>
              <a:spLocks/>
            </p:cNvSpPr>
            <p:nvPr/>
          </p:nvSpPr>
          <p:spPr bwMode="auto">
            <a:xfrm>
              <a:off x="1772476" y="257070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6" name="Freeform 171">
              <a:extLst>
                <a:ext uri="{FF2B5EF4-FFF2-40B4-BE49-F238E27FC236}">
                  <a16:creationId xmlns:a16="http://schemas.microsoft.com/office/drawing/2014/main" id="{F084BE64-EDA9-A447-B4C8-EE3465ABC59B}"/>
                </a:ext>
              </a:extLst>
            </p:cNvPr>
            <p:cNvSpPr>
              <a:spLocks/>
            </p:cNvSpPr>
            <p:nvPr/>
          </p:nvSpPr>
          <p:spPr bwMode="auto">
            <a:xfrm>
              <a:off x="1775965" y="256177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7" name="Freeform 172">
              <a:extLst>
                <a:ext uri="{FF2B5EF4-FFF2-40B4-BE49-F238E27FC236}">
                  <a16:creationId xmlns:a16="http://schemas.microsoft.com/office/drawing/2014/main" id="{438667AC-65F5-F14A-9165-6D1C3C4626BB}"/>
                </a:ext>
              </a:extLst>
            </p:cNvPr>
            <p:cNvSpPr>
              <a:spLocks/>
            </p:cNvSpPr>
            <p:nvPr/>
          </p:nvSpPr>
          <p:spPr bwMode="auto">
            <a:xfrm>
              <a:off x="1775965" y="2561770"/>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8" name="Freeform 173">
              <a:extLst>
                <a:ext uri="{FF2B5EF4-FFF2-40B4-BE49-F238E27FC236}">
                  <a16:creationId xmlns:a16="http://schemas.microsoft.com/office/drawing/2014/main" id="{28058AF5-3722-1244-8E59-2125E7CF3549}"/>
                </a:ext>
              </a:extLst>
            </p:cNvPr>
            <p:cNvSpPr>
              <a:spLocks/>
            </p:cNvSpPr>
            <p:nvPr/>
          </p:nvSpPr>
          <p:spPr bwMode="auto">
            <a:xfrm>
              <a:off x="1784105" y="2548863"/>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9" name="Freeform 174">
              <a:extLst>
                <a:ext uri="{FF2B5EF4-FFF2-40B4-BE49-F238E27FC236}">
                  <a16:creationId xmlns:a16="http://schemas.microsoft.com/office/drawing/2014/main" id="{434B5EDE-38D2-5540-AFCA-7027B0352356}"/>
                </a:ext>
              </a:extLst>
            </p:cNvPr>
            <p:cNvSpPr>
              <a:spLocks/>
            </p:cNvSpPr>
            <p:nvPr/>
          </p:nvSpPr>
          <p:spPr bwMode="auto">
            <a:xfrm>
              <a:off x="1784105" y="254886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0" name="Freeform 175">
              <a:extLst>
                <a:ext uri="{FF2B5EF4-FFF2-40B4-BE49-F238E27FC236}">
                  <a16:creationId xmlns:a16="http://schemas.microsoft.com/office/drawing/2014/main" id="{EE9B8541-4AC5-2C46-B74D-CE2FF66EC509}"/>
                </a:ext>
              </a:extLst>
            </p:cNvPr>
            <p:cNvSpPr>
              <a:spLocks/>
            </p:cNvSpPr>
            <p:nvPr/>
          </p:nvSpPr>
          <p:spPr bwMode="auto">
            <a:xfrm>
              <a:off x="1787594" y="254886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1" name="Freeform 176">
              <a:extLst>
                <a:ext uri="{FF2B5EF4-FFF2-40B4-BE49-F238E27FC236}">
                  <a16:creationId xmlns:a16="http://schemas.microsoft.com/office/drawing/2014/main" id="{702254D1-2E9C-E24B-8BF1-950DAD6C1892}"/>
                </a:ext>
              </a:extLst>
            </p:cNvPr>
            <p:cNvSpPr>
              <a:spLocks/>
            </p:cNvSpPr>
            <p:nvPr/>
          </p:nvSpPr>
          <p:spPr bwMode="auto">
            <a:xfrm>
              <a:off x="1791083" y="2548863"/>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2" name="Freeform 177">
              <a:extLst>
                <a:ext uri="{FF2B5EF4-FFF2-40B4-BE49-F238E27FC236}">
                  <a16:creationId xmlns:a16="http://schemas.microsoft.com/office/drawing/2014/main" id="{94B1E30A-CD4A-9D48-84A9-900A08DEA30A}"/>
                </a:ext>
              </a:extLst>
            </p:cNvPr>
            <p:cNvSpPr>
              <a:spLocks/>
            </p:cNvSpPr>
            <p:nvPr/>
          </p:nvSpPr>
          <p:spPr bwMode="auto">
            <a:xfrm>
              <a:off x="1798060" y="253595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3" name="Freeform 178">
              <a:extLst>
                <a:ext uri="{FF2B5EF4-FFF2-40B4-BE49-F238E27FC236}">
                  <a16:creationId xmlns:a16="http://schemas.microsoft.com/office/drawing/2014/main" id="{2A0AEA88-F308-EA47-9457-E42985866152}"/>
                </a:ext>
              </a:extLst>
            </p:cNvPr>
            <p:cNvSpPr>
              <a:spLocks/>
            </p:cNvSpPr>
            <p:nvPr/>
          </p:nvSpPr>
          <p:spPr bwMode="auto">
            <a:xfrm>
              <a:off x="1798060" y="2523049"/>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4" name="Freeform 179">
              <a:extLst>
                <a:ext uri="{FF2B5EF4-FFF2-40B4-BE49-F238E27FC236}">
                  <a16:creationId xmlns:a16="http://schemas.microsoft.com/office/drawing/2014/main" id="{26B0C1C8-A84A-024A-9FFF-0D6132226720}"/>
                </a:ext>
              </a:extLst>
            </p:cNvPr>
            <p:cNvSpPr>
              <a:spLocks/>
            </p:cNvSpPr>
            <p:nvPr/>
          </p:nvSpPr>
          <p:spPr bwMode="auto">
            <a:xfrm>
              <a:off x="1798060" y="252304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5" name="Freeform 180">
              <a:extLst>
                <a:ext uri="{FF2B5EF4-FFF2-40B4-BE49-F238E27FC236}">
                  <a16:creationId xmlns:a16="http://schemas.microsoft.com/office/drawing/2014/main" id="{EA845601-2388-5341-B53C-B529711CAE80}"/>
                </a:ext>
              </a:extLst>
            </p:cNvPr>
            <p:cNvSpPr>
              <a:spLocks/>
            </p:cNvSpPr>
            <p:nvPr/>
          </p:nvSpPr>
          <p:spPr bwMode="auto">
            <a:xfrm>
              <a:off x="1802712" y="25230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6" name="Freeform 181">
              <a:extLst>
                <a:ext uri="{FF2B5EF4-FFF2-40B4-BE49-F238E27FC236}">
                  <a16:creationId xmlns:a16="http://schemas.microsoft.com/office/drawing/2014/main" id="{1A2FE5FD-BDCD-174B-9BDE-C34063F2A2AD}"/>
                </a:ext>
              </a:extLst>
            </p:cNvPr>
            <p:cNvSpPr>
              <a:spLocks/>
            </p:cNvSpPr>
            <p:nvPr/>
          </p:nvSpPr>
          <p:spPr bwMode="auto">
            <a:xfrm>
              <a:off x="1809689" y="25230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7" name="Freeform 182">
              <a:extLst>
                <a:ext uri="{FF2B5EF4-FFF2-40B4-BE49-F238E27FC236}">
                  <a16:creationId xmlns:a16="http://schemas.microsoft.com/office/drawing/2014/main" id="{98DFF591-C9DA-4A42-A17C-24C84BF5EDA9}"/>
                </a:ext>
              </a:extLst>
            </p:cNvPr>
            <p:cNvSpPr>
              <a:spLocks/>
            </p:cNvSpPr>
            <p:nvPr/>
          </p:nvSpPr>
          <p:spPr bwMode="auto">
            <a:xfrm>
              <a:off x="1817830" y="252304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8" name="Freeform 183">
              <a:extLst>
                <a:ext uri="{FF2B5EF4-FFF2-40B4-BE49-F238E27FC236}">
                  <a16:creationId xmlns:a16="http://schemas.microsoft.com/office/drawing/2014/main" id="{D11540DA-4E3C-6A4D-B089-E19C675DDC6C}"/>
                </a:ext>
              </a:extLst>
            </p:cNvPr>
            <p:cNvSpPr>
              <a:spLocks/>
            </p:cNvSpPr>
            <p:nvPr/>
          </p:nvSpPr>
          <p:spPr bwMode="auto">
            <a:xfrm>
              <a:off x="1821319" y="2510142"/>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9" name="Freeform 184">
              <a:extLst>
                <a:ext uri="{FF2B5EF4-FFF2-40B4-BE49-F238E27FC236}">
                  <a16:creationId xmlns:a16="http://schemas.microsoft.com/office/drawing/2014/main" id="{DC096B63-CA8D-7C43-8C55-FA1DD7B267D3}"/>
                </a:ext>
              </a:extLst>
            </p:cNvPr>
            <p:cNvSpPr>
              <a:spLocks/>
            </p:cNvSpPr>
            <p:nvPr/>
          </p:nvSpPr>
          <p:spPr bwMode="auto">
            <a:xfrm>
              <a:off x="1821319" y="251014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0" name="Freeform 185">
              <a:extLst>
                <a:ext uri="{FF2B5EF4-FFF2-40B4-BE49-F238E27FC236}">
                  <a16:creationId xmlns:a16="http://schemas.microsoft.com/office/drawing/2014/main" id="{1397ADDE-AC6A-A94D-A147-4D0D46E23876}"/>
                </a:ext>
              </a:extLst>
            </p:cNvPr>
            <p:cNvSpPr>
              <a:spLocks/>
            </p:cNvSpPr>
            <p:nvPr/>
          </p:nvSpPr>
          <p:spPr bwMode="auto">
            <a:xfrm>
              <a:off x="1824808" y="251014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1" name="Freeform 186">
              <a:extLst>
                <a:ext uri="{FF2B5EF4-FFF2-40B4-BE49-F238E27FC236}">
                  <a16:creationId xmlns:a16="http://schemas.microsoft.com/office/drawing/2014/main" id="{30F6A604-0A50-DE44-AF60-39A50800AA26}"/>
                </a:ext>
              </a:extLst>
            </p:cNvPr>
            <p:cNvSpPr>
              <a:spLocks/>
            </p:cNvSpPr>
            <p:nvPr/>
          </p:nvSpPr>
          <p:spPr bwMode="auto">
            <a:xfrm>
              <a:off x="1828296" y="251014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2" name="Freeform 187">
              <a:extLst>
                <a:ext uri="{FF2B5EF4-FFF2-40B4-BE49-F238E27FC236}">
                  <a16:creationId xmlns:a16="http://schemas.microsoft.com/office/drawing/2014/main" id="{B15EE6FD-7DA9-B14E-A417-A2BE034EDDFA}"/>
                </a:ext>
              </a:extLst>
            </p:cNvPr>
            <p:cNvSpPr>
              <a:spLocks/>
            </p:cNvSpPr>
            <p:nvPr/>
          </p:nvSpPr>
          <p:spPr bwMode="auto">
            <a:xfrm>
              <a:off x="1836437" y="251014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3" name="Freeform 188">
              <a:extLst>
                <a:ext uri="{FF2B5EF4-FFF2-40B4-BE49-F238E27FC236}">
                  <a16:creationId xmlns:a16="http://schemas.microsoft.com/office/drawing/2014/main" id="{0FA7F098-5F0F-0849-AF44-4B85EDC74167}"/>
                </a:ext>
              </a:extLst>
            </p:cNvPr>
            <p:cNvSpPr>
              <a:spLocks/>
            </p:cNvSpPr>
            <p:nvPr/>
          </p:nvSpPr>
          <p:spPr bwMode="auto">
            <a:xfrm>
              <a:off x="1839925" y="251014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4" name="Freeform 189">
              <a:extLst>
                <a:ext uri="{FF2B5EF4-FFF2-40B4-BE49-F238E27FC236}">
                  <a16:creationId xmlns:a16="http://schemas.microsoft.com/office/drawing/2014/main" id="{B5A309AC-1DC5-774C-91AC-DB6292683CC2}"/>
                </a:ext>
              </a:extLst>
            </p:cNvPr>
            <p:cNvSpPr>
              <a:spLocks/>
            </p:cNvSpPr>
            <p:nvPr/>
          </p:nvSpPr>
          <p:spPr bwMode="auto">
            <a:xfrm>
              <a:off x="1846903" y="2510142"/>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3"/>
                  </a:lnTo>
                  <a:lnTo>
                    <a:pt x="0" y="0"/>
                  </a:lnTo>
                  <a:lnTo>
                    <a:pt x="4" y="0"/>
                  </a:lnTo>
                  <a:lnTo>
                    <a:pt x="16" y="0"/>
                  </a:lnTo>
                  <a:lnTo>
                    <a:pt x="20" y="0"/>
                  </a:lnTo>
                  <a:lnTo>
                    <a:pt x="20" y="3"/>
                  </a:lnTo>
                  <a:lnTo>
                    <a:pt x="20" y="7"/>
                  </a:lnTo>
                  <a:lnTo>
                    <a:pt x="16"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5" name="Freeform 190">
              <a:extLst>
                <a:ext uri="{FF2B5EF4-FFF2-40B4-BE49-F238E27FC236}">
                  <a16:creationId xmlns:a16="http://schemas.microsoft.com/office/drawing/2014/main" id="{806F4C58-FF01-B240-B752-0E2331C8D5CC}"/>
                </a:ext>
              </a:extLst>
            </p:cNvPr>
            <p:cNvSpPr>
              <a:spLocks/>
            </p:cNvSpPr>
            <p:nvPr/>
          </p:nvSpPr>
          <p:spPr bwMode="auto">
            <a:xfrm>
              <a:off x="1862021" y="2510142"/>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6" name="Freeform 191">
              <a:extLst>
                <a:ext uri="{FF2B5EF4-FFF2-40B4-BE49-F238E27FC236}">
                  <a16:creationId xmlns:a16="http://schemas.microsoft.com/office/drawing/2014/main" id="{2E202CC2-2DC2-A340-917D-98D45125FACD}"/>
                </a:ext>
              </a:extLst>
            </p:cNvPr>
            <p:cNvSpPr>
              <a:spLocks/>
            </p:cNvSpPr>
            <p:nvPr/>
          </p:nvSpPr>
          <p:spPr bwMode="auto">
            <a:xfrm>
              <a:off x="1873650" y="2510142"/>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7" name="Freeform 192">
              <a:extLst>
                <a:ext uri="{FF2B5EF4-FFF2-40B4-BE49-F238E27FC236}">
                  <a16:creationId xmlns:a16="http://schemas.microsoft.com/office/drawing/2014/main" id="{B8338AB4-ADA7-374C-BA0F-244833C4AF93}"/>
                </a:ext>
              </a:extLst>
            </p:cNvPr>
            <p:cNvSpPr>
              <a:spLocks/>
            </p:cNvSpPr>
            <p:nvPr/>
          </p:nvSpPr>
          <p:spPr bwMode="auto">
            <a:xfrm>
              <a:off x="1885280" y="2497235"/>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3"/>
                  </a:lnTo>
                  <a:lnTo>
                    <a:pt x="0" y="0"/>
                  </a:lnTo>
                  <a:lnTo>
                    <a:pt x="3" y="0"/>
                  </a:lnTo>
                  <a:lnTo>
                    <a:pt x="6" y="0"/>
                  </a:lnTo>
                  <a:lnTo>
                    <a:pt x="9" y="3"/>
                  </a:lnTo>
                  <a:lnTo>
                    <a:pt x="9"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8" name="Freeform 193">
              <a:extLst>
                <a:ext uri="{FF2B5EF4-FFF2-40B4-BE49-F238E27FC236}">
                  <a16:creationId xmlns:a16="http://schemas.microsoft.com/office/drawing/2014/main" id="{FC9309F4-C1FB-8C4E-AFC9-0B9A38B0A875}"/>
                </a:ext>
              </a:extLst>
            </p:cNvPr>
            <p:cNvSpPr>
              <a:spLocks/>
            </p:cNvSpPr>
            <p:nvPr/>
          </p:nvSpPr>
          <p:spPr bwMode="auto">
            <a:xfrm>
              <a:off x="1885280" y="2497235"/>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9" name="Freeform 194">
              <a:extLst>
                <a:ext uri="{FF2B5EF4-FFF2-40B4-BE49-F238E27FC236}">
                  <a16:creationId xmlns:a16="http://schemas.microsoft.com/office/drawing/2014/main" id="{AD3BEC6C-4B33-0042-887F-92018213E8E9}"/>
                </a:ext>
              </a:extLst>
            </p:cNvPr>
            <p:cNvSpPr>
              <a:spLocks/>
            </p:cNvSpPr>
            <p:nvPr/>
          </p:nvSpPr>
          <p:spPr bwMode="auto">
            <a:xfrm>
              <a:off x="1899235" y="2481350"/>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7" y="23"/>
                  </a:lnTo>
                  <a:lnTo>
                    <a:pt x="4" y="23"/>
                  </a:lnTo>
                  <a:lnTo>
                    <a:pt x="0" y="23"/>
                  </a:lnTo>
                  <a:lnTo>
                    <a:pt x="0" y="19"/>
                  </a:lnTo>
                  <a:lnTo>
                    <a:pt x="0" y="3"/>
                  </a:lnTo>
                  <a:lnTo>
                    <a:pt x="0" y="0"/>
                  </a:lnTo>
                  <a:lnTo>
                    <a:pt x="4" y="0"/>
                  </a:lnTo>
                  <a:lnTo>
                    <a:pt x="7" y="0"/>
                  </a:lnTo>
                  <a:lnTo>
                    <a:pt x="10" y="3"/>
                  </a:lnTo>
                  <a:lnTo>
                    <a:pt x="10" y="1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0" name="Freeform 195">
              <a:extLst>
                <a:ext uri="{FF2B5EF4-FFF2-40B4-BE49-F238E27FC236}">
                  <a16:creationId xmlns:a16="http://schemas.microsoft.com/office/drawing/2014/main" id="{97996C63-7094-654D-83BF-355EC7CB2FE3}"/>
                </a:ext>
              </a:extLst>
            </p:cNvPr>
            <p:cNvSpPr>
              <a:spLocks/>
            </p:cNvSpPr>
            <p:nvPr/>
          </p:nvSpPr>
          <p:spPr bwMode="auto">
            <a:xfrm>
              <a:off x="1899235" y="248135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1" name="Freeform 196">
              <a:extLst>
                <a:ext uri="{FF2B5EF4-FFF2-40B4-BE49-F238E27FC236}">
                  <a16:creationId xmlns:a16="http://schemas.microsoft.com/office/drawing/2014/main" id="{07A24BFD-F228-E644-9454-3F61BE1FF7A6}"/>
                </a:ext>
              </a:extLst>
            </p:cNvPr>
            <p:cNvSpPr>
              <a:spLocks/>
            </p:cNvSpPr>
            <p:nvPr/>
          </p:nvSpPr>
          <p:spPr bwMode="auto">
            <a:xfrm>
              <a:off x="1903886" y="248135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2" name="Freeform 197">
              <a:extLst>
                <a:ext uri="{FF2B5EF4-FFF2-40B4-BE49-F238E27FC236}">
                  <a16:creationId xmlns:a16="http://schemas.microsoft.com/office/drawing/2014/main" id="{7F103071-A6CA-3E43-826B-36B32FE7657C}"/>
                </a:ext>
              </a:extLst>
            </p:cNvPr>
            <p:cNvSpPr>
              <a:spLocks/>
            </p:cNvSpPr>
            <p:nvPr/>
          </p:nvSpPr>
          <p:spPr bwMode="auto">
            <a:xfrm>
              <a:off x="1910864" y="248135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3" name="Freeform 198">
              <a:extLst>
                <a:ext uri="{FF2B5EF4-FFF2-40B4-BE49-F238E27FC236}">
                  <a16:creationId xmlns:a16="http://schemas.microsoft.com/office/drawing/2014/main" id="{6E6A6BC9-C7C6-A549-BF94-57697AD82B7F}"/>
                </a:ext>
              </a:extLst>
            </p:cNvPr>
            <p:cNvSpPr>
              <a:spLocks/>
            </p:cNvSpPr>
            <p:nvPr/>
          </p:nvSpPr>
          <p:spPr bwMode="auto">
            <a:xfrm>
              <a:off x="1914352" y="248135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6"/>
                  </a:lnTo>
                  <a:lnTo>
                    <a:pt x="0" y="3"/>
                  </a:lnTo>
                  <a:lnTo>
                    <a:pt x="0" y="0"/>
                  </a:lnTo>
                  <a:lnTo>
                    <a:pt x="4" y="0"/>
                  </a:lnTo>
                  <a:lnTo>
                    <a:pt x="13" y="0"/>
                  </a:lnTo>
                  <a:lnTo>
                    <a:pt x="16" y="0"/>
                  </a:lnTo>
                  <a:lnTo>
                    <a:pt x="16" y="3"/>
                  </a:lnTo>
                  <a:lnTo>
                    <a:pt x="16" y="6"/>
                  </a:lnTo>
                  <a:lnTo>
                    <a:pt x="1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4" name="Freeform 199">
              <a:extLst>
                <a:ext uri="{FF2B5EF4-FFF2-40B4-BE49-F238E27FC236}">
                  <a16:creationId xmlns:a16="http://schemas.microsoft.com/office/drawing/2014/main" id="{A7910844-98F5-6747-82F0-9A6A80B85661}"/>
                </a:ext>
              </a:extLst>
            </p:cNvPr>
            <p:cNvSpPr>
              <a:spLocks/>
            </p:cNvSpPr>
            <p:nvPr/>
          </p:nvSpPr>
          <p:spPr bwMode="auto">
            <a:xfrm>
              <a:off x="1925982" y="248135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5" name="Freeform 200">
              <a:extLst>
                <a:ext uri="{FF2B5EF4-FFF2-40B4-BE49-F238E27FC236}">
                  <a16:creationId xmlns:a16="http://schemas.microsoft.com/office/drawing/2014/main" id="{D6D9A5AB-9438-EC40-B83E-A2FDBCDE0C39}"/>
                </a:ext>
              </a:extLst>
            </p:cNvPr>
            <p:cNvSpPr>
              <a:spLocks/>
            </p:cNvSpPr>
            <p:nvPr/>
          </p:nvSpPr>
          <p:spPr bwMode="auto">
            <a:xfrm>
              <a:off x="1941100" y="246844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6" name="Freeform 201">
              <a:extLst>
                <a:ext uri="{FF2B5EF4-FFF2-40B4-BE49-F238E27FC236}">
                  <a16:creationId xmlns:a16="http://schemas.microsoft.com/office/drawing/2014/main" id="{2E9DFA9B-D386-DD4B-855B-6F065D811374}"/>
                </a:ext>
              </a:extLst>
            </p:cNvPr>
            <p:cNvSpPr>
              <a:spLocks/>
            </p:cNvSpPr>
            <p:nvPr/>
          </p:nvSpPr>
          <p:spPr bwMode="auto">
            <a:xfrm>
              <a:off x="1941100" y="2468443"/>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7" name="Freeform 202">
              <a:extLst>
                <a:ext uri="{FF2B5EF4-FFF2-40B4-BE49-F238E27FC236}">
                  <a16:creationId xmlns:a16="http://schemas.microsoft.com/office/drawing/2014/main" id="{04D716A8-ADED-244C-A512-7973225EB9E4}"/>
                </a:ext>
              </a:extLst>
            </p:cNvPr>
            <p:cNvSpPr>
              <a:spLocks/>
            </p:cNvSpPr>
            <p:nvPr/>
          </p:nvSpPr>
          <p:spPr bwMode="auto">
            <a:xfrm>
              <a:off x="1963195" y="2452557"/>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7" y="23"/>
                  </a:lnTo>
                  <a:lnTo>
                    <a:pt x="3" y="23"/>
                  </a:lnTo>
                  <a:lnTo>
                    <a:pt x="0" y="23"/>
                  </a:lnTo>
                  <a:lnTo>
                    <a:pt x="0" y="19"/>
                  </a:lnTo>
                  <a:lnTo>
                    <a:pt x="0" y="3"/>
                  </a:lnTo>
                  <a:lnTo>
                    <a:pt x="0" y="0"/>
                  </a:lnTo>
                  <a:lnTo>
                    <a:pt x="3" y="0"/>
                  </a:lnTo>
                  <a:lnTo>
                    <a:pt x="7" y="0"/>
                  </a:lnTo>
                  <a:lnTo>
                    <a:pt x="10" y="3"/>
                  </a:lnTo>
                  <a:lnTo>
                    <a:pt x="10" y="1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8" name="Freeform 203">
              <a:extLst>
                <a:ext uri="{FF2B5EF4-FFF2-40B4-BE49-F238E27FC236}">
                  <a16:creationId xmlns:a16="http://schemas.microsoft.com/office/drawing/2014/main" id="{112BEA85-EC95-974B-9C49-2392AC6014B4}"/>
                </a:ext>
              </a:extLst>
            </p:cNvPr>
            <p:cNvSpPr>
              <a:spLocks/>
            </p:cNvSpPr>
            <p:nvPr/>
          </p:nvSpPr>
          <p:spPr bwMode="auto">
            <a:xfrm>
              <a:off x="1963195" y="24525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9" name="Freeform 204">
              <a:extLst>
                <a:ext uri="{FF2B5EF4-FFF2-40B4-BE49-F238E27FC236}">
                  <a16:creationId xmlns:a16="http://schemas.microsoft.com/office/drawing/2014/main" id="{C373861A-83D9-5E41-9329-AAE36859DCBF}"/>
                </a:ext>
              </a:extLst>
            </p:cNvPr>
            <p:cNvSpPr>
              <a:spLocks/>
            </p:cNvSpPr>
            <p:nvPr/>
          </p:nvSpPr>
          <p:spPr bwMode="auto">
            <a:xfrm>
              <a:off x="1966684" y="24525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0" name="Freeform 206">
              <a:extLst>
                <a:ext uri="{FF2B5EF4-FFF2-40B4-BE49-F238E27FC236}">
                  <a16:creationId xmlns:a16="http://schemas.microsoft.com/office/drawing/2014/main" id="{23907A2A-F902-D24B-AC69-7C1309297F78}"/>
                </a:ext>
              </a:extLst>
            </p:cNvPr>
            <p:cNvSpPr>
              <a:spLocks/>
            </p:cNvSpPr>
            <p:nvPr/>
          </p:nvSpPr>
          <p:spPr bwMode="auto">
            <a:xfrm>
              <a:off x="1971336" y="245255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1" name="Freeform 207">
              <a:extLst>
                <a:ext uri="{FF2B5EF4-FFF2-40B4-BE49-F238E27FC236}">
                  <a16:creationId xmlns:a16="http://schemas.microsoft.com/office/drawing/2014/main" id="{7A4212E2-FCDD-164D-89DC-E513162B52B0}"/>
                </a:ext>
              </a:extLst>
            </p:cNvPr>
            <p:cNvSpPr>
              <a:spLocks/>
            </p:cNvSpPr>
            <p:nvPr/>
          </p:nvSpPr>
          <p:spPr bwMode="auto">
            <a:xfrm>
              <a:off x="1974824" y="2452557"/>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2" name="Freeform 208">
              <a:extLst>
                <a:ext uri="{FF2B5EF4-FFF2-40B4-BE49-F238E27FC236}">
                  <a16:creationId xmlns:a16="http://schemas.microsoft.com/office/drawing/2014/main" id="{A53F9DAE-EEDD-D347-95CE-5D6F13B61726}"/>
                </a:ext>
              </a:extLst>
            </p:cNvPr>
            <p:cNvSpPr>
              <a:spLocks/>
            </p:cNvSpPr>
            <p:nvPr/>
          </p:nvSpPr>
          <p:spPr bwMode="auto">
            <a:xfrm>
              <a:off x="1993431" y="245255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3" name="Freeform 209">
              <a:extLst>
                <a:ext uri="{FF2B5EF4-FFF2-40B4-BE49-F238E27FC236}">
                  <a16:creationId xmlns:a16="http://schemas.microsoft.com/office/drawing/2014/main" id="{4947685C-0CF8-984F-9B4B-360DAE2FB045}"/>
                </a:ext>
              </a:extLst>
            </p:cNvPr>
            <p:cNvSpPr>
              <a:spLocks/>
            </p:cNvSpPr>
            <p:nvPr/>
          </p:nvSpPr>
          <p:spPr bwMode="auto">
            <a:xfrm>
              <a:off x="2000409" y="245255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4" name="Freeform 210">
              <a:extLst>
                <a:ext uri="{FF2B5EF4-FFF2-40B4-BE49-F238E27FC236}">
                  <a16:creationId xmlns:a16="http://schemas.microsoft.com/office/drawing/2014/main" id="{302B3BFD-C596-B64C-875F-B653206E3659}"/>
                </a:ext>
              </a:extLst>
            </p:cNvPr>
            <p:cNvSpPr>
              <a:spLocks/>
            </p:cNvSpPr>
            <p:nvPr/>
          </p:nvSpPr>
          <p:spPr bwMode="auto">
            <a:xfrm>
              <a:off x="2008549" y="2452557"/>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5" name="Freeform 211">
              <a:extLst>
                <a:ext uri="{FF2B5EF4-FFF2-40B4-BE49-F238E27FC236}">
                  <a16:creationId xmlns:a16="http://schemas.microsoft.com/office/drawing/2014/main" id="{5A1FC72A-24DD-174D-B0C0-03D0F27B6998}"/>
                </a:ext>
              </a:extLst>
            </p:cNvPr>
            <p:cNvSpPr>
              <a:spLocks/>
            </p:cNvSpPr>
            <p:nvPr/>
          </p:nvSpPr>
          <p:spPr bwMode="auto">
            <a:xfrm>
              <a:off x="2023667" y="2452557"/>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6" name="Freeform 212">
              <a:extLst>
                <a:ext uri="{FF2B5EF4-FFF2-40B4-BE49-F238E27FC236}">
                  <a16:creationId xmlns:a16="http://schemas.microsoft.com/office/drawing/2014/main" id="{C932FFDB-54F5-CD42-9C8A-EAAD72708C8D}"/>
                </a:ext>
              </a:extLst>
            </p:cNvPr>
            <p:cNvSpPr>
              <a:spLocks/>
            </p:cNvSpPr>
            <p:nvPr/>
          </p:nvSpPr>
          <p:spPr bwMode="auto">
            <a:xfrm>
              <a:off x="2042274" y="24525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7" name="Freeform 213">
              <a:extLst>
                <a:ext uri="{FF2B5EF4-FFF2-40B4-BE49-F238E27FC236}">
                  <a16:creationId xmlns:a16="http://schemas.microsoft.com/office/drawing/2014/main" id="{957FE517-B01A-2A4F-AF18-363294BEB48F}"/>
                </a:ext>
              </a:extLst>
            </p:cNvPr>
            <p:cNvSpPr>
              <a:spLocks/>
            </p:cNvSpPr>
            <p:nvPr/>
          </p:nvSpPr>
          <p:spPr bwMode="auto">
            <a:xfrm>
              <a:off x="2045763" y="2433693"/>
              <a:ext cx="11629" cy="24821"/>
            </a:xfrm>
            <a:custGeom>
              <a:avLst/>
              <a:gdLst>
                <a:gd name="T0" fmla="*/ 2147483646 w 10"/>
                <a:gd name="T1" fmla="*/ 2147483646 h 25"/>
                <a:gd name="T2" fmla="*/ 2147483646 w 10"/>
                <a:gd name="T3" fmla="*/ 2147483646 h 25"/>
                <a:gd name="T4" fmla="*/ 2147483646 w 10"/>
                <a:gd name="T5" fmla="*/ 2147483646 h 25"/>
                <a:gd name="T6" fmla="*/ 2147483646 w 10"/>
                <a:gd name="T7" fmla="*/ 2147483646 h 25"/>
                <a:gd name="T8" fmla="*/ 0 w 10"/>
                <a:gd name="T9" fmla="*/ 2147483646 h 25"/>
                <a:gd name="T10" fmla="*/ 0 w 10"/>
                <a:gd name="T11" fmla="*/ 2147483646 h 25"/>
                <a:gd name="T12" fmla="*/ 0 w 10"/>
                <a:gd name="T13" fmla="*/ 2147483646 h 25"/>
                <a:gd name="T14" fmla="*/ 0 w 10"/>
                <a:gd name="T15" fmla="*/ 0 h 25"/>
                <a:gd name="T16" fmla="*/ 2147483646 w 10"/>
                <a:gd name="T17" fmla="*/ 0 h 25"/>
                <a:gd name="T18" fmla="*/ 2147483646 w 10"/>
                <a:gd name="T19" fmla="*/ 0 h 25"/>
                <a:gd name="T20" fmla="*/ 2147483646 w 10"/>
                <a:gd name="T21" fmla="*/ 0 h 25"/>
                <a:gd name="T22" fmla="*/ 2147483646 w 10"/>
                <a:gd name="T23" fmla="*/ 2147483646 h 25"/>
                <a:gd name="T24" fmla="*/ 2147483646 w 10"/>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5">
                  <a:moveTo>
                    <a:pt x="10" y="22"/>
                  </a:moveTo>
                  <a:lnTo>
                    <a:pt x="7" y="25"/>
                  </a:lnTo>
                  <a:lnTo>
                    <a:pt x="3" y="25"/>
                  </a:lnTo>
                  <a:lnTo>
                    <a:pt x="0" y="25"/>
                  </a:lnTo>
                  <a:lnTo>
                    <a:pt x="0" y="22"/>
                  </a:lnTo>
                  <a:lnTo>
                    <a:pt x="0" y="3"/>
                  </a:lnTo>
                  <a:lnTo>
                    <a:pt x="0" y="0"/>
                  </a:lnTo>
                  <a:lnTo>
                    <a:pt x="3" y="0"/>
                  </a:lnTo>
                  <a:lnTo>
                    <a:pt x="7" y="0"/>
                  </a:lnTo>
                  <a:lnTo>
                    <a:pt x="10" y="3"/>
                  </a:lnTo>
                  <a:lnTo>
                    <a:pt x="10" y="2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8" name="Freeform 214">
              <a:extLst>
                <a:ext uri="{FF2B5EF4-FFF2-40B4-BE49-F238E27FC236}">
                  <a16:creationId xmlns:a16="http://schemas.microsoft.com/office/drawing/2014/main" id="{61C96633-E168-E141-9F13-BAC04F3AD4F0}"/>
                </a:ext>
              </a:extLst>
            </p:cNvPr>
            <p:cNvSpPr>
              <a:spLocks/>
            </p:cNvSpPr>
            <p:nvPr/>
          </p:nvSpPr>
          <p:spPr bwMode="auto">
            <a:xfrm>
              <a:off x="2045763" y="2433693"/>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3" y="0"/>
                  </a:lnTo>
                  <a:lnTo>
                    <a:pt x="26" y="0"/>
                  </a:lnTo>
                  <a:lnTo>
                    <a:pt x="26" y="3"/>
                  </a:lnTo>
                  <a:lnTo>
                    <a:pt x="26" y="6"/>
                  </a:lnTo>
                  <a:lnTo>
                    <a:pt x="2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9" name="Freeform 215">
              <a:extLst>
                <a:ext uri="{FF2B5EF4-FFF2-40B4-BE49-F238E27FC236}">
                  <a16:creationId xmlns:a16="http://schemas.microsoft.com/office/drawing/2014/main" id="{EB96244D-B06E-D14E-88D5-3C95E999145F}"/>
                </a:ext>
              </a:extLst>
            </p:cNvPr>
            <p:cNvSpPr>
              <a:spLocks/>
            </p:cNvSpPr>
            <p:nvPr/>
          </p:nvSpPr>
          <p:spPr bwMode="auto">
            <a:xfrm>
              <a:off x="2067858"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0" name="Freeform 216">
              <a:extLst>
                <a:ext uri="{FF2B5EF4-FFF2-40B4-BE49-F238E27FC236}">
                  <a16:creationId xmlns:a16="http://schemas.microsoft.com/office/drawing/2014/main" id="{F87E4DA9-802E-1B43-A75D-EC4DE060B8C7}"/>
                </a:ext>
              </a:extLst>
            </p:cNvPr>
            <p:cNvSpPr>
              <a:spLocks/>
            </p:cNvSpPr>
            <p:nvPr/>
          </p:nvSpPr>
          <p:spPr bwMode="auto">
            <a:xfrm>
              <a:off x="2072510" y="2417808"/>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1" name="Freeform 217">
              <a:extLst>
                <a:ext uri="{FF2B5EF4-FFF2-40B4-BE49-F238E27FC236}">
                  <a16:creationId xmlns:a16="http://schemas.microsoft.com/office/drawing/2014/main" id="{2ED2B886-0D1E-C547-A6F7-3365355BAA40}"/>
                </a:ext>
              </a:extLst>
            </p:cNvPr>
            <p:cNvSpPr>
              <a:spLocks/>
            </p:cNvSpPr>
            <p:nvPr/>
          </p:nvSpPr>
          <p:spPr bwMode="auto">
            <a:xfrm>
              <a:off x="2072510" y="241780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2" name="Freeform 218">
              <a:extLst>
                <a:ext uri="{FF2B5EF4-FFF2-40B4-BE49-F238E27FC236}">
                  <a16:creationId xmlns:a16="http://schemas.microsoft.com/office/drawing/2014/main" id="{723FCC27-00C9-FF4B-9A3F-C87BDE253B96}"/>
                </a:ext>
              </a:extLst>
            </p:cNvPr>
            <p:cNvSpPr>
              <a:spLocks/>
            </p:cNvSpPr>
            <p:nvPr/>
          </p:nvSpPr>
          <p:spPr bwMode="auto">
            <a:xfrm>
              <a:off x="2075999" y="2417808"/>
              <a:ext cx="25584" cy="8936"/>
            </a:xfrm>
            <a:custGeom>
              <a:avLst/>
              <a:gdLst>
                <a:gd name="T0" fmla="*/ 2147483646 w 22"/>
                <a:gd name="T1" fmla="*/ 2147483646 h 9"/>
                <a:gd name="T2" fmla="*/ 0 w 22"/>
                <a:gd name="T3" fmla="*/ 2147483646 h 9"/>
                <a:gd name="T4" fmla="*/ 0 w 22"/>
                <a:gd name="T5" fmla="*/ 2147483646 h 9"/>
                <a:gd name="T6" fmla="*/ 0 w 22"/>
                <a:gd name="T7" fmla="*/ 2147483646 h 9"/>
                <a:gd name="T8" fmla="*/ 0 w 22"/>
                <a:gd name="T9" fmla="*/ 0 h 9"/>
                <a:gd name="T10" fmla="*/ 2147483646 w 22"/>
                <a:gd name="T11" fmla="*/ 0 h 9"/>
                <a:gd name="T12" fmla="*/ 2147483646 w 22"/>
                <a:gd name="T13" fmla="*/ 0 h 9"/>
                <a:gd name="T14" fmla="*/ 2147483646 w 22"/>
                <a:gd name="T15" fmla="*/ 0 h 9"/>
                <a:gd name="T16" fmla="*/ 2147483646 w 22"/>
                <a:gd name="T17" fmla="*/ 2147483646 h 9"/>
                <a:gd name="T18" fmla="*/ 2147483646 w 22"/>
                <a:gd name="T19" fmla="*/ 2147483646 h 9"/>
                <a:gd name="T20" fmla="*/ 2147483646 w 22"/>
                <a:gd name="T21" fmla="*/ 2147483646 h 9"/>
                <a:gd name="T22" fmla="*/ 2147483646 w 22"/>
                <a:gd name="T23" fmla="*/ 2147483646 h 9"/>
                <a:gd name="T24" fmla="*/ 2147483646 w 2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9">
                  <a:moveTo>
                    <a:pt x="3" y="9"/>
                  </a:moveTo>
                  <a:lnTo>
                    <a:pt x="0" y="6"/>
                  </a:lnTo>
                  <a:lnTo>
                    <a:pt x="0" y="3"/>
                  </a:lnTo>
                  <a:lnTo>
                    <a:pt x="0" y="0"/>
                  </a:lnTo>
                  <a:lnTo>
                    <a:pt x="3" y="0"/>
                  </a:lnTo>
                  <a:lnTo>
                    <a:pt x="19" y="0"/>
                  </a:lnTo>
                  <a:lnTo>
                    <a:pt x="22" y="0"/>
                  </a:lnTo>
                  <a:lnTo>
                    <a:pt x="22" y="3"/>
                  </a:lnTo>
                  <a:lnTo>
                    <a:pt x="22" y="6"/>
                  </a:lnTo>
                  <a:lnTo>
                    <a:pt x="19"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3" name="Freeform 219">
              <a:extLst>
                <a:ext uri="{FF2B5EF4-FFF2-40B4-BE49-F238E27FC236}">
                  <a16:creationId xmlns:a16="http://schemas.microsoft.com/office/drawing/2014/main" id="{80828EA8-8ACC-E94C-BF57-3926DA012226}"/>
                </a:ext>
              </a:extLst>
            </p:cNvPr>
            <p:cNvSpPr>
              <a:spLocks/>
            </p:cNvSpPr>
            <p:nvPr/>
          </p:nvSpPr>
          <p:spPr bwMode="auto">
            <a:xfrm>
              <a:off x="2094606" y="2397951"/>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3"/>
                  </a:moveTo>
                  <a:lnTo>
                    <a:pt x="6" y="26"/>
                  </a:lnTo>
                  <a:lnTo>
                    <a:pt x="3" y="26"/>
                  </a:lnTo>
                  <a:lnTo>
                    <a:pt x="0" y="26"/>
                  </a:lnTo>
                  <a:lnTo>
                    <a:pt x="0" y="23"/>
                  </a:lnTo>
                  <a:lnTo>
                    <a:pt x="0" y="3"/>
                  </a:lnTo>
                  <a:lnTo>
                    <a:pt x="0" y="0"/>
                  </a:lnTo>
                  <a:lnTo>
                    <a:pt x="3" y="0"/>
                  </a:lnTo>
                  <a:lnTo>
                    <a:pt x="6" y="0"/>
                  </a:lnTo>
                  <a:lnTo>
                    <a:pt x="10" y="3"/>
                  </a:lnTo>
                  <a:lnTo>
                    <a:pt x="10" y="2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4" name="Freeform 220">
              <a:extLst>
                <a:ext uri="{FF2B5EF4-FFF2-40B4-BE49-F238E27FC236}">
                  <a16:creationId xmlns:a16="http://schemas.microsoft.com/office/drawing/2014/main" id="{B2AB163A-734B-3647-94BC-2A6CF606D01B}"/>
                </a:ext>
              </a:extLst>
            </p:cNvPr>
            <p:cNvSpPr>
              <a:spLocks/>
            </p:cNvSpPr>
            <p:nvPr/>
          </p:nvSpPr>
          <p:spPr bwMode="auto">
            <a:xfrm>
              <a:off x="2094606" y="239795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5" name="Freeform 221">
              <a:extLst>
                <a:ext uri="{FF2B5EF4-FFF2-40B4-BE49-F238E27FC236}">
                  <a16:creationId xmlns:a16="http://schemas.microsoft.com/office/drawing/2014/main" id="{9269AEFA-6A17-474B-8A09-9221DA83DC68}"/>
                </a:ext>
              </a:extLst>
            </p:cNvPr>
            <p:cNvSpPr>
              <a:spLocks/>
            </p:cNvSpPr>
            <p:nvPr/>
          </p:nvSpPr>
          <p:spPr bwMode="auto">
            <a:xfrm>
              <a:off x="2098094" y="239795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6" name="Freeform 222">
              <a:extLst>
                <a:ext uri="{FF2B5EF4-FFF2-40B4-BE49-F238E27FC236}">
                  <a16:creationId xmlns:a16="http://schemas.microsoft.com/office/drawing/2014/main" id="{D336BAA8-34EF-5D44-8027-B5DFD70AF8FF}"/>
                </a:ext>
              </a:extLst>
            </p:cNvPr>
            <p:cNvSpPr>
              <a:spLocks/>
            </p:cNvSpPr>
            <p:nvPr/>
          </p:nvSpPr>
          <p:spPr bwMode="auto">
            <a:xfrm>
              <a:off x="2101583" y="2379087"/>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2"/>
                  </a:moveTo>
                  <a:lnTo>
                    <a:pt x="7" y="26"/>
                  </a:lnTo>
                  <a:lnTo>
                    <a:pt x="4" y="26"/>
                  </a:lnTo>
                  <a:lnTo>
                    <a:pt x="0" y="26"/>
                  </a:lnTo>
                  <a:lnTo>
                    <a:pt x="0" y="22"/>
                  </a:lnTo>
                  <a:lnTo>
                    <a:pt x="0" y="3"/>
                  </a:lnTo>
                  <a:lnTo>
                    <a:pt x="0" y="0"/>
                  </a:lnTo>
                  <a:lnTo>
                    <a:pt x="4" y="0"/>
                  </a:lnTo>
                  <a:lnTo>
                    <a:pt x="7" y="0"/>
                  </a:lnTo>
                  <a:lnTo>
                    <a:pt x="10" y="3"/>
                  </a:lnTo>
                  <a:lnTo>
                    <a:pt x="10" y="2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7" name="Freeform 223">
              <a:extLst>
                <a:ext uri="{FF2B5EF4-FFF2-40B4-BE49-F238E27FC236}">
                  <a16:creationId xmlns:a16="http://schemas.microsoft.com/office/drawing/2014/main" id="{7A67F7CC-C1C8-194D-B36C-C1EF07F29A25}"/>
                </a:ext>
              </a:extLst>
            </p:cNvPr>
            <p:cNvSpPr>
              <a:spLocks/>
            </p:cNvSpPr>
            <p:nvPr/>
          </p:nvSpPr>
          <p:spPr bwMode="auto">
            <a:xfrm>
              <a:off x="2101583" y="2379087"/>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8" name="Freeform 224">
              <a:extLst>
                <a:ext uri="{FF2B5EF4-FFF2-40B4-BE49-F238E27FC236}">
                  <a16:creationId xmlns:a16="http://schemas.microsoft.com/office/drawing/2014/main" id="{A0D5ABBF-8EC6-2B43-95F6-9CA00F87C01E}"/>
                </a:ext>
              </a:extLst>
            </p:cNvPr>
            <p:cNvSpPr>
              <a:spLocks/>
            </p:cNvSpPr>
            <p:nvPr/>
          </p:nvSpPr>
          <p:spPr bwMode="auto">
            <a:xfrm>
              <a:off x="2109723" y="2363201"/>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9" name="Freeform 225">
              <a:extLst>
                <a:ext uri="{FF2B5EF4-FFF2-40B4-BE49-F238E27FC236}">
                  <a16:creationId xmlns:a16="http://schemas.microsoft.com/office/drawing/2014/main" id="{FDAE68FF-839A-BD48-A200-28B1440A5B7F}"/>
                </a:ext>
              </a:extLst>
            </p:cNvPr>
            <p:cNvSpPr>
              <a:spLocks/>
            </p:cNvSpPr>
            <p:nvPr/>
          </p:nvSpPr>
          <p:spPr bwMode="auto">
            <a:xfrm>
              <a:off x="2109723" y="23632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0" name="Freeform 226">
              <a:extLst>
                <a:ext uri="{FF2B5EF4-FFF2-40B4-BE49-F238E27FC236}">
                  <a16:creationId xmlns:a16="http://schemas.microsoft.com/office/drawing/2014/main" id="{B1B4BB92-868C-D74A-9C90-58C521E7D7CC}"/>
                </a:ext>
              </a:extLst>
            </p:cNvPr>
            <p:cNvSpPr>
              <a:spLocks/>
            </p:cNvSpPr>
            <p:nvPr/>
          </p:nvSpPr>
          <p:spPr bwMode="auto">
            <a:xfrm>
              <a:off x="2113212" y="236320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1" name="Freeform 227">
              <a:extLst>
                <a:ext uri="{FF2B5EF4-FFF2-40B4-BE49-F238E27FC236}">
                  <a16:creationId xmlns:a16="http://schemas.microsoft.com/office/drawing/2014/main" id="{F6B2FED1-D09A-E648-8794-8A1799A11004}"/>
                </a:ext>
              </a:extLst>
            </p:cNvPr>
            <p:cNvSpPr>
              <a:spLocks/>
            </p:cNvSpPr>
            <p:nvPr/>
          </p:nvSpPr>
          <p:spPr bwMode="auto">
            <a:xfrm>
              <a:off x="2121352" y="2363201"/>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2" name="Freeform 228">
              <a:extLst>
                <a:ext uri="{FF2B5EF4-FFF2-40B4-BE49-F238E27FC236}">
                  <a16:creationId xmlns:a16="http://schemas.microsoft.com/office/drawing/2014/main" id="{92178CDB-60BB-C34D-BD08-84E46E5D91E3}"/>
                </a:ext>
              </a:extLst>
            </p:cNvPr>
            <p:cNvSpPr>
              <a:spLocks/>
            </p:cNvSpPr>
            <p:nvPr/>
          </p:nvSpPr>
          <p:spPr bwMode="auto">
            <a:xfrm>
              <a:off x="2124841" y="2363201"/>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3" name="Freeform 229">
              <a:extLst>
                <a:ext uri="{FF2B5EF4-FFF2-40B4-BE49-F238E27FC236}">
                  <a16:creationId xmlns:a16="http://schemas.microsoft.com/office/drawing/2014/main" id="{12EC3698-3103-2743-8B7D-E954E6B38CF1}"/>
                </a:ext>
              </a:extLst>
            </p:cNvPr>
            <p:cNvSpPr>
              <a:spLocks/>
            </p:cNvSpPr>
            <p:nvPr/>
          </p:nvSpPr>
          <p:spPr bwMode="auto">
            <a:xfrm>
              <a:off x="2128330" y="2363201"/>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19" y="0"/>
                  </a:lnTo>
                  <a:lnTo>
                    <a:pt x="23" y="0"/>
                  </a:lnTo>
                  <a:lnTo>
                    <a:pt x="23" y="3"/>
                  </a:lnTo>
                  <a:lnTo>
                    <a:pt x="23" y="6"/>
                  </a:lnTo>
                  <a:lnTo>
                    <a:pt x="19"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4" name="Freeform 230">
              <a:extLst>
                <a:ext uri="{FF2B5EF4-FFF2-40B4-BE49-F238E27FC236}">
                  <a16:creationId xmlns:a16="http://schemas.microsoft.com/office/drawing/2014/main" id="{14DA5D03-3F81-C74A-B030-74D7149F4FEA}"/>
                </a:ext>
              </a:extLst>
            </p:cNvPr>
            <p:cNvSpPr>
              <a:spLocks/>
            </p:cNvSpPr>
            <p:nvPr/>
          </p:nvSpPr>
          <p:spPr bwMode="auto">
            <a:xfrm>
              <a:off x="2146937" y="23632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5" name="Freeform 231">
              <a:extLst>
                <a:ext uri="{FF2B5EF4-FFF2-40B4-BE49-F238E27FC236}">
                  <a16:creationId xmlns:a16="http://schemas.microsoft.com/office/drawing/2014/main" id="{2A820736-4210-3441-931D-2EB920635231}"/>
                </a:ext>
              </a:extLst>
            </p:cNvPr>
            <p:cNvSpPr>
              <a:spLocks/>
            </p:cNvSpPr>
            <p:nvPr/>
          </p:nvSpPr>
          <p:spPr bwMode="auto">
            <a:xfrm>
              <a:off x="2150426" y="2363201"/>
              <a:ext cx="56984" cy="8936"/>
            </a:xfrm>
            <a:custGeom>
              <a:avLst/>
              <a:gdLst>
                <a:gd name="T0" fmla="*/ 2147483646 w 49"/>
                <a:gd name="T1" fmla="*/ 2147483646 h 9"/>
                <a:gd name="T2" fmla="*/ 0 w 49"/>
                <a:gd name="T3" fmla="*/ 2147483646 h 9"/>
                <a:gd name="T4" fmla="*/ 0 w 49"/>
                <a:gd name="T5" fmla="*/ 2147483646 h 9"/>
                <a:gd name="T6" fmla="*/ 0 w 49"/>
                <a:gd name="T7" fmla="*/ 2147483646 h 9"/>
                <a:gd name="T8" fmla="*/ 0 w 49"/>
                <a:gd name="T9" fmla="*/ 0 h 9"/>
                <a:gd name="T10" fmla="*/ 2147483646 w 49"/>
                <a:gd name="T11" fmla="*/ 0 h 9"/>
                <a:gd name="T12" fmla="*/ 2147483646 w 49"/>
                <a:gd name="T13" fmla="*/ 0 h 9"/>
                <a:gd name="T14" fmla="*/ 2147483646 w 49"/>
                <a:gd name="T15" fmla="*/ 0 h 9"/>
                <a:gd name="T16" fmla="*/ 2147483646 w 49"/>
                <a:gd name="T17" fmla="*/ 2147483646 h 9"/>
                <a:gd name="T18" fmla="*/ 2147483646 w 49"/>
                <a:gd name="T19" fmla="*/ 2147483646 h 9"/>
                <a:gd name="T20" fmla="*/ 2147483646 w 49"/>
                <a:gd name="T21" fmla="*/ 2147483646 h 9"/>
                <a:gd name="T22" fmla="*/ 2147483646 w 49"/>
                <a:gd name="T23" fmla="*/ 2147483646 h 9"/>
                <a:gd name="T24" fmla="*/ 2147483646 w 4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9" h="9">
                  <a:moveTo>
                    <a:pt x="4" y="9"/>
                  </a:moveTo>
                  <a:lnTo>
                    <a:pt x="0" y="6"/>
                  </a:lnTo>
                  <a:lnTo>
                    <a:pt x="0" y="3"/>
                  </a:lnTo>
                  <a:lnTo>
                    <a:pt x="0" y="0"/>
                  </a:lnTo>
                  <a:lnTo>
                    <a:pt x="4" y="0"/>
                  </a:lnTo>
                  <a:lnTo>
                    <a:pt x="45" y="0"/>
                  </a:lnTo>
                  <a:lnTo>
                    <a:pt x="49" y="0"/>
                  </a:lnTo>
                  <a:lnTo>
                    <a:pt x="49" y="3"/>
                  </a:lnTo>
                  <a:lnTo>
                    <a:pt x="49" y="6"/>
                  </a:lnTo>
                  <a:lnTo>
                    <a:pt x="45"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6" name="Freeform 232">
              <a:extLst>
                <a:ext uri="{FF2B5EF4-FFF2-40B4-BE49-F238E27FC236}">
                  <a16:creationId xmlns:a16="http://schemas.microsoft.com/office/drawing/2014/main" id="{ADAB0722-1BAA-024E-B8FC-D1F8857E0EC9}"/>
                </a:ext>
              </a:extLst>
            </p:cNvPr>
            <p:cNvSpPr>
              <a:spLocks/>
            </p:cNvSpPr>
            <p:nvPr/>
          </p:nvSpPr>
          <p:spPr bwMode="auto">
            <a:xfrm>
              <a:off x="2199268" y="2363201"/>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20" y="0"/>
                  </a:lnTo>
                  <a:lnTo>
                    <a:pt x="23" y="0"/>
                  </a:lnTo>
                  <a:lnTo>
                    <a:pt x="23" y="3"/>
                  </a:lnTo>
                  <a:lnTo>
                    <a:pt x="23" y="6"/>
                  </a:lnTo>
                  <a:lnTo>
                    <a:pt x="2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7" name="Freeform 233">
              <a:extLst>
                <a:ext uri="{FF2B5EF4-FFF2-40B4-BE49-F238E27FC236}">
                  <a16:creationId xmlns:a16="http://schemas.microsoft.com/office/drawing/2014/main" id="{C0669BF1-4872-BD43-A3D9-17A2CB7F492E}"/>
                </a:ext>
              </a:extLst>
            </p:cNvPr>
            <p:cNvSpPr>
              <a:spLocks/>
            </p:cNvSpPr>
            <p:nvPr/>
          </p:nvSpPr>
          <p:spPr bwMode="auto">
            <a:xfrm>
              <a:off x="2217875" y="2363201"/>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6" y="0"/>
                  </a:lnTo>
                  <a:lnTo>
                    <a:pt x="20" y="0"/>
                  </a:lnTo>
                  <a:lnTo>
                    <a:pt x="20" y="3"/>
                  </a:lnTo>
                  <a:lnTo>
                    <a:pt x="20" y="6"/>
                  </a:lnTo>
                  <a:lnTo>
                    <a:pt x="16"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8" name="Freeform 234">
              <a:extLst>
                <a:ext uri="{FF2B5EF4-FFF2-40B4-BE49-F238E27FC236}">
                  <a16:creationId xmlns:a16="http://schemas.microsoft.com/office/drawing/2014/main" id="{A76BD691-08F7-8B4F-BD0F-0BE20973381C}"/>
                </a:ext>
              </a:extLst>
            </p:cNvPr>
            <p:cNvSpPr>
              <a:spLocks/>
            </p:cNvSpPr>
            <p:nvPr/>
          </p:nvSpPr>
          <p:spPr bwMode="auto">
            <a:xfrm>
              <a:off x="2232993" y="236320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9" name="Freeform 235">
              <a:extLst>
                <a:ext uri="{FF2B5EF4-FFF2-40B4-BE49-F238E27FC236}">
                  <a16:creationId xmlns:a16="http://schemas.microsoft.com/office/drawing/2014/main" id="{30010492-A6B5-3A48-8983-41E3F0C5EB41}"/>
                </a:ext>
              </a:extLst>
            </p:cNvPr>
            <p:cNvSpPr>
              <a:spLocks/>
            </p:cNvSpPr>
            <p:nvPr/>
          </p:nvSpPr>
          <p:spPr bwMode="auto">
            <a:xfrm>
              <a:off x="2241134" y="2363201"/>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0" name="Freeform 236">
              <a:extLst>
                <a:ext uri="{FF2B5EF4-FFF2-40B4-BE49-F238E27FC236}">
                  <a16:creationId xmlns:a16="http://schemas.microsoft.com/office/drawing/2014/main" id="{55AE9AFB-BBEA-BC4F-B331-51C95BC0A077}"/>
                </a:ext>
              </a:extLst>
            </p:cNvPr>
            <p:cNvSpPr>
              <a:spLocks/>
            </p:cNvSpPr>
            <p:nvPr/>
          </p:nvSpPr>
          <p:spPr bwMode="auto">
            <a:xfrm>
              <a:off x="2251600" y="2363201"/>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6" y="0"/>
                  </a:lnTo>
                  <a:lnTo>
                    <a:pt x="20" y="0"/>
                  </a:lnTo>
                  <a:lnTo>
                    <a:pt x="20" y="3"/>
                  </a:lnTo>
                  <a:lnTo>
                    <a:pt x="20" y="6"/>
                  </a:lnTo>
                  <a:lnTo>
                    <a:pt x="16"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1" name="Freeform 237">
              <a:extLst>
                <a:ext uri="{FF2B5EF4-FFF2-40B4-BE49-F238E27FC236}">
                  <a16:creationId xmlns:a16="http://schemas.microsoft.com/office/drawing/2014/main" id="{2506D9FE-19EA-8F40-B858-01A6CC2378F6}"/>
                </a:ext>
              </a:extLst>
            </p:cNvPr>
            <p:cNvSpPr>
              <a:spLocks/>
            </p:cNvSpPr>
            <p:nvPr/>
          </p:nvSpPr>
          <p:spPr bwMode="auto">
            <a:xfrm>
              <a:off x="2266718" y="2363201"/>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20" y="0"/>
                  </a:lnTo>
                  <a:lnTo>
                    <a:pt x="23" y="0"/>
                  </a:lnTo>
                  <a:lnTo>
                    <a:pt x="23" y="3"/>
                  </a:lnTo>
                  <a:lnTo>
                    <a:pt x="23" y="6"/>
                  </a:lnTo>
                  <a:lnTo>
                    <a:pt x="2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2" name="Freeform 238">
              <a:extLst>
                <a:ext uri="{FF2B5EF4-FFF2-40B4-BE49-F238E27FC236}">
                  <a16:creationId xmlns:a16="http://schemas.microsoft.com/office/drawing/2014/main" id="{3712499C-3357-D24C-811A-D39FC3465C09}"/>
                </a:ext>
              </a:extLst>
            </p:cNvPr>
            <p:cNvSpPr>
              <a:spLocks/>
            </p:cNvSpPr>
            <p:nvPr/>
          </p:nvSpPr>
          <p:spPr bwMode="auto">
            <a:xfrm>
              <a:off x="2285325" y="236320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3" name="Freeform 239">
              <a:extLst>
                <a:ext uri="{FF2B5EF4-FFF2-40B4-BE49-F238E27FC236}">
                  <a16:creationId xmlns:a16="http://schemas.microsoft.com/office/drawing/2014/main" id="{CDA410EE-46E1-FE4E-9326-FC6FA6F14795}"/>
                </a:ext>
              </a:extLst>
            </p:cNvPr>
            <p:cNvSpPr>
              <a:spLocks/>
            </p:cNvSpPr>
            <p:nvPr/>
          </p:nvSpPr>
          <p:spPr bwMode="auto">
            <a:xfrm>
              <a:off x="2293465" y="2363201"/>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4" name="Freeform 240">
              <a:extLst>
                <a:ext uri="{FF2B5EF4-FFF2-40B4-BE49-F238E27FC236}">
                  <a16:creationId xmlns:a16="http://schemas.microsoft.com/office/drawing/2014/main" id="{0BC9BAA6-1380-AC4B-B4BA-CE6933E4F0DB}"/>
                </a:ext>
              </a:extLst>
            </p:cNvPr>
            <p:cNvSpPr>
              <a:spLocks/>
            </p:cNvSpPr>
            <p:nvPr/>
          </p:nvSpPr>
          <p:spPr bwMode="auto">
            <a:xfrm>
              <a:off x="2303931" y="2337387"/>
              <a:ext cx="11629" cy="31771"/>
            </a:xfrm>
            <a:custGeom>
              <a:avLst/>
              <a:gdLst>
                <a:gd name="T0" fmla="*/ 2147483646 w 10"/>
                <a:gd name="T1" fmla="*/ 2147483646 h 32"/>
                <a:gd name="T2" fmla="*/ 2147483646 w 10"/>
                <a:gd name="T3" fmla="*/ 2147483646 h 32"/>
                <a:gd name="T4" fmla="*/ 2147483646 w 10"/>
                <a:gd name="T5" fmla="*/ 2147483646 h 32"/>
                <a:gd name="T6" fmla="*/ 2147483646 w 10"/>
                <a:gd name="T7" fmla="*/ 2147483646 h 32"/>
                <a:gd name="T8" fmla="*/ 0 w 10"/>
                <a:gd name="T9" fmla="*/ 2147483646 h 32"/>
                <a:gd name="T10" fmla="*/ 0 w 10"/>
                <a:gd name="T11" fmla="*/ 2147483646 h 32"/>
                <a:gd name="T12" fmla="*/ 0 w 10"/>
                <a:gd name="T13" fmla="*/ 2147483646 h 32"/>
                <a:gd name="T14" fmla="*/ 0 w 10"/>
                <a:gd name="T15" fmla="*/ 0 h 32"/>
                <a:gd name="T16" fmla="*/ 2147483646 w 10"/>
                <a:gd name="T17" fmla="*/ 0 h 32"/>
                <a:gd name="T18" fmla="*/ 2147483646 w 10"/>
                <a:gd name="T19" fmla="*/ 0 h 32"/>
                <a:gd name="T20" fmla="*/ 2147483646 w 10"/>
                <a:gd name="T21" fmla="*/ 0 h 32"/>
                <a:gd name="T22" fmla="*/ 2147483646 w 10"/>
                <a:gd name="T23" fmla="*/ 2147483646 h 32"/>
                <a:gd name="T24" fmla="*/ 2147483646 w 10"/>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2">
                  <a:moveTo>
                    <a:pt x="10" y="29"/>
                  </a:moveTo>
                  <a:lnTo>
                    <a:pt x="7" y="32"/>
                  </a:lnTo>
                  <a:lnTo>
                    <a:pt x="4" y="32"/>
                  </a:lnTo>
                  <a:lnTo>
                    <a:pt x="0" y="32"/>
                  </a:lnTo>
                  <a:lnTo>
                    <a:pt x="0" y="29"/>
                  </a:lnTo>
                  <a:lnTo>
                    <a:pt x="0" y="3"/>
                  </a:lnTo>
                  <a:lnTo>
                    <a:pt x="0" y="0"/>
                  </a:lnTo>
                  <a:lnTo>
                    <a:pt x="4" y="0"/>
                  </a:lnTo>
                  <a:lnTo>
                    <a:pt x="7" y="0"/>
                  </a:lnTo>
                  <a:lnTo>
                    <a:pt x="10" y="3"/>
                  </a:lnTo>
                  <a:lnTo>
                    <a:pt x="10" y="2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5" name="Freeform 241">
              <a:extLst>
                <a:ext uri="{FF2B5EF4-FFF2-40B4-BE49-F238E27FC236}">
                  <a16:creationId xmlns:a16="http://schemas.microsoft.com/office/drawing/2014/main" id="{AAA6391B-C705-A843-89C0-5DA6DEAAD05F}"/>
                </a:ext>
              </a:extLst>
            </p:cNvPr>
            <p:cNvSpPr>
              <a:spLocks/>
            </p:cNvSpPr>
            <p:nvPr/>
          </p:nvSpPr>
          <p:spPr bwMode="auto">
            <a:xfrm>
              <a:off x="2303931" y="2337387"/>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4" y="10"/>
                  </a:moveTo>
                  <a:lnTo>
                    <a:pt x="0" y="6"/>
                  </a:lnTo>
                  <a:lnTo>
                    <a:pt x="0" y="3"/>
                  </a:lnTo>
                  <a:lnTo>
                    <a:pt x="0" y="0"/>
                  </a:lnTo>
                  <a:lnTo>
                    <a:pt x="4" y="0"/>
                  </a:lnTo>
                  <a:lnTo>
                    <a:pt x="33" y="0"/>
                  </a:lnTo>
                  <a:lnTo>
                    <a:pt x="36" y="0"/>
                  </a:lnTo>
                  <a:lnTo>
                    <a:pt x="36" y="3"/>
                  </a:lnTo>
                  <a:lnTo>
                    <a:pt x="36" y="6"/>
                  </a:lnTo>
                  <a:lnTo>
                    <a:pt x="3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6" name="Freeform 242">
              <a:extLst>
                <a:ext uri="{FF2B5EF4-FFF2-40B4-BE49-F238E27FC236}">
                  <a16:creationId xmlns:a16="http://schemas.microsoft.com/office/drawing/2014/main" id="{9A56F3C7-D217-AE4A-8D8A-388DDAAB0C08}"/>
                </a:ext>
              </a:extLst>
            </p:cNvPr>
            <p:cNvSpPr>
              <a:spLocks/>
            </p:cNvSpPr>
            <p:nvPr/>
          </p:nvSpPr>
          <p:spPr bwMode="auto">
            <a:xfrm>
              <a:off x="2337656" y="2337387"/>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7" name="Freeform 243">
              <a:extLst>
                <a:ext uri="{FF2B5EF4-FFF2-40B4-BE49-F238E27FC236}">
                  <a16:creationId xmlns:a16="http://schemas.microsoft.com/office/drawing/2014/main" id="{88EA4E68-DEB0-B341-87E5-FCB4DDE9C6EF}"/>
                </a:ext>
              </a:extLst>
            </p:cNvPr>
            <p:cNvSpPr>
              <a:spLocks/>
            </p:cNvSpPr>
            <p:nvPr/>
          </p:nvSpPr>
          <p:spPr bwMode="auto">
            <a:xfrm>
              <a:off x="2357426" y="233738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8" name="Freeform 244">
              <a:extLst>
                <a:ext uri="{FF2B5EF4-FFF2-40B4-BE49-F238E27FC236}">
                  <a16:creationId xmlns:a16="http://schemas.microsoft.com/office/drawing/2014/main" id="{63AA3A05-A895-B048-804F-70EF1B9B0B55}"/>
                </a:ext>
              </a:extLst>
            </p:cNvPr>
            <p:cNvSpPr>
              <a:spLocks/>
            </p:cNvSpPr>
            <p:nvPr/>
          </p:nvSpPr>
          <p:spPr bwMode="auto">
            <a:xfrm>
              <a:off x="2360914" y="2311573"/>
              <a:ext cx="10467" cy="31771"/>
            </a:xfrm>
            <a:custGeom>
              <a:avLst/>
              <a:gdLst>
                <a:gd name="T0" fmla="*/ 2147483646 w 9"/>
                <a:gd name="T1" fmla="*/ 2147483646 h 32"/>
                <a:gd name="T2" fmla="*/ 2147483646 w 9"/>
                <a:gd name="T3" fmla="*/ 2147483646 h 32"/>
                <a:gd name="T4" fmla="*/ 2147483646 w 9"/>
                <a:gd name="T5" fmla="*/ 2147483646 h 32"/>
                <a:gd name="T6" fmla="*/ 2147483646 w 9"/>
                <a:gd name="T7" fmla="*/ 2147483646 h 32"/>
                <a:gd name="T8" fmla="*/ 0 w 9"/>
                <a:gd name="T9" fmla="*/ 2147483646 h 32"/>
                <a:gd name="T10" fmla="*/ 0 w 9"/>
                <a:gd name="T11" fmla="*/ 2147483646 h 32"/>
                <a:gd name="T12" fmla="*/ 0 w 9"/>
                <a:gd name="T13" fmla="*/ 2147483646 h 32"/>
                <a:gd name="T14" fmla="*/ 0 w 9"/>
                <a:gd name="T15" fmla="*/ 0 h 32"/>
                <a:gd name="T16" fmla="*/ 2147483646 w 9"/>
                <a:gd name="T17" fmla="*/ 0 h 32"/>
                <a:gd name="T18" fmla="*/ 2147483646 w 9"/>
                <a:gd name="T19" fmla="*/ 0 h 32"/>
                <a:gd name="T20" fmla="*/ 2147483646 w 9"/>
                <a:gd name="T21" fmla="*/ 0 h 32"/>
                <a:gd name="T22" fmla="*/ 2147483646 w 9"/>
                <a:gd name="T23" fmla="*/ 2147483646 h 32"/>
                <a:gd name="T24" fmla="*/ 2147483646 w 9"/>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32">
                  <a:moveTo>
                    <a:pt x="9" y="29"/>
                  </a:moveTo>
                  <a:lnTo>
                    <a:pt x="6" y="32"/>
                  </a:lnTo>
                  <a:lnTo>
                    <a:pt x="3" y="32"/>
                  </a:lnTo>
                  <a:lnTo>
                    <a:pt x="0" y="32"/>
                  </a:lnTo>
                  <a:lnTo>
                    <a:pt x="0" y="29"/>
                  </a:lnTo>
                  <a:lnTo>
                    <a:pt x="0" y="3"/>
                  </a:lnTo>
                  <a:lnTo>
                    <a:pt x="0" y="0"/>
                  </a:lnTo>
                  <a:lnTo>
                    <a:pt x="3" y="0"/>
                  </a:lnTo>
                  <a:lnTo>
                    <a:pt x="6" y="0"/>
                  </a:lnTo>
                  <a:lnTo>
                    <a:pt x="9" y="3"/>
                  </a:lnTo>
                  <a:lnTo>
                    <a:pt x="9" y="2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9" name="Freeform 245">
              <a:extLst>
                <a:ext uri="{FF2B5EF4-FFF2-40B4-BE49-F238E27FC236}">
                  <a16:creationId xmlns:a16="http://schemas.microsoft.com/office/drawing/2014/main" id="{D276C23E-B09C-5640-8A1F-457FC6F3193D}"/>
                </a:ext>
              </a:extLst>
            </p:cNvPr>
            <p:cNvSpPr>
              <a:spLocks/>
            </p:cNvSpPr>
            <p:nvPr/>
          </p:nvSpPr>
          <p:spPr bwMode="auto">
            <a:xfrm>
              <a:off x="2360914" y="2311573"/>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0" name="Freeform 246">
              <a:extLst>
                <a:ext uri="{FF2B5EF4-FFF2-40B4-BE49-F238E27FC236}">
                  <a16:creationId xmlns:a16="http://schemas.microsoft.com/office/drawing/2014/main" id="{CC9125F4-DF74-B545-90D0-C3A8685DFC21}"/>
                </a:ext>
              </a:extLst>
            </p:cNvPr>
            <p:cNvSpPr>
              <a:spLocks/>
            </p:cNvSpPr>
            <p:nvPr/>
          </p:nvSpPr>
          <p:spPr bwMode="auto">
            <a:xfrm>
              <a:off x="2379521" y="2285760"/>
              <a:ext cx="11629" cy="31771"/>
            </a:xfrm>
            <a:custGeom>
              <a:avLst/>
              <a:gdLst>
                <a:gd name="T0" fmla="*/ 2147483646 w 10"/>
                <a:gd name="T1" fmla="*/ 2147483646 h 32"/>
                <a:gd name="T2" fmla="*/ 2147483646 w 10"/>
                <a:gd name="T3" fmla="*/ 2147483646 h 32"/>
                <a:gd name="T4" fmla="*/ 2147483646 w 10"/>
                <a:gd name="T5" fmla="*/ 2147483646 h 32"/>
                <a:gd name="T6" fmla="*/ 2147483646 w 10"/>
                <a:gd name="T7" fmla="*/ 2147483646 h 32"/>
                <a:gd name="T8" fmla="*/ 0 w 10"/>
                <a:gd name="T9" fmla="*/ 2147483646 h 32"/>
                <a:gd name="T10" fmla="*/ 0 w 10"/>
                <a:gd name="T11" fmla="*/ 2147483646 h 32"/>
                <a:gd name="T12" fmla="*/ 0 w 10"/>
                <a:gd name="T13" fmla="*/ 2147483646 h 32"/>
                <a:gd name="T14" fmla="*/ 0 w 10"/>
                <a:gd name="T15" fmla="*/ 0 h 32"/>
                <a:gd name="T16" fmla="*/ 2147483646 w 10"/>
                <a:gd name="T17" fmla="*/ 0 h 32"/>
                <a:gd name="T18" fmla="*/ 2147483646 w 10"/>
                <a:gd name="T19" fmla="*/ 0 h 32"/>
                <a:gd name="T20" fmla="*/ 2147483646 w 10"/>
                <a:gd name="T21" fmla="*/ 0 h 32"/>
                <a:gd name="T22" fmla="*/ 2147483646 w 10"/>
                <a:gd name="T23" fmla="*/ 2147483646 h 32"/>
                <a:gd name="T24" fmla="*/ 2147483646 w 10"/>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2">
                  <a:moveTo>
                    <a:pt x="10" y="29"/>
                  </a:moveTo>
                  <a:lnTo>
                    <a:pt x="6" y="32"/>
                  </a:lnTo>
                  <a:lnTo>
                    <a:pt x="3" y="32"/>
                  </a:lnTo>
                  <a:lnTo>
                    <a:pt x="0" y="32"/>
                  </a:lnTo>
                  <a:lnTo>
                    <a:pt x="0" y="29"/>
                  </a:lnTo>
                  <a:lnTo>
                    <a:pt x="0" y="3"/>
                  </a:lnTo>
                  <a:lnTo>
                    <a:pt x="0" y="0"/>
                  </a:lnTo>
                  <a:lnTo>
                    <a:pt x="3" y="0"/>
                  </a:lnTo>
                  <a:lnTo>
                    <a:pt x="6" y="0"/>
                  </a:lnTo>
                  <a:lnTo>
                    <a:pt x="10" y="3"/>
                  </a:lnTo>
                  <a:lnTo>
                    <a:pt x="10" y="2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1" name="Freeform 247">
              <a:extLst>
                <a:ext uri="{FF2B5EF4-FFF2-40B4-BE49-F238E27FC236}">
                  <a16:creationId xmlns:a16="http://schemas.microsoft.com/office/drawing/2014/main" id="{DBB2C6FB-BCA4-E743-B1DA-A9D7F16406D9}"/>
                </a:ext>
              </a:extLst>
            </p:cNvPr>
            <p:cNvSpPr>
              <a:spLocks/>
            </p:cNvSpPr>
            <p:nvPr/>
          </p:nvSpPr>
          <p:spPr bwMode="auto">
            <a:xfrm>
              <a:off x="2379521" y="2285760"/>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6" y="0"/>
                  </a:lnTo>
                  <a:lnTo>
                    <a:pt x="29" y="0"/>
                  </a:lnTo>
                  <a:lnTo>
                    <a:pt x="29" y="3"/>
                  </a:lnTo>
                  <a:lnTo>
                    <a:pt x="29" y="7"/>
                  </a:lnTo>
                  <a:lnTo>
                    <a:pt x="2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2" name="Freeform 248">
              <a:extLst>
                <a:ext uri="{FF2B5EF4-FFF2-40B4-BE49-F238E27FC236}">
                  <a16:creationId xmlns:a16="http://schemas.microsoft.com/office/drawing/2014/main" id="{763C6501-DE3F-224A-B14F-6DB77AE8A2B9}"/>
                </a:ext>
              </a:extLst>
            </p:cNvPr>
            <p:cNvSpPr>
              <a:spLocks/>
            </p:cNvSpPr>
            <p:nvPr/>
          </p:nvSpPr>
          <p:spPr bwMode="auto">
            <a:xfrm>
              <a:off x="2405105" y="22857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3" name="Freeform 249">
              <a:extLst>
                <a:ext uri="{FF2B5EF4-FFF2-40B4-BE49-F238E27FC236}">
                  <a16:creationId xmlns:a16="http://schemas.microsoft.com/office/drawing/2014/main" id="{C92472EB-F25D-B448-A40E-97AE2CEFBB3B}"/>
                </a:ext>
              </a:extLst>
            </p:cNvPr>
            <p:cNvSpPr>
              <a:spLocks/>
            </p:cNvSpPr>
            <p:nvPr/>
          </p:nvSpPr>
          <p:spPr bwMode="auto">
            <a:xfrm>
              <a:off x="2409757" y="22857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4" name="Freeform 250">
              <a:extLst>
                <a:ext uri="{FF2B5EF4-FFF2-40B4-BE49-F238E27FC236}">
                  <a16:creationId xmlns:a16="http://schemas.microsoft.com/office/drawing/2014/main" id="{1529AC7D-4632-134E-A3F9-0CA8A6DF0852}"/>
                </a:ext>
              </a:extLst>
            </p:cNvPr>
            <p:cNvSpPr>
              <a:spLocks/>
            </p:cNvSpPr>
            <p:nvPr/>
          </p:nvSpPr>
          <p:spPr bwMode="auto">
            <a:xfrm>
              <a:off x="2416734" y="2285760"/>
              <a:ext cx="55820" cy="9928"/>
            </a:xfrm>
            <a:custGeom>
              <a:avLst/>
              <a:gdLst>
                <a:gd name="T0" fmla="*/ 2147483646 w 48"/>
                <a:gd name="T1" fmla="*/ 2147483646 h 10"/>
                <a:gd name="T2" fmla="*/ 0 w 48"/>
                <a:gd name="T3" fmla="*/ 2147483646 h 10"/>
                <a:gd name="T4" fmla="*/ 0 w 48"/>
                <a:gd name="T5" fmla="*/ 2147483646 h 10"/>
                <a:gd name="T6" fmla="*/ 0 w 48"/>
                <a:gd name="T7" fmla="*/ 2147483646 h 10"/>
                <a:gd name="T8" fmla="*/ 0 w 48"/>
                <a:gd name="T9" fmla="*/ 0 h 10"/>
                <a:gd name="T10" fmla="*/ 2147483646 w 48"/>
                <a:gd name="T11" fmla="*/ 0 h 10"/>
                <a:gd name="T12" fmla="*/ 2147483646 w 48"/>
                <a:gd name="T13" fmla="*/ 0 h 10"/>
                <a:gd name="T14" fmla="*/ 2147483646 w 48"/>
                <a:gd name="T15" fmla="*/ 0 h 10"/>
                <a:gd name="T16" fmla="*/ 2147483646 w 48"/>
                <a:gd name="T17" fmla="*/ 2147483646 h 10"/>
                <a:gd name="T18" fmla="*/ 2147483646 w 48"/>
                <a:gd name="T19" fmla="*/ 2147483646 h 10"/>
                <a:gd name="T20" fmla="*/ 2147483646 w 48"/>
                <a:gd name="T21" fmla="*/ 2147483646 h 10"/>
                <a:gd name="T22" fmla="*/ 2147483646 w 48"/>
                <a:gd name="T23" fmla="*/ 2147483646 h 10"/>
                <a:gd name="T24" fmla="*/ 2147483646 w 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0">
                  <a:moveTo>
                    <a:pt x="3" y="10"/>
                  </a:moveTo>
                  <a:lnTo>
                    <a:pt x="0" y="7"/>
                  </a:lnTo>
                  <a:lnTo>
                    <a:pt x="0" y="3"/>
                  </a:lnTo>
                  <a:lnTo>
                    <a:pt x="0" y="0"/>
                  </a:lnTo>
                  <a:lnTo>
                    <a:pt x="3" y="0"/>
                  </a:lnTo>
                  <a:lnTo>
                    <a:pt x="45" y="0"/>
                  </a:lnTo>
                  <a:lnTo>
                    <a:pt x="48" y="0"/>
                  </a:lnTo>
                  <a:lnTo>
                    <a:pt x="48" y="3"/>
                  </a:lnTo>
                  <a:lnTo>
                    <a:pt x="48" y="7"/>
                  </a:lnTo>
                  <a:lnTo>
                    <a:pt x="4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5" name="Freeform 251">
              <a:extLst>
                <a:ext uri="{FF2B5EF4-FFF2-40B4-BE49-F238E27FC236}">
                  <a16:creationId xmlns:a16="http://schemas.microsoft.com/office/drawing/2014/main" id="{74B948F6-6A0E-3646-8A30-DC7AB01C9004}"/>
                </a:ext>
              </a:extLst>
            </p:cNvPr>
            <p:cNvSpPr>
              <a:spLocks/>
            </p:cNvSpPr>
            <p:nvPr/>
          </p:nvSpPr>
          <p:spPr bwMode="auto">
            <a:xfrm>
              <a:off x="2465577" y="228576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6" name="Freeform 252">
              <a:extLst>
                <a:ext uri="{FF2B5EF4-FFF2-40B4-BE49-F238E27FC236}">
                  <a16:creationId xmlns:a16="http://schemas.microsoft.com/office/drawing/2014/main" id="{D8E839B0-1806-9B4E-9A53-B0A3AADBEDF1}"/>
                </a:ext>
              </a:extLst>
            </p:cNvPr>
            <p:cNvSpPr>
              <a:spLocks/>
            </p:cNvSpPr>
            <p:nvPr/>
          </p:nvSpPr>
          <p:spPr bwMode="auto">
            <a:xfrm>
              <a:off x="2480695" y="22857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7" name="Freeform 253">
              <a:extLst>
                <a:ext uri="{FF2B5EF4-FFF2-40B4-BE49-F238E27FC236}">
                  <a16:creationId xmlns:a16="http://schemas.microsoft.com/office/drawing/2014/main" id="{ACE037FB-6AC4-B848-B6BD-5A752AD21748}"/>
                </a:ext>
              </a:extLst>
            </p:cNvPr>
            <p:cNvSpPr>
              <a:spLocks/>
            </p:cNvSpPr>
            <p:nvPr/>
          </p:nvSpPr>
          <p:spPr bwMode="auto">
            <a:xfrm>
              <a:off x="2487673" y="22857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8" name="Freeform 254">
              <a:extLst>
                <a:ext uri="{FF2B5EF4-FFF2-40B4-BE49-F238E27FC236}">
                  <a16:creationId xmlns:a16="http://schemas.microsoft.com/office/drawing/2014/main" id="{97F1C702-05D4-D644-8870-957808C043AB}"/>
                </a:ext>
              </a:extLst>
            </p:cNvPr>
            <p:cNvSpPr>
              <a:spLocks/>
            </p:cNvSpPr>
            <p:nvPr/>
          </p:nvSpPr>
          <p:spPr bwMode="auto">
            <a:xfrm>
              <a:off x="2492325" y="228576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9" name="Freeform 255">
              <a:extLst>
                <a:ext uri="{FF2B5EF4-FFF2-40B4-BE49-F238E27FC236}">
                  <a16:creationId xmlns:a16="http://schemas.microsoft.com/office/drawing/2014/main" id="{0134B7F4-C4F9-9C41-BEE1-5902E1C8308E}"/>
                </a:ext>
              </a:extLst>
            </p:cNvPr>
            <p:cNvSpPr>
              <a:spLocks/>
            </p:cNvSpPr>
            <p:nvPr/>
          </p:nvSpPr>
          <p:spPr bwMode="auto">
            <a:xfrm>
              <a:off x="2495813" y="228576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0" name="Freeform 256">
              <a:extLst>
                <a:ext uri="{FF2B5EF4-FFF2-40B4-BE49-F238E27FC236}">
                  <a16:creationId xmlns:a16="http://schemas.microsoft.com/office/drawing/2014/main" id="{36290AF9-D491-7149-ADEE-B6F24096DA36}"/>
                </a:ext>
              </a:extLst>
            </p:cNvPr>
            <p:cNvSpPr>
              <a:spLocks/>
            </p:cNvSpPr>
            <p:nvPr/>
          </p:nvSpPr>
          <p:spPr bwMode="auto">
            <a:xfrm>
              <a:off x="2510931" y="22857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1" name="Freeform 257">
              <a:extLst>
                <a:ext uri="{FF2B5EF4-FFF2-40B4-BE49-F238E27FC236}">
                  <a16:creationId xmlns:a16="http://schemas.microsoft.com/office/drawing/2014/main" id="{B93C4F71-80D0-B848-96F0-3BD8CDE9B4B9}"/>
                </a:ext>
              </a:extLst>
            </p:cNvPr>
            <p:cNvSpPr>
              <a:spLocks/>
            </p:cNvSpPr>
            <p:nvPr/>
          </p:nvSpPr>
          <p:spPr bwMode="auto">
            <a:xfrm>
              <a:off x="2517909" y="22857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2" name="Freeform 258">
              <a:extLst>
                <a:ext uri="{FF2B5EF4-FFF2-40B4-BE49-F238E27FC236}">
                  <a16:creationId xmlns:a16="http://schemas.microsoft.com/office/drawing/2014/main" id="{87410C9D-2D54-144D-BBEC-4C84CAA0FAB0}"/>
                </a:ext>
              </a:extLst>
            </p:cNvPr>
            <p:cNvSpPr>
              <a:spLocks/>
            </p:cNvSpPr>
            <p:nvPr/>
          </p:nvSpPr>
          <p:spPr bwMode="auto">
            <a:xfrm>
              <a:off x="2521397" y="2285760"/>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7"/>
                  </a:lnTo>
                  <a:lnTo>
                    <a:pt x="0" y="3"/>
                  </a:lnTo>
                  <a:lnTo>
                    <a:pt x="0" y="0"/>
                  </a:lnTo>
                  <a:lnTo>
                    <a:pt x="4" y="0"/>
                  </a:lnTo>
                  <a:lnTo>
                    <a:pt x="13" y="0"/>
                  </a:lnTo>
                  <a:lnTo>
                    <a:pt x="17" y="0"/>
                  </a:lnTo>
                  <a:lnTo>
                    <a:pt x="17" y="3"/>
                  </a:lnTo>
                  <a:lnTo>
                    <a:pt x="17" y="7"/>
                  </a:lnTo>
                  <a:lnTo>
                    <a:pt x="1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3" name="Freeform 259">
              <a:extLst>
                <a:ext uri="{FF2B5EF4-FFF2-40B4-BE49-F238E27FC236}">
                  <a16:creationId xmlns:a16="http://schemas.microsoft.com/office/drawing/2014/main" id="{21AE332A-26EB-084D-9873-9FBC1428C1F5}"/>
                </a:ext>
              </a:extLst>
            </p:cNvPr>
            <p:cNvSpPr>
              <a:spLocks/>
            </p:cNvSpPr>
            <p:nvPr/>
          </p:nvSpPr>
          <p:spPr bwMode="auto">
            <a:xfrm>
              <a:off x="2533027" y="22857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4" name="Freeform 260">
              <a:extLst>
                <a:ext uri="{FF2B5EF4-FFF2-40B4-BE49-F238E27FC236}">
                  <a16:creationId xmlns:a16="http://schemas.microsoft.com/office/drawing/2014/main" id="{71A906E2-14F0-024D-8511-DE59D4C76545}"/>
                </a:ext>
              </a:extLst>
            </p:cNvPr>
            <p:cNvSpPr>
              <a:spLocks/>
            </p:cNvSpPr>
            <p:nvPr/>
          </p:nvSpPr>
          <p:spPr bwMode="auto">
            <a:xfrm>
              <a:off x="2541167" y="2285760"/>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3"/>
                  </a:lnTo>
                  <a:lnTo>
                    <a:pt x="0" y="0"/>
                  </a:lnTo>
                  <a:lnTo>
                    <a:pt x="3" y="0"/>
                  </a:lnTo>
                  <a:lnTo>
                    <a:pt x="19" y="0"/>
                  </a:lnTo>
                  <a:lnTo>
                    <a:pt x="22" y="0"/>
                  </a:lnTo>
                  <a:lnTo>
                    <a:pt x="22" y="3"/>
                  </a:lnTo>
                  <a:lnTo>
                    <a:pt x="22" y="7"/>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5" name="Freeform 261">
              <a:extLst>
                <a:ext uri="{FF2B5EF4-FFF2-40B4-BE49-F238E27FC236}">
                  <a16:creationId xmlns:a16="http://schemas.microsoft.com/office/drawing/2014/main" id="{5358F671-6E79-CA46-B3EC-C1D39FD33723}"/>
                </a:ext>
              </a:extLst>
            </p:cNvPr>
            <p:cNvSpPr>
              <a:spLocks/>
            </p:cNvSpPr>
            <p:nvPr/>
          </p:nvSpPr>
          <p:spPr bwMode="auto">
            <a:xfrm>
              <a:off x="2559774" y="2285760"/>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3"/>
                  </a:lnTo>
                  <a:lnTo>
                    <a:pt x="0" y="0"/>
                  </a:lnTo>
                  <a:lnTo>
                    <a:pt x="3" y="0"/>
                  </a:lnTo>
                  <a:lnTo>
                    <a:pt x="19" y="0"/>
                  </a:lnTo>
                  <a:lnTo>
                    <a:pt x="22" y="0"/>
                  </a:lnTo>
                  <a:lnTo>
                    <a:pt x="22" y="3"/>
                  </a:lnTo>
                  <a:lnTo>
                    <a:pt x="22" y="7"/>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6" name="Freeform 262">
              <a:extLst>
                <a:ext uri="{FF2B5EF4-FFF2-40B4-BE49-F238E27FC236}">
                  <a16:creationId xmlns:a16="http://schemas.microsoft.com/office/drawing/2014/main" id="{78D72E85-2729-E743-AE5E-E28E57280DB2}"/>
                </a:ext>
              </a:extLst>
            </p:cNvPr>
            <p:cNvSpPr>
              <a:spLocks/>
            </p:cNvSpPr>
            <p:nvPr/>
          </p:nvSpPr>
          <p:spPr bwMode="auto">
            <a:xfrm>
              <a:off x="2578381" y="2251010"/>
              <a:ext cx="10467" cy="41699"/>
            </a:xfrm>
            <a:custGeom>
              <a:avLst/>
              <a:gdLst>
                <a:gd name="T0" fmla="*/ 2147483646 w 9"/>
                <a:gd name="T1" fmla="*/ 2147483646 h 42"/>
                <a:gd name="T2" fmla="*/ 2147483646 w 9"/>
                <a:gd name="T3" fmla="*/ 2147483646 h 42"/>
                <a:gd name="T4" fmla="*/ 2147483646 w 9"/>
                <a:gd name="T5" fmla="*/ 2147483646 h 42"/>
                <a:gd name="T6" fmla="*/ 2147483646 w 9"/>
                <a:gd name="T7" fmla="*/ 2147483646 h 42"/>
                <a:gd name="T8" fmla="*/ 0 w 9"/>
                <a:gd name="T9" fmla="*/ 2147483646 h 42"/>
                <a:gd name="T10" fmla="*/ 0 w 9"/>
                <a:gd name="T11" fmla="*/ 2147483646 h 42"/>
                <a:gd name="T12" fmla="*/ 0 w 9"/>
                <a:gd name="T13" fmla="*/ 2147483646 h 42"/>
                <a:gd name="T14" fmla="*/ 0 w 9"/>
                <a:gd name="T15" fmla="*/ 0 h 42"/>
                <a:gd name="T16" fmla="*/ 2147483646 w 9"/>
                <a:gd name="T17" fmla="*/ 0 h 42"/>
                <a:gd name="T18" fmla="*/ 2147483646 w 9"/>
                <a:gd name="T19" fmla="*/ 0 h 42"/>
                <a:gd name="T20" fmla="*/ 2147483646 w 9"/>
                <a:gd name="T21" fmla="*/ 0 h 42"/>
                <a:gd name="T22" fmla="*/ 2147483646 w 9"/>
                <a:gd name="T23" fmla="*/ 2147483646 h 42"/>
                <a:gd name="T24" fmla="*/ 2147483646 w 9"/>
                <a:gd name="T25" fmla="*/ 2147483646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42">
                  <a:moveTo>
                    <a:pt x="9" y="38"/>
                  </a:moveTo>
                  <a:lnTo>
                    <a:pt x="6" y="42"/>
                  </a:lnTo>
                  <a:lnTo>
                    <a:pt x="3" y="42"/>
                  </a:lnTo>
                  <a:lnTo>
                    <a:pt x="0" y="42"/>
                  </a:lnTo>
                  <a:lnTo>
                    <a:pt x="0" y="38"/>
                  </a:lnTo>
                  <a:lnTo>
                    <a:pt x="0" y="3"/>
                  </a:lnTo>
                  <a:lnTo>
                    <a:pt x="0" y="0"/>
                  </a:lnTo>
                  <a:lnTo>
                    <a:pt x="3" y="0"/>
                  </a:lnTo>
                  <a:lnTo>
                    <a:pt x="6" y="0"/>
                  </a:lnTo>
                  <a:lnTo>
                    <a:pt x="9" y="3"/>
                  </a:lnTo>
                  <a:lnTo>
                    <a:pt x="9" y="3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7" name="Freeform 263">
              <a:extLst>
                <a:ext uri="{FF2B5EF4-FFF2-40B4-BE49-F238E27FC236}">
                  <a16:creationId xmlns:a16="http://schemas.microsoft.com/office/drawing/2014/main" id="{9AEE46E4-38FA-0A4E-AE77-FA3E4230A9C8}"/>
                </a:ext>
              </a:extLst>
            </p:cNvPr>
            <p:cNvSpPr>
              <a:spLocks/>
            </p:cNvSpPr>
            <p:nvPr/>
          </p:nvSpPr>
          <p:spPr bwMode="auto">
            <a:xfrm>
              <a:off x="2578381" y="225101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8" name="Freeform 264">
              <a:extLst>
                <a:ext uri="{FF2B5EF4-FFF2-40B4-BE49-F238E27FC236}">
                  <a16:creationId xmlns:a16="http://schemas.microsoft.com/office/drawing/2014/main" id="{5CC80937-1F1D-0149-B9F6-5674DDB2A6D4}"/>
                </a:ext>
              </a:extLst>
            </p:cNvPr>
            <p:cNvSpPr>
              <a:spLocks/>
            </p:cNvSpPr>
            <p:nvPr/>
          </p:nvSpPr>
          <p:spPr bwMode="auto">
            <a:xfrm>
              <a:off x="2581869" y="2215268"/>
              <a:ext cx="11629" cy="41699"/>
            </a:xfrm>
            <a:custGeom>
              <a:avLst/>
              <a:gdLst>
                <a:gd name="T0" fmla="*/ 2147483646 w 10"/>
                <a:gd name="T1" fmla="*/ 2147483646 h 42"/>
                <a:gd name="T2" fmla="*/ 2147483646 w 10"/>
                <a:gd name="T3" fmla="*/ 2147483646 h 42"/>
                <a:gd name="T4" fmla="*/ 2147483646 w 10"/>
                <a:gd name="T5" fmla="*/ 2147483646 h 42"/>
                <a:gd name="T6" fmla="*/ 2147483646 w 10"/>
                <a:gd name="T7" fmla="*/ 2147483646 h 42"/>
                <a:gd name="T8" fmla="*/ 0 w 10"/>
                <a:gd name="T9" fmla="*/ 2147483646 h 42"/>
                <a:gd name="T10" fmla="*/ 0 w 10"/>
                <a:gd name="T11" fmla="*/ 2147483646 h 42"/>
                <a:gd name="T12" fmla="*/ 0 w 10"/>
                <a:gd name="T13" fmla="*/ 2147483646 h 42"/>
                <a:gd name="T14" fmla="*/ 0 w 10"/>
                <a:gd name="T15" fmla="*/ 0 h 42"/>
                <a:gd name="T16" fmla="*/ 2147483646 w 10"/>
                <a:gd name="T17" fmla="*/ 0 h 42"/>
                <a:gd name="T18" fmla="*/ 2147483646 w 10"/>
                <a:gd name="T19" fmla="*/ 0 h 42"/>
                <a:gd name="T20" fmla="*/ 2147483646 w 10"/>
                <a:gd name="T21" fmla="*/ 0 h 42"/>
                <a:gd name="T22" fmla="*/ 2147483646 w 10"/>
                <a:gd name="T23" fmla="*/ 2147483646 h 42"/>
                <a:gd name="T24" fmla="*/ 2147483646 w 10"/>
                <a:gd name="T25" fmla="*/ 2147483646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42">
                  <a:moveTo>
                    <a:pt x="10" y="39"/>
                  </a:moveTo>
                  <a:lnTo>
                    <a:pt x="6" y="42"/>
                  </a:lnTo>
                  <a:lnTo>
                    <a:pt x="3" y="42"/>
                  </a:lnTo>
                  <a:lnTo>
                    <a:pt x="0" y="42"/>
                  </a:lnTo>
                  <a:lnTo>
                    <a:pt x="0" y="39"/>
                  </a:lnTo>
                  <a:lnTo>
                    <a:pt x="0" y="3"/>
                  </a:lnTo>
                  <a:lnTo>
                    <a:pt x="0" y="0"/>
                  </a:lnTo>
                  <a:lnTo>
                    <a:pt x="3" y="0"/>
                  </a:lnTo>
                  <a:lnTo>
                    <a:pt x="6" y="0"/>
                  </a:lnTo>
                  <a:lnTo>
                    <a:pt x="10" y="3"/>
                  </a:lnTo>
                  <a:lnTo>
                    <a:pt x="10" y="3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9" name="Freeform 265">
              <a:extLst>
                <a:ext uri="{FF2B5EF4-FFF2-40B4-BE49-F238E27FC236}">
                  <a16:creationId xmlns:a16="http://schemas.microsoft.com/office/drawing/2014/main" id="{69B77CAD-B3CD-884F-8995-F4DCF281A317}"/>
                </a:ext>
              </a:extLst>
            </p:cNvPr>
            <p:cNvSpPr>
              <a:spLocks/>
            </p:cNvSpPr>
            <p:nvPr/>
          </p:nvSpPr>
          <p:spPr bwMode="auto">
            <a:xfrm>
              <a:off x="2581869" y="2215268"/>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0" name="Freeform 266">
              <a:extLst>
                <a:ext uri="{FF2B5EF4-FFF2-40B4-BE49-F238E27FC236}">
                  <a16:creationId xmlns:a16="http://schemas.microsoft.com/office/drawing/2014/main" id="{0FBF451C-524E-EB4D-84CC-F4048545B8FA}"/>
                </a:ext>
              </a:extLst>
            </p:cNvPr>
            <p:cNvSpPr>
              <a:spLocks/>
            </p:cNvSpPr>
            <p:nvPr/>
          </p:nvSpPr>
          <p:spPr bwMode="auto">
            <a:xfrm>
              <a:off x="2596988" y="2176547"/>
              <a:ext cx="11629" cy="45671"/>
            </a:xfrm>
            <a:custGeom>
              <a:avLst/>
              <a:gdLst>
                <a:gd name="T0" fmla="*/ 2147483646 w 10"/>
                <a:gd name="T1" fmla="*/ 2147483646 h 46"/>
                <a:gd name="T2" fmla="*/ 2147483646 w 10"/>
                <a:gd name="T3" fmla="*/ 2147483646 h 46"/>
                <a:gd name="T4" fmla="*/ 2147483646 w 10"/>
                <a:gd name="T5" fmla="*/ 2147483646 h 46"/>
                <a:gd name="T6" fmla="*/ 2147483646 w 10"/>
                <a:gd name="T7" fmla="*/ 2147483646 h 46"/>
                <a:gd name="T8" fmla="*/ 0 w 10"/>
                <a:gd name="T9" fmla="*/ 2147483646 h 46"/>
                <a:gd name="T10" fmla="*/ 0 w 10"/>
                <a:gd name="T11" fmla="*/ 2147483646 h 46"/>
                <a:gd name="T12" fmla="*/ 0 w 10"/>
                <a:gd name="T13" fmla="*/ 2147483646 h 46"/>
                <a:gd name="T14" fmla="*/ 0 w 10"/>
                <a:gd name="T15" fmla="*/ 0 h 46"/>
                <a:gd name="T16" fmla="*/ 2147483646 w 10"/>
                <a:gd name="T17" fmla="*/ 0 h 46"/>
                <a:gd name="T18" fmla="*/ 2147483646 w 10"/>
                <a:gd name="T19" fmla="*/ 0 h 46"/>
                <a:gd name="T20" fmla="*/ 2147483646 w 10"/>
                <a:gd name="T21" fmla="*/ 0 h 46"/>
                <a:gd name="T22" fmla="*/ 2147483646 w 10"/>
                <a:gd name="T23" fmla="*/ 2147483646 h 46"/>
                <a:gd name="T24" fmla="*/ 2147483646 w 10"/>
                <a:gd name="T25" fmla="*/ 21474836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46">
                  <a:moveTo>
                    <a:pt x="10" y="42"/>
                  </a:moveTo>
                  <a:lnTo>
                    <a:pt x="6" y="46"/>
                  </a:lnTo>
                  <a:lnTo>
                    <a:pt x="3" y="46"/>
                  </a:lnTo>
                  <a:lnTo>
                    <a:pt x="0" y="46"/>
                  </a:lnTo>
                  <a:lnTo>
                    <a:pt x="0" y="42"/>
                  </a:lnTo>
                  <a:lnTo>
                    <a:pt x="0" y="4"/>
                  </a:lnTo>
                  <a:lnTo>
                    <a:pt x="0" y="0"/>
                  </a:lnTo>
                  <a:lnTo>
                    <a:pt x="3" y="0"/>
                  </a:lnTo>
                  <a:lnTo>
                    <a:pt x="6" y="0"/>
                  </a:lnTo>
                  <a:lnTo>
                    <a:pt x="10" y="4"/>
                  </a:lnTo>
                  <a:lnTo>
                    <a:pt x="10"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1" name="Freeform 267">
              <a:extLst>
                <a:ext uri="{FF2B5EF4-FFF2-40B4-BE49-F238E27FC236}">
                  <a16:creationId xmlns:a16="http://schemas.microsoft.com/office/drawing/2014/main" id="{26B8CB75-B7D1-E04F-AF46-2ABC7732A6B8}"/>
                </a:ext>
              </a:extLst>
            </p:cNvPr>
            <p:cNvSpPr>
              <a:spLocks/>
            </p:cNvSpPr>
            <p:nvPr/>
          </p:nvSpPr>
          <p:spPr bwMode="auto">
            <a:xfrm>
              <a:off x="2596988" y="2176547"/>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4"/>
                  </a:lnTo>
                  <a:lnTo>
                    <a:pt x="0" y="0"/>
                  </a:lnTo>
                  <a:lnTo>
                    <a:pt x="3" y="0"/>
                  </a:lnTo>
                  <a:lnTo>
                    <a:pt x="19" y="0"/>
                  </a:lnTo>
                  <a:lnTo>
                    <a:pt x="22" y="0"/>
                  </a:lnTo>
                  <a:lnTo>
                    <a:pt x="22" y="4"/>
                  </a:lnTo>
                  <a:lnTo>
                    <a:pt x="22" y="7"/>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2" name="Freeform 268">
              <a:extLst>
                <a:ext uri="{FF2B5EF4-FFF2-40B4-BE49-F238E27FC236}">
                  <a16:creationId xmlns:a16="http://schemas.microsoft.com/office/drawing/2014/main" id="{8AFDA0EE-9CAD-7541-B4BC-0F6FBF959B85}"/>
                </a:ext>
              </a:extLst>
            </p:cNvPr>
            <p:cNvSpPr>
              <a:spLocks/>
            </p:cNvSpPr>
            <p:nvPr/>
          </p:nvSpPr>
          <p:spPr bwMode="auto">
            <a:xfrm>
              <a:off x="2615594" y="21765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3" name="Freeform 269">
              <a:extLst>
                <a:ext uri="{FF2B5EF4-FFF2-40B4-BE49-F238E27FC236}">
                  <a16:creationId xmlns:a16="http://schemas.microsoft.com/office/drawing/2014/main" id="{E4B22ED7-F96C-6743-B6E9-59EBEAD96756}"/>
                </a:ext>
              </a:extLst>
            </p:cNvPr>
            <p:cNvSpPr>
              <a:spLocks/>
            </p:cNvSpPr>
            <p:nvPr/>
          </p:nvSpPr>
          <p:spPr bwMode="auto">
            <a:xfrm>
              <a:off x="2622572" y="2176547"/>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4"/>
                  </a:lnTo>
                  <a:lnTo>
                    <a:pt x="0" y="0"/>
                  </a:lnTo>
                  <a:lnTo>
                    <a:pt x="4" y="0"/>
                  </a:lnTo>
                  <a:lnTo>
                    <a:pt x="17" y="0"/>
                  </a:lnTo>
                  <a:lnTo>
                    <a:pt x="20" y="0"/>
                  </a:lnTo>
                  <a:lnTo>
                    <a:pt x="20" y="4"/>
                  </a:lnTo>
                  <a:lnTo>
                    <a:pt x="20" y="7"/>
                  </a:lnTo>
                  <a:lnTo>
                    <a:pt x="1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4" name="Freeform 270">
              <a:extLst>
                <a:ext uri="{FF2B5EF4-FFF2-40B4-BE49-F238E27FC236}">
                  <a16:creationId xmlns:a16="http://schemas.microsoft.com/office/drawing/2014/main" id="{048D1DDB-FAA6-5443-BE15-E69B9F477C4C}"/>
                </a:ext>
              </a:extLst>
            </p:cNvPr>
            <p:cNvSpPr>
              <a:spLocks/>
            </p:cNvSpPr>
            <p:nvPr/>
          </p:nvSpPr>
          <p:spPr bwMode="auto">
            <a:xfrm>
              <a:off x="2637690" y="21765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4"/>
                  </a:lnTo>
                  <a:lnTo>
                    <a:pt x="0" y="0"/>
                  </a:lnTo>
                  <a:lnTo>
                    <a:pt x="4" y="0"/>
                  </a:lnTo>
                  <a:lnTo>
                    <a:pt x="10" y="0"/>
                  </a:lnTo>
                  <a:lnTo>
                    <a:pt x="13" y="0"/>
                  </a:lnTo>
                  <a:lnTo>
                    <a:pt x="13" y="4"/>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5" name="Freeform 271">
              <a:extLst>
                <a:ext uri="{FF2B5EF4-FFF2-40B4-BE49-F238E27FC236}">
                  <a16:creationId xmlns:a16="http://schemas.microsoft.com/office/drawing/2014/main" id="{033B0380-9137-194B-8F70-FFABC6622B86}"/>
                </a:ext>
              </a:extLst>
            </p:cNvPr>
            <p:cNvSpPr>
              <a:spLocks/>
            </p:cNvSpPr>
            <p:nvPr/>
          </p:nvSpPr>
          <p:spPr bwMode="auto">
            <a:xfrm>
              <a:off x="2645830" y="2176547"/>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3" y="10"/>
                  </a:moveTo>
                  <a:lnTo>
                    <a:pt x="0" y="7"/>
                  </a:lnTo>
                  <a:lnTo>
                    <a:pt x="0" y="4"/>
                  </a:lnTo>
                  <a:lnTo>
                    <a:pt x="0" y="0"/>
                  </a:lnTo>
                  <a:lnTo>
                    <a:pt x="3" y="0"/>
                  </a:lnTo>
                  <a:lnTo>
                    <a:pt x="38" y="0"/>
                  </a:lnTo>
                  <a:lnTo>
                    <a:pt x="42" y="0"/>
                  </a:lnTo>
                  <a:lnTo>
                    <a:pt x="42" y="4"/>
                  </a:lnTo>
                  <a:lnTo>
                    <a:pt x="42" y="7"/>
                  </a:lnTo>
                  <a:lnTo>
                    <a:pt x="38"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6" name="Freeform 272">
              <a:extLst>
                <a:ext uri="{FF2B5EF4-FFF2-40B4-BE49-F238E27FC236}">
                  <a16:creationId xmlns:a16="http://schemas.microsoft.com/office/drawing/2014/main" id="{682768E5-B40B-824D-9815-13E9B63AC5EB}"/>
                </a:ext>
              </a:extLst>
            </p:cNvPr>
            <p:cNvSpPr>
              <a:spLocks/>
            </p:cNvSpPr>
            <p:nvPr/>
          </p:nvSpPr>
          <p:spPr bwMode="auto">
            <a:xfrm>
              <a:off x="2686532" y="217654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7" name="Freeform 273">
              <a:extLst>
                <a:ext uri="{FF2B5EF4-FFF2-40B4-BE49-F238E27FC236}">
                  <a16:creationId xmlns:a16="http://schemas.microsoft.com/office/drawing/2014/main" id="{73B983DB-0362-F045-A4E7-473114BA5374}"/>
                </a:ext>
              </a:extLst>
            </p:cNvPr>
            <p:cNvSpPr>
              <a:spLocks/>
            </p:cNvSpPr>
            <p:nvPr/>
          </p:nvSpPr>
          <p:spPr bwMode="auto">
            <a:xfrm>
              <a:off x="2698161" y="217654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8" name="Freeform 274">
              <a:extLst>
                <a:ext uri="{FF2B5EF4-FFF2-40B4-BE49-F238E27FC236}">
                  <a16:creationId xmlns:a16="http://schemas.microsoft.com/office/drawing/2014/main" id="{85C19D4D-C3CD-9642-9FBB-F53F8251DC04}"/>
                </a:ext>
              </a:extLst>
            </p:cNvPr>
            <p:cNvSpPr>
              <a:spLocks/>
            </p:cNvSpPr>
            <p:nvPr/>
          </p:nvSpPr>
          <p:spPr bwMode="auto">
            <a:xfrm>
              <a:off x="2709791" y="2176547"/>
              <a:ext cx="55820" cy="9928"/>
            </a:xfrm>
            <a:custGeom>
              <a:avLst/>
              <a:gdLst>
                <a:gd name="T0" fmla="*/ 2147483646 w 48"/>
                <a:gd name="T1" fmla="*/ 2147483646 h 10"/>
                <a:gd name="T2" fmla="*/ 0 w 48"/>
                <a:gd name="T3" fmla="*/ 2147483646 h 10"/>
                <a:gd name="T4" fmla="*/ 0 w 48"/>
                <a:gd name="T5" fmla="*/ 2147483646 h 10"/>
                <a:gd name="T6" fmla="*/ 0 w 48"/>
                <a:gd name="T7" fmla="*/ 2147483646 h 10"/>
                <a:gd name="T8" fmla="*/ 0 w 48"/>
                <a:gd name="T9" fmla="*/ 0 h 10"/>
                <a:gd name="T10" fmla="*/ 2147483646 w 48"/>
                <a:gd name="T11" fmla="*/ 0 h 10"/>
                <a:gd name="T12" fmla="*/ 2147483646 w 48"/>
                <a:gd name="T13" fmla="*/ 0 h 10"/>
                <a:gd name="T14" fmla="*/ 2147483646 w 48"/>
                <a:gd name="T15" fmla="*/ 0 h 10"/>
                <a:gd name="T16" fmla="*/ 2147483646 w 48"/>
                <a:gd name="T17" fmla="*/ 2147483646 h 10"/>
                <a:gd name="T18" fmla="*/ 2147483646 w 48"/>
                <a:gd name="T19" fmla="*/ 2147483646 h 10"/>
                <a:gd name="T20" fmla="*/ 2147483646 w 48"/>
                <a:gd name="T21" fmla="*/ 2147483646 h 10"/>
                <a:gd name="T22" fmla="*/ 2147483646 w 48"/>
                <a:gd name="T23" fmla="*/ 2147483646 h 10"/>
                <a:gd name="T24" fmla="*/ 2147483646 w 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0">
                  <a:moveTo>
                    <a:pt x="3" y="10"/>
                  </a:moveTo>
                  <a:lnTo>
                    <a:pt x="0" y="7"/>
                  </a:lnTo>
                  <a:lnTo>
                    <a:pt x="0" y="4"/>
                  </a:lnTo>
                  <a:lnTo>
                    <a:pt x="0" y="0"/>
                  </a:lnTo>
                  <a:lnTo>
                    <a:pt x="3" y="0"/>
                  </a:lnTo>
                  <a:lnTo>
                    <a:pt x="45" y="0"/>
                  </a:lnTo>
                  <a:lnTo>
                    <a:pt x="48" y="0"/>
                  </a:lnTo>
                  <a:lnTo>
                    <a:pt x="48" y="4"/>
                  </a:lnTo>
                  <a:lnTo>
                    <a:pt x="48" y="7"/>
                  </a:lnTo>
                  <a:lnTo>
                    <a:pt x="4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9" name="Freeform 275">
              <a:extLst>
                <a:ext uri="{FF2B5EF4-FFF2-40B4-BE49-F238E27FC236}">
                  <a16:creationId xmlns:a16="http://schemas.microsoft.com/office/drawing/2014/main" id="{FC9328F4-F94F-F24A-9D2A-D06725A1FF72}"/>
                </a:ext>
              </a:extLst>
            </p:cNvPr>
            <p:cNvSpPr>
              <a:spLocks/>
            </p:cNvSpPr>
            <p:nvPr/>
          </p:nvSpPr>
          <p:spPr bwMode="auto">
            <a:xfrm>
              <a:off x="2757471" y="2176547"/>
              <a:ext cx="38377" cy="9928"/>
            </a:xfrm>
            <a:custGeom>
              <a:avLst/>
              <a:gdLst>
                <a:gd name="T0" fmla="*/ 2147483646 w 33"/>
                <a:gd name="T1" fmla="*/ 2147483646 h 10"/>
                <a:gd name="T2" fmla="*/ 0 w 33"/>
                <a:gd name="T3" fmla="*/ 2147483646 h 10"/>
                <a:gd name="T4" fmla="*/ 0 w 33"/>
                <a:gd name="T5" fmla="*/ 2147483646 h 10"/>
                <a:gd name="T6" fmla="*/ 0 w 33"/>
                <a:gd name="T7" fmla="*/ 2147483646 h 10"/>
                <a:gd name="T8" fmla="*/ 0 w 33"/>
                <a:gd name="T9" fmla="*/ 0 h 10"/>
                <a:gd name="T10" fmla="*/ 2147483646 w 33"/>
                <a:gd name="T11" fmla="*/ 0 h 10"/>
                <a:gd name="T12" fmla="*/ 2147483646 w 33"/>
                <a:gd name="T13" fmla="*/ 0 h 10"/>
                <a:gd name="T14" fmla="*/ 2147483646 w 33"/>
                <a:gd name="T15" fmla="*/ 0 h 10"/>
                <a:gd name="T16" fmla="*/ 2147483646 w 33"/>
                <a:gd name="T17" fmla="*/ 2147483646 h 10"/>
                <a:gd name="T18" fmla="*/ 2147483646 w 33"/>
                <a:gd name="T19" fmla="*/ 2147483646 h 10"/>
                <a:gd name="T20" fmla="*/ 2147483646 w 33"/>
                <a:gd name="T21" fmla="*/ 2147483646 h 10"/>
                <a:gd name="T22" fmla="*/ 2147483646 w 33"/>
                <a:gd name="T23" fmla="*/ 2147483646 h 10"/>
                <a:gd name="T24" fmla="*/ 2147483646 w 3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10">
                  <a:moveTo>
                    <a:pt x="4" y="10"/>
                  </a:moveTo>
                  <a:lnTo>
                    <a:pt x="0" y="7"/>
                  </a:lnTo>
                  <a:lnTo>
                    <a:pt x="0" y="4"/>
                  </a:lnTo>
                  <a:lnTo>
                    <a:pt x="0" y="0"/>
                  </a:lnTo>
                  <a:lnTo>
                    <a:pt x="4" y="0"/>
                  </a:lnTo>
                  <a:lnTo>
                    <a:pt x="29" y="0"/>
                  </a:lnTo>
                  <a:lnTo>
                    <a:pt x="33" y="0"/>
                  </a:lnTo>
                  <a:lnTo>
                    <a:pt x="33" y="4"/>
                  </a:lnTo>
                  <a:lnTo>
                    <a:pt x="33" y="7"/>
                  </a:lnTo>
                  <a:lnTo>
                    <a:pt x="29"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0" name="Freeform 276">
              <a:extLst>
                <a:ext uri="{FF2B5EF4-FFF2-40B4-BE49-F238E27FC236}">
                  <a16:creationId xmlns:a16="http://schemas.microsoft.com/office/drawing/2014/main" id="{E6FB892D-2F9F-054B-9282-C8CE422C0BA8}"/>
                </a:ext>
              </a:extLst>
            </p:cNvPr>
            <p:cNvSpPr>
              <a:spLocks/>
            </p:cNvSpPr>
            <p:nvPr/>
          </p:nvSpPr>
          <p:spPr bwMode="auto">
            <a:xfrm>
              <a:off x="2787707" y="21765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1" name="Freeform 277">
              <a:extLst>
                <a:ext uri="{FF2B5EF4-FFF2-40B4-BE49-F238E27FC236}">
                  <a16:creationId xmlns:a16="http://schemas.microsoft.com/office/drawing/2014/main" id="{B6E51BEB-E4FD-2440-B9A3-E8702313C57B}"/>
                </a:ext>
              </a:extLst>
            </p:cNvPr>
            <p:cNvSpPr>
              <a:spLocks/>
            </p:cNvSpPr>
            <p:nvPr/>
          </p:nvSpPr>
          <p:spPr bwMode="auto">
            <a:xfrm>
              <a:off x="2795847" y="2128890"/>
              <a:ext cx="10467" cy="54607"/>
            </a:xfrm>
            <a:custGeom>
              <a:avLst/>
              <a:gdLst>
                <a:gd name="T0" fmla="*/ 2147483646 w 9"/>
                <a:gd name="T1" fmla="*/ 2147483646 h 55"/>
                <a:gd name="T2" fmla="*/ 2147483646 w 9"/>
                <a:gd name="T3" fmla="*/ 2147483646 h 55"/>
                <a:gd name="T4" fmla="*/ 2147483646 w 9"/>
                <a:gd name="T5" fmla="*/ 2147483646 h 55"/>
                <a:gd name="T6" fmla="*/ 2147483646 w 9"/>
                <a:gd name="T7" fmla="*/ 2147483646 h 55"/>
                <a:gd name="T8" fmla="*/ 0 w 9"/>
                <a:gd name="T9" fmla="*/ 2147483646 h 55"/>
                <a:gd name="T10" fmla="*/ 0 w 9"/>
                <a:gd name="T11" fmla="*/ 2147483646 h 55"/>
                <a:gd name="T12" fmla="*/ 0 w 9"/>
                <a:gd name="T13" fmla="*/ 2147483646 h 55"/>
                <a:gd name="T14" fmla="*/ 0 w 9"/>
                <a:gd name="T15" fmla="*/ 0 h 55"/>
                <a:gd name="T16" fmla="*/ 2147483646 w 9"/>
                <a:gd name="T17" fmla="*/ 0 h 55"/>
                <a:gd name="T18" fmla="*/ 2147483646 w 9"/>
                <a:gd name="T19" fmla="*/ 0 h 55"/>
                <a:gd name="T20" fmla="*/ 2147483646 w 9"/>
                <a:gd name="T21" fmla="*/ 0 h 55"/>
                <a:gd name="T22" fmla="*/ 2147483646 w 9"/>
                <a:gd name="T23" fmla="*/ 2147483646 h 55"/>
                <a:gd name="T24" fmla="*/ 2147483646 w 9"/>
                <a:gd name="T25" fmla="*/ 2147483646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55">
                  <a:moveTo>
                    <a:pt x="9" y="52"/>
                  </a:moveTo>
                  <a:lnTo>
                    <a:pt x="6" y="55"/>
                  </a:lnTo>
                  <a:lnTo>
                    <a:pt x="3" y="55"/>
                  </a:lnTo>
                  <a:lnTo>
                    <a:pt x="0" y="55"/>
                  </a:lnTo>
                  <a:lnTo>
                    <a:pt x="0" y="52"/>
                  </a:lnTo>
                  <a:lnTo>
                    <a:pt x="0" y="3"/>
                  </a:lnTo>
                  <a:lnTo>
                    <a:pt x="0" y="0"/>
                  </a:lnTo>
                  <a:lnTo>
                    <a:pt x="3" y="0"/>
                  </a:lnTo>
                  <a:lnTo>
                    <a:pt x="6" y="0"/>
                  </a:lnTo>
                  <a:lnTo>
                    <a:pt x="9" y="3"/>
                  </a:lnTo>
                  <a:lnTo>
                    <a:pt x="9"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2" name="Freeform 278">
              <a:extLst>
                <a:ext uri="{FF2B5EF4-FFF2-40B4-BE49-F238E27FC236}">
                  <a16:creationId xmlns:a16="http://schemas.microsoft.com/office/drawing/2014/main" id="{70A53F19-9B04-284D-A22D-B98946C60B5E}"/>
                </a:ext>
              </a:extLst>
            </p:cNvPr>
            <p:cNvSpPr>
              <a:spLocks/>
            </p:cNvSpPr>
            <p:nvPr/>
          </p:nvSpPr>
          <p:spPr bwMode="auto">
            <a:xfrm>
              <a:off x="2795847" y="2128890"/>
              <a:ext cx="29073" cy="9928"/>
            </a:xfrm>
            <a:custGeom>
              <a:avLst/>
              <a:gdLst>
                <a:gd name="T0" fmla="*/ 2147483646 w 25"/>
                <a:gd name="T1" fmla="*/ 2147483646 h 10"/>
                <a:gd name="T2" fmla="*/ 0 w 25"/>
                <a:gd name="T3" fmla="*/ 2147483646 h 10"/>
                <a:gd name="T4" fmla="*/ 0 w 25"/>
                <a:gd name="T5" fmla="*/ 2147483646 h 10"/>
                <a:gd name="T6" fmla="*/ 0 w 25"/>
                <a:gd name="T7" fmla="*/ 2147483646 h 10"/>
                <a:gd name="T8" fmla="*/ 0 w 25"/>
                <a:gd name="T9" fmla="*/ 0 h 10"/>
                <a:gd name="T10" fmla="*/ 2147483646 w 25"/>
                <a:gd name="T11" fmla="*/ 0 h 10"/>
                <a:gd name="T12" fmla="*/ 2147483646 w 25"/>
                <a:gd name="T13" fmla="*/ 0 h 10"/>
                <a:gd name="T14" fmla="*/ 2147483646 w 25"/>
                <a:gd name="T15" fmla="*/ 0 h 10"/>
                <a:gd name="T16" fmla="*/ 2147483646 w 25"/>
                <a:gd name="T17" fmla="*/ 2147483646 h 10"/>
                <a:gd name="T18" fmla="*/ 2147483646 w 25"/>
                <a:gd name="T19" fmla="*/ 2147483646 h 10"/>
                <a:gd name="T20" fmla="*/ 2147483646 w 25"/>
                <a:gd name="T21" fmla="*/ 2147483646 h 10"/>
                <a:gd name="T22" fmla="*/ 2147483646 w 25"/>
                <a:gd name="T23" fmla="*/ 2147483646 h 10"/>
                <a:gd name="T24" fmla="*/ 2147483646 w 2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0">
                  <a:moveTo>
                    <a:pt x="3" y="10"/>
                  </a:moveTo>
                  <a:lnTo>
                    <a:pt x="0" y="7"/>
                  </a:lnTo>
                  <a:lnTo>
                    <a:pt x="0" y="3"/>
                  </a:lnTo>
                  <a:lnTo>
                    <a:pt x="0" y="0"/>
                  </a:lnTo>
                  <a:lnTo>
                    <a:pt x="3" y="0"/>
                  </a:lnTo>
                  <a:lnTo>
                    <a:pt x="22" y="0"/>
                  </a:lnTo>
                  <a:lnTo>
                    <a:pt x="25" y="0"/>
                  </a:lnTo>
                  <a:lnTo>
                    <a:pt x="25" y="3"/>
                  </a:lnTo>
                  <a:lnTo>
                    <a:pt x="25" y="7"/>
                  </a:lnTo>
                  <a:lnTo>
                    <a:pt x="2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3" name="Freeform 279">
              <a:extLst>
                <a:ext uri="{FF2B5EF4-FFF2-40B4-BE49-F238E27FC236}">
                  <a16:creationId xmlns:a16="http://schemas.microsoft.com/office/drawing/2014/main" id="{8DE0BE8A-E5CD-3A49-BBA6-A28E3196A916}"/>
                </a:ext>
              </a:extLst>
            </p:cNvPr>
            <p:cNvSpPr>
              <a:spLocks/>
            </p:cNvSpPr>
            <p:nvPr/>
          </p:nvSpPr>
          <p:spPr bwMode="auto">
            <a:xfrm>
              <a:off x="2817943" y="212889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4" name="Freeform 280">
              <a:extLst>
                <a:ext uri="{FF2B5EF4-FFF2-40B4-BE49-F238E27FC236}">
                  <a16:creationId xmlns:a16="http://schemas.microsoft.com/office/drawing/2014/main" id="{458611BB-04B2-A34F-BD53-B928115F8890}"/>
                </a:ext>
              </a:extLst>
            </p:cNvPr>
            <p:cNvSpPr>
              <a:spLocks/>
            </p:cNvSpPr>
            <p:nvPr/>
          </p:nvSpPr>
          <p:spPr bwMode="auto">
            <a:xfrm>
              <a:off x="2821431" y="2128890"/>
              <a:ext cx="104663" cy="9928"/>
            </a:xfrm>
            <a:custGeom>
              <a:avLst/>
              <a:gdLst>
                <a:gd name="T0" fmla="*/ 2147483646 w 90"/>
                <a:gd name="T1" fmla="*/ 2147483646 h 10"/>
                <a:gd name="T2" fmla="*/ 0 w 90"/>
                <a:gd name="T3" fmla="*/ 2147483646 h 10"/>
                <a:gd name="T4" fmla="*/ 0 w 90"/>
                <a:gd name="T5" fmla="*/ 2147483646 h 10"/>
                <a:gd name="T6" fmla="*/ 0 w 90"/>
                <a:gd name="T7" fmla="*/ 2147483646 h 10"/>
                <a:gd name="T8" fmla="*/ 0 w 90"/>
                <a:gd name="T9" fmla="*/ 0 h 10"/>
                <a:gd name="T10" fmla="*/ 2147483646 w 90"/>
                <a:gd name="T11" fmla="*/ 0 h 10"/>
                <a:gd name="T12" fmla="*/ 2147483646 w 90"/>
                <a:gd name="T13" fmla="*/ 0 h 10"/>
                <a:gd name="T14" fmla="*/ 2147483646 w 90"/>
                <a:gd name="T15" fmla="*/ 0 h 10"/>
                <a:gd name="T16" fmla="*/ 2147483646 w 90"/>
                <a:gd name="T17" fmla="*/ 2147483646 h 10"/>
                <a:gd name="T18" fmla="*/ 2147483646 w 90"/>
                <a:gd name="T19" fmla="*/ 2147483646 h 10"/>
                <a:gd name="T20" fmla="*/ 2147483646 w 90"/>
                <a:gd name="T21" fmla="*/ 2147483646 h 10"/>
                <a:gd name="T22" fmla="*/ 2147483646 w 90"/>
                <a:gd name="T23" fmla="*/ 2147483646 h 10"/>
                <a:gd name="T24" fmla="*/ 2147483646 w 9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
                  <a:moveTo>
                    <a:pt x="3" y="10"/>
                  </a:moveTo>
                  <a:lnTo>
                    <a:pt x="0" y="7"/>
                  </a:lnTo>
                  <a:lnTo>
                    <a:pt x="0" y="3"/>
                  </a:lnTo>
                  <a:lnTo>
                    <a:pt x="0" y="0"/>
                  </a:lnTo>
                  <a:lnTo>
                    <a:pt x="3" y="0"/>
                  </a:lnTo>
                  <a:lnTo>
                    <a:pt x="87" y="0"/>
                  </a:lnTo>
                  <a:lnTo>
                    <a:pt x="90" y="0"/>
                  </a:lnTo>
                  <a:lnTo>
                    <a:pt x="90" y="3"/>
                  </a:lnTo>
                  <a:lnTo>
                    <a:pt x="90" y="7"/>
                  </a:lnTo>
                  <a:lnTo>
                    <a:pt x="8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5" name="Freeform 281">
              <a:extLst>
                <a:ext uri="{FF2B5EF4-FFF2-40B4-BE49-F238E27FC236}">
                  <a16:creationId xmlns:a16="http://schemas.microsoft.com/office/drawing/2014/main" id="{8008F426-D1B9-2C43-8D99-75A8F88A42A3}"/>
                </a:ext>
              </a:extLst>
            </p:cNvPr>
            <p:cNvSpPr>
              <a:spLocks/>
            </p:cNvSpPr>
            <p:nvPr/>
          </p:nvSpPr>
          <p:spPr bwMode="auto">
            <a:xfrm>
              <a:off x="2919117" y="2128890"/>
              <a:ext cx="67449" cy="9928"/>
            </a:xfrm>
            <a:custGeom>
              <a:avLst/>
              <a:gdLst>
                <a:gd name="T0" fmla="*/ 2147483646 w 58"/>
                <a:gd name="T1" fmla="*/ 2147483646 h 10"/>
                <a:gd name="T2" fmla="*/ 0 w 58"/>
                <a:gd name="T3" fmla="*/ 2147483646 h 10"/>
                <a:gd name="T4" fmla="*/ 0 w 58"/>
                <a:gd name="T5" fmla="*/ 2147483646 h 10"/>
                <a:gd name="T6" fmla="*/ 0 w 58"/>
                <a:gd name="T7" fmla="*/ 2147483646 h 10"/>
                <a:gd name="T8" fmla="*/ 0 w 58"/>
                <a:gd name="T9" fmla="*/ 0 h 10"/>
                <a:gd name="T10" fmla="*/ 2147483646 w 58"/>
                <a:gd name="T11" fmla="*/ 0 h 10"/>
                <a:gd name="T12" fmla="*/ 2147483646 w 58"/>
                <a:gd name="T13" fmla="*/ 0 h 10"/>
                <a:gd name="T14" fmla="*/ 2147483646 w 58"/>
                <a:gd name="T15" fmla="*/ 0 h 10"/>
                <a:gd name="T16" fmla="*/ 2147483646 w 58"/>
                <a:gd name="T17" fmla="*/ 2147483646 h 10"/>
                <a:gd name="T18" fmla="*/ 2147483646 w 58"/>
                <a:gd name="T19" fmla="*/ 2147483646 h 10"/>
                <a:gd name="T20" fmla="*/ 2147483646 w 58"/>
                <a:gd name="T21" fmla="*/ 2147483646 h 10"/>
                <a:gd name="T22" fmla="*/ 2147483646 w 58"/>
                <a:gd name="T23" fmla="*/ 2147483646 h 10"/>
                <a:gd name="T24" fmla="*/ 2147483646 w 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10">
                  <a:moveTo>
                    <a:pt x="3" y="10"/>
                  </a:moveTo>
                  <a:lnTo>
                    <a:pt x="0" y="7"/>
                  </a:lnTo>
                  <a:lnTo>
                    <a:pt x="0" y="3"/>
                  </a:lnTo>
                  <a:lnTo>
                    <a:pt x="0" y="0"/>
                  </a:lnTo>
                  <a:lnTo>
                    <a:pt x="3" y="0"/>
                  </a:lnTo>
                  <a:lnTo>
                    <a:pt x="55" y="0"/>
                  </a:lnTo>
                  <a:lnTo>
                    <a:pt x="58" y="0"/>
                  </a:lnTo>
                  <a:lnTo>
                    <a:pt x="58" y="3"/>
                  </a:lnTo>
                  <a:lnTo>
                    <a:pt x="58" y="7"/>
                  </a:lnTo>
                  <a:lnTo>
                    <a:pt x="5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6" name="Freeform 282">
              <a:extLst>
                <a:ext uri="{FF2B5EF4-FFF2-40B4-BE49-F238E27FC236}">
                  <a16:creationId xmlns:a16="http://schemas.microsoft.com/office/drawing/2014/main" id="{29066AB1-BEEE-3548-A5DF-3854063EC308}"/>
                </a:ext>
              </a:extLst>
            </p:cNvPr>
            <p:cNvSpPr>
              <a:spLocks/>
            </p:cNvSpPr>
            <p:nvPr/>
          </p:nvSpPr>
          <p:spPr bwMode="auto">
            <a:xfrm>
              <a:off x="2979588" y="212889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7" name="Freeform 283">
              <a:extLst>
                <a:ext uri="{FF2B5EF4-FFF2-40B4-BE49-F238E27FC236}">
                  <a16:creationId xmlns:a16="http://schemas.microsoft.com/office/drawing/2014/main" id="{C9463258-AD27-CF4C-B2A8-320C6601C245}"/>
                </a:ext>
              </a:extLst>
            </p:cNvPr>
            <p:cNvSpPr>
              <a:spLocks/>
            </p:cNvSpPr>
            <p:nvPr/>
          </p:nvSpPr>
          <p:spPr bwMode="auto">
            <a:xfrm>
              <a:off x="2983078" y="2128890"/>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8" name="Freeform 284">
              <a:extLst>
                <a:ext uri="{FF2B5EF4-FFF2-40B4-BE49-F238E27FC236}">
                  <a16:creationId xmlns:a16="http://schemas.microsoft.com/office/drawing/2014/main" id="{D0FE4EEB-BCF6-A642-B942-0F9FE8DCC6AB}"/>
                </a:ext>
              </a:extLst>
            </p:cNvPr>
            <p:cNvSpPr>
              <a:spLocks/>
            </p:cNvSpPr>
            <p:nvPr/>
          </p:nvSpPr>
          <p:spPr bwMode="auto">
            <a:xfrm>
              <a:off x="3005173" y="212889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9" name="Freeform 285">
              <a:extLst>
                <a:ext uri="{FF2B5EF4-FFF2-40B4-BE49-F238E27FC236}">
                  <a16:creationId xmlns:a16="http://schemas.microsoft.com/office/drawing/2014/main" id="{A43B431B-E956-8345-ACBC-F6A1BB49AD54}"/>
                </a:ext>
              </a:extLst>
            </p:cNvPr>
            <p:cNvSpPr>
              <a:spLocks/>
            </p:cNvSpPr>
            <p:nvPr/>
          </p:nvSpPr>
          <p:spPr bwMode="auto">
            <a:xfrm>
              <a:off x="3016802" y="2128890"/>
              <a:ext cx="52332" cy="9928"/>
            </a:xfrm>
            <a:custGeom>
              <a:avLst/>
              <a:gdLst>
                <a:gd name="T0" fmla="*/ 2147483646 w 45"/>
                <a:gd name="T1" fmla="*/ 2147483646 h 10"/>
                <a:gd name="T2" fmla="*/ 0 w 45"/>
                <a:gd name="T3" fmla="*/ 2147483646 h 10"/>
                <a:gd name="T4" fmla="*/ 0 w 45"/>
                <a:gd name="T5" fmla="*/ 2147483646 h 10"/>
                <a:gd name="T6" fmla="*/ 0 w 45"/>
                <a:gd name="T7" fmla="*/ 2147483646 h 10"/>
                <a:gd name="T8" fmla="*/ 0 w 45"/>
                <a:gd name="T9" fmla="*/ 0 h 10"/>
                <a:gd name="T10" fmla="*/ 2147483646 w 45"/>
                <a:gd name="T11" fmla="*/ 0 h 10"/>
                <a:gd name="T12" fmla="*/ 2147483646 w 45"/>
                <a:gd name="T13" fmla="*/ 0 h 10"/>
                <a:gd name="T14" fmla="*/ 2147483646 w 45"/>
                <a:gd name="T15" fmla="*/ 0 h 10"/>
                <a:gd name="T16" fmla="*/ 2147483646 w 45"/>
                <a:gd name="T17" fmla="*/ 2147483646 h 10"/>
                <a:gd name="T18" fmla="*/ 2147483646 w 45"/>
                <a:gd name="T19" fmla="*/ 2147483646 h 10"/>
                <a:gd name="T20" fmla="*/ 2147483646 w 45"/>
                <a:gd name="T21" fmla="*/ 2147483646 h 10"/>
                <a:gd name="T22" fmla="*/ 2147483646 w 45"/>
                <a:gd name="T23" fmla="*/ 2147483646 h 10"/>
                <a:gd name="T24" fmla="*/ 2147483646 w 4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10">
                  <a:moveTo>
                    <a:pt x="3" y="10"/>
                  </a:moveTo>
                  <a:lnTo>
                    <a:pt x="0" y="7"/>
                  </a:lnTo>
                  <a:lnTo>
                    <a:pt x="0" y="3"/>
                  </a:lnTo>
                  <a:lnTo>
                    <a:pt x="0" y="0"/>
                  </a:lnTo>
                  <a:lnTo>
                    <a:pt x="3" y="0"/>
                  </a:lnTo>
                  <a:lnTo>
                    <a:pt x="42" y="0"/>
                  </a:lnTo>
                  <a:lnTo>
                    <a:pt x="45" y="0"/>
                  </a:lnTo>
                  <a:lnTo>
                    <a:pt x="45" y="3"/>
                  </a:lnTo>
                  <a:lnTo>
                    <a:pt x="45" y="7"/>
                  </a:lnTo>
                  <a:lnTo>
                    <a:pt x="4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0" name="Freeform 286">
              <a:extLst>
                <a:ext uri="{FF2B5EF4-FFF2-40B4-BE49-F238E27FC236}">
                  <a16:creationId xmlns:a16="http://schemas.microsoft.com/office/drawing/2014/main" id="{8858DFC1-416D-2747-A5BC-AE8405E093BC}"/>
                </a:ext>
              </a:extLst>
            </p:cNvPr>
            <p:cNvSpPr>
              <a:spLocks/>
            </p:cNvSpPr>
            <p:nvPr/>
          </p:nvSpPr>
          <p:spPr bwMode="auto">
            <a:xfrm>
              <a:off x="3060993" y="2128890"/>
              <a:ext cx="63961" cy="9928"/>
            </a:xfrm>
            <a:custGeom>
              <a:avLst/>
              <a:gdLst>
                <a:gd name="T0" fmla="*/ 2147483646 w 55"/>
                <a:gd name="T1" fmla="*/ 2147483646 h 10"/>
                <a:gd name="T2" fmla="*/ 0 w 55"/>
                <a:gd name="T3" fmla="*/ 2147483646 h 10"/>
                <a:gd name="T4" fmla="*/ 0 w 55"/>
                <a:gd name="T5" fmla="*/ 2147483646 h 10"/>
                <a:gd name="T6" fmla="*/ 0 w 55"/>
                <a:gd name="T7" fmla="*/ 2147483646 h 10"/>
                <a:gd name="T8" fmla="*/ 0 w 55"/>
                <a:gd name="T9" fmla="*/ 0 h 10"/>
                <a:gd name="T10" fmla="*/ 2147483646 w 55"/>
                <a:gd name="T11" fmla="*/ 0 h 10"/>
                <a:gd name="T12" fmla="*/ 2147483646 w 55"/>
                <a:gd name="T13" fmla="*/ 0 h 10"/>
                <a:gd name="T14" fmla="*/ 2147483646 w 55"/>
                <a:gd name="T15" fmla="*/ 0 h 10"/>
                <a:gd name="T16" fmla="*/ 2147483646 w 55"/>
                <a:gd name="T17" fmla="*/ 2147483646 h 10"/>
                <a:gd name="T18" fmla="*/ 2147483646 w 55"/>
                <a:gd name="T19" fmla="*/ 2147483646 h 10"/>
                <a:gd name="T20" fmla="*/ 2147483646 w 55"/>
                <a:gd name="T21" fmla="*/ 2147483646 h 10"/>
                <a:gd name="T22" fmla="*/ 2147483646 w 55"/>
                <a:gd name="T23" fmla="*/ 2147483646 h 10"/>
                <a:gd name="T24" fmla="*/ 2147483646 w 5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 h="10">
                  <a:moveTo>
                    <a:pt x="4" y="10"/>
                  </a:moveTo>
                  <a:lnTo>
                    <a:pt x="0" y="7"/>
                  </a:lnTo>
                  <a:lnTo>
                    <a:pt x="0" y="3"/>
                  </a:lnTo>
                  <a:lnTo>
                    <a:pt x="0" y="0"/>
                  </a:lnTo>
                  <a:lnTo>
                    <a:pt x="4" y="0"/>
                  </a:lnTo>
                  <a:lnTo>
                    <a:pt x="52" y="0"/>
                  </a:lnTo>
                  <a:lnTo>
                    <a:pt x="55" y="0"/>
                  </a:lnTo>
                  <a:lnTo>
                    <a:pt x="55" y="3"/>
                  </a:lnTo>
                  <a:lnTo>
                    <a:pt x="55" y="7"/>
                  </a:lnTo>
                  <a:lnTo>
                    <a:pt x="52"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1" name="Freeform 287">
              <a:extLst>
                <a:ext uri="{FF2B5EF4-FFF2-40B4-BE49-F238E27FC236}">
                  <a16:creationId xmlns:a16="http://schemas.microsoft.com/office/drawing/2014/main" id="{7B6836B0-F8FF-3D45-9DB4-E86DEF7B69B5}"/>
                </a:ext>
              </a:extLst>
            </p:cNvPr>
            <p:cNvSpPr>
              <a:spLocks/>
            </p:cNvSpPr>
            <p:nvPr/>
          </p:nvSpPr>
          <p:spPr bwMode="auto">
            <a:xfrm>
              <a:off x="3117976" y="2128890"/>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2" name="Freeform 288">
              <a:extLst>
                <a:ext uri="{FF2B5EF4-FFF2-40B4-BE49-F238E27FC236}">
                  <a16:creationId xmlns:a16="http://schemas.microsoft.com/office/drawing/2014/main" id="{FD4AAD52-49B4-8042-9532-1F499BDC8BCF}"/>
                </a:ext>
              </a:extLst>
            </p:cNvPr>
            <p:cNvSpPr>
              <a:spLocks/>
            </p:cNvSpPr>
            <p:nvPr/>
          </p:nvSpPr>
          <p:spPr bwMode="auto">
            <a:xfrm>
              <a:off x="3140072" y="2128890"/>
              <a:ext cx="60472" cy="9928"/>
            </a:xfrm>
            <a:custGeom>
              <a:avLst/>
              <a:gdLst>
                <a:gd name="T0" fmla="*/ 2147483646 w 52"/>
                <a:gd name="T1" fmla="*/ 2147483646 h 10"/>
                <a:gd name="T2" fmla="*/ 0 w 52"/>
                <a:gd name="T3" fmla="*/ 2147483646 h 10"/>
                <a:gd name="T4" fmla="*/ 0 w 52"/>
                <a:gd name="T5" fmla="*/ 2147483646 h 10"/>
                <a:gd name="T6" fmla="*/ 0 w 52"/>
                <a:gd name="T7" fmla="*/ 2147483646 h 10"/>
                <a:gd name="T8" fmla="*/ 0 w 52"/>
                <a:gd name="T9" fmla="*/ 0 h 10"/>
                <a:gd name="T10" fmla="*/ 2147483646 w 52"/>
                <a:gd name="T11" fmla="*/ 0 h 10"/>
                <a:gd name="T12" fmla="*/ 2147483646 w 52"/>
                <a:gd name="T13" fmla="*/ 0 h 10"/>
                <a:gd name="T14" fmla="*/ 2147483646 w 52"/>
                <a:gd name="T15" fmla="*/ 0 h 10"/>
                <a:gd name="T16" fmla="*/ 2147483646 w 52"/>
                <a:gd name="T17" fmla="*/ 2147483646 h 10"/>
                <a:gd name="T18" fmla="*/ 2147483646 w 52"/>
                <a:gd name="T19" fmla="*/ 2147483646 h 10"/>
                <a:gd name="T20" fmla="*/ 2147483646 w 52"/>
                <a:gd name="T21" fmla="*/ 2147483646 h 10"/>
                <a:gd name="T22" fmla="*/ 2147483646 w 52"/>
                <a:gd name="T23" fmla="*/ 2147483646 h 10"/>
                <a:gd name="T24" fmla="*/ 2147483646 w 5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10">
                  <a:moveTo>
                    <a:pt x="3" y="10"/>
                  </a:moveTo>
                  <a:lnTo>
                    <a:pt x="0" y="7"/>
                  </a:lnTo>
                  <a:lnTo>
                    <a:pt x="0" y="3"/>
                  </a:lnTo>
                  <a:lnTo>
                    <a:pt x="0" y="0"/>
                  </a:lnTo>
                  <a:lnTo>
                    <a:pt x="3" y="0"/>
                  </a:lnTo>
                  <a:lnTo>
                    <a:pt x="48" y="0"/>
                  </a:lnTo>
                  <a:lnTo>
                    <a:pt x="52" y="0"/>
                  </a:lnTo>
                  <a:lnTo>
                    <a:pt x="52" y="3"/>
                  </a:lnTo>
                  <a:lnTo>
                    <a:pt x="52" y="7"/>
                  </a:lnTo>
                  <a:lnTo>
                    <a:pt x="48"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3" name="Freeform 289">
              <a:extLst>
                <a:ext uri="{FF2B5EF4-FFF2-40B4-BE49-F238E27FC236}">
                  <a16:creationId xmlns:a16="http://schemas.microsoft.com/office/drawing/2014/main" id="{82302654-AF9A-5B4B-9479-010FC25461CE}"/>
                </a:ext>
              </a:extLst>
            </p:cNvPr>
            <p:cNvSpPr>
              <a:spLocks/>
            </p:cNvSpPr>
            <p:nvPr/>
          </p:nvSpPr>
          <p:spPr bwMode="auto">
            <a:xfrm>
              <a:off x="3192403" y="2128890"/>
              <a:ext cx="70939" cy="9928"/>
            </a:xfrm>
            <a:custGeom>
              <a:avLst/>
              <a:gdLst>
                <a:gd name="T0" fmla="*/ 2147483646 w 61"/>
                <a:gd name="T1" fmla="*/ 2147483646 h 10"/>
                <a:gd name="T2" fmla="*/ 0 w 61"/>
                <a:gd name="T3" fmla="*/ 2147483646 h 10"/>
                <a:gd name="T4" fmla="*/ 0 w 61"/>
                <a:gd name="T5" fmla="*/ 2147483646 h 10"/>
                <a:gd name="T6" fmla="*/ 0 w 61"/>
                <a:gd name="T7" fmla="*/ 2147483646 h 10"/>
                <a:gd name="T8" fmla="*/ 0 w 61"/>
                <a:gd name="T9" fmla="*/ 0 h 10"/>
                <a:gd name="T10" fmla="*/ 2147483646 w 61"/>
                <a:gd name="T11" fmla="*/ 0 h 10"/>
                <a:gd name="T12" fmla="*/ 2147483646 w 61"/>
                <a:gd name="T13" fmla="*/ 0 h 10"/>
                <a:gd name="T14" fmla="*/ 2147483646 w 61"/>
                <a:gd name="T15" fmla="*/ 0 h 10"/>
                <a:gd name="T16" fmla="*/ 2147483646 w 61"/>
                <a:gd name="T17" fmla="*/ 2147483646 h 10"/>
                <a:gd name="T18" fmla="*/ 2147483646 w 61"/>
                <a:gd name="T19" fmla="*/ 2147483646 h 10"/>
                <a:gd name="T20" fmla="*/ 2147483646 w 61"/>
                <a:gd name="T21" fmla="*/ 2147483646 h 10"/>
                <a:gd name="T22" fmla="*/ 2147483646 w 61"/>
                <a:gd name="T23" fmla="*/ 2147483646 h 10"/>
                <a:gd name="T24" fmla="*/ 2147483646 w 6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1" h="10">
                  <a:moveTo>
                    <a:pt x="3" y="10"/>
                  </a:moveTo>
                  <a:lnTo>
                    <a:pt x="0" y="7"/>
                  </a:lnTo>
                  <a:lnTo>
                    <a:pt x="0" y="3"/>
                  </a:lnTo>
                  <a:lnTo>
                    <a:pt x="0" y="0"/>
                  </a:lnTo>
                  <a:lnTo>
                    <a:pt x="3" y="0"/>
                  </a:lnTo>
                  <a:lnTo>
                    <a:pt x="58" y="0"/>
                  </a:lnTo>
                  <a:lnTo>
                    <a:pt x="61" y="0"/>
                  </a:lnTo>
                  <a:lnTo>
                    <a:pt x="61" y="3"/>
                  </a:lnTo>
                  <a:lnTo>
                    <a:pt x="61" y="7"/>
                  </a:lnTo>
                  <a:lnTo>
                    <a:pt x="58"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4" name="Freeform 290">
              <a:extLst>
                <a:ext uri="{FF2B5EF4-FFF2-40B4-BE49-F238E27FC236}">
                  <a16:creationId xmlns:a16="http://schemas.microsoft.com/office/drawing/2014/main" id="{8C63116B-1A32-404D-820C-9274D0B45458}"/>
                </a:ext>
              </a:extLst>
            </p:cNvPr>
            <p:cNvSpPr>
              <a:spLocks/>
            </p:cNvSpPr>
            <p:nvPr/>
          </p:nvSpPr>
          <p:spPr bwMode="auto">
            <a:xfrm>
              <a:off x="3256364" y="2128890"/>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3" y="0"/>
                  </a:lnTo>
                  <a:lnTo>
                    <a:pt x="26" y="0"/>
                  </a:lnTo>
                  <a:lnTo>
                    <a:pt x="26" y="3"/>
                  </a:lnTo>
                  <a:lnTo>
                    <a:pt x="26" y="7"/>
                  </a:lnTo>
                  <a:lnTo>
                    <a:pt x="2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5" name="Freeform 291">
              <a:extLst>
                <a:ext uri="{FF2B5EF4-FFF2-40B4-BE49-F238E27FC236}">
                  <a16:creationId xmlns:a16="http://schemas.microsoft.com/office/drawing/2014/main" id="{20A10130-BD4B-6948-97D1-C8B16995C023}"/>
                </a:ext>
              </a:extLst>
            </p:cNvPr>
            <p:cNvSpPr>
              <a:spLocks/>
            </p:cNvSpPr>
            <p:nvPr/>
          </p:nvSpPr>
          <p:spPr bwMode="auto">
            <a:xfrm>
              <a:off x="3278460" y="2029606"/>
              <a:ext cx="11629" cy="106235"/>
            </a:xfrm>
            <a:custGeom>
              <a:avLst/>
              <a:gdLst>
                <a:gd name="T0" fmla="*/ 2147483646 w 10"/>
                <a:gd name="T1" fmla="*/ 2147483646 h 107"/>
                <a:gd name="T2" fmla="*/ 2147483646 w 10"/>
                <a:gd name="T3" fmla="*/ 2147483646 h 107"/>
                <a:gd name="T4" fmla="*/ 2147483646 w 10"/>
                <a:gd name="T5" fmla="*/ 2147483646 h 107"/>
                <a:gd name="T6" fmla="*/ 2147483646 w 10"/>
                <a:gd name="T7" fmla="*/ 2147483646 h 107"/>
                <a:gd name="T8" fmla="*/ 0 w 10"/>
                <a:gd name="T9" fmla="*/ 2147483646 h 107"/>
                <a:gd name="T10" fmla="*/ 0 w 10"/>
                <a:gd name="T11" fmla="*/ 2147483646 h 107"/>
                <a:gd name="T12" fmla="*/ 0 w 10"/>
                <a:gd name="T13" fmla="*/ 2147483646 h 107"/>
                <a:gd name="T14" fmla="*/ 0 w 10"/>
                <a:gd name="T15" fmla="*/ 0 h 107"/>
                <a:gd name="T16" fmla="*/ 2147483646 w 10"/>
                <a:gd name="T17" fmla="*/ 0 h 107"/>
                <a:gd name="T18" fmla="*/ 2147483646 w 10"/>
                <a:gd name="T19" fmla="*/ 0 h 107"/>
                <a:gd name="T20" fmla="*/ 2147483646 w 10"/>
                <a:gd name="T21" fmla="*/ 0 h 107"/>
                <a:gd name="T22" fmla="*/ 2147483646 w 10"/>
                <a:gd name="T23" fmla="*/ 2147483646 h 107"/>
                <a:gd name="T24" fmla="*/ 2147483646 w 10"/>
                <a:gd name="T25" fmla="*/ 2147483646 h 1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7">
                  <a:moveTo>
                    <a:pt x="10" y="103"/>
                  </a:moveTo>
                  <a:lnTo>
                    <a:pt x="7" y="107"/>
                  </a:lnTo>
                  <a:lnTo>
                    <a:pt x="4" y="107"/>
                  </a:lnTo>
                  <a:lnTo>
                    <a:pt x="0" y="107"/>
                  </a:lnTo>
                  <a:lnTo>
                    <a:pt x="0" y="103"/>
                  </a:lnTo>
                  <a:lnTo>
                    <a:pt x="0" y="3"/>
                  </a:lnTo>
                  <a:lnTo>
                    <a:pt x="0" y="0"/>
                  </a:lnTo>
                  <a:lnTo>
                    <a:pt x="4" y="0"/>
                  </a:lnTo>
                  <a:lnTo>
                    <a:pt x="7" y="0"/>
                  </a:lnTo>
                  <a:lnTo>
                    <a:pt x="10" y="3"/>
                  </a:lnTo>
                  <a:lnTo>
                    <a:pt x="10" y="10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6" name="Freeform 292">
              <a:extLst>
                <a:ext uri="{FF2B5EF4-FFF2-40B4-BE49-F238E27FC236}">
                  <a16:creationId xmlns:a16="http://schemas.microsoft.com/office/drawing/2014/main" id="{D5D1FA18-C620-A149-8238-FE323BDA5BF4}"/>
                </a:ext>
              </a:extLst>
            </p:cNvPr>
            <p:cNvSpPr>
              <a:spLocks/>
            </p:cNvSpPr>
            <p:nvPr/>
          </p:nvSpPr>
          <p:spPr bwMode="auto">
            <a:xfrm>
              <a:off x="3278460" y="2029606"/>
              <a:ext cx="210489" cy="9928"/>
            </a:xfrm>
            <a:custGeom>
              <a:avLst/>
              <a:gdLst>
                <a:gd name="T0" fmla="*/ 2147483646 w 181"/>
                <a:gd name="T1" fmla="*/ 2147483646 h 10"/>
                <a:gd name="T2" fmla="*/ 0 w 181"/>
                <a:gd name="T3" fmla="*/ 2147483646 h 10"/>
                <a:gd name="T4" fmla="*/ 0 w 181"/>
                <a:gd name="T5" fmla="*/ 2147483646 h 10"/>
                <a:gd name="T6" fmla="*/ 0 w 181"/>
                <a:gd name="T7" fmla="*/ 2147483646 h 10"/>
                <a:gd name="T8" fmla="*/ 0 w 181"/>
                <a:gd name="T9" fmla="*/ 0 h 10"/>
                <a:gd name="T10" fmla="*/ 2147483646 w 181"/>
                <a:gd name="T11" fmla="*/ 0 h 10"/>
                <a:gd name="T12" fmla="*/ 2147483646 w 181"/>
                <a:gd name="T13" fmla="*/ 0 h 10"/>
                <a:gd name="T14" fmla="*/ 2147483646 w 181"/>
                <a:gd name="T15" fmla="*/ 0 h 10"/>
                <a:gd name="T16" fmla="*/ 2147483646 w 181"/>
                <a:gd name="T17" fmla="*/ 2147483646 h 10"/>
                <a:gd name="T18" fmla="*/ 2147483646 w 181"/>
                <a:gd name="T19" fmla="*/ 2147483646 h 10"/>
                <a:gd name="T20" fmla="*/ 2147483646 w 181"/>
                <a:gd name="T21" fmla="*/ 2147483646 h 10"/>
                <a:gd name="T22" fmla="*/ 2147483646 w 181"/>
                <a:gd name="T23" fmla="*/ 2147483646 h 10"/>
                <a:gd name="T24" fmla="*/ 2147483646 w 18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1" h="10">
                  <a:moveTo>
                    <a:pt x="4" y="10"/>
                  </a:moveTo>
                  <a:lnTo>
                    <a:pt x="0" y="7"/>
                  </a:lnTo>
                  <a:lnTo>
                    <a:pt x="0" y="3"/>
                  </a:lnTo>
                  <a:lnTo>
                    <a:pt x="0" y="0"/>
                  </a:lnTo>
                  <a:lnTo>
                    <a:pt x="4" y="0"/>
                  </a:lnTo>
                  <a:lnTo>
                    <a:pt x="178" y="0"/>
                  </a:lnTo>
                  <a:lnTo>
                    <a:pt x="181" y="0"/>
                  </a:lnTo>
                  <a:lnTo>
                    <a:pt x="181" y="3"/>
                  </a:lnTo>
                  <a:lnTo>
                    <a:pt x="181" y="7"/>
                  </a:lnTo>
                  <a:lnTo>
                    <a:pt x="178"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7" name="Freeform 293">
              <a:extLst>
                <a:ext uri="{FF2B5EF4-FFF2-40B4-BE49-F238E27FC236}">
                  <a16:creationId xmlns:a16="http://schemas.microsoft.com/office/drawing/2014/main" id="{EE62C022-7B78-1944-8A33-AB900F7D3BDA}"/>
                </a:ext>
              </a:extLst>
            </p:cNvPr>
            <p:cNvSpPr>
              <a:spLocks/>
            </p:cNvSpPr>
            <p:nvPr/>
          </p:nvSpPr>
          <p:spPr bwMode="auto">
            <a:xfrm>
              <a:off x="3480808" y="2029606"/>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4" y="10"/>
                  </a:moveTo>
                  <a:lnTo>
                    <a:pt x="0" y="7"/>
                  </a:lnTo>
                  <a:lnTo>
                    <a:pt x="0" y="3"/>
                  </a:lnTo>
                  <a:lnTo>
                    <a:pt x="0" y="0"/>
                  </a:lnTo>
                  <a:lnTo>
                    <a:pt x="4" y="0"/>
                  </a:lnTo>
                  <a:lnTo>
                    <a:pt x="26" y="0"/>
                  </a:lnTo>
                  <a:lnTo>
                    <a:pt x="29" y="0"/>
                  </a:lnTo>
                  <a:lnTo>
                    <a:pt x="29" y="3"/>
                  </a:lnTo>
                  <a:lnTo>
                    <a:pt x="29" y="7"/>
                  </a:lnTo>
                  <a:lnTo>
                    <a:pt x="26"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8" name="Freeform 294">
              <a:extLst>
                <a:ext uri="{FF2B5EF4-FFF2-40B4-BE49-F238E27FC236}">
                  <a16:creationId xmlns:a16="http://schemas.microsoft.com/office/drawing/2014/main" id="{FC44C13F-F912-D646-A4BD-DCE4AB7ED7C4}"/>
                </a:ext>
              </a:extLst>
            </p:cNvPr>
            <p:cNvSpPr>
              <a:spLocks/>
            </p:cNvSpPr>
            <p:nvPr/>
          </p:nvSpPr>
          <p:spPr bwMode="auto">
            <a:xfrm>
              <a:off x="3507555" y="2029606"/>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6" y="0"/>
                  </a:lnTo>
                  <a:lnTo>
                    <a:pt x="29" y="0"/>
                  </a:lnTo>
                  <a:lnTo>
                    <a:pt x="29" y="3"/>
                  </a:lnTo>
                  <a:lnTo>
                    <a:pt x="29" y="7"/>
                  </a:lnTo>
                  <a:lnTo>
                    <a:pt x="2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9" name="Freeform 295">
              <a:extLst>
                <a:ext uri="{FF2B5EF4-FFF2-40B4-BE49-F238E27FC236}">
                  <a16:creationId xmlns:a16="http://schemas.microsoft.com/office/drawing/2014/main" id="{3445BD0F-26C5-2142-A663-00639C0E5DB4}"/>
                </a:ext>
              </a:extLst>
            </p:cNvPr>
            <p:cNvSpPr>
              <a:spLocks/>
            </p:cNvSpPr>
            <p:nvPr/>
          </p:nvSpPr>
          <p:spPr bwMode="auto">
            <a:xfrm>
              <a:off x="3534302" y="202960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0" name="Freeform 296">
              <a:extLst>
                <a:ext uri="{FF2B5EF4-FFF2-40B4-BE49-F238E27FC236}">
                  <a16:creationId xmlns:a16="http://schemas.microsoft.com/office/drawing/2014/main" id="{A8F76EEA-1821-7749-A489-5D8E1F6180A0}"/>
                </a:ext>
              </a:extLst>
            </p:cNvPr>
            <p:cNvSpPr>
              <a:spLocks/>
            </p:cNvSpPr>
            <p:nvPr/>
          </p:nvSpPr>
          <p:spPr bwMode="auto">
            <a:xfrm>
              <a:off x="3537791" y="2029606"/>
              <a:ext cx="44191" cy="9928"/>
            </a:xfrm>
            <a:custGeom>
              <a:avLst/>
              <a:gdLst>
                <a:gd name="T0" fmla="*/ 2147483646 w 38"/>
                <a:gd name="T1" fmla="*/ 2147483646 h 10"/>
                <a:gd name="T2" fmla="*/ 0 w 38"/>
                <a:gd name="T3" fmla="*/ 2147483646 h 10"/>
                <a:gd name="T4" fmla="*/ 0 w 38"/>
                <a:gd name="T5" fmla="*/ 2147483646 h 10"/>
                <a:gd name="T6" fmla="*/ 0 w 38"/>
                <a:gd name="T7" fmla="*/ 2147483646 h 10"/>
                <a:gd name="T8" fmla="*/ 0 w 38"/>
                <a:gd name="T9" fmla="*/ 0 h 10"/>
                <a:gd name="T10" fmla="*/ 2147483646 w 38"/>
                <a:gd name="T11" fmla="*/ 0 h 10"/>
                <a:gd name="T12" fmla="*/ 2147483646 w 38"/>
                <a:gd name="T13" fmla="*/ 0 h 10"/>
                <a:gd name="T14" fmla="*/ 2147483646 w 38"/>
                <a:gd name="T15" fmla="*/ 0 h 10"/>
                <a:gd name="T16" fmla="*/ 2147483646 w 38"/>
                <a:gd name="T17" fmla="*/ 2147483646 h 10"/>
                <a:gd name="T18" fmla="*/ 2147483646 w 38"/>
                <a:gd name="T19" fmla="*/ 2147483646 h 10"/>
                <a:gd name="T20" fmla="*/ 2147483646 w 38"/>
                <a:gd name="T21" fmla="*/ 2147483646 h 10"/>
                <a:gd name="T22" fmla="*/ 2147483646 w 38"/>
                <a:gd name="T23" fmla="*/ 2147483646 h 10"/>
                <a:gd name="T24" fmla="*/ 2147483646 w 3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0">
                  <a:moveTo>
                    <a:pt x="3" y="10"/>
                  </a:moveTo>
                  <a:lnTo>
                    <a:pt x="0" y="7"/>
                  </a:lnTo>
                  <a:lnTo>
                    <a:pt x="0" y="3"/>
                  </a:lnTo>
                  <a:lnTo>
                    <a:pt x="0" y="0"/>
                  </a:lnTo>
                  <a:lnTo>
                    <a:pt x="3" y="0"/>
                  </a:lnTo>
                  <a:lnTo>
                    <a:pt x="35" y="0"/>
                  </a:lnTo>
                  <a:lnTo>
                    <a:pt x="38" y="0"/>
                  </a:lnTo>
                  <a:lnTo>
                    <a:pt x="38" y="3"/>
                  </a:lnTo>
                  <a:lnTo>
                    <a:pt x="38" y="7"/>
                  </a:lnTo>
                  <a:lnTo>
                    <a:pt x="3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1" name="Freeform 297">
              <a:extLst>
                <a:ext uri="{FF2B5EF4-FFF2-40B4-BE49-F238E27FC236}">
                  <a16:creationId xmlns:a16="http://schemas.microsoft.com/office/drawing/2014/main" id="{CF298D2D-E189-1F40-9189-CD217A937264}"/>
                </a:ext>
              </a:extLst>
            </p:cNvPr>
            <p:cNvSpPr>
              <a:spLocks/>
            </p:cNvSpPr>
            <p:nvPr/>
          </p:nvSpPr>
          <p:spPr bwMode="auto">
            <a:xfrm>
              <a:off x="3575004" y="2029606"/>
              <a:ext cx="60472" cy="9928"/>
            </a:xfrm>
            <a:custGeom>
              <a:avLst/>
              <a:gdLst>
                <a:gd name="T0" fmla="*/ 2147483646 w 52"/>
                <a:gd name="T1" fmla="*/ 2147483646 h 10"/>
                <a:gd name="T2" fmla="*/ 0 w 52"/>
                <a:gd name="T3" fmla="*/ 2147483646 h 10"/>
                <a:gd name="T4" fmla="*/ 0 w 52"/>
                <a:gd name="T5" fmla="*/ 2147483646 h 10"/>
                <a:gd name="T6" fmla="*/ 0 w 52"/>
                <a:gd name="T7" fmla="*/ 2147483646 h 10"/>
                <a:gd name="T8" fmla="*/ 0 w 52"/>
                <a:gd name="T9" fmla="*/ 0 h 10"/>
                <a:gd name="T10" fmla="*/ 2147483646 w 52"/>
                <a:gd name="T11" fmla="*/ 0 h 10"/>
                <a:gd name="T12" fmla="*/ 2147483646 w 52"/>
                <a:gd name="T13" fmla="*/ 0 h 10"/>
                <a:gd name="T14" fmla="*/ 2147483646 w 52"/>
                <a:gd name="T15" fmla="*/ 0 h 10"/>
                <a:gd name="T16" fmla="*/ 2147483646 w 52"/>
                <a:gd name="T17" fmla="*/ 2147483646 h 10"/>
                <a:gd name="T18" fmla="*/ 2147483646 w 52"/>
                <a:gd name="T19" fmla="*/ 2147483646 h 10"/>
                <a:gd name="T20" fmla="*/ 2147483646 w 52"/>
                <a:gd name="T21" fmla="*/ 2147483646 h 10"/>
                <a:gd name="T22" fmla="*/ 2147483646 w 52"/>
                <a:gd name="T23" fmla="*/ 2147483646 h 10"/>
                <a:gd name="T24" fmla="*/ 2147483646 w 5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10">
                  <a:moveTo>
                    <a:pt x="3" y="10"/>
                  </a:moveTo>
                  <a:lnTo>
                    <a:pt x="0" y="7"/>
                  </a:lnTo>
                  <a:lnTo>
                    <a:pt x="0" y="3"/>
                  </a:lnTo>
                  <a:lnTo>
                    <a:pt x="0" y="0"/>
                  </a:lnTo>
                  <a:lnTo>
                    <a:pt x="3" y="0"/>
                  </a:lnTo>
                  <a:lnTo>
                    <a:pt x="48" y="0"/>
                  </a:lnTo>
                  <a:lnTo>
                    <a:pt x="52" y="0"/>
                  </a:lnTo>
                  <a:lnTo>
                    <a:pt x="52" y="3"/>
                  </a:lnTo>
                  <a:lnTo>
                    <a:pt x="52" y="7"/>
                  </a:lnTo>
                  <a:lnTo>
                    <a:pt x="48"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2" name="Freeform 298">
              <a:extLst>
                <a:ext uri="{FF2B5EF4-FFF2-40B4-BE49-F238E27FC236}">
                  <a16:creationId xmlns:a16="http://schemas.microsoft.com/office/drawing/2014/main" id="{A9156069-1864-B34B-8F65-AC5678099DE3}"/>
                </a:ext>
              </a:extLst>
            </p:cNvPr>
            <p:cNvSpPr>
              <a:spLocks/>
            </p:cNvSpPr>
            <p:nvPr/>
          </p:nvSpPr>
          <p:spPr bwMode="auto">
            <a:xfrm>
              <a:off x="3627336" y="2029606"/>
              <a:ext cx="131411" cy="9928"/>
            </a:xfrm>
            <a:custGeom>
              <a:avLst/>
              <a:gdLst>
                <a:gd name="T0" fmla="*/ 2147483646 w 113"/>
                <a:gd name="T1" fmla="*/ 2147483646 h 10"/>
                <a:gd name="T2" fmla="*/ 0 w 113"/>
                <a:gd name="T3" fmla="*/ 2147483646 h 10"/>
                <a:gd name="T4" fmla="*/ 0 w 113"/>
                <a:gd name="T5" fmla="*/ 2147483646 h 10"/>
                <a:gd name="T6" fmla="*/ 0 w 113"/>
                <a:gd name="T7" fmla="*/ 2147483646 h 10"/>
                <a:gd name="T8" fmla="*/ 0 w 113"/>
                <a:gd name="T9" fmla="*/ 0 h 10"/>
                <a:gd name="T10" fmla="*/ 2147483646 w 113"/>
                <a:gd name="T11" fmla="*/ 0 h 10"/>
                <a:gd name="T12" fmla="*/ 2147483646 w 113"/>
                <a:gd name="T13" fmla="*/ 0 h 10"/>
                <a:gd name="T14" fmla="*/ 2147483646 w 113"/>
                <a:gd name="T15" fmla="*/ 0 h 10"/>
                <a:gd name="T16" fmla="*/ 2147483646 w 113"/>
                <a:gd name="T17" fmla="*/ 2147483646 h 10"/>
                <a:gd name="T18" fmla="*/ 2147483646 w 113"/>
                <a:gd name="T19" fmla="*/ 2147483646 h 10"/>
                <a:gd name="T20" fmla="*/ 2147483646 w 113"/>
                <a:gd name="T21" fmla="*/ 2147483646 h 10"/>
                <a:gd name="T22" fmla="*/ 2147483646 w 113"/>
                <a:gd name="T23" fmla="*/ 2147483646 h 10"/>
                <a:gd name="T24" fmla="*/ 2147483646 w 1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3" h="10">
                  <a:moveTo>
                    <a:pt x="3" y="10"/>
                  </a:moveTo>
                  <a:lnTo>
                    <a:pt x="0" y="7"/>
                  </a:lnTo>
                  <a:lnTo>
                    <a:pt x="0" y="3"/>
                  </a:lnTo>
                  <a:lnTo>
                    <a:pt x="0" y="0"/>
                  </a:lnTo>
                  <a:lnTo>
                    <a:pt x="3" y="0"/>
                  </a:lnTo>
                  <a:lnTo>
                    <a:pt x="110" y="0"/>
                  </a:lnTo>
                  <a:lnTo>
                    <a:pt x="113" y="0"/>
                  </a:lnTo>
                  <a:lnTo>
                    <a:pt x="113" y="3"/>
                  </a:lnTo>
                  <a:lnTo>
                    <a:pt x="113" y="7"/>
                  </a:lnTo>
                  <a:lnTo>
                    <a:pt x="1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3" name="Freeform 299">
              <a:extLst>
                <a:ext uri="{FF2B5EF4-FFF2-40B4-BE49-F238E27FC236}">
                  <a16:creationId xmlns:a16="http://schemas.microsoft.com/office/drawing/2014/main" id="{5A612F68-DDC7-C44B-8D19-839D30D5F5E0}"/>
                </a:ext>
              </a:extLst>
            </p:cNvPr>
            <p:cNvSpPr>
              <a:spLocks/>
            </p:cNvSpPr>
            <p:nvPr/>
          </p:nvSpPr>
          <p:spPr bwMode="auto">
            <a:xfrm>
              <a:off x="3750606" y="2029606"/>
              <a:ext cx="75590" cy="9928"/>
            </a:xfrm>
            <a:custGeom>
              <a:avLst/>
              <a:gdLst>
                <a:gd name="T0" fmla="*/ 2147483646 w 65"/>
                <a:gd name="T1" fmla="*/ 2147483646 h 10"/>
                <a:gd name="T2" fmla="*/ 0 w 65"/>
                <a:gd name="T3" fmla="*/ 2147483646 h 10"/>
                <a:gd name="T4" fmla="*/ 0 w 65"/>
                <a:gd name="T5" fmla="*/ 2147483646 h 10"/>
                <a:gd name="T6" fmla="*/ 0 w 65"/>
                <a:gd name="T7" fmla="*/ 2147483646 h 10"/>
                <a:gd name="T8" fmla="*/ 0 w 65"/>
                <a:gd name="T9" fmla="*/ 0 h 10"/>
                <a:gd name="T10" fmla="*/ 2147483646 w 65"/>
                <a:gd name="T11" fmla="*/ 0 h 10"/>
                <a:gd name="T12" fmla="*/ 2147483646 w 65"/>
                <a:gd name="T13" fmla="*/ 0 h 10"/>
                <a:gd name="T14" fmla="*/ 2147483646 w 65"/>
                <a:gd name="T15" fmla="*/ 0 h 10"/>
                <a:gd name="T16" fmla="*/ 2147483646 w 65"/>
                <a:gd name="T17" fmla="*/ 2147483646 h 10"/>
                <a:gd name="T18" fmla="*/ 2147483646 w 65"/>
                <a:gd name="T19" fmla="*/ 2147483646 h 10"/>
                <a:gd name="T20" fmla="*/ 2147483646 w 65"/>
                <a:gd name="T21" fmla="*/ 2147483646 h 10"/>
                <a:gd name="T22" fmla="*/ 2147483646 w 65"/>
                <a:gd name="T23" fmla="*/ 2147483646 h 10"/>
                <a:gd name="T24" fmla="*/ 2147483646 w 6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0">
                  <a:moveTo>
                    <a:pt x="4" y="10"/>
                  </a:moveTo>
                  <a:lnTo>
                    <a:pt x="0" y="7"/>
                  </a:lnTo>
                  <a:lnTo>
                    <a:pt x="0" y="3"/>
                  </a:lnTo>
                  <a:lnTo>
                    <a:pt x="0" y="0"/>
                  </a:lnTo>
                  <a:lnTo>
                    <a:pt x="4" y="0"/>
                  </a:lnTo>
                  <a:lnTo>
                    <a:pt x="62" y="0"/>
                  </a:lnTo>
                  <a:lnTo>
                    <a:pt x="65" y="0"/>
                  </a:lnTo>
                  <a:lnTo>
                    <a:pt x="65" y="3"/>
                  </a:lnTo>
                  <a:lnTo>
                    <a:pt x="65" y="7"/>
                  </a:lnTo>
                  <a:lnTo>
                    <a:pt x="62"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4" name="Freeform 300">
              <a:extLst>
                <a:ext uri="{FF2B5EF4-FFF2-40B4-BE49-F238E27FC236}">
                  <a16:creationId xmlns:a16="http://schemas.microsoft.com/office/drawing/2014/main" id="{5E854613-A3E8-B346-B32A-3019B1100D77}"/>
                </a:ext>
              </a:extLst>
            </p:cNvPr>
            <p:cNvSpPr>
              <a:spLocks/>
            </p:cNvSpPr>
            <p:nvPr/>
          </p:nvSpPr>
          <p:spPr bwMode="auto">
            <a:xfrm>
              <a:off x="3818055" y="2029606"/>
              <a:ext cx="461680" cy="9928"/>
            </a:xfrm>
            <a:custGeom>
              <a:avLst/>
              <a:gdLst>
                <a:gd name="T0" fmla="*/ 2147483646 w 397"/>
                <a:gd name="T1" fmla="*/ 2147483646 h 10"/>
                <a:gd name="T2" fmla="*/ 0 w 397"/>
                <a:gd name="T3" fmla="*/ 2147483646 h 10"/>
                <a:gd name="T4" fmla="*/ 0 w 397"/>
                <a:gd name="T5" fmla="*/ 2147483646 h 10"/>
                <a:gd name="T6" fmla="*/ 0 w 397"/>
                <a:gd name="T7" fmla="*/ 2147483646 h 10"/>
                <a:gd name="T8" fmla="*/ 0 w 397"/>
                <a:gd name="T9" fmla="*/ 0 h 10"/>
                <a:gd name="T10" fmla="*/ 2147483646 w 397"/>
                <a:gd name="T11" fmla="*/ 0 h 10"/>
                <a:gd name="T12" fmla="*/ 2147483646 w 397"/>
                <a:gd name="T13" fmla="*/ 0 h 10"/>
                <a:gd name="T14" fmla="*/ 2147483646 w 397"/>
                <a:gd name="T15" fmla="*/ 0 h 10"/>
                <a:gd name="T16" fmla="*/ 2147483646 w 397"/>
                <a:gd name="T17" fmla="*/ 2147483646 h 10"/>
                <a:gd name="T18" fmla="*/ 2147483646 w 397"/>
                <a:gd name="T19" fmla="*/ 2147483646 h 10"/>
                <a:gd name="T20" fmla="*/ 2147483646 w 397"/>
                <a:gd name="T21" fmla="*/ 2147483646 h 10"/>
                <a:gd name="T22" fmla="*/ 2147483646 w 397"/>
                <a:gd name="T23" fmla="*/ 2147483646 h 10"/>
                <a:gd name="T24" fmla="*/ 2147483646 w 39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7" h="10">
                  <a:moveTo>
                    <a:pt x="4" y="10"/>
                  </a:moveTo>
                  <a:lnTo>
                    <a:pt x="0" y="7"/>
                  </a:lnTo>
                  <a:lnTo>
                    <a:pt x="0" y="3"/>
                  </a:lnTo>
                  <a:lnTo>
                    <a:pt x="0" y="0"/>
                  </a:lnTo>
                  <a:lnTo>
                    <a:pt x="4" y="0"/>
                  </a:lnTo>
                  <a:lnTo>
                    <a:pt x="394" y="0"/>
                  </a:lnTo>
                  <a:lnTo>
                    <a:pt x="397" y="0"/>
                  </a:lnTo>
                  <a:lnTo>
                    <a:pt x="397" y="3"/>
                  </a:lnTo>
                  <a:lnTo>
                    <a:pt x="397" y="7"/>
                  </a:lnTo>
                  <a:lnTo>
                    <a:pt x="394"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5" name="Freeform 301">
              <a:extLst>
                <a:ext uri="{FF2B5EF4-FFF2-40B4-BE49-F238E27FC236}">
                  <a16:creationId xmlns:a16="http://schemas.microsoft.com/office/drawing/2014/main" id="{AA7D6F39-D875-294B-9DB8-8816D346D390}"/>
                </a:ext>
              </a:extLst>
            </p:cNvPr>
            <p:cNvSpPr>
              <a:spLocks/>
            </p:cNvSpPr>
            <p:nvPr/>
          </p:nvSpPr>
          <p:spPr bwMode="auto">
            <a:xfrm>
              <a:off x="4271595" y="2029606"/>
              <a:ext cx="158157" cy="9928"/>
            </a:xfrm>
            <a:custGeom>
              <a:avLst/>
              <a:gdLst>
                <a:gd name="T0" fmla="*/ 2147483646 w 136"/>
                <a:gd name="T1" fmla="*/ 2147483646 h 10"/>
                <a:gd name="T2" fmla="*/ 0 w 136"/>
                <a:gd name="T3" fmla="*/ 2147483646 h 10"/>
                <a:gd name="T4" fmla="*/ 0 w 136"/>
                <a:gd name="T5" fmla="*/ 2147483646 h 10"/>
                <a:gd name="T6" fmla="*/ 0 w 136"/>
                <a:gd name="T7" fmla="*/ 2147483646 h 10"/>
                <a:gd name="T8" fmla="*/ 0 w 136"/>
                <a:gd name="T9" fmla="*/ 0 h 10"/>
                <a:gd name="T10" fmla="*/ 2147483646 w 136"/>
                <a:gd name="T11" fmla="*/ 0 h 10"/>
                <a:gd name="T12" fmla="*/ 2147483646 w 136"/>
                <a:gd name="T13" fmla="*/ 0 h 10"/>
                <a:gd name="T14" fmla="*/ 2147483646 w 136"/>
                <a:gd name="T15" fmla="*/ 0 h 10"/>
                <a:gd name="T16" fmla="*/ 2147483646 w 136"/>
                <a:gd name="T17" fmla="*/ 2147483646 h 10"/>
                <a:gd name="T18" fmla="*/ 2147483646 w 136"/>
                <a:gd name="T19" fmla="*/ 2147483646 h 10"/>
                <a:gd name="T20" fmla="*/ 2147483646 w 136"/>
                <a:gd name="T21" fmla="*/ 2147483646 h 10"/>
                <a:gd name="T22" fmla="*/ 2147483646 w 136"/>
                <a:gd name="T23" fmla="*/ 2147483646 h 10"/>
                <a:gd name="T24" fmla="*/ 2147483646 w 1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6" h="10">
                  <a:moveTo>
                    <a:pt x="4" y="10"/>
                  </a:moveTo>
                  <a:lnTo>
                    <a:pt x="0" y="7"/>
                  </a:lnTo>
                  <a:lnTo>
                    <a:pt x="0" y="3"/>
                  </a:lnTo>
                  <a:lnTo>
                    <a:pt x="0" y="0"/>
                  </a:lnTo>
                  <a:lnTo>
                    <a:pt x="4" y="0"/>
                  </a:lnTo>
                  <a:lnTo>
                    <a:pt x="132" y="0"/>
                  </a:lnTo>
                  <a:lnTo>
                    <a:pt x="136" y="0"/>
                  </a:lnTo>
                  <a:lnTo>
                    <a:pt x="136" y="3"/>
                  </a:lnTo>
                  <a:lnTo>
                    <a:pt x="136" y="7"/>
                  </a:lnTo>
                  <a:lnTo>
                    <a:pt x="132"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6" name="Freeform 302">
              <a:extLst>
                <a:ext uri="{FF2B5EF4-FFF2-40B4-BE49-F238E27FC236}">
                  <a16:creationId xmlns:a16="http://schemas.microsoft.com/office/drawing/2014/main" id="{F326067E-2556-434A-8EA7-D4431D437BB9}"/>
                </a:ext>
              </a:extLst>
            </p:cNvPr>
            <p:cNvSpPr>
              <a:spLocks/>
            </p:cNvSpPr>
            <p:nvPr/>
          </p:nvSpPr>
          <p:spPr bwMode="auto">
            <a:xfrm>
              <a:off x="921217" y="2836788"/>
              <a:ext cx="82568" cy="9928"/>
            </a:xfrm>
            <a:custGeom>
              <a:avLst/>
              <a:gdLst>
                <a:gd name="T0" fmla="*/ 2147483646 w 71"/>
                <a:gd name="T1" fmla="*/ 2147483646 h 10"/>
                <a:gd name="T2" fmla="*/ 0 w 71"/>
                <a:gd name="T3" fmla="*/ 2147483646 h 10"/>
                <a:gd name="T4" fmla="*/ 0 w 71"/>
                <a:gd name="T5" fmla="*/ 2147483646 h 10"/>
                <a:gd name="T6" fmla="*/ 0 w 71"/>
                <a:gd name="T7" fmla="*/ 2147483646 h 10"/>
                <a:gd name="T8" fmla="*/ 0 w 71"/>
                <a:gd name="T9" fmla="*/ 0 h 10"/>
                <a:gd name="T10" fmla="*/ 2147483646 w 71"/>
                <a:gd name="T11" fmla="*/ 0 h 10"/>
                <a:gd name="T12" fmla="*/ 2147483646 w 71"/>
                <a:gd name="T13" fmla="*/ 0 h 10"/>
                <a:gd name="T14" fmla="*/ 2147483646 w 71"/>
                <a:gd name="T15" fmla="*/ 0 h 10"/>
                <a:gd name="T16" fmla="*/ 2147483646 w 71"/>
                <a:gd name="T17" fmla="*/ 2147483646 h 10"/>
                <a:gd name="T18" fmla="*/ 2147483646 w 71"/>
                <a:gd name="T19" fmla="*/ 2147483646 h 10"/>
                <a:gd name="T20" fmla="*/ 2147483646 w 71"/>
                <a:gd name="T21" fmla="*/ 2147483646 h 10"/>
                <a:gd name="T22" fmla="*/ 2147483646 w 71"/>
                <a:gd name="T23" fmla="*/ 2147483646 h 10"/>
                <a:gd name="T24" fmla="*/ 2147483646 w 7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0">
                  <a:moveTo>
                    <a:pt x="4" y="10"/>
                  </a:moveTo>
                  <a:lnTo>
                    <a:pt x="0" y="7"/>
                  </a:lnTo>
                  <a:lnTo>
                    <a:pt x="0" y="3"/>
                  </a:lnTo>
                  <a:lnTo>
                    <a:pt x="0" y="0"/>
                  </a:lnTo>
                  <a:lnTo>
                    <a:pt x="4" y="0"/>
                  </a:lnTo>
                  <a:lnTo>
                    <a:pt x="68" y="0"/>
                  </a:lnTo>
                  <a:lnTo>
                    <a:pt x="71" y="0"/>
                  </a:lnTo>
                  <a:lnTo>
                    <a:pt x="71" y="3"/>
                  </a:lnTo>
                  <a:lnTo>
                    <a:pt x="71" y="7"/>
                  </a:lnTo>
                  <a:lnTo>
                    <a:pt x="68"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7" name="Freeform 303">
              <a:extLst>
                <a:ext uri="{FF2B5EF4-FFF2-40B4-BE49-F238E27FC236}">
                  <a16:creationId xmlns:a16="http://schemas.microsoft.com/office/drawing/2014/main" id="{A6FA6D6E-F523-FF4F-A00E-B1389B1770F8}"/>
                </a:ext>
              </a:extLst>
            </p:cNvPr>
            <p:cNvSpPr>
              <a:spLocks/>
            </p:cNvSpPr>
            <p:nvPr/>
          </p:nvSpPr>
          <p:spPr bwMode="auto">
            <a:xfrm>
              <a:off x="996808" y="2836788"/>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8" name="Freeform 304">
              <a:extLst>
                <a:ext uri="{FF2B5EF4-FFF2-40B4-BE49-F238E27FC236}">
                  <a16:creationId xmlns:a16="http://schemas.microsoft.com/office/drawing/2014/main" id="{3444128F-0DF4-4446-A6E2-756113D965DD}"/>
                </a:ext>
              </a:extLst>
            </p:cNvPr>
            <p:cNvSpPr>
              <a:spLocks/>
            </p:cNvSpPr>
            <p:nvPr/>
          </p:nvSpPr>
          <p:spPr bwMode="auto">
            <a:xfrm>
              <a:off x="1007273" y="283083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9" name="Freeform 305">
              <a:extLst>
                <a:ext uri="{FF2B5EF4-FFF2-40B4-BE49-F238E27FC236}">
                  <a16:creationId xmlns:a16="http://schemas.microsoft.com/office/drawing/2014/main" id="{AF40CCD6-0EFE-C44B-8FA9-D3A0389CD52A}"/>
                </a:ext>
              </a:extLst>
            </p:cNvPr>
            <p:cNvSpPr>
              <a:spLocks/>
            </p:cNvSpPr>
            <p:nvPr/>
          </p:nvSpPr>
          <p:spPr bwMode="auto">
            <a:xfrm>
              <a:off x="1007273" y="283083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0" name="Freeform 306">
              <a:extLst>
                <a:ext uri="{FF2B5EF4-FFF2-40B4-BE49-F238E27FC236}">
                  <a16:creationId xmlns:a16="http://schemas.microsoft.com/office/drawing/2014/main" id="{5370E6B3-95CC-BE40-8B30-8E701F0A88EC}"/>
                </a:ext>
              </a:extLst>
            </p:cNvPr>
            <p:cNvSpPr>
              <a:spLocks/>
            </p:cNvSpPr>
            <p:nvPr/>
          </p:nvSpPr>
          <p:spPr bwMode="auto">
            <a:xfrm>
              <a:off x="1015414" y="282388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1" name="Freeform 307">
              <a:extLst>
                <a:ext uri="{FF2B5EF4-FFF2-40B4-BE49-F238E27FC236}">
                  <a16:creationId xmlns:a16="http://schemas.microsoft.com/office/drawing/2014/main" id="{500965D0-2768-D540-B059-826563084874}"/>
                </a:ext>
              </a:extLst>
            </p:cNvPr>
            <p:cNvSpPr>
              <a:spLocks/>
            </p:cNvSpPr>
            <p:nvPr/>
          </p:nvSpPr>
          <p:spPr bwMode="auto">
            <a:xfrm>
              <a:off x="1015414" y="282388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2" name="Freeform 308">
              <a:extLst>
                <a:ext uri="{FF2B5EF4-FFF2-40B4-BE49-F238E27FC236}">
                  <a16:creationId xmlns:a16="http://schemas.microsoft.com/office/drawing/2014/main" id="{D8773A71-AB24-B14D-B356-97CEDFD0ADC1}"/>
                </a:ext>
              </a:extLst>
            </p:cNvPr>
            <p:cNvSpPr>
              <a:spLocks/>
            </p:cNvSpPr>
            <p:nvPr/>
          </p:nvSpPr>
          <p:spPr bwMode="auto">
            <a:xfrm>
              <a:off x="1022392" y="281792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3" name="Freeform 309">
              <a:extLst>
                <a:ext uri="{FF2B5EF4-FFF2-40B4-BE49-F238E27FC236}">
                  <a16:creationId xmlns:a16="http://schemas.microsoft.com/office/drawing/2014/main" id="{3622CDCB-2558-394E-92B7-D980BEF8E97F}"/>
                </a:ext>
              </a:extLst>
            </p:cNvPr>
            <p:cNvSpPr>
              <a:spLocks/>
            </p:cNvSpPr>
            <p:nvPr/>
          </p:nvSpPr>
          <p:spPr bwMode="auto">
            <a:xfrm>
              <a:off x="1022392" y="281792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4" name="Freeform 310">
              <a:extLst>
                <a:ext uri="{FF2B5EF4-FFF2-40B4-BE49-F238E27FC236}">
                  <a16:creationId xmlns:a16="http://schemas.microsoft.com/office/drawing/2014/main" id="{86295247-00A7-4049-8C85-85E2101E55EB}"/>
                </a:ext>
              </a:extLst>
            </p:cNvPr>
            <p:cNvSpPr>
              <a:spLocks/>
            </p:cNvSpPr>
            <p:nvPr/>
          </p:nvSpPr>
          <p:spPr bwMode="auto">
            <a:xfrm>
              <a:off x="1027044" y="2807995"/>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5" name="Freeform 311">
              <a:extLst>
                <a:ext uri="{FF2B5EF4-FFF2-40B4-BE49-F238E27FC236}">
                  <a16:creationId xmlns:a16="http://schemas.microsoft.com/office/drawing/2014/main" id="{4DB69F86-1213-7343-9996-51D93F1AE21C}"/>
                </a:ext>
              </a:extLst>
            </p:cNvPr>
            <p:cNvSpPr>
              <a:spLocks/>
            </p:cNvSpPr>
            <p:nvPr/>
          </p:nvSpPr>
          <p:spPr bwMode="auto">
            <a:xfrm>
              <a:off x="1027044" y="2807995"/>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6" name="Freeform 312">
              <a:extLst>
                <a:ext uri="{FF2B5EF4-FFF2-40B4-BE49-F238E27FC236}">
                  <a16:creationId xmlns:a16="http://schemas.microsoft.com/office/drawing/2014/main" id="{D00A1317-6DE1-CD4A-AA58-A365D9105A63}"/>
                </a:ext>
              </a:extLst>
            </p:cNvPr>
            <p:cNvSpPr>
              <a:spLocks/>
            </p:cNvSpPr>
            <p:nvPr/>
          </p:nvSpPr>
          <p:spPr bwMode="auto">
            <a:xfrm>
              <a:off x="1030532" y="280203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7" name="Freeform 313">
              <a:extLst>
                <a:ext uri="{FF2B5EF4-FFF2-40B4-BE49-F238E27FC236}">
                  <a16:creationId xmlns:a16="http://schemas.microsoft.com/office/drawing/2014/main" id="{A2908F8C-CF23-D54F-B282-2D1F21843222}"/>
                </a:ext>
              </a:extLst>
            </p:cNvPr>
            <p:cNvSpPr>
              <a:spLocks/>
            </p:cNvSpPr>
            <p:nvPr/>
          </p:nvSpPr>
          <p:spPr bwMode="auto">
            <a:xfrm>
              <a:off x="1030532" y="280203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8" name="Freeform 314">
              <a:extLst>
                <a:ext uri="{FF2B5EF4-FFF2-40B4-BE49-F238E27FC236}">
                  <a16:creationId xmlns:a16="http://schemas.microsoft.com/office/drawing/2014/main" id="{1E6272DE-F3A0-0540-9AC0-DF5E384FF894}"/>
                </a:ext>
              </a:extLst>
            </p:cNvPr>
            <p:cNvSpPr>
              <a:spLocks/>
            </p:cNvSpPr>
            <p:nvPr/>
          </p:nvSpPr>
          <p:spPr bwMode="auto">
            <a:xfrm>
              <a:off x="1040999" y="279508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9" name="Freeform 315">
              <a:extLst>
                <a:ext uri="{FF2B5EF4-FFF2-40B4-BE49-F238E27FC236}">
                  <a16:creationId xmlns:a16="http://schemas.microsoft.com/office/drawing/2014/main" id="{A3D05CE9-B2A0-9443-9258-FA265DC059E0}"/>
                </a:ext>
              </a:extLst>
            </p:cNvPr>
            <p:cNvSpPr>
              <a:spLocks/>
            </p:cNvSpPr>
            <p:nvPr/>
          </p:nvSpPr>
          <p:spPr bwMode="auto">
            <a:xfrm>
              <a:off x="1040999" y="278913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0" name="Freeform 316">
              <a:extLst>
                <a:ext uri="{FF2B5EF4-FFF2-40B4-BE49-F238E27FC236}">
                  <a16:creationId xmlns:a16="http://schemas.microsoft.com/office/drawing/2014/main" id="{2DAB3EC9-2068-0B42-85A4-8EA446CF96D4}"/>
                </a:ext>
              </a:extLst>
            </p:cNvPr>
            <p:cNvSpPr>
              <a:spLocks/>
            </p:cNvSpPr>
            <p:nvPr/>
          </p:nvSpPr>
          <p:spPr bwMode="auto">
            <a:xfrm>
              <a:off x="1040999" y="278218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1" name="Freeform 317">
              <a:extLst>
                <a:ext uri="{FF2B5EF4-FFF2-40B4-BE49-F238E27FC236}">
                  <a16:creationId xmlns:a16="http://schemas.microsoft.com/office/drawing/2014/main" id="{B27B31D6-AC14-FB44-B480-18184C14A5CD}"/>
                </a:ext>
              </a:extLst>
            </p:cNvPr>
            <p:cNvSpPr>
              <a:spLocks/>
            </p:cNvSpPr>
            <p:nvPr/>
          </p:nvSpPr>
          <p:spPr bwMode="auto">
            <a:xfrm>
              <a:off x="1040999" y="278218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2" name="Freeform 318">
              <a:extLst>
                <a:ext uri="{FF2B5EF4-FFF2-40B4-BE49-F238E27FC236}">
                  <a16:creationId xmlns:a16="http://schemas.microsoft.com/office/drawing/2014/main" id="{379ACF07-5424-B44E-A12B-82A4D17DF825}"/>
                </a:ext>
              </a:extLst>
            </p:cNvPr>
            <p:cNvSpPr>
              <a:spLocks/>
            </p:cNvSpPr>
            <p:nvPr/>
          </p:nvSpPr>
          <p:spPr bwMode="auto">
            <a:xfrm>
              <a:off x="1045650" y="2776224"/>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3" name="Freeform 319">
              <a:extLst>
                <a:ext uri="{FF2B5EF4-FFF2-40B4-BE49-F238E27FC236}">
                  <a16:creationId xmlns:a16="http://schemas.microsoft.com/office/drawing/2014/main" id="{7D6EA75E-9159-2A4D-AF1E-496CC3CC203C}"/>
                </a:ext>
              </a:extLst>
            </p:cNvPr>
            <p:cNvSpPr>
              <a:spLocks/>
            </p:cNvSpPr>
            <p:nvPr/>
          </p:nvSpPr>
          <p:spPr bwMode="auto">
            <a:xfrm>
              <a:off x="1045650" y="277622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4" name="Freeform 320">
              <a:extLst>
                <a:ext uri="{FF2B5EF4-FFF2-40B4-BE49-F238E27FC236}">
                  <a16:creationId xmlns:a16="http://schemas.microsoft.com/office/drawing/2014/main" id="{A6E770FE-6761-EE40-9291-0A51A646CC8E}"/>
                </a:ext>
              </a:extLst>
            </p:cNvPr>
            <p:cNvSpPr>
              <a:spLocks/>
            </p:cNvSpPr>
            <p:nvPr/>
          </p:nvSpPr>
          <p:spPr bwMode="auto">
            <a:xfrm>
              <a:off x="1052628" y="276927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4"/>
                  </a:lnTo>
                  <a:lnTo>
                    <a:pt x="0" y="0"/>
                  </a:lnTo>
                  <a:lnTo>
                    <a:pt x="3"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5" name="Freeform 321">
              <a:extLst>
                <a:ext uri="{FF2B5EF4-FFF2-40B4-BE49-F238E27FC236}">
                  <a16:creationId xmlns:a16="http://schemas.microsoft.com/office/drawing/2014/main" id="{3765285C-853F-9A47-9072-DAE61F8DAC55}"/>
                </a:ext>
              </a:extLst>
            </p:cNvPr>
            <p:cNvSpPr>
              <a:spLocks/>
            </p:cNvSpPr>
            <p:nvPr/>
          </p:nvSpPr>
          <p:spPr bwMode="auto">
            <a:xfrm>
              <a:off x="1052628" y="2766296"/>
              <a:ext cx="11629" cy="9928"/>
            </a:xfrm>
            <a:custGeom>
              <a:avLst/>
              <a:gdLst>
                <a:gd name="T0" fmla="*/ 2147483646 w 10"/>
                <a:gd name="T1" fmla="*/ 2147483646 h 10"/>
                <a:gd name="T2" fmla="*/ 2147483646 w 10"/>
                <a:gd name="T3" fmla="*/ 2147483646 h 10"/>
                <a:gd name="T4" fmla="*/ 2147483646 w 10"/>
                <a:gd name="T5" fmla="*/ 2147483646 h 10"/>
                <a:gd name="T6" fmla="*/ 2147483646 w 10"/>
                <a:gd name="T7" fmla="*/ 2147483646 h 10"/>
                <a:gd name="T8" fmla="*/ 0 w 10"/>
                <a:gd name="T9" fmla="*/ 2147483646 h 10"/>
                <a:gd name="T10" fmla="*/ 0 w 10"/>
                <a:gd name="T11" fmla="*/ 2147483646 h 10"/>
                <a:gd name="T12" fmla="*/ 0 w 10"/>
                <a:gd name="T13" fmla="*/ 2147483646 h 10"/>
                <a:gd name="T14" fmla="*/ 0 w 10"/>
                <a:gd name="T15" fmla="*/ 0 h 10"/>
                <a:gd name="T16" fmla="*/ 2147483646 w 10"/>
                <a:gd name="T17" fmla="*/ 0 h 10"/>
                <a:gd name="T18" fmla="*/ 2147483646 w 10"/>
                <a:gd name="T19" fmla="*/ 0 h 10"/>
                <a:gd name="T20" fmla="*/ 2147483646 w 10"/>
                <a:gd name="T21" fmla="*/ 0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10" y="7"/>
                  </a:moveTo>
                  <a:lnTo>
                    <a:pt x="7" y="10"/>
                  </a:lnTo>
                  <a:lnTo>
                    <a:pt x="3" y="10"/>
                  </a:lnTo>
                  <a:lnTo>
                    <a:pt x="0" y="10"/>
                  </a:lnTo>
                  <a:lnTo>
                    <a:pt x="0" y="7"/>
                  </a:lnTo>
                  <a:lnTo>
                    <a:pt x="0" y="3"/>
                  </a:lnTo>
                  <a:lnTo>
                    <a:pt x="0" y="0"/>
                  </a:lnTo>
                  <a:lnTo>
                    <a:pt x="3" y="0"/>
                  </a:lnTo>
                  <a:lnTo>
                    <a:pt x="7" y="0"/>
                  </a:lnTo>
                  <a:lnTo>
                    <a:pt x="10" y="3"/>
                  </a:lnTo>
                  <a:lnTo>
                    <a:pt x="10" y="7"/>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6" name="Freeform 322">
              <a:extLst>
                <a:ext uri="{FF2B5EF4-FFF2-40B4-BE49-F238E27FC236}">
                  <a16:creationId xmlns:a16="http://schemas.microsoft.com/office/drawing/2014/main" id="{04259388-AC6B-D245-A46B-049FBF6686F4}"/>
                </a:ext>
              </a:extLst>
            </p:cNvPr>
            <p:cNvSpPr>
              <a:spLocks/>
            </p:cNvSpPr>
            <p:nvPr/>
          </p:nvSpPr>
          <p:spPr bwMode="auto">
            <a:xfrm>
              <a:off x="1052628" y="2766296"/>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7" name="Freeform 323">
              <a:extLst>
                <a:ext uri="{FF2B5EF4-FFF2-40B4-BE49-F238E27FC236}">
                  <a16:creationId xmlns:a16="http://schemas.microsoft.com/office/drawing/2014/main" id="{36C34D8C-4993-0744-BE8B-AB3A15B59F9C}"/>
                </a:ext>
              </a:extLst>
            </p:cNvPr>
            <p:cNvSpPr>
              <a:spLocks/>
            </p:cNvSpPr>
            <p:nvPr/>
          </p:nvSpPr>
          <p:spPr bwMode="auto">
            <a:xfrm>
              <a:off x="1064257" y="2753389"/>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8" name="Freeform 324">
              <a:extLst>
                <a:ext uri="{FF2B5EF4-FFF2-40B4-BE49-F238E27FC236}">
                  <a16:creationId xmlns:a16="http://schemas.microsoft.com/office/drawing/2014/main" id="{E389D86E-8764-984D-A17D-EF64D7DB025F}"/>
                </a:ext>
              </a:extLst>
            </p:cNvPr>
            <p:cNvSpPr>
              <a:spLocks/>
            </p:cNvSpPr>
            <p:nvPr/>
          </p:nvSpPr>
          <p:spPr bwMode="auto">
            <a:xfrm>
              <a:off x="1064257" y="2747432"/>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9" name="Freeform 325">
              <a:extLst>
                <a:ext uri="{FF2B5EF4-FFF2-40B4-BE49-F238E27FC236}">
                  <a16:creationId xmlns:a16="http://schemas.microsoft.com/office/drawing/2014/main" id="{021C2672-A833-6F4E-A28A-3C008980DB2D}"/>
                </a:ext>
              </a:extLst>
            </p:cNvPr>
            <p:cNvSpPr>
              <a:spLocks/>
            </p:cNvSpPr>
            <p:nvPr/>
          </p:nvSpPr>
          <p:spPr bwMode="auto">
            <a:xfrm>
              <a:off x="1064257" y="2747432"/>
              <a:ext cx="37213" cy="9928"/>
            </a:xfrm>
            <a:custGeom>
              <a:avLst/>
              <a:gdLst>
                <a:gd name="T0" fmla="*/ 2147483646 w 32"/>
                <a:gd name="T1" fmla="*/ 2147483646 h 10"/>
                <a:gd name="T2" fmla="*/ 0 w 32"/>
                <a:gd name="T3" fmla="*/ 2147483646 h 10"/>
                <a:gd name="T4" fmla="*/ 0 w 32"/>
                <a:gd name="T5" fmla="*/ 2147483646 h 10"/>
                <a:gd name="T6" fmla="*/ 0 w 32"/>
                <a:gd name="T7" fmla="*/ 2147483646 h 10"/>
                <a:gd name="T8" fmla="*/ 0 w 32"/>
                <a:gd name="T9" fmla="*/ 0 h 10"/>
                <a:gd name="T10" fmla="*/ 2147483646 w 32"/>
                <a:gd name="T11" fmla="*/ 0 h 10"/>
                <a:gd name="T12" fmla="*/ 2147483646 w 32"/>
                <a:gd name="T13" fmla="*/ 0 h 10"/>
                <a:gd name="T14" fmla="*/ 2147483646 w 32"/>
                <a:gd name="T15" fmla="*/ 0 h 10"/>
                <a:gd name="T16" fmla="*/ 2147483646 w 32"/>
                <a:gd name="T17" fmla="*/ 2147483646 h 10"/>
                <a:gd name="T18" fmla="*/ 2147483646 w 32"/>
                <a:gd name="T19" fmla="*/ 2147483646 h 10"/>
                <a:gd name="T20" fmla="*/ 2147483646 w 32"/>
                <a:gd name="T21" fmla="*/ 2147483646 h 10"/>
                <a:gd name="T22" fmla="*/ 2147483646 w 32"/>
                <a:gd name="T23" fmla="*/ 2147483646 h 10"/>
                <a:gd name="T24" fmla="*/ 2147483646 w 3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10">
                  <a:moveTo>
                    <a:pt x="3" y="10"/>
                  </a:moveTo>
                  <a:lnTo>
                    <a:pt x="0" y="6"/>
                  </a:lnTo>
                  <a:lnTo>
                    <a:pt x="0" y="3"/>
                  </a:lnTo>
                  <a:lnTo>
                    <a:pt x="0" y="0"/>
                  </a:lnTo>
                  <a:lnTo>
                    <a:pt x="3" y="0"/>
                  </a:lnTo>
                  <a:lnTo>
                    <a:pt x="29" y="0"/>
                  </a:lnTo>
                  <a:lnTo>
                    <a:pt x="32" y="0"/>
                  </a:lnTo>
                  <a:lnTo>
                    <a:pt x="32" y="3"/>
                  </a:lnTo>
                  <a:lnTo>
                    <a:pt x="32" y="6"/>
                  </a:lnTo>
                  <a:lnTo>
                    <a:pt x="2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0" name="Freeform 326">
              <a:extLst>
                <a:ext uri="{FF2B5EF4-FFF2-40B4-BE49-F238E27FC236}">
                  <a16:creationId xmlns:a16="http://schemas.microsoft.com/office/drawing/2014/main" id="{19F04847-E458-7547-8FEB-BECF1C3A7B48}"/>
                </a:ext>
              </a:extLst>
            </p:cNvPr>
            <p:cNvSpPr>
              <a:spLocks/>
            </p:cNvSpPr>
            <p:nvPr/>
          </p:nvSpPr>
          <p:spPr bwMode="auto">
            <a:xfrm>
              <a:off x="1094493" y="2740482"/>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1" name="Freeform 327">
              <a:extLst>
                <a:ext uri="{FF2B5EF4-FFF2-40B4-BE49-F238E27FC236}">
                  <a16:creationId xmlns:a16="http://schemas.microsoft.com/office/drawing/2014/main" id="{A1C5E400-31B5-1849-B9AB-6BEA25CF119B}"/>
                </a:ext>
              </a:extLst>
            </p:cNvPr>
            <p:cNvSpPr>
              <a:spLocks/>
            </p:cNvSpPr>
            <p:nvPr/>
          </p:nvSpPr>
          <p:spPr bwMode="auto">
            <a:xfrm>
              <a:off x="1094493" y="2740482"/>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4"/>
                  </a:lnTo>
                  <a:lnTo>
                    <a:pt x="0" y="0"/>
                  </a:lnTo>
                  <a:lnTo>
                    <a:pt x="3" y="0"/>
                  </a:lnTo>
                  <a:lnTo>
                    <a:pt x="9" y="0"/>
                  </a:lnTo>
                  <a:lnTo>
                    <a:pt x="12" y="0"/>
                  </a:lnTo>
                  <a:lnTo>
                    <a:pt x="12" y="4"/>
                  </a:lnTo>
                  <a:lnTo>
                    <a:pt x="12"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2" name="Freeform 328">
              <a:extLst>
                <a:ext uri="{FF2B5EF4-FFF2-40B4-BE49-F238E27FC236}">
                  <a16:creationId xmlns:a16="http://schemas.microsoft.com/office/drawing/2014/main" id="{C0903628-8656-0847-8F44-06984AB7FDFF}"/>
                </a:ext>
              </a:extLst>
            </p:cNvPr>
            <p:cNvSpPr>
              <a:spLocks/>
            </p:cNvSpPr>
            <p:nvPr/>
          </p:nvSpPr>
          <p:spPr bwMode="auto">
            <a:xfrm>
              <a:off x="1101470" y="273452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3" name="Freeform 329">
              <a:extLst>
                <a:ext uri="{FF2B5EF4-FFF2-40B4-BE49-F238E27FC236}">
                  <a16:creationId xmlns:a16="http://schemas.microsoft.com/office/drawing/2014/main" id="{7DD66033-F266-E04B-8FF3-04F207D3CEC7}"/>
                </a:ext>
              </a:extLst>
            </p:cNvPr>
            <p:cNvSpPr>
              <a:spLocks/>
            </p:cNvSpPr>
            <p:nvPr/>
          </p:nvSpPr>
          <p:spPr bwMode="auto">
            <a:xfrm>
              <a:off x="1101470" y="2734525"/>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4" name="Freeform 330">
              <a:extLst>
                <a:ext uri="{FF2B5EF4-FFF2-40B4-BE49-F238E27FC236}">
                  <a16:creationId xmlns:a16="http://schemas.microsoft.com/office/drawing/2014/main" id="{7C9115BF-6989-2C49-B155-34B3BE7DA763}"/>
                </a:ext>
              </a:extLst>
            </p:cNvPr>
            <p:cNvSpPr>
              <a:spLocks/>
            </p:cNvSpPr>
            <p:nvPr/>
          </p:nvSpPr>
          <p:spPr bwMode="auto">
            <a:xfrm>
              <a:off x="1116588" y="27345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5" name="Freeform 331">
              <a:extLst>
                <a:ext uri="{FF2B5EF4-FFF2-40B4-BE49-F238E27FC236}">
                  <a16:creationId xmlns:a16="http://schemas.microsoft.com/office/drawing/2014/main" id="{F2442C95-8A2B-FE46-A3E2-B309E17B7900}"/>
                </a:ext>
              </a:extLst>
            </p:cNvPr>
            <p:cNvSpPr>
              <a:spLocks/>
            </p:cNvSpPr>
            <p:nvPr/>
          </p:nvSpPr>
          <p:spPr bwMode="auto">
            <a:xfrm>
              <a:off x="1120077" y="2728568"/>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6" name="Freeform 332">
              <a:extLst>
                <a:ext uri="{FF2B5EF4-FFF2-40B4-BE49-F238E27FC236}">
                  <a16:creationId xmlns:a16="http://schemas.microsoft.com/office/drawing/2014/main" id="{357E8F0D-C6FA-B24B-A3E1-5AB793B92A58}"/>
                </a:ext>
              </a:extLst>
            </p:cNvPr>
            <p:cNvSpPr>
              <a:spLocks/>
            </p:cNvSpPr>
            <p:nvPr/>
          </p:nvSpPr>
          <p:spPr bwMode="auto">
            <a:xfrm>
              <a:off x="1120077" y="272856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7" name="Freeform 333">
              <a:extLst>
                <a:ext uri="{FF2B5EF4-FFF2-40B4-BE49-F238E27FC236}">
                  <a16:creationId xmlns:a16="http://schemas.microsoft.com/office/drawing/2014/main" id="{109E5B62-A2A7-2644-9B07-BFF268B57CBC}"/>
                </a:ext>
              </a:extLst>
            </p:cNvPr>
            <p:cNvSpPr>
              <a:spLocks/>
            </p:cNvSpPr>
            <p:nvPr/>
          </p:nvSpPr>
          <p:spPr bwMode="auto">
            <a:xfrm>
              <a:off x="1128217" y="2724596"/>
              <a:ext cx="10467" cy="9928"/>
            </a:xfrm>
            <a:custGeom>
              <a:avLst/>
              <a:gdLst>
                <a:gd name="T0" fmla="*/ 2147483646 w 9"/>
                <a:gd name="T1" fmla="*/ 2147483646 h 10"/>
                <a:gd name="T2" fmla="*/ 2147483646 w 9"/>
                <a:gd name="T3" fmla="*/ 2147483646 h 10"/>
                <a:gd name="T4" fmla="*/ 2147483646 w 9"/>
                <a:gd name="T5" fmla="*/ 2147483646 h 10"/>
                <a:gd name="T6" fmla="*/ 2147483646 w 9"/>
                <a:gd name="T7" fmla="*/ 2147483646 h 10"/>
                <a:gd name="T8" fmla="*/ 0 w 9"/>
                <a:gd name="T9" fmla="*/ 2147483646 h 10"/>
                <a:gd name="T10" fmla="*/ 0 w 9"/>
                <a:gd name="T11" fmla="*/ 2147483646 h 10"/>
                <a:gd name="T12" fmla="*/ 0 w 9"/>
                <a:gd name="T13" fmla="*/ 2147483646 h 10"/>
                <a:gd name="T14" fmla="*/ 0 w 9"/>
                <a:gd name="T15" fmla="*/ 0 h 10"/>
                <a:gd name="T16" fmla="*/ 2147483646 w 9"/>
                <a:gd name="T17" fmla="*/ 0 h 10"/>
                <a:gd name="T18" fmla="*/ 2147483646 w 9"/>
                <a:gd name="T19" fmla="*/ 0 h 10"/>
                <a:gd name="T20" fmla="*/ 2147483646 w 9"/>
                <a:gd name="T21" fmla="*/ 0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9" y="7"/>
                  </a:moveTo>
                  <a:lnTo>
                    <a:pt x="6" y="10"/>
                  </a:lnTo>
                  <a:lnTo>
                    <a:pt x="3" y="10"/>
                  </a:lnTo>
                  <a:lnTo>
                    <a:pt x="0" y="10"/>
                  </a:lnTo>
                  <a:lnTo>
                    <a:pt x="0" y="7"/>
                  </a:lnTo>
                  <a:lnTo>
                    <a:pt x="0" y="4"/>
                  </a:lnTo>
                  <a:lnTo>
                    <a:pt x="0" y="0"/>
                  </a:lnTo>
                  <a:lnTo>
                    <a:pt x="3" y="0"/>
                  </a:lnTo>
                  <a:lnTo>
                    <a:pt x="6" y="0"/>
                  </a:lnTo>
                  <a:lnTo>
                    <a:pt x="9" y="4"/>
                  </a:lnTo>
                  <a:lnTo>
                    <a:pt x="9" y="7"/>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8" name="Freeform 334">
              <a:extLst>
                <a:ext uri="{FF2B5EF4-FFF2-40B4-BE49-F238E27FC236}">
                  <a16:creationId xmlns:a16="http://schemas.microsoft.com/office/drawing/2014/main" id="{D0571537-1AB5-FF4E-8DEB-97676063FF12}"/>
                </a:ext>
              </a:extLst>
            </p:cNvPr>
            <p:cNvSpPr>
              <a:spLocks/>
            </p:cNvSpPr>
            <p:nvPr/>
          </p:nvSpPr>
          <p:spPr bwMode="auto">
            <a:xfrm>
              <a:off x="1128217" y="272459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9" name="Freeform 335">
              <a:extLst>
                <a:ext uri="{FF2B5EF4-FFF2-40B4-BE49-F238E27FC236}">
                  <a16:creationId xmlns:a16="http://schemas.microsoft.com/office/drawing/2014/main" id="{18B4A804-F170-9745-9711-571392A4054E}"/>
                </a:ext>
              </a:extLst>
            </p:cNvPr>
            <p:cNvSpPr>
              <a:spLocks/>
            </p:cNvSpPr>
            <p:nvPr/>
          </p:nvSpPr>
          <p:spPr bwMode="auto">
            <a:xfrm>
              <a:off x="1131706" y="2718639"/>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0" name="Freeform 336">
              <a:extLst>
                <a:ext uri="{FF2B5EF4-FFF2-40B4-BE49-F238E27FC236}">
                  <a16:creationId xmlns:a16="http://schemas.microsoft.com/office/drawing/2014/main" id="{5758FC65-7E59-0748-8C0B-2570C9B86FB3}"/>
                </a:ext>
              </a:extLst>
            </p:cNvPr>
            <p:cNvSpPr>
              <a:spLocks/>
            </p:cNvSpPr>
            <p:nvPr/>
          </p:nvSpPr>
          <p:spPr bwMode="auto">
            <a:xfrm>
              <a:off x="1131706" y="2718639"/>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1" name="Freeform 337">
              <a:extLst>
                <a:ext uri="{FF2B5EF4-FFF2-40B4-BE49-F238E27FC236}">
                  <a16:creationId xmlns:a16="http://schemas.microsoft.com/office/drawing/2014/main" id="{DC72C07A-2E6F-CE47-BBE5-9F80BD7D378D}"/>
                </a:ext>
              </a:extLst>
            </p:cNvPr>
            <p:cNvSpPr>
              <a:spLocks/>
            </p:cNvSpPr>
            <p:nvPr/>
          </p:nvSpPr>
          <p:spPr bwMode="auto">
            <a:xfrm>
              <a:off x="1142172" y="271863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2" name="Freeform 338">
              <a:extLst>
                <a:ext uri="{FF2B5EF4-FFF2-40B4-BE49-F238E27FC236}">
                  <a16:creationId xmlns:a16="http://schemas.microsoft.com/office/drawing/2014/main" id="{51CE5900-D1C4-BE40-A984-D426AD4557FF}"/>
                </a:ext>
              </a:extLst>
            </p:cNvPr>
            <p:cNvSpPr>
              <a:spLocks/>
            </p:cNvSpPr>
            <p:nvPr/>
          </p:nvSpPr>
          <p:spPr bwMode="auto">
            <a:xfrm>
              <a:off x="1146824" y="271863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3" name="Freeform 339">
              <a:extLst>
                <a:ext uri="{FF2B5EF4-FFF2-40B4-BE49-F238E27FC236}">
                  <a16:creationId xmlns:a16="http://schemas.microsoft.com/office/drawing/2014/main" id="{1A4182CF-A0A4-4A48-8AC3-24B542CA7862}"/>
                </a:ext>
              </a:extLst>
            </p:cNvPr>
            <p:cNvSpPr>
              <a:spLocks/>
            </p:cNvSpPr>
            <p:nvPr/>
          </p:nvSpPr>
          <p:spPr bwMode="auto">
            <a:xfrm>
              <a:off x="1150313" y="271168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4" name="Freeform 340">
              <a:extLst>
                <a:ext uri="{FF2B5EF4-FFF2-40B4-BE49-F238E27FC236}">
                  <a16:creationId xmlns:a16="http://schemas.microsoft.com/office/drawing/2014/main" id="{149B93B3-9A22-B444-8971-5F3937FEC895}"/>
                </a:ext>
              </a:extLst>
            </p:cNvPr>
            <p:cNvSpPr>
              <a:spLocks/>
            </p:cNvSpPr>
            <p:nvPr/>
          </p:nvSpPr>
          <p:spPr bwMode="auto">
            <a:xfrm>
              <a:off x="1150313" y="270573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5" name="Freeform 341">
              <a:extLst>
                <a:ext uri="{FF2B5EF4-FFF2-40B4-BE49-F238E27FC236}">
                  <a16:creationId xmlns:a16="http://schemas.microsoft.com/office/drawing/2014/main" id="{1B447FAE-CE4A-4E43-96EA-EF225A8CF551}"/>
                </a:ext>
              </a:extLst>
            </p:cNvPr>
            <p:cNvSpPr>
              <a:spLocks/>
            </p:cNvSpPr>
            <p:nvPr/>
          </p:nvSpPr>
          <p:spPr bwMode="auto">
            <a:xfrm>
              <a:off x="1150313" y="2705732"/>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6" name="Freeform 342">
              <a:extLst>
                <a:ext uri="{FF2B5EF4-FFF2-40B4-BE49-F238E27FC236}">
                  <a16:creationId xmlns:a16="http://schemas.microsoft.com/office/drawing/2014/main" id="{11D03F8E-2336-8242-8324-1020A8E32A88}"/>
                </a:ext>
              </a:extLst>
            </p:cNvPr>
            <p:cNvSpPr>
              <a:spLocks/>
            </p:cNvSpPr>
            <p:nvPr/>
          </p:nvSpPr>
          <p:spPr bwMode="auto">
            <a:xfrm>
              <a:off x="1161942" y="2698782"/>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7" name="Freeform 343">
              <a:extLst>
                <a:ext uri="{FF2B5EF4-FFF2-40B4-BE49-F238E27FC236}">
                  <a16:creationId xmlns:a16="http://schemas.microsoft.com/office/drawing/2014/main" id="{0700B835-6D14-0D46-AC45-1875FF0D6603}"/>
                </a:ext>
              </a:extLst>
            </p:cNvPr>
            <p:cNvSpPr>
              <a:spLocks/>
            </p:cNvSpPr>
            <p:nvPr/>
          </p:nvSpPr>
          <p:spPr bwMode="auto">
            <a:xfrm>
              <a:off x="1161942" y="269878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8" name="Freeform 344">
              <a:extLst>
                <a:ext uri="{FF2B5EF4-FFF2-40B4-BE49-F238E27FC236}">
                  <a16:creationId xmlns:a16="http://schemas.microsoft.com/office/drawing/2014/main" id="{592E24D4-15B0-284A-A5E4-322EFB3EF090}"/>
                </a:ext>
              </a:extLst>
            </p:cNvPr>
            <p:cNvSpPr>
              <a:spLocks/>
            </p:cNvSpPr>
            <p:nvPr/>
          </p:nvSpPr>
          <p:spPr bwMode="auto">
            <a:xfrm>
              <a:off x="1165431" y="2692825"/>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9" name="Freeform 345">
              <a:extLst>
                <a:ext uri="{FF2B5EF4-FFF2-40B4-BE49-F238E27FC236}">
                  <a16:creationId xmlns:a16="http://schemas.microsoft.com/office/drawing/2014/main" id="{F7A01AA4-FD45-D045-B328-057288C4046C}"/>
                </a:ext>
              </a:extLst>
            </p:cNvPr>
            <p:cNvSpPr>
              <a:spLocks/>
            </p:cNvSpPr>
            <p:nvPr/>
          </p:nvSpPr>
          <p:spPr bwMode="auto">
            <a:xfrm>
              <a:off x="1165431" y="2692825"/>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0" name="Freeform 346">
              <a:extLst>
                <a:ext uri="{FF2B5EF4-FFF2-40B4-BE49-F238E27FC236}">
                  <a16:creationId xmlns:a16="http://schemas.microsoft.com/office/drawing/2014/main" id="{E2AFF95D-4F51-6140-A029-D5A16FF954EE}"/>
                </a:ext>
              </a:extLst>
            </p:cNvPr>
            <p:cNvSpPr>
              <a:spLocks/>
            </p:cNvSpPr>
            <p:nvPr/>
          </p:nvSpPr>
          <p:spPr bwMode="auto">
            <a:xfrm>
              <a:off x="1168920" y="26928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1" name="Freeform 347">
              <a:extLst>
                <a:ext uri="{FF2B5EF4-FFF2-40B4-BE49-F238E27FC236}">
                  <a16:creationId xmlns:a16="http://schemas.microsoft.com/office/drawing/2014/main" id="{9C3C2A83-3A5D-E047-8CE6-305F566110CB}"/>
                </a:ext>
              </a:extLst>
            </p:cNvPr>
            <p:cNvSpPr>
              <a:spLocks/>
            </p:cNvSpPr>
            <p:nvPr/>
          </p:nvSpPr>
          <p:spPr bwMode="auto">
            <a:xfrm>
              <a:off x="1172408" y="2686868"/>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2" name="Freeform 348">
              <a:extLst>
                <a:ext uri="{FF2B5EF4-FFF2-40B4-BE49-F238E27FC236}">
                  <a16:creationId xmlns:a16="http://schemas.microsoft.com/office/drawing/2014/main" id="{EE86AA88-BC84-6046-B857-7C4028FADD56}"/>
                </a:ext>
              </a:extLst>
            </p:cNvPr>
            <p:cNvSpPr>
              <a:spLocks/>
            </p:cNvSpPr>
            <p:nvPr/>
          </p:nvSpPr>
          <p:spPr bwMode="auto">
            <a:xfrm>
              <a:off x="1172408" y="268686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3" name="Freeform 349">
              <a:extLst>
                <a:ext uri="{FF2B5EF4-FFF2-40B4-BE49-F238E27FC236}">
                  <a16:creationId xmlns:a16="http://schemas.microsoft.com/office/drawing/2014/main" id="{A445A47E-C76A-EB41-B87E-13CC43957ED4}"/>
                </a:ext>
              </a:extLst>
            </p:cNvPr>
            <p:cNvSpPr>
              <a:spLocks/>
            </p:cNvSpPr>
            <p:nvPr/>
          </p:nvSpPr>
          <p:spPr bwMode="auto">
            <a:xfrm>
              <a:off x="1175897" y="267991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4" name="Freeform 350">
              <a:extLst>
                <a:ext uri="{FF2B5EF4-FFF2-40B4-BE49-F238E27FC236}">
                  <a16:creationId xmlns:a16="http://schemas.microsoft.com/office/drawing/2014/main" id="{14419C23-6AD2-F34D-9586-195290033139}"/>
                </a:ext>
              </a:extLst>
            </p:cNvPr>
            <p:cNvSpPr>
              <a:spLocks/>
            </p:cNvSpPr>
            <p:nvPr/>
          </p:nvSpPr>
          <p:spPr bwMode="auto">
            <a:xfrm>
              <a:off x="1175897" y="267991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5" name="Freeform 351">
              <a:extLst>
                <a:ext uri="{FF2B5EF4-FFF2-40B4-BE49-F238E27FC236}">
                  <a16:creationId xmlns:a16="http://schemas.microsoft.com/office/drawing/2014/main" id="{BAFD0241-4CC0-9547-898D-681AD5B8B3E3}"/>
                </a:ext>
              </a:extLst>
            </p:cNvPr>
            <p:cNvSpPr>
              <a:spLocks/>
            </p:cNvSpPr>
            <p:nvPr/>
          </p:nvSpPr>
          <p:spPr bwMode="auto">
            <a:xfrm>
              <a:off x="1180549" y="2676940"/>
              <a:ext cx="10467" cy="9928"/>
            </a:xfrm>
            <a:custGeom>
              <a:avLst/>
              <a:gdLst>
                <a:gd name="T0" fmla="*/ 2147483646 w 9"/>
                <a:gd name="T1" fmla="*/ 2147483646 h 10"/>
                <a:gd name="T2" fmla="*/ 2147483646 w 9"/>
                <a:gd name="T3" fmla="*/ 2147483646 h 10"/>
                <a:gd name="T4" fmla="*/ 2147483646 w 9"/>
                <a:gd name="T5" fmla="*/ 2147483646 h 10"/>
                <a:gd name="T6" fmla="*/ 2147483646 w 9"/>
                <a:gd name="T7" fmla="*/ 2147483646 h 10"/>
                <a:gd name="T8" fmla="*/ 0 w 9"/>
                <a:gd name="T9" fmla="*/ 2147483646 h 10"/>
                <a:gd name="T10" fmla="*/ 0 w 9"/>
                <a:gd name="T11" fmla="*/ 2147483646 h 10"/>
                <a:gd name="T12" fmla="*/ 0 w 9"/>
                <a:gd name="T13" fmla="*/ 2147483646 h 10"/>
                <a:gd name="T14" fmla="*/ 0 w 9"/>
                <a:gd name="T15" fmla="*/ 0 h 10"/>
                <a:gd name="T16" fmla="*/ 2147483646 w 9"/>
                <a:gd name="T17" fmla="*/ 0 h 10"/>
                <a:gd name="T18" fmla="*/ 2147483646 w 9"/>
                <a:gd name="T19" fmla="*/ 0 h 10"/>
                <a:gd name="T20" fmla="*/ 2147483646 w 9"/>
                <a:gd name="T21" fmla="*/ 0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9" y="6"/>
                  </a:moveTo>
                  <a:lnTo>
                    <a:pt x="6" y="10"/>
                  </a:lnTo>
                  <a:lnTo>
                    <a:pt x="3" y="10"/>
                  </a:lnTo>
                  <a:lnTo>
                    <a:pt x="0" y="10"/>
                  </a:lnTo>
                  <a:lnTo>
                    <a:pt x="0" y="6"/>
                  </a:lnTo>
                  <a:lnTo>
                    <a:pt x="0" y="3"/>
                  </a:lnTo>
                  <a:lnTo>
                    <a:pt x="0" y="0"/>
                  </a:lnTo>
                  <a:lnTo>
                    <a:pt x="3" y="0"/>
                  </a:lnTo>
                  <a:lnTo>
                    <a:pt x="6" y="0"/>
                  </a:lnTo>
                  <a:lnTo>
                    <a:pt x="9" y="3"/>
                  </a:lnTo>
                  <a:lnTo>
                    <a:pt x="9" y="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6" name="Freeform 352">
              <a:extLst>
                <a:ext uri="{FF2B5EF4-FFF2-40B4-BE49-F238E27FC236}">
                  <a16:creationId xmlns:a16="http://schemas.microsoft.com/office/drawing/2014/main" id="{9F42831C-DC87-9D44-8A11-F4D5E2B68C20}"/>
                </a:ext>
              </a:extLst>
            </p:cNvPr>
            <p:cNvSpPr>
              <a:spLocks/>
            </p:cNvSpPr>
            <p:nvPr/>
          </p:nvSpPr>
          <p:spPr bwMode="auto">
            <a:xfrm>
              <a:off x="1180549" y="267694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7" name="Freeform 353">
              <a:extLst>
                <a:ext uri="{FF2B5EF4-FFF2-40B4-BE49-F238E27FC236}">
                  <a16:creationId xmlns:a16="http://schemas.microsoft.com/office/drawing/2014/main" id="{EFB52E6D-5BEA-8047-9C2F-B2685520201C}"/>
                </a:ext>
              </a:extLst>
            </p:cNvPr>
            <p:cNvSpPr>
              <a:spLocks/>
            </p:cNvSpPr>
            <p:nvPr/>
          </p:nvSpPr>
          <p:spPr bwMode="auto">
            <a:xfrm>
              <a:off x="1191015" y="266999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8" name="Freeform 354">
              <a:extLst>
                <a:ext uri="{FF2B5EF4-FFF2-40B4-BE49-F238E27FC236}">
                  <a16:creationId xmlns:a16="http://schemas.microsoft.com/office/drawing/2014/main" id="{2828B168-0F91-D640-B589-BEAF3FD544DB}"/>
                </a:ext>
              </a:extLst>
            </p:cNvPr>
            <p:cNvSpPr>
              <a:spLocks/>
            </p:cNvSpPr>
            <p:nvPr/>
          </p:nvSpPr>
          <p:spPr bwMode="auto">
            <a:xfrm>
              <a:off x="1191015" y="266403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9" name="Freeform 355">
              <a:extLst>
                <a:ext uri="{FF2B5EF4-FFF2-40B4-BE49-F238E27FC236}">
                  <a16:creationId xmlns:a16="http://schemas.microsoft.com/office/drawing/2014/main" id="{BBC8A03C-361E-6544-9E77-EACB56BAE28C}"/>
                </a:ext>
              </a:extLst>
            </p:cNvPr>
            <p:cNvSpPr>
              <a:spLocks/>
            </p:cNvSpPr>
            <p:nvPr/>
          </p:nvSpPr>
          <p:spPr bwMode="auto">
            <a:xfrm>
              <a:off x="1191015" y="266403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0" name="Freeform 356">
              <a:extLst>
                <a:ext uri="{FF2B5EF4-FFF2-40B4-BE49-F238E27FC236}">
                  <a16:creationId xmlns:a16="http://schemas.microsoft.com/office/drawing/2014/main" id="{A1CC6E7E-EC36-6149-9345-C562F6F508D4}"/>
                </a:ext>
              </a:extLst>
            </p:cNvPr>
            <p:cNvSpPr>
              <a:spLocks/>
            </p:cNvSpPr>
            <p:nvPr/>
          </p:nvSpPr>
          <p:spPr bwMode="auto">
            <a:xfrm>
              <a:off x="1195667" y="2658076"/>
              <a:ext cx="10467" cy="11914"/>
            </a:xfrm>
            <a:custGeom>
              <a:avLst/>
              <a:gdLst>
                <a:gd name="T0" fmla="*/ 2147483646 w 9"/>
                <a:gd name="T1" fmla="*/ 2147483646 h 12"/>
                <a:gd name="T2" fmla="*/ 2147483646 w 9"/>
                <a:gd name="T3" fmla="*/ 2147483646 h 12"/>
                <a:gd name="T4" fmla="*/ 2147483646 w 9"/>
                <a:gd name="T5" fmla="*/ 2147483646 h 12"/>
                <a:gd name="T6" fmla="*/ 2147483646 w 9"/>
                <a:gd name="T7" fmla="*/ 2147483646 h 12"/>
                <a:gd name="T8" fmla="*/ 0 w 9"/>
                <a:gd name="T9" fmla="*/ 2147483646 h 12"/>
                <a:gd name="T10" fmla="*/ 0 w 9"/>
                <a:gd name="T11" fmla="*/ 2147483646 h 12"/>
                <a:gd name="T12" fmla="*/ 0 w 9"/>
                <a:gd name="T13" fmla="*/ 2147483646 h 12"/>
                <a:gd name="T14" fmla="*/ 0 w 9"/>
                <a:gd name="T15" fmla="*/ 0 h 12"/>
                <a:gd name="T16" fmla="*/ 2147483646 w 9"/>
                <a:gd name="T17" fmla="*/ 0 h 12"/>
                <a:gd name="T18" fmla="*/ 2147483646 w 9"/>
                <a:gd name="T19" fmla="*/ 0 h 12"/>
                <a:gd name="T20" fmla="*/ 2147483646 w 9"/>
                <a:gd name="T21" fmla="*/ 0 h 12"/>
                <a:gd name="T22" fmla="*/ 2147483646 w 9"/>
                <a:gd name="T23" fmla="*/ 2147483646 h 12"/>
                <a:gd name="T24" fmla="*/ 2147483646 w 9"/>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2">
                  <a:moveTo>
                    <a:pt x="9" y="9"/>
                  </a:moveTo>
                  <a:lnTo>
                    <a:pt x="6" y="12"/>
                  </a:lnTo>
                  <a:lnTo>
                    <a:pt x="3" y="12"/>
                  </a:lnTo>
                  <a:lnTo>
                    <a:pt x="0" y="12"/>
                  </a:lnTo>
                  <a:lnTo>
                    <a:pt x="0" y="9"/>
                  </a:lnTo>
                  <a:lnTo>
                    <a:pt x="0" y="3"/>
                  </a:lnTo>
                  <a:lnTo>
                    <a:pt x="0" y="0"/>
                  </a:lnTo>
                  <a:lnTo>
                    <a:pt x="3" y="0"/>
                  </a:lnTo>
                  <a:lnTo>
                    <a:pt x="6" y="0"/>
                  </a:lnTo>
                  <a:lnTo>
                    <a:pt x="9" y="3"/>
                  </a:lnTo>
                  <a:lnTo>
                    <a:pt x="9"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1" name="Freeform 357">
              <a:extLst>
                <a:ext uri="{FF2B5EF4-FFF2-40B4-BE49-F238E27FC236}">
                  <a16:creationId xmlns:a16="http://schemas.microsoft.com/office/drawing/2014/main" id="{104FAF45-342D-5843-8F0D-ECE48667E704}"/>
                </a:ext>
              </a:extLst>
            </p:cNvPr>
            <p:cNvSpPr>
              <a:spLocks/>
            </p:cNvSpPr>
            <p:nvPr/>
          </p:nvSpPr>
          <p:spPr bwMode="auto">
            <a:xfrm>
              <a:off x="1195667" y="2658076"/>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2" name="Freeform 358">
              <a:extLst>
                <a:ext uri="{FF2B5EF4-FFF2-40B4-BE49-F238E27FC236}">
                  <a16:creationId xmlns:a16="http://schemas.microsoft.com/office/drawing/2014/main" id="{6A20660C-FED1-DD4E-8870-9F2963674FFE}"/>
                </a:ext>
              </a:extLst>
            </p:cNvPr>
            <p:cNvSpPr>
              <a:spLocks/>
            </p:cNvSpPr>
            <p:nvPr/>
          </p:nvSpPr>
          <p:spPr bwMode="auto">
            <a:xfrm>
              <a:off x="1199156" y="2651126"/>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3" name="Freeform 359">
              <a:extLst>
                <a:ext uri="{FF2B5EF4-FFF2-40B4-BE49-F238E27FC236}">
                  <a16:creationId xmlns:a16="http://schemas.microsoft.com/office/drawing/2014/main" id="{1D8EF5B7-C878-EA42-9ADC-10DE8BE0EA3D}"/>
                </a:ext>
              </a:extLst>
            </p:cNvPr>
            <p:cNvSpPr>
              <a:spLocks/>
            </p:cNvSpPr>
            <p:nvPr/>
          </p:nvSpPr>
          <p:spPr bwMode="auto">
            <a:xfrm>
              <a:off x="1199156" y="2651126"/>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4" name="Freeform 360">
              <a:extLst>
                <a:ext uri="{FF2B5EF4-FFF2-40B4-BE49-F238E27FC236}">
                  <a16:creationId xmlns:a16="http://schemas.microsoft.com/office/drawing/2014/main" id="{5A828F7C-8CC8-D048-B103-7384E0F8FF0E}"/>
                </a:ext>
              </a:extLst>
            </p:cNvPr>
            <p:cNvSpPr>
              <a:spLocks/>
            </p:cNvSpPr>
            <p:nvPr/>
          </p:nvSpPr>
          <p:spPr bwMode="auto">
            <a:xfrm>
              <a:off x="1206133" y="264516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5" name="Freeform 361">
              <a:extLst>
                <a:ext uri="{FF2B5EF4-FFF2-40B4-BE49-F238E27FC236}">
                  <a16:creationId xmlns:a16="http://schemas.microsoft.com/office/drawing/2014/main" id="{D56C2EBD-B427-EF41-8B47-41651DB06BBC}"/>
                </a:ext>
              </a:extLst>
            </p:cNvPr>
            <p:cNvSpPr>
              <a:spLocks/>
            </p:cNvSpPr>
            <p:nvPr/>
          </p:nvSpPr>
          <p:spPr bwMode="auto">
            <a:xfrm>
              <a:off x="1206133" y="2645169"/>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6" name="Freeform 362">
              <a:extLst>
                <a:ext uri="{FF2B5EF4-FFF2-40B4-BE49-F238E27FC236}">
                  <a16:creationId xmlns:a16="http://schemas.microsoft.com/office/drawing/2014/main" id="{2B44DE94-3C22-534A-BDEC-C130D0F3C065}"/>
                </a:ext>
              </a:extLst>
            </p:cNvPr>
            <p:cNvSpPr>
              <a:spLocks/>
            </p:cNvSpPr>
            <p:nvPr/>
          </p:nvSpPr>
          <p:spPr bwMode="auto">
            <a:xfrm>
              <a:off x="1209622" y="2645169"/>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7" name="Freeform 363">
              <a:extLst>
                <a:ext uri="{FF2B5EF4-FFF2-40B4-BE49-F238E27FC236}">
                  <a16:creationId xmlns:a16="http://schemas.microsoft.com/office/drawing/2014/main" id="{8D168E5D-DEB1-E64B-AD4C-846169A2E8C1}"/>
                </a:ext>
              </a:extLst>
            </p:cNvPr>
            <p:cNvSpPr>
              <a:spLocks/>
            </p:cNvSpPr>
            <p:nvPr/>
          </p:nvSpPr>
          <p:spPr bwMode="auto">
            <a:xfrm>
              <a:off x="1217763" y="2645169"/>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8" name="Freeform 364">
              <a:extLst>
                <a:ext uri="{FF2B5EF4-FFF2-40B4-BE49-F238E27FC236}">
                  <a16:creationId xmlns:a16="http://schemas.microsoft.com/office/drawing/2014/main" id="{BE03ABA1-17CE-874A-8E77-240BE63EF6D1}"/>
                </a:ext>
              </a:extLst>
            </p:cNvPr>
            <p:cNvSpPr>
              <a:spLocks/>
            </p:cNvSpPr>
            <p:nvPr/>
          </p:nvSpPr>
          <p:spPr bwMode="auto">
            <a:xfrm>
              <a:off x="1221251" y="263821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9" name="Freeform 365">
              <a:extLst>
                <a:ext uri="{FF2B5EF4-FFF2-40B4-BE49-F238E27FC236}">
                  <a16:creationId xmlns:a16="http://schemas.microsoft.com/office/drawing/2014/main" id="{8ACCE3F8-6514-7441-9597-7C40192ECE6A}"/>
                </a:ext>
              </a:extLst>
            </p:cNvPr>
            <p:cNvSpPr>
              <a:spLocks/>
            </p:cNvSpPr>
            <p:nvPr/>
          </p:nvSpPr>
          <p:spPr bwMode="auto">
            <a:xfrm>
              <a:off x="1221251" y="263821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0" name="Freeform 366">
              <a:extLst>
                <a:ext uri="{FF2B5EF4-FFF2-40B4-BE49-F238E27FC236}">
                  <a16:creationId xmlns:a16="http://schemas.microsoft.com/office/drawing/2014/main" id="{06616A46-69FC-8B46-8A84-7A32FD350187}"/>
                </a:ext>
              </a:extLst>
            </p:cNvPr>
            <p:cNvSpPr>
              <a:spLocks/>
            </p:cNvSpPr>
            <p:nvPr/>
          </p:nvSpPr>
          <p:spPr bwMode="auto">
            <a:xfrm>
              <a:off x="1224740" y="263226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1" name="Freeform 367">
              <a:extLst>
                <a:ext uri="{FF2B5EF4-FFF2-40B4-BE49-F238E27FC236}">
                  <a16:creationId xmlns:a16="http://schemas.microsoft.com/office/drawing/2014/main" id="{BA0A1C65-C666-C04E-9940-987EFBAC8BAD}"/>
                </a:ext>
              </a:extLst>
            </p:cNvPr>
            <p:cNvSpPr>
              <a:spLocks/>
            </p:cNvSpPr>
            <p:nvPr/>
          </p:nvSpPr>
          <p:spPr bwMode="auto">
            <a:xfrm>
              <a:off x="1224740" y="2632262"/>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2" name="Freeform 368">
              <a:extLst>
                <a:ext uri="{FF2B5EF4-FFF2-40B4-BE49-F238E27FC236}">
                  <a16:creationId xmlns:a16="http://schemas.microsoft.com/office/drawing/2014/main" id="{7B990D24-3A15-224D-A82F-E46608D16D1A}"/>
                </a:ext>
              </a:extLst>
            </p:cNvPr>
            <p:cNvSpPr>
              <a:spLocks/>
            </p:cNvSpPr>
            <p:nvPr/>
          </p:nvSpPr>
          <p:spPr bwMode="auto">
            <a:xfrm>
              <a:off x="1232880" y="2625312"/>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3" name="Freeform 369">
              <a:extLst>
                <a:ext uri="{FF2B5EF4-FFF2-40B4-BE49-F238E27FC236}">
                  <a16:creationId xmlns:a16="http://schemas.microsoft.com/office/drawing/2014/main" id="{59EA014E-7FCF-614D-96B2-1CB935CE61BC}"/>
                </a:ext>
              </a:extLst>
            </p:cNvPr>
            <p:cNvSpPr>
              <a:spLocks/>
            </p:cNvSpPr>
            <p:nvPr/>
          </p:nvSpPr>
          <p:spPr bwMode="auto">
            <a:xfrm>
              <a:off x="1232880" y="262531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4" name="Freeform 370">
              <a:extLst>
                <a:ext uri="{FF2B5EF4-FFF2-40B4-BE49-F238E27FC236}">
                  <a16:creationId xmlns:a16="http://schemas.microsoft.com/office/drawing/2014/main" id="{0F7A2ED4-E5E7-D744-8E58-32B953C343FF}"/>
                </a:ext>
              </a:extLst>
            </p:cNvPr>
            <p:cNvSpPr>
              <a:spLocks/>
            </p:cNvSpPr>
            <p:nvPr/>
          </p:nvSpPr>
          <p:spPr bwMode="auto">
            <a:xfrm>
              <a:off x="1236369" y="262531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5" name="Freeform 371">
              <a:extLst>
                <a:ext uri="{FF2B5EF4-FFF2-40B4-BE49-F238E27FC236}">
                  <a16:creationId xmlns:a16="http://schemas.microsoft.com/office/drawing/2014/main" id="{4FDF9A6A-6778-A547-9AD7-58328A1572E9}"/>
                </a:ext>
              </a:extLst>
            </p:cNvPr>
            <p:cNvSpPr>
              <a:spLocks/>
            </p:cNvSpPr>
            <p:nvPr/>
          </p:nvSpPr>
          <p:spPr bwMode="auto">
            <a:xfrm>
              <a:off x="1239858" y="261935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6" name="Freeform 372">
              <a:extLst>
                <a:ext uri="{FF2B5EF4-FFF2-40B4-BE49-F238E27FC236}">
                  <a16:creationId xmlns:a16="http://schemas.microsoft.com/office/drawing/2014/main" id="{3863CBC6-F944-264E-A41D-B74DEDDB1793}"/>
                </a:ext>
              </a:extLst>
            </p:cNvPr>
            <p:cNvSpPr>
              <a:spLocks/>
            </p:cNvSpPr>
            <p:nvPr/>
          </p:nvSpPr>
          <p:spPr bwMode="auto">
            <a:xfrm>
              <a:off x="1239858" y="261935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7" name="Freeform 373">
              <a:extLst>
                <a:ext uri="{FF2B5EF4-FFF2-40B4-BE49-F238E27FC236}">
                  <a16:creationId xmlns:a16="http://schemas.microsoft.com/office/drawing/2014/main" id="{D61BFDDB-E587-EE4C-B459-68866E3E10BE}"/>
                </a:ext>
              </a:extLst>
            </p:cNvPr>
            <p:cNvSpPr>
              <a:spLocks/>
            </p:cNvSpPr>
            <p:nvPr/>
          </p:nvSpPr>
          <p:spPr bwMode="auto">
            <a:xfrm>
              <a:off x="1243347" y="261240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8" name="Freeform 374">
              <a:extLst>
                <a:ext uri="{FF2B5EF4-FFF2-40B4-BE49-F238E27FC236}">
                  <a16:creationId xmlns:a16="http://schemas.microsoft.com/office/drawing/2014/main" id="{BC2DD15D-B159-7944-9EFB-8E9ECBC94DC7}"/>
                </a:ext>
              </a:extLst>
            </p:cNvPr>
            <p:cNvSpPr>
              <a:spLocks/>
            </p:cNvSpPr>
            <p:nvPr/>
          </p:nvSpPr>
          <p:spPr bwMode="auto">
            <a:xfrm>
              <a:off x="1243347" y="260644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9" name="Freeform 375">
              <a:extLst>
                <a:ext uri="{FF2B5EF4-FFF2-40B4-BE49-F238E27FC236}">
                  <a16:creationId xmlns:a16="http://schemas.microsoft.com/office/drawing/2014/main" id="{B9E71C21-AC64-4E45-B51E-0A9A8BEB76AE}"/>
                </a:ext>
              </a:extLst>
            </p:cNvPr>
            <p:cNvSpPr>
              <a:spLocks/>
            </p:cNvSpPr>
            <p:nvPr/>
          </p:nvSpPr>
          <p:spPr bwMode="auto">
            <a:xfrm>
              <a:off x="1243347" y="260644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0" name="Freeform 376">
              <a:extLst>
                <a:ext uri="{FF2B5EF4-FFF2-40B4-BE49-F238E27FC236}">
                  <a16:creationId xmlns:a16="http://schemas.microsoft.com/office/drawing/2014/main" id="{155A8B04-0AE1-B944-8067-5F5B397DA860}"/>
                </a:ext>
              </a:extLst>
            </p:cNvPr>
            <p:cNvSpPr>
              <a:spLocks/>
            </p:cNvSpPr>
            <p:nvPr/>
          </p:nvSpPr>
          <p:spPr bwMode="auto">
            <a:xfrm>
              <a:off x="1247999" y="259949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1" name="Freeform 377">
              <a:extLst>
                <a:ext uri="{FF2B5EF4-FFF2-40B4-BE49-F238E27FC236}">
                  <a16:creationId xmlns:a16="http://schemas.microsoft.com/office/drawing/2014/main" id="{A83FB7B8-E924-5B46-8991-FB1143F189DE}"/>
                </a:ext>
              </a:extLst>
            </p:cNvPr>
            <p:cNvSpPr>
              <a:spLocks/>
            </p:cNvSpPr>
            <p:nvPr/>
          </p:nvSpPr>
          <p:spPr bwMode="auto">
            <a:xfrm>
              <a:off x="1247999" y="2599498"/>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2" name="Freeform 378">
              <a:extLst>
                <a:ext uri="{FF2B5EF4-FFF2-40B4-BE49-F238E27FC236}">
                  <a16:creationId xmlns:a16="http://schemas.microsoft.com/office/drawing/2014/main" id="{F5DDFE7F-FC1C-3942-B00E-719697084604}"/>
                </a:ext>
              </a:extLst>
            </p:cNvPr>
            <p:cNvSpPr>
              <a:spLocks/>
            </p:cNvSpPr>
            <p:nvPr/>
          </p:nvSpPr>
          <p:spPr bwMode="auto">
            <a:xfrm>
              <a:off x="1258465" y="259354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3" name="Freeform 379">
              <a:extLst>
                <a:ext uri="{FF2B5EF4-FFF2-40B4-BE49-F238E27FC236}">
                  <a16:creationId xmlns:a16="http://schemas.microsoft.com/office/drawing/2014/main" id="{F03B0FF1-D57B-1A48-84A0-D2CA08AC03A2}"/>
                </a:ext>
              </a:extLst>
            </p:cNvPr>
            <p:cNvSpPr>
              <a:spLocks/>
            </p:cNvSpPr>
            <p:nvPr/>
          </p:nvSpPr>
          <p:spPr bwMode="auto">
            <a:xfrm>
              <a:off x="1258465" y="2593541"/>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4" name="Freeform 380">
              <a:extLst>
                <a:ext uri="{FF2B5EF4-FFF2-40B4-BE49-F238E27FC236}">
                  <a16:creationId xmlns:a16="http://schemas.microsoft.com/office/drawing/2014/main" id="{1DC76A02-696D-394A-AF02-E850FCBC375D}"/>
                </a:ext>
              </a:extLst>
            </p:cNvPr>
            <p:cNvSpPr>
              <a:spLocks/>
            </p:cNvSpPr>
            <p:nvPr/>
          </p:nvSpPr>
          <p:spPr bwMode="auto">
            <a:xfrm>
              <a:off x="1277071" y="2587584"/>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4" y="12"/>
                  </a:lnTo>
                  <a:lnTo>
                    <a:pt x="0" y="12"/>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5" name="Freeform 381">
              <a:extLst>
                <a:ext uri="{FF2B5EF4-FFF2-40B4-BE49-F238E27FC236}">
                  <a16:creationId xmlns:a16="http://schemas.microsoft.com/office/drawing/2014/main" id="{BC25D280-B080-6C43-8F1C-8CCB46543425}"/>
                </a:ext>
              </a:extLst>
            </p:cNvPr>
            <p:cNvSpPr>
              <a:spLocks/>
            </p:cNvSpPr>
            <p:nvPr/>
          </p:nvSpPr>
          <p:spPr bwMode="auto">
            <a:xfrm>
              <a:off x="1277071" y="258758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6" name="Freeform 382">
              <a:extLst>
                <a:ext uri="{FF2B5EF4-FFF2-40B4-BE49-F238E27FC236}">
                  <a16:creationId xmlns:a16="http://schemas.microsoft.com/office/drawing/2014/main" id="{B46E7BC0-D334-DF41-9C6A-048420EB9F44}"/>
                </a:ext>
              </a:extLst>
            </p:cNvPr>
            <p:cNvSpPr>
              <a:spLocks/>
            </p:cNvSpPr>
            <p:nvPr/>
          </p:nvSpPr>
          <p:spPr bwMode="auto">
            <a:xfrm>
              <a:off x="1285212" y="2583612"/>
              <a:ext cx="11629" cy="9928"/>
            </a:xfrm>
            <a:custGeom>
              <a:avLst/>
              <a:gdLst>
                <a:gd name="T0" fmla="*/ 2147483646 w 10"/>
                <a:gd name="T1" fmla="*/ 2147483646 h 10"/>
                <a:gd name="T2" fmla="*/ 2147483646 w 10"/>
                <a:gd name="T3" fmla="*/ 2147483646 h 10"/>
                <a:gd name="T4" fmla="*/ 2147483646 w 10"/>
                <a:gd name="T5" fmla="*/ 2147483646 h 10"/>
                <a:gd name="T6" fmla="*/ 2147483646 w 10"/>
                <a:gd name="T7" fmla="*/ 2147483646 h 10"/>
                <a:gd name="T8" fmla="*/ 0 w 10"/>
                <a:gd name="T9" fmla="*/ 2147483646 h 10"/>
                <a:gd name="T10" fmla="*/ 0 w 10"/>
                <a:gd name="T11" fmla="*/ 2147483646 h 10"/>
                <a:gd name="T12" fmla="*/ 0 w 10"/>
                <a:gd name="T13" fmla="*/ 2147483646 h 10"/>
                <a:gd name="T14" fmla="*/ 0 w 10"/>
                <a:gd name="T15" fmla="*/ 0 h 10"/>
                <a:gd name="T16" fmla="*/ 2147483646 w 10"/>
                <a:gd name="T17" fmla="*/ 0 h 10"/>
                <a:gd name="T18" fmla="*/ 2147483646 w 10"/>
                <a:gd name="T19" fmla="*/ 0 h 10"/>
                <a:gd name="T20" fmla="*/ 2147483646 w 10"/>
                <a:gd name="T21" fmla="*/ 0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10" y="7"/>
                  </a:moveTo>
                  <a:lnTo>
                    <a:pt x="6" y="10"/>
                  </a:lnTo>
                  <a:lnTo>
                    <a:pt x="3" y="10"/>
                  </a:lnTo>
                  <a:lnTo>
                    <a:pt x="0" y="10"/>
                  </a:lnTo>
                  <a:lnTo>
                    <a:pt x="0" y="7"/>
                  </a:lnTo>
                  <a:lnTo>
                    <a:pt x="0" y="4"/>
                  </a:lnTo>
                  <a:lnTo>
                    <a:pt x="0" y="0"/>
                  </a:lnTo>
                  <a:lnTo>
                    <a:pt x="3" y="0"/>
                  </a:lnTo>
                  <a:lnTo>
                    <a:pt x="6" y="0"/>
                  </a:lnTo>
                  <a:lnTo>
                    <a:pt x="10" y="4"/>
                  </a:lnTo>
                  <a:lnTo>
                    <a:pt x="10" y="7"/>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7" name="Freeform 383">
              <a:extLst>
                <a:ext uri="{FF2B5EF4-FFF2-40B4-BE49-F238E27FC236}">
                  <a16:creationId xmlns:a16="http://schemas.microsoft.com/office/drawing/2014/main" id="{99358A52-7C36-064F-9035-D283EF5F32CE}"/>
                </a:ext>
              </a:extLst>
            </p:cNvPr>
            <p:cNvSpPr>
              <a:spLocks/>
            </p:cNvSpPr>
            <p:nvPr/>
          </p:nvSpPr>
          <p:spPr bwMode="auto">
            <a:xfrm>
              <a:off x="1285212" y="258361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8" name="Freeform 384">
              <a:extLst>
                <a:ext uri="{FF2B5EF4-FFF2-40B4-BE49-F238E27FC236}">
                  <a16:creationId xmlns:a16="http://schemas.microsoft.com/office/drawing/2014/main" id="{1B0AC74D-4A42-014B-AE8F-AEA732265C69}"/>
                </a:ext>
              </a:extLst>
            </p:cNvPr>
            <p:cNvSpPr>
              <a:spLocks/>
            </p:cNvSpPr>
            <p:nvPr/>
          </p:nvSpPr>
          <p:spPr bwMode="auto">
            <a:xfrm>
              <a:off x="1292190" y="257765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9" name="Freeform 385">
              <a:extLst>
                <a:ext uri="{FF2B5EF4-FFF2-40B4-BE49-F238E27FC236}">
                  <a16:creationId xmlns:a16="http://schemas.microsoft.com/office/drawing/2014/main" id="{B797719A-54E7-B14F-8C1C-340E0BF1AFD9}"/>
                </a:ext>
              </a:extLst>
            </p:cNvPr>
            <p:cNvSpPr>
              <a:spLocks/>
            </p:cNvSpPr>
            <p:nvPr/>
          </p:nvSpPr>
          <p:spPr bwMode="auto">
            <a:xfrm>
              <a:off x="1292190" y="257765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0" name="Freeform 386">
              <a:extLst>
                <a:ext uri="{FF2B5EF4-FFF2-40B4-BE49-F238E27FC236}">
                  <a16:creationId xmlns:a16="http://schemas.microsoft.com/office/drawing/2014/main" id="{4B9C65F8-7B08-AD4F-9A7D-26E9BE006CD8}"/>
                </a:ext>
              </a:extLst>
            </p:cNvPr>
            <p:cNvSpPr>
              <a:spLocks/>
            </p:cNvSpPr>
            <p:nvPr/>
          </p:nvSpPr>
          <p:spPr bwMode="auto">
            <a:xfrm>
              <a:off x="1296841" y="2570706"/>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1" name="Freeform 387">
              <a:extLst>
                <a:ext uri="{FF2B5EF4-FFF2-40B4-BE49-F238E27FC236}">
                  <a16:creationId xmlns:a16="http://schemas.microsoft.com/office/drawing/2014/main" id="{3A45C0FB-736E-6746-AF92-012BE3034D77}"/>
                </a:ext>
              </a:extLst>
            </p:cNvPr>
            <p:cNvSpPr>
              <a:spLocks/>
            </p:cNvSpPr>
            <p:nvPr/>
          </p:nvSpPr>
          <p:spPr bwMode="auto">
            <a:xfrm>
              <a:off x="1296841" y="257070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2" name="Freeform 388">
              <a:extLst>
                <a:ext uri="{FF2B5EF4-FFF2-40B4-BE49-F238E27FC236}">
                  <a16:creationId xmlns:a16="http://schemas.microsoft.com/office/drawing/2014/main" id="{80711C98-1A8A-9640-872A-242A560C6513}"/>
                </a:ext>
              </a:extLst>
            </p:cNvPr>
            <p:cNvSpPr>
              <a:spLocks/>
            </p:cNvSpPr>
            <p:nvPr/>
          </p:nvSpPr>
          <p:spPr bwMode="auto">
            <a:xfrm>
              <a:off x="1300330" y="2564749"/>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3" name="Freeform 389">
              <a:extLst>
                <a:ext uri="{FF2B5EF4-FFF2-40B4-BE49-F238E27FC236}">
                  <a16:creationId xmlns:a16="http://schemas.microsoft.com/office/drawing/2014/main" id="{6ADECD29-BF9C-8F4E-B2E1-A63075973918}"/>
                </a:ext>
              </a:extLst>
            </p:cNvPr>
            <p:cNvSpPr>
              <a:spLocks/>
            </p:cNvSpPr>
            <p:nvPr/>
          </p:nvSpPr>
          <p:spPr bwMode="auto">
            <a:xfrm>
              <a:off x="1300330" y="25647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4" name="Freeform 390">
              <a:extLst>
                <a:ext uri="{FF2B5EF4-FFF2-40B4-BE49-F238E27FC236}">
                  <a16:creationId xmlns:a16="http://schemas.microsoft.com/office/drawing/2014/main" id="{1CC20F6A-3942-DD40-9D12-D907B4112B58}"/>
                </a:ext>
              </a:extLst>
            </p:cNvPr>
            <p:cNvSpPr>
              <a:spLocks/>
            </p:cNvSpPr>
            <p:nvPr/>
          </p:nvSpPr>
          <p:spPr bwMode="auto">
            <a:xfrm>
              <a:off x="1307307" y="256474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5" name="Freeform 391">
              <a:extLst>
                <a:ext uri="{FF2B5EF4-FFF2-40B4-BE49-F238E27FC236}">
                  <a16:creationId xmlns:a16="http://schemas.microsoft.com/office/drawing/2014/main" id="{C56228AF-32C0-8543-ABD3-CD60DFC8FA9F}"/>
                </a:ext>
              </a:extLst>
            </p:cNvPr>
            <p:cNvSpPr>
              <a:spLocks/>
            </p:cNvSpPr>
            <p:nvPr/>
          </p:nvSpPr>
          <p:spPr bwMode="auto">
            <a:xfrm>
              <a:off x="1310796" y="255779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6" name="Freeform 392">
              <a:extLst>
                <a:ext uri="{FF2B5EF4-FFF2-40B4-BE49-F238E27FC236}">
                  <a16:creationId xmlns:a16="http://schemas.microsoft.com/office/drawing/2014/main" id="{8021DB1C-632C-764E-A965-4111A60C3857}"/>
                </a:ext>
              </a:extLst>
            </p:cNvPr>
            <p:cNvSpPr>
              <a:spLocks/>
            </p:cNvSpPr>
            <p:nvPr/>
          </p:nvSpPr>
          <p:spPr bwMode="auto">
            <a:xfrm>
              <a:off x="1310796" y="255184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7" name="Freeform 393">
              <a:extLst>
                <a:ext uri="{FF2B5EF4-FFF2-40B4-BE49-F238E27FC236}">
                  <a16:creationId xmlns:a16="http://schemas.microsoft.com/office/drawing/2014/main" id="{2B1A94DE-04DD-EB41-9C02-15E41DF95E07}"/>
                </a:ext>
              </a:extLst>
            </p:cNvPr>
            <p:cNvSpPr>
              <a:spLocks/>
            </p:cNvSpPr>
            <p:nvPr/>
          </p:nvSpPr>
          <p:spPr bwMode="auto">
            <a:xfrm>
              <a:off x="1310796" y="2551841"/>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6"/>
                  </a:lnTo>
                  <a:lnTo>
                    <a:pt x="0" y="3"/>
                  </a:lnTo>
                  <a:lnTo>
                    <a:pt x="0" y="0"/>
                  </a:lnTo>
                  <a:lnTo>
                    <a:pt x="4" y="0"/>
                  </a:lnTo>
                  <a:lnTo>
                    <a:pt x="13" y="0"/>
                  </a:lnTo>
                  <a:lnTo>
                    <a:pt x="17" y="0"/>
                  </a:lnTo>
                  <a:lnTo>
                    <a:pt x="17" y="3"/>
                  </a:lnTo>
                  <a:lnTo>
                    <a:pt x="17" y="6"/>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8" name="Freeform 394">
              <a:extLst>
                <a:ext uri="{FF2B5EF4-FFF2-40B4-BE49-F238E27FC236}">
                  <a16:creationId xmlns:a16="http://schemas.microsoft.com/office/drawing/2014/main" id="{EC5B6E48-9CE5-584E-A795-A4D5D774E395}"/>
                </a:ext>
              </a:extLst>
            </p:cNvPr>
            <p:cNvSpPr>
              <a:spLocks/>
            </p:cNvSpPr>
            <p:nvPr/>
          </p:nvSpPr>
          <p:spPr bwMode="auto">
            <a:xfrm>
              <a:off x="1322426" y="2545884"/>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9" name="Freeform 395">
              <a:extLst>
                <a:ext uri="{FF2B5EF4-FFF2-40B4-BE49-F238E27FC236}">
                  <a16:creationId xmlns:a16="http://schemas.microsoft.com/office/drawing/2014/main" id="{D765FB30-27C7-9E43-B2DA-147F387A2728}"/>
                </a:ext>
              </a:extLst>
            </p:cNvPr>
            <p:cNvSpPr>
              <a:spLocks/>
            </p:cNvSpPr>
            <p:nvPr/>
          </p:nvSpPr>
          <p:spPr bwMode="auto">
            <a:xfrm>
              <a:off x="1322426" y="254588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0" name="Freeform 396">
              <a:extLst>
                <a:ext uri="{FF2B5EF4-FFF2-40B4-BE49-F238E27FC236}">
                  <a16:creationId xmlns:a16="http://schemas.microsoft.com/office/drawing/2014/main" id="{7E97DF42-C093-6948-BB5B-E9CDD98259AD}"/>
                </a:ext>
              </a:extLst>
            </p:cNvPr>
            <p:cNvSpPr>
              <a:spLocks/>
            </p:cNvSpPr>
            <p:nvPr/>
          </p:nvSpPr>
          <p:spPr bwMode="auto">
            <a:xfrm>
              <a:off x="1325914" y="253893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1" name="Freeform 397">
              <a:extLst>
                <a:ext uri="{FF2B5EF4-FFF2-40B4-BE49-F238E27FC236}">
                  <a16:creationId xmlns:a16="http://schemas.microsoft.com/office/drawing/2014/main" id="{42D264EA-FF66-F349-A689-CFEF14237D97}"/>
                </a:ext>
              </a:extLst>
            </p:cNvPr>
            <p:cNvSpPr>
              <a:spLocks/>
            </p:cNvSpPr>
            <p:nvPr/>
          </p:nvSpPr>
          <p:spPr bwMode="auto">
            <a:xfrm>
              <a:off x="1325914" y="253297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2" name="Freeform 398">
              <a:extLst>
                <a:ext uri="{FF2B5EF4-FFF2-40B4-BE49-F238E27FC236}">
                  <a16:creationId xmlns:a16="http://schemas.microsoft.com/office/drawing/2014/main" id="{6E9FBBE8-BE32-5643-A500-E8F1FFE7062A}"/>
                </a:ext>
              </a:extLst>
            </p:cNvPr>
            <p:cNvSpPr>
              <a:spLocks/>
            </p:cNvSpPr>
            <p:nvPr/>
          </p:nvSpPr>
          <p:spPr bwMode="auto">
            <a:xfrm>
              <a:off x="1325914" y="253297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3" name="Freeform 399">
              <a:extLst>
                <a:ext uri="{FF2B5EF4-FFF2-40B4-BE49-F238E27FC236}">
                  <a16:creationId xmlns:a16="http://schemas.microsoft.com/office/drawing/2014/main" id="{03B19AE5-7B77-A04A-AB88-1E4B62557A99}"/>
                </a:ext>
              </a:extLst>
            </p:cNvPr>
            <p:cNvSpPr>
              <a:spLocks/>
            </p:cNvSpPr>
            <p:nvPr/>
          </p:nvSpPr>
          <p:spPr bwMode="auto">
            <a:xfrm>
              <a:off x="1334055" y="252602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4" name="Freeform 400">
              <a:extLst>
                <a:ext uri="{FF2B5EF4-FFF2-40B4-BE49-F238E27FC236}">
                  <a16:creationId xmlns:a16="http://schemas.microsoft.com/office/drawing/2014/main" id="{FEDF196B-1E26-7F4F-B9B6-007D3DA50BA7}"/>
                </a:ext>
              </a:extLst>
            </p:cNvPr>
            <p:cNvSpPr>
              <a:spLocks/>
            </p:cNvSpPr>
            <p:nvPr/>
          </p:nvSpPr>
          <p:spPr bwMode="auto">
            <a:xfrm>
              <a:off x="1334055" y="2526028"/>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5" name="Freeform 401">
              <a:extLst>
                <a:ext uri="{FF2B5EF4-FFF2-40B4-BE49-F238E27FC236}">
                  <a16:creationId xmlns:a16="http://schemas.microsoft.com/office/drawing/2014/main" id="{CEA42E1E-5C56-6146-BFBC-0DB0AECB849B}"/>
                </a:ext>
              </a:extLst>
            </p:cNvPr>
            <p:cNvSpPr>
              <a:spLocks/>
            </p:cNvSpPr>
            <p:nvPr/>
          </p:nvSpPr>
          <p:spPr bwMode="auto">
            <a:xfrm>
              <a:off x="1349172" y="252602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6" name="Freeform 402">
              <a:extLst>
                <a:ext uri="{FF2B5EF4-FFF2-40B4-BE49-F238E27FC236}">
                  <a16:creationId xmlns:a16="http://schemas.microsoft.com/office/drawing/2014/main" id="{2E6FD7F3-2D5C-A34D-A30B-3FAF3C768791}"/>
                </a:ext>
              </a:extLst>
            </p:cNvPr>
            <p:cNvSpPr>
              <a:spLocks/>
            </p:cNvSpPr>
            <p:nvPr/>
          </p:nvSpPr>
          <p:spPr bwMode="auto">
            <a:xfrm>
              <a:off x="1352662" y="252602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7" name="Freeform 403">
              <a:extLst>
                <a:ext uri="{FF2B5EF4-FFF2-40B4-BE49-F238E27FC236}">
                  <a16:creationId xmlns:a16="http://schemas.microsoft.com/office/drawing/2014/main" id="{504F78F3-7C85-0B40-99D1-1F600AC05655}"/>
                </a:ext>
              </a:extLst>
            </p:cNvPr>
            <p:cNvSpPr>
              <a:spLocks/>
            </p:cNvSpPr>
            <p:nvPr/>
          </p:nvSpPr>
          <p:spPr bwMode="auto">
            <a:xfrm>
              <a:off x="1356150" y="252602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8" name="Freeform 404">
              <a:extLst>
                <a:ext uri="{FF2B5EF4-FFF2-40B4-BE49-F238E27FC236}">
                  <a16:creationId xmlns:a16="http://schemas.microsoft.com/office/drawing/2014/main" id="{1D31709A-521B-D04A-B59F-9F745FFA97E6}"/>
                </a:ext>
              </a:extLst>
            </p:cNvPr>
            <p:cNvSpPr>
              <a:spLocks/>
            </p:cNvSpPr>
            <p:nvPr/>
          </p:nvSpPr>
          <p:spPr bwMode="auto">
            <a:xfrm>
              <a:off x="1359639" y="252007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9" name="Freeform 405">
              <a:extLst>
                <a:ext uri="{FF2B5EF4-FFF2-40B4-BE49-F238E27FC236}">
                  <a16:creationId xmlns:a16="http://schemas.microsoft.com/office/drawing/2014/main" id="{B2BA836A-A0BC-294C-BF3E-28A95116C795}"/>
                </a:ext>
              </a:extLst>
            </p:cNvPr>
            <p:cNvSpPr>
              <a:spLocks/>
            </p:cNvSpPr>
            <p:nvPr/>
          </p:nvSpPr>
          <p:spPr bwMode="auto">
            <a:xfrm>
              <a:off x="1359639" y="251312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0" name="Freeform 407">
              <a:extLst>
                <a:ext uri="{FF2B5EF4-FFF2-40B4-BE49-F238E27FC236}">
                  <a16:creationId xmlns:a16="http://schemas.microsoft.com/office/drawing/2014/main" id="{FC325958-0A73-E247-871C-FA845721F651}"/>
                </a:ext>
              </a:extLst>
            </p:cNvPr>
            <p:cNvSpPr>
              <a:spLocks/>
            </p:cNvSpPr>
            <p:nvPr/>
          </p:nvSpPr>
          <p:spPr bwMode="auto">
            <a:xfrm>
              <a:off x="1359639" y="251312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1" name="Freeform 408">
              <a:extLst>
                <a:ext uri="{FF2B5EF4-FFF2-40B4-BE49-F238E27FC236}">
                  <a16:creationId xmlns:a16="http://schemas.microsoft.com/office/drawing/2014/main" id="{F1E62775-ADB3-AE4B-ABBA-488EF37091CB}"/>
                </a:ext>
              </a:extLst>
            </p:cNvPr>
            <p:cNvSpPr>
              <a:spLocks/>
            </p:cNvSpPr>
            <p:nvPr/>
          </p:nvSpPr>
          <p:spPr bwMode="auto">
            <a:xfrm>
              <a:off x="1364291" y="2513121"/>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2" name="Freeform 409">
              <a:extLst>
                <a:ext uri="{FF2B5EF4-FFF2-40B4-BE49-F238E27FC236}">
                  <a16:creationId xmlns:a16="http://schemas.microsoft.com/office/drawing/2014/main" id="{0AB28BA3-127C-BC45-BE0C-8E534E818126}"/>
                </a:ext>
              </a:extLst>
            </p:cNvPr>
            <p:cNvSpPr>
              <a:spLocks/>
            </p:cNvSpPr>
            <p:nvPr/>
          </p:nvSpPr>
          <p:spPr bwMode="auto">
            <a:xfrm>
              <a:off x="1367780" y="251312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3" name="Freeform 410">
              <a:extLst>
                <a:ext uri="{FF2B5EF4-FFF2-40B4-BE49-F238E27FC236}">
                  <a16:creationId xmlns:a16="http://schemas.microsoft.com/office/drawing/2014/main" id="{FB344239-C193-784B-8929-D35E3B1BE762}"/>
                </a:ext>
              </a:extLst>
            </p:cNvPr>
            <p:cNvSpPr>
              <a:spLocks/>
            </p:cNvSpPr>
            <p:nvPr/>
          </p:nvSpPr>
          <p:spPr bwMode="auto">
            <a:xfrm>
              <a:off x="1374757" y="250716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4" name="Freeform 411">
              <a:extLst>
                <a:ext uri="{FF2B5EF4-FFF2-40B4-BE49-F238E27FC236}">
                  <a16:creationId xmlns:a16="http://schemas.microsoft.com/office/drawing/2014/main" id="{669D4A76-A029-454F-9CFF-5432E57FA0D7}"/>
                </a:ext>
              </a:extLst>
            </p:cNvPr>
            <p:cNvSpPr>
              <a:spLocks/>
            </p:cNvSpPr>
            <p:nvPr/>
          </p:nvSpPr>
          <p:spPr bwMode="auto">
            <a:xfrm>
              <a:off x="1374757" y="250716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5" name="Freeform 412">
              <a:extLst>
                <a:ext uri="{FF2B5EF4-FFF2-40B4-BE49-F238E27FC236}">
                  <a16:creationId xmlns:a16="http://schemas.microsoft.com/office/drawing/2014/main" id="{5F27C17B-F63B-E249-8D4E-1755CAA21764}"/>
                </a:ext>
              </a:extLst>
            </p:cNvPr>
            <p:cNvSpPr>
              <a:spLocks/>
            </p:cNvSpPr>
            <p:nvPr/>
          </p:nvSpPr>
          <p:spPr bwMode="auto">
            <a:xfrm>
              <a:off x="1382898" y="2500214"/>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6" name="Freeform 413">
              <a:extLst>
                <a:ext uri="{FF2B5EF4-FFF2-40B4-BE49-F238E27FC236}">
                  <a16:creationId xmlns:a16="http://schemas.microsoft.com/office/drawing/2014/main" id="{CD35DFB9-1AAA-BB41-8F15-21EF77B57E24}"/>
                </a:ext>
              </a:extLst>
            </p:cNvPr>
            <p:cNvSpPr>
              <a:spLocks/>
            </p:cNvSpPr>
            <p:nvPr/>
          </p:nvSpPr>
          <p:spPr bwMode="auto">
            <a:xfrm>
              <a:off x="1382898" y="2494257"/>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7" name="Freeform 414">
              <a:extLst>
                <a:ext uri="{FF2B5EF4-FFF2-40B4-BE49-F238E27FC236}">
                  <a16:creationId xmlns:a16="http://schemas.microsoft.com/office/drawing/2014/main" id="{00BD1AF0-3BC6-B240-86EF-E43CFB5426C1}"/>
                </a:ext>
              </a:extLst>
            </p:cNvPr>
            <p:cNvSpPr>
              <a:spLocks/>
            </p:cNvSpPr>
            <p:nvPr/>
          </p:nvSpPr>
          <p:spPr bwMode="auto">
            <a:xfrm>
              <a:off x="1382898" y="2487307"/>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8" name="Freeform 415">
              <a:extLst>
                <a:ext uri="{FF2B5EF4-FFF2-40B4-BE49-F238E27FC236}">
                  <a16:creationId xmlns:a16="http://schemas.microsoft.com/office/drawing/2014/main" id="{135A59DC-0A28-694E-9EAB-6FC1E9DC7B3F}"/>
                </a:ext>
              </a:extLst>
            </p:cNvPr>
            <p:cNvSpPr>
              <a:spLocks/>
            </p:cNvSpPr>
            <p:nvPr/>
          </p:nvSpPr>
          <p:spPr bwMode="auto">
            <a:xfrm>
              <a:off x="1382898" y="248730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9" name="Freeform 416">
              <a:extLst>
                <a:ext uri="{FF2B5EF4-FFF2-40B4-BE49-F238E27FC236}">
                  <a16:creationId xmlns:a16="http://schemas.microsoft.com/office/drawing/2014/main" id="{2C121CC5-928C-5F4D-B7B2-C3A2B165442C}"/>
                </a:ext>
              </a:extLst>
            </p:cNvPr>
            <p:cNvSpPr>
              <a:spLocks/>
            </p:cNvSpPr>
            <p:nvPr/>
          </p:nvSpPr>
          <p:spPr bwMode="auto">
            <a:xfrm>
              <a:off x="1386387" y="248135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0" name="Freeform 417">
              <a:extLst>
                <a:ext uri="{FF2B5EF4-FFF2-40B4-BE49-F238E27FC236}">
                  <a16:creationId xmlns:a16="http://schemas.microsoft.com/office/drawing/2014/main" id="{5E41744D-177B-DF4F-8372-D7B9AB09235C}"/>
                </a:ext>
              </a:extLst>
            </p:cNvPr>
            <p:cNvSpPr>
              <a:spLocks/>
            </p:cNvSpPr>
            <p:nvPr/>
          </p:nvSpPr>
          <p:spPr bwMode="auto">
            <a:xfrm>
              <a:off x="1386387" y="248135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1" name="Freeform 418">
              <a:extLst>
                <a:ext uri="{FF2B5EF4-FFF2-40B4-BE49-F238E27FC236}">
                  <a16:creationId xmlns:a16="http://schemas.microsoft.com/office/drawing/2014/main" id="{BA6B0540-DB8C-9A41-BA46-530245260621}"/>
                </a:ext>
              </a:extLst>
            </p:cNvPr>
            <p:cNvSpPr>
              <a:spLocks/>
            </p:cNvSpPr>
            <p:nvPr/>
          </p:nvSpPr>
          <p:spPr bwMode="auto">
            <a:xfrm>
              <a:off x="1398016" y="248135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2" name="Freeform 419">
              <a:extLst>
                <a:ext uri="{FF2B5EF4-FFF2-40B4-BE49-F238E27FC236}">
                  <a16:creationId xmlns:a16="http://schemas.microsoft.com/office/drawing/2014/main" id="{DAD2CEB4-3BE9-584C-BED0-5D571570D0C3}"/>
                </a:ext>
              </a:extLst>
            </p:cNvPr>
            <p:cNvSpPr>
              <a:spLocks/>
            </p:cNvSpPr>
            <p:nvPr/>
          </p:nvSpPr>
          <p:spPr bwMode="auto">
            <a:xfrm>
              <a:off x="1401504" y="2471421"/>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4"/>
                  </a:lnTo>
                  <a:lnTo>
                    <a:pt x="0" y="0"/>
                  </a:lnTo>
                  <a:lnTo>
                    <a:pt x="3" y="0"/>
                  </a:lnTo>
                  <a:lnTo>
                    <a:pt x="6" y="0"/>
                  </a:lnTo>
                  <a:lnTo>
                    <a:pt x="9" y="4"/>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3" name="Freeform 420">
              <a:extLst>
                <a:ext uri="{FF2B5EF4-FFF2-40B4-BE49-F238E27FC236}">
                  <a16:creationId xmlns:a16="http://schemas.microsoft.com/office/drawing/2014/main" id="{B876343A-CDDE-5549-9757-6D5546E6668E}"/>
                </a:ext>
              </a:extLst>
            </p:cNvPr>
            <p:cNvSpPr>
              <a:spLocks/>
            </p:cNvSpPr>
            <p:nvPr/>
          </p:nvSpPr>
          <p:spPr bwMode="auto">
            <a:xfrm>
              <a:off x="1401504" y="247142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4" name="Freeform 421">
              <a:extLst>
                <a:ext uri="{FF2B5EF4-FFF2-40B4-BE49-F238E27FC236}">
                  <a16:creationId xmlns:a16="http://schemas.microsoft.com/office/drawing/2014/main" id="{E24610A2-2902-1041-B28A-329EB80F6155}"/>
                </a:ext>
              </a:extLst>
            </p:cNvPr>
            <p:cNvSpPr>
              <a:spLocks/>
            </p:cNvSpPr>
            <p:nvPr/>
          </p:nvSpPr>
          <p:spPr bwMode="auto">
            <a:xfrm>
              <a:off x="1408482" y="246546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5" name="Freeform 422">
              <a:extLst>
                <a:ext uri="{FF2B5EF4-FFF2-40B4-BE49-F238E27FC236}">
                  <a16:creationId xmlns:a16="http://schemas.microsoft.com/office/drawing/2014/main" id="{04FA66E1-CE72-594C-99DA-E64594197009}"/>
                </a:ext>
              </a:extLst>
            </p:cNvPr>
            <p:cNvSpPr>
              <a:spLocks/>
            </p:cNvSpPr>
            <p:nvPr/>
          </p:nvSpPr>
          <p:spPr bwMode="auto">
            <a:xfrm>
              <a:off x="1408482" y="246546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6" name="Freeform 423">
              <a:extLst>
                <a:ext uri="{FF2B5EF4-FFF2-40B4-BE49-F238E27FC236}">
                  <a16:creationId xmlns:a16="http://schemas.microsoft.com/office/drawing/2014/main" id="{D8161378-4DA8-1B4F-B451-BE5EB91E204A}"/>
                </a:ext>
              </a:extLst>
            </p:cNvPr>
            <p:cNvSpPr>
              <a:spLocks/>
            </p:cNvSpPr>
            <p:nvPr/>
          </p:nvSpPr>
          <p:spPr bwMode="auto">
            <a:xfrm>
              <a:off x="1411971" y="245851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7" name="Freeform 424">
              <a:extLst>
                <a:ext uri="{FF2B5EF4-FFF2-40B4-BE49-F238E27FC236}">
                  <a16:creationId xmlns:a16="http://schemas.microsoft.com/office/drawing/2014/main" id="{30954941-7E38-2B46-8EE6-A4F562217765}"/>
                </a:ext>
              </a:extLst>
            </p:cNvPr>
            <p:cNvSpPr>
              <a:spLocks/>
            </p:cNvSpPr>
            <p:nvPr/>
          </p:nvSpPr>
          <p:spPr bwMode="auto">
            <a:xfrm>
              <a:off x="1411971" y="245255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8" name="Freeform 425">
              <a:extLst>
                <a:ext uri="{FF2B5EF4-FFF2-40B4-BE49-F238E27FC236}">
                  <a16:creationId xmlns:a16="http://schemas.microsoft.com/office/drawing/2014/main" id="{07E274C1-E206-1A45-AD77-E98D9F28D95B}"/>
                </a:ext>
              </a:extLst>
            </p:cNvPr>
            <p:cNvSpPr>
              <a:spLocks/>
            </p:cNvSpPr>
            <p:nvPr/>
          </p:nvSpPr>
          <p:spPr bwMode="auto">
            <a:xfrm>
              <a:off x="1411971" y="2452558"/>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6"/>
                  </a:lnTo>
                  <a:lnTo>
                    <a:pt x="0" y="3"/>
                  </a:lnTo>
                  <a:lnTo>
                    <a:pt x="0" y="0"/>
                  </a:lnTo>
                  <a:lnTo>
                    <a:pt x="4" y="0"/>
                  </a:lnTo>
                  <a:lnTo>
                    <a:pt x="13" y="0"/>
                  </a:lnTo>
                  <a:lnTo>
                    <a:pt x="17" y="0"/>
                  </a:lnTo>
                  <a:lnTo>
                    <a:pt x="17" y="3"/>
                  </a:lnTo>
                  <a:lnTo>
                    <a:pt x="17" y="6"/>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9" name="Freeform 426">
              <a:extLst>
                <a:ext uri="{FF2B5EF4-FFF2-40B4-BE49-F238E27FC236}">
                  <a16:creationId xmlns:a16="http://schemas.microsoft.com/office/drawing/2014/main" id="{8D51F1BC-4A35-A84A-A904-0D9BB12BB85D}"/>
                </a:ext>
              </a:extLst>
            </p:cNvPr>
            <p:cNvSpPr>
              <a:spLocks/>
            </p:cNvSpPr>
            <p:nvPr/>
          </p:nvSpPr>
          <p:spPr bwMode="auto">
            <a:xfrm>
              <a:off x="1423600" y="2446601"/>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0" name="Freeform 427">
              <a:extLst>
                <a:ext uri="{FF2B5EF4-FFF2-40B4-BE49-F238E27FC236}">
                  <a16:creationId xmlns:a16="http://schemas.microsoft.com/office/drawing/2014/main" id="{7E8B06F1-B5CC-9E4A-82DE-188164C2EE45}"/>
                </a:ext>
              </a:extLst>
            </p:cNvPr>
            <p:cNvSpPr>
              <a:spLocks/>
            </p:cNvSpPr>
            <p:nvPr/>
          </p:nvSpPr>
          <p:spPr bwMode="auto">
            <a:xfrm>
              <a:off x="1423600" y="24466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1" name="Freeform 428">
              <a:extLst>
                <a:ext uri="{FF2B5EF4-FFF2-40B4-BE49-F238E27FC236}">
                  <a16:creationId xmlns:a16="http://schemas.microsoft.com/office/drawing/2014/main" id="{4510F00F-E79E-1B40-8A24-27D124F86F69}"/>
                </a:ext>
              </a:extLst>
            </p:cNvPr>
            <p:cNvSpPr>
              <a:spLocks/>
            </p:cNvSpPr>
            <p:nvPr/>
          </p:nvSpPr>
          <p:spPr bwMode="auto">
            <a:xfrm>
              <a:off x="1427089" y="24466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2" name="Freeform 429">
              <a:extLst>
                <a:ext uri="{FF2B5EF4-FFF2-40B4-BE49-F238E27FC236}">
                  <a16:creationId xmlns:a16="http://schemas.microsoft.com/office/drawing/2014/main" id="{2C09031B-5DDD-9F45-85EB-B6A5607AE9CF}"/>
                </a:ext>
              </a:extLst>
            </p:cNvPr>
            <p:cNvSpPr>
              <a:spLocks/>
            </p:cNvSpPr>
            <p:nvPr/>
          </p:nvSpPr>
          <p:spPr bwMode="auto">
            <a:xfrm>
              <a:off x="1431740" y="2439650"/>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3" name="Freeform 430">
              <a:extLst>
                <a:ext uri="{FF2B5EF4-FFF2-40B4-BE49-F238E27FC236}">
                  <a16:creationId xmlns:a16="http://schemas.microsoft.com/office/drawing/2014/main" id="{5FDDCAC7-A04F-B840-A27F-1CC13E95FC02}"/>
                </a:ext>
              </a:extLst>
            </p:cNvPr>
            <p:cNvSpPr>
              <a:spLocks/>
            </p:cNvSpPr>
            <p:nvPr/>
          </p:nvSpPr>
          <p:spPr bwMode="auto">
            <a:xfrm>
              <a:off x="1431740" y="243965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4" name="Freeform 431">
              <a:extLst>
                <a:ext uri="{FF2B5EF4-FFF2-40B4-BE49-F238E27FC236}">
                  <a16:creationId xmlns:a16="http://schemas.microsoft.com/office/drawing/2014/main" id="{2E49F583-36CD-544E-A919-F335B7078A56}"/>
                </a:ext>
              </a:extLst>
            </p:cNvPr>
            <p:cNvSpPr>
              <a:spLocks/>
            </p:cNvSpPr>
            <p:nvPr/>
          </p:nvSpPr>
          <p:spPr bwMode="auto">
            <a:xfrm>
              <a:off x="1435229" y="2433693"/>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5" name="Freeform 432">
              <a:extLst>
                <a:ext uri="{FF2B5EF4-FFF2-40B4-BE49-F238E27FC236}">
                  <a16:creationId xmlns:a16="http://schemas.microsoft.com/office/drawing/2014/main" id="{19D2ECB4-8B99-9D44-B069-920AF2AD7A44}"/>
                </a:ext>
              </a:extLst>
            </p:cNvPr>
            <p:cNvSpPr>
              <a:spLocks/>
            </p:cNvSpPr>
            <p:nvPr/>
          </p:nvSpPr>
          <p:spPr bwMode="auto">
            <a:xfrm>
              <a:off x="1435229" y="243369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6" name="Freeform 433">
              <a:extLst>
                <a:ext uri="{FF2B5EF4-FFF2-40B4-BE49-F238E27FC236}">
                  <a16:creationId xmlns:a16="http://schemas.microsoft.com/office/drawing/2014/main" id="{7E8FFA2D-8A2D-334F-8687-569C8C2EAC13}"/>
                </a:ext>
              </a:extLst>
            </p:cNvPr>
            <p:cNvSpPr>
              <a:spLocks/>
            </p:cNvSpPr>
            <p:nvPr/>
          </p:nvSpPr>
          <p:spPr bwMode="auto">
            <a:xfrm>
              <a:off x="1438718" y="2433693"/>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7" name="Freeform 434">
              <a:extLst>
                <a:ext uri="{FF2B5EF4-FFF2-40B4-BE49-F238E27FC236}">
                  <a16:creationId xmlns:a16="http://schemas.microsoft.com/office/drawing/2014/main" id="{4975DED8-B6BA-924F-8DF2-F51FA960D73F}"/>
                </a:ext>
              </a:extLst>
            </p:cNvPr>
            <p:cNvSpPr>
              <a:spLocks/>
            </p:cNvSpPr>
            <p:nvPr/>
          </p:nvSpPr>
          <p:spPr bwMode="auto">
            <a:xfrm>
              <a:off x="1445695"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8" name="Freeform 435">
              <a:extLst>
                <a:ext uri="{FF2B5EF4-FFF2-40B4-BE49-F238E27FC236}">
                  <a16:creationId xmlns:a16="http://schemas.microsoft.com/office/drawing/2014/main" id="{3FBEC50F-54F9-4F41-9425-A1F2694C4FB8}"/>
                </a:ext>
              </a:extLst>
            </p:cNvPr>
            <p:cNvSpPr>
              <a:spLocks/>
            </p:cNvSpPr>
            <p:nvPr/>
          </p:nvSpPr>
          <p:spPr bwMode="auto">
            <a:xfrm>
              <a:off x="1450347" y="243369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9" name="Freeform 436">
              <a:extLst>
                <a:ext uri="{FF2B5EF4-FFF2-40B4-BE49-F238E27FC236}">
                  <a16:creationId xmlns:a16="http://schemas.microsoft.com/office/drawing/2014/main" id="{34882570-91BC-5946-9DB7-3FB2E92F0116}"/>
                </a:ext>
              </a:extLst>
            </p:cNvPr>
            <p:cNvSpPr>
              <a:spLocks/>
            </p:cNvSpPr>
            <p:nvPr/>
          </p:nvSpPr>
          <p:spPr bwMode="auto">
            <a:xfrm>
              <a:off x="1453836"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0" name="Freeform 437">
              <a:extLst>
                <a:ext uri="{FF2B5EF4-FFF2-40B4-BE49-F238E27FC236}">
                  <a16:creationId xmlns:a16="http://schemas.microsoft.com/office/drawing/2014/main" id="{AD7140E7-8C97-184D-854D-ED127D0CF994}"/>
                </a:ext>
              </a:extLst>
            </p:cNvPr>
            <p:cNvSpPr>
              <a:spLocks/>
            </p:cNvSpPr>
            <p:nvPr/>
          </p:nvSpPr>
          <p:spPr bwMode="auto">
            <a:xfrm>
              <a:off x="1457324"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1" name="Freeform 438">
              <a:extLst>
                <a:ext uri="{FF2B5EF4-FFF2-40B4-BE49-F238E27FC236}">
                  <a16:creationId xmlns:a16="http://schemas.microsoft.com/office/drawing/2014/main" id="{49F10D71-4DE9-814B-A080-82C88E6BA15E}"/>
                </a:ext>
              </a:extLst>
            </p:cNvPr>
            <p:cNvSpPr>
              <a:spLocks/>
            </p:cNvSpPr>
            <p:nvPr/>
          </p:nvSpPr>
          <p:spPr bwMode="auto">
            <a:xfrm>
              <a:off x="1460814"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2" name="Freeform 439">
              <a:extLst>
                <a:ext uri="{FF2B5EF4-FFF2-40B4-BE49-F238E27FC236}">
                  <a16:creationId xmlns:a16="http://schemas.microsoft.com/office/drawing/2014/main" id="{C3035A77-341E-1242-B826-A7CB7697F6B8}"/>
                </a:ext>
              </a:extLst>
            </p:cNvPr>
            <p:cNvSpPr>
              <a:spLocks/>
            </p:cNvSpPr>
            <p:nvPr/>
          </p:nvSpPr>
          <p:spPr bwMode="auto">
            <a:xfrm>
              <a:off x="1465465" y="2426744"/>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3" name="Freeform 440">
              <a:extLst>
                <a:ext uri="{FF2B5EF4-FFF2-40B4-BE49-F238E27FC236}">
                  <a16:creationId xmlns:a16="http://schemas.microsoft.com/office/drawing/2014/main" id="{C5C38CF5-CE9B-B045-96DB-8566971CA112}"/>
                </a:ext>
              </a:extLst>
            </p:cNvPr>
            <p:cNvSpPr>
              <a:spLocks/>
            </p:cNvSpPr>
            <p:nvPr/>
          </p:nvSpPr>
          <p:spPr bwMode="auto">
            <a:xfrm>
              <a:off x="1465465" y="2420787"/>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4" name="Freeform 441">
              <a:extLst>
                <a:ext uri="{FF2B5EF4-FFF2-40B4-BE49-F238E27FC236}">
                  <a16:creationId xmlns:a16="http://schemas.microsoft.com/office/drawing/2014/main" id="{DED1F32C-5F69-CD48-A9DA-88491C52EB34}"/>
                </a:ext>
              </a:extLst>
            </p:cNvPr>
            <p:cNvSpPr>
              <a:spLocks/>
            </p:cNvSpPr>
            <p:nvPr/>
          </p:nvSpPr>
          <p:spPr bwMode="auto">
            <a:xfrm>
              <a:off x="1465465" y="2420787"/>
              <a:ext cx="13955" cy="8936"/>
            </a:xfrm>
            <a:custGeom>
              <a:avLst/>
              <a:gdLst>
                <a:gd name="T0" fmla="*/ 2147483646 w 12"/>
                <a:gd name="T1" fmla="*/ 2147483646 h 9"/>
                <a:gd name="T2" fmla="*/ 0 w 12"/>
                <a:gd name="T3" fmla="*/ 2147483646 h 9"/>
                <a:gd name="T4" fmla="*/ 0 w 12"/>
                <a:gd name="T5" fmla="*/ 2147483646 h 9"/>
                <a:gd name="T6" fmla="*/ 0 w 12"/>
                <a:gd name="T7" fmla="*/ 2147483646 h 9"/>
                <a:gd name="T8" fmla="*/ 0 w 12"/>
                <a:gd name="T9" fmla="*/ 0 h 9"/>
                <a:gd name="T10" fmla="*/ 2147483646 w 12"/>
                <a:gd name="T11" fmla="*/ 0 h 9"/>
                <a:gd name="T12" fmla="*/ 2147483646 w 12"/>
                <a:gd name="T13" fmla="*/ 0 h 9"/>
                <a:gd name="T14" fmla="*/ 2147483646 w 12"/>
                <a:gd name="T15" fmla="*/ 0 h 9"/>
                <a:gd name="T16" fmla="*/ 2147483646 w 12"/>
                <a:gd name="T17" fmla="*/ 2147483646 h 9"/>
                <a:gd name="T18" fmla="*/ 2147483646 w 12"/>
                <a:gd name="T19" fmla="*/ 2147483646 h 9"/>
                <a:gd name="T20" fmla="*/ 2147483646 w 12"/>
                <a:gd name="T21" fmla="*/ 2147483646 h 9"/>
                <a:gd name="T22" fmla="*/ 2147483646 w 12"/>
                <a:gd name="T23" fmla="*/ 2147483646 h 9"/>
                <a:gd name="T24" fmla="*/ 2147483646 w 1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9">
                  <a:moveTo>
                    <a:pt x="3" y="9"/>
                  </a:moveTo>
                  <a:lnTo>
                    <a:pt x="0" y="6"/>
                  </a:lnTo>
                  <a:lnTo>
                    <a:pt x="0" y="3"/>
                  </a:lnTo>
                  <a:lnTo>
                    <a:pt x="0" y="0"/>
                  </a:lnTo>
                  <a:lnTo>
                    <a:pt x="3" y="0"/>
                  </a:lnTo>
                  <a:lnTo>
                    <a:pt x="9" y="0"/>
                  </a:lnTo>
                  <a:lnTo>
                    <a:pt x="12" y="0"/>
                  </a:lnTo>
                  <a:lnTo>
                    <a:pt x="12" y="3"/>
                  </a:lnTo>
                  <a:lnTo>
                    <a:pt x="12"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5" name="Freeform 442">
              <a:extLst>
                <a:ext uri="{FF2B5EF4-FFF2-40B4-BE49-F238E27FC236}">
                  <a16:creationId xmlns:a16="http://schemas.microsoft.com/office/drawing/2014/main" id="{3A1087CD-92DA-C84B-B8F9-574062BEAADD}"/>
                </a:ext>
              </a:extLst>
            </p:cNvPr>
            <p:cNvSpPr>
              <a:spLocks/>
            </p:cNvSpPr>
            <p:nvPr/>
          </p:nvSpPr>
          <p:spPr bwMode="auto">
            <a:xfrm>
              <a:off x="1472443" y="242078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6" name="Freeform 443">
              <a:extLst>
                <a:ext uri="{FF2B5EF4-FFF2-40B4-BE49-F238E27FC236}">
                  <a16:creationId xmlns:a16="http://schemas.microsoft.com/office/drawing/2014/main" id="{3B34F212-8A60-AD44-9099-907D5E3E9E53}"/>
                </a:ext>
              </a:extLst>
            </p:cNvPr>
            <p:cNvSpPr>
              <a:spLocks/>
            </p:cNvSpPr>
            <p:nvPr/>
          </p:nvSpPr>
          <p:spPr bwMode="auto">
            <a:xfrm>
              <a:off x="1475931" y="242078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7" name="Freeform 444">
              <a:extLst>
                <a:ext uri="{FF2B5EF4-FFF2-40B4-BE49-F238E27FC236}">
                  <a16:creationId xmlns:a16="http://schemas.microsoft.com/office/drawing/2014/main" id="{412B02AF-D17E-8045-A1E1-528F7C99184A}"/>
                </a:ext>
              </a:extLst>
            </p:cNvPr>
            <p:cNvSpPr>
              <a:spLocks/>
            </p:cNvSpPr>
            <p:nvPr/>
          </p:nvSpPr>
          <p:spPr bwMode="auto">
            <a:xfrm>
              <a:off x="1479420" y="241085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8" name="Freeform 445">
              <a:extLst>
                <a:ext uri="{FF2B5EF4-FFF2-40B4-BE49-F238E27FC236}">
                  <a16:creationId xmlns:a16="http://schemas.microsoft.com/office/drawing/2014/main" id="{04D0E752-C74F-F748-B8F7-F3825163CE6B}"/>
                </a:ext>
              </a:extLst>
            </p:cNvPr>
            <p:cNvSpPr>
              <a:spLocks/>
            </p:cNvSpPr>
            <p:nvPr/>
          </p:nvSpPr>
          <p:spPr bwMode="auto">
            <a:xfrm>
              <a:off x="1479420" y="2410858"/>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7"/>
                  </a:lnTo>
                  <a:lnTo>
                    <a:pt x="0" y="3"/>
                  </a:lnTo>
                  <a:lnTo>
                    <a:pt x="0" y="0"/>
                  </a:lnTo>
                  <a:lnTo>
                    <a:pt x="4" y="0"/>
                  </a:lnTo>
                  <a:lnTo>
                    <a:pt x="13" y="0"/>
                  </a:lnTo>
                  <a:lnTo>
                    <a:pt x="17" y="0"/>
                  </a:lnTo>
                  <a:lnTo>
                    <a:pt x="17" y="3"/>
                  </a:lnTo>
                  <a:lnTo>
                    <a:pt x="17" y="7"/>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9" name="Freeform 446">
              <a:extLst>
                <a:ext uri="{FF2B5EF4-FFF2-40B4-BE49-F238E27FC236}">
                  <a16:creationId xmlns:a16="http://schemas.microsoft.com/office/drawing/2014/main" id="{35ABB869-B7D9-D340-8E81-A6CA0A625195}"/>
                </a:ext>
              </a:extLst>
            </p:cNvPr>
            <p:cNvSpPr>
              <a:spLocks/>
            </p:cNvSpPr>
            <p:nvPr/>
          </p:nvSpPr>
          <p:spPr bwMode="auto">
            <a:xfrm>
              <a:off x="1491050" y="241085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0" name="Freeform 447">
              <a:extLst>
                <a:ext uri="{FF2B5EF4-FFF2-40B4-BE49-F238E27FC236}">
                  <a16:creationId xmlns:a16="http://schemas.microsoft.com/office/drawing/2014/main" id="{2E747484-3455-2F4F-8A36-004D20DC725B}"/>
                </a:ext>
              </a:extLst>
            </p:cNvPr>
            <p:cNvSpPr>
              <a:spLocks/>
            </p:cNvSpPr>
            <p:nvPr/>
          </p:nvSpPr>
          <p:spPr bwMode="auto">
            <a:xfrm>
              <a:off x="1494538" y="241085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1" name="Freeform 448">
              <a:extLst>
                <a:ext uri="{FF2B5EF4-FFF2-40B4-BE49-F238E27FC236}">
                  <a16:creationId xmlns:a16="http://schemas.microsoft.com/office/drawing/2014/main" id="{0C04DBDB-E959-864D-BF20-DDFE66D58718}"/>
                </a:ext>
              </a:extLst>
            </p:cNvPr>
            <p:cNvSpPr>
              <a:spLocks/>
            </p:cNvSpPr>
            <p:nvPr/>
          </p:nvSpPr>
          <p:spPr bwMode="auto">
            <a:xfrm>
              <a:off x="1502679" y="241085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2" name="Freeform 449">
              <a:extLst>
                <a:ext uri="{FF2B5EF4-FFF2-40B4-BE49-F238E27FC236}">
                  <a16:creationId xmlns:a16="http://schemas.microsoft.com/office/drawing/2014/main" id="{10E2D79F-640A-C64D-A151-5AD2F8CE4387}"/>
                </a:ext>
              </a:extLst>
            </p:cNvPr>
            <p:cNvSpPr>
              <a:spLocks/>
            </p:cNvSpPr>
            <p:nvPr/>
          </p:nvSpPr>
          <p:spPr bwMode="auto">
            <a:xfrm>
              <a:off x="1506167" y="240490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3" name="Freeform 450">
              <a:extLst>
                <a:ext uri="{FF2B5EF4-FFF2-40B4-BE49-F238E27FC236}">
                  <a16:creationId xmlns:a16="http://schemas.microsoft.com/office/drawing/2014/main" id="{5B8D041D-902D-BE43-B792-025E8958F9FC}"/>
                </a:ext>
              </a:extLst>
            </p:cNvPr>
            <p:cNvSpPr>
              <a:spLocks/>
            </p:cNvSpPr>
            <p:nvPr/>
          </p:nvSpPr>
          <p:spPr bwMode="auto">
            <a:xfrm>
              <a:off x="1506167" y="239795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4" name="Freeform 451">
              <a:extLst>
                <a:ext uri="{FF2B5EF4-FFF2-40B4-BE49-F238E27FC236}">
                  <a16:creationId xmlns:a16="http://schemas.microsoft.com/office/drawing/2014/main" id="{D87ADA13-C27E-B948-97B6-039A4A77A074}"/>
                </a:ext>
              </a:extLst>
            </p:cNvPr>
            <p:cNvSpPr>
              <a:spLocks/>
            </p:cNvSpPr>
            <p:nvPr/>
          </p:nvSpPr>
          <p:spPr bwMode="auto">
            <a:xfrm>
              <a:off x="1506167" y="239795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5" name="Freeform 452">
              <a:extLst>
                <a:ext uri="{FF2B5EF4-FFF2-40B4-BE49-F238E27FC236}">
                  <a16:creationId xmlns:a16="http://schemas.microsoft.com/office/drawing/2014/main" id="{4C67D7AE-6CE5-1C4A-8D11-DB3A9AAE64DC}"/>
                </a:ext>
              </a:extLst>
            </p:cNvPr>
            <p:cNvSpPr>
              <a:spLocks/>
            </p:cNvSpPr>
            <p:nvPr/>
          </p:nvSpPr>
          <p:spPr bwMode="auto">
            <a:xfrm>
              <a:off x="1509656" y="2397951"/>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3"/>
                  </a:lnTo>
                  <a:lnTo>
                    <a:pt x="0" y="0"/>
                  </a:lnTo>
                  <a:lnTo>
                    <a:pt x="4" y="0"/>
                  </a:lnTo>
                  <a:lnTo>
                    <a:pt x="16" y="0"/>
                  </a:lnTo>
                  <a:lnTo>
                    <a:pt x="20" y="0"/>
                  </a:lnTo>
                  <a:lnTo>
                    <a:pt x="20" y="3"/>
                  </a:lnTo>
                  <a:lnTo>
                    <a:pt x="20" y="7"/>
                  </a:lnTo>
                  <a:lnTo>
                    <a:pt x="16"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6" name="Freeform 453">
              <a:extLst>
                <a:ext uri="{FF2B5EF4-FFF2-40B4-BE49-F238E27FC236}">
                  <a16:creationId xmlns:a16="http://schemas.microsoft.com/office/drawing/2014/main" id="{29049AAF-7229-4B43-A1D5-9FD4608DB267}"/>
                </a:ext>
              </a:extLst>
            </p:cNvPr>
            <p:cNvSpPr>
              <a:spLocks/>
            </p:cNvSpPr>
            <p:nvPr/>
          </p:nvSpPr>
          <p:spPr bwMode="auto">
            <a:xfrm>
              <a:off x="1524774" y="239795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7" name="Freeform 454">
              <a:extLst>
                <a:ext uri="{FF2B5EF4-FFF2-40B4-BE49-F238E27FC236}">
                  <a16:creationId xmlns:a16="http://schemas.microsoft.com/office/drawing/2014/main" id="{6119DB06-6832-3C4B-8ABC-DE78A9C16485}"/>
                </a:ext>
              </a:extLst>
            </p:cNvPr>
            <p:cNvSpPr>
              <a:spLocks/>
            </p:cNvSpPr>
            <p:nvPr/>
          </p:nvSpPr>
          <p:spPr bwMode="auto">
            <a:xfrm>
              <a:off x="1528263" y="239199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8" name="Freeform 455">
              <a:extLst>
                <a:ext uri="{FF2B5EF4-FFF2-40B4-BE49-F238E27FC236}">
                  <a16:creationId xmlns:a16="http://schemas.microsoft.com/office/drawing/2014/main" id="{8F2A0D3A-D7DA-A64D-BFDD-CA6F8170F0E3}"/>
                </a:ext>
              </a:extLst>
            </p:cNvPr>
            <p:cNvSpPr>
              <a:spLocks/>
            </p:cNvSpPr>
            <p:nvPr/>
          </p:nvSpPr>
          <p:spPr bwMode="auto">
            <a:xfrm>
              <a:off x="1528263" y="239199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9" name="Freeform 456">
              <a:extLst>
                <a:ext uri="{FF2B5EF4-FFF2-40B4-BE49-F238E27FC236}">
                  <a16:creationId xmlns:a16="http://schemas.microsoft.com/office/drawing/2014/main" id="{A6C633D6-BD4D-2544-B4DE-6B2E19C1ECF1}"/>
                </a:ext>
              </a:extLst>
            </p:cNvPr>
            <p:cNvSpPr>
              <a:spLocks/>
            </p:cNvSpPr>
            <p:nvPr/>
          </p:nvSpPr>
          <p:spPr bwMode="auto">
            <a:xfrm>
              <a:off x="1532915" y="2391994"/>
              <a:ext cx="29073" cy="8936"/>
            </a:xfrm>
            <a:custGeom>
              <a:avLst/>
              <a:gdLst>
                <a:gd name="T0" fmla="*/ 2147483646 w 25"/>
                <a:gd name="T1" fmla="*/ 2147483646 h 9"/>
                <a:gd name="T2" fmla="*/ 0 w 25"/>
                <a:gd name="T3" fmla="*/ 2147483646 h 9"/>
                <a:gd name="T4" fmla="*/ 0 w 25"/>
                <a:gd name="T5" fmla="*/ 2147483646 h 9"/>
                <a:gd name="T6" fmla="*/ 0 w 25"/>
                <a:gd name="T7" fmla="*/ 2147483646 h 9"/>
                <a:gd name="T8" fmla="*/ 0 w 25"/>
                <a:gd name="T9" fmla="*/ 0 h 9"/>
                <a:gd name="T10" fmla="*/ 2147483646 w 25"/>
                <a:gd name="T11" fmla="*/ 0 h 9"/>
                <a:gd name="T12" fmla="*/ 2147483646 w 25"/>
                <a:gd name="T13" fmla="*/ 0 h 9"/>
                <a:gd name="T14" fmla="*/ 2147483646 w 25"/>
                <a:gd name="T15" fmla="*/ 0 h 9"/>
                <a:gd name="T16" fmla="*/ 2147483646 w 25"/>
                <a:gd name="T17" fmla="*/ 2147483646 h 9"/>
                <a:gd name="T18" fmla="*/ 2147483646 w 25"/>
                <a:gd name="T19" fmla="*/ 2147483646 h 9"/>
                <a:gd name="T20" fmla="*/ 2147483646 w 25"/>
                <a:gd name="T21" fmla="*/ 2147483646 h 9"/>
                <a:gd name="T22" fmla="*/ 2147483646 w 25"/>
                <a:gd name="T23" fmla="*/ 2147483646 h 9"/>
                <a:gd name="T24" fmla="*/ 2147483646 w 25"/>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9">
                  <a:moveTo>
                    <a:pt x="3" y="9"/>
                  </a:moveTo>
                  <a:lnTo>
                    <a:pt x="0" y="6"/>
                  </a:lnTo>
                  <a:lnTo>
                    <a:pt x="0" y="3"/>
                  </a:lnTo>
                  <a:lnTo>
                    <a:pt x="0" y="0"/>
                  </a:lnTo>
                  <a:lnTo>
                    <a:pt x="3" y="0"/>
                  </a:lnTo>
                  <a:lnTo>
                    <a:pt x="22" y="0"/>
                  </a:lnTo>
                  <a:lnTo>
                    <a:pt x="25" y="0"/>
                  </a:lnTo>
                  <a:lnTo>
                    <a:pt x="25" y="3"/>
                  </a:lnTo>
                  <a:lnTo>
                    <a:pt x="25" y="6"/>
                  </a:lnTo>
                  <a:lnTo>
                    <a:pt x="22"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0" name="Freeform 457">
              <a:extLst>
                <a:ext uri="{FF2B5EF4-FFF2-40B4-BE49-F238E27FC236}">
                  <a16:creationId xmlns:a16="http://schemas.microsoft.com/office/drawing/2014/main" id="{5DF68ECF-0E29-AD41-8CB2-81C4A1ECE520}"/>
                </a:ext>
              </a:extLst>
            </p:cNvPr>
            <p:cNvSpPr>
              <a:spLocks/>
            </p:cNvSpPr>
            <p:nvPr/>
          </p:nvSpPr>
          <p:spPr bwMode="auto">
            <a:xfrm>
              <a:off x="1555010" y="238206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1" name="Freeform 458">
              <a:extLst>
                <a:ext uri="{FF2B5EF4-FFF2-40B4-BE49-F238E27FC236}">
                  <a16:creationId xmlns:a16="http://schemas.microsoft.com/office/drawing/2014/main" id="{F2E72707-9137-0148-925A-DAE7C99DBA5F}"/>
                </a:ext>
              </a:extLst>
            </p:cNvPr>
            <p:cNvSpPr>
              <a:spLocks/>
            </p:cNvSpPr>
            <p:nvPr/>
          </p:nvSpPr>
          <p:spPr bwMode="auto">
            <a:xfrm>
              <a:off x="1555010" y="238206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2" name="Freeform 459">
              <a:extLst>
                <a:ext uri="{FF2B5EF4-FFF2-40B4-BE49-F238E27FC236}">
                  <a16:creationId xmlns:a16="http://schemas.microsoft.com/office/drawing/2014/main" id="{29A0033D-B8E5-D44B-A3D2-B74E68F137C8}"/>
                </a:ext>
              </a:extLst>
            </p:cNvPr>
            <p:cNvSpPr>
              <a:spLocks/>
            </p:cNvSpPr>
            <p:nvPr/>
          </p:nvSpPr>
          <p:spPr bwMode="auto">
            <a:xfrm>
              <a:off x="1558499" y="2376109"/>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3" name="Freeform 460">
              <a:extLst>
                <a:ext uri="{FF2B5EF4-FFF2-40B4-BE49-F238E27FC236}">
                  <a16:creationId xmlns:a16="http://schemas.microsoft.com/office/drawing/2014/main" id="{34CEA24C-E825-C84C-87B0-344246B97C58}"/>
                </a:ext>
              </a:extLst>
            </p:cNvPr>
            <p:cNvSpPr>
              <a:spLocks/>
            </p:cNvSpPr>
            <p:nvPr/>
          </p:nvSpPr>
          <p:spPr bwMode="auto">
            <a:xfrm>
              <a:off x="1558499" y="236915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4" name="Freeform 461">
              <a:extLst>
                <a:ext uri="{FF2B5EF4-FFF2-40B4-BE49-F238E27FC236}">
                  <a16:creationId xmlns:a16="http://schemas.microsoft.com/office/drawing/2014/main" id="{1CF3D4DF-9317-3144-AE22-EB3410ED4F46}"/>
                </a:ext>
              </a:extLst>
            </p:cNvPr>
            <p:cNvSpPr>
              <a:spLocks/>
            </p:cNvSpPr>
            <p:nvPr/>
          </p:nvSpPr>
          <p:spPr bwMode="auto">
            <a:xfrm>
              <a:off x="1558499" y="236915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5" name="Freeform 462">
              <a:extLst>
                <a:ext uri="{FF2B5EF4-FFF2-40B4-BE49-F238E27FC236}">
                  <a16:creationId xmlns:a16="http://schemas.microsoft.com/office/drawing/2014/main" id="{E94345EE-F486-A94A-899B-391BA3DFA689}"/>
                </a:ext>
              </a:extLst>
            </p:cNvPr>
            <p:cNvSpPr>
              <a:spLocks/>
            </p:cNvSpPr>
            <p:nvPr/>
          </p:nvSpPr>
          <p:spPr bwMode="auto">
            <a:xfrm>
              <a:off x="1561987" y="2359231"/>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6" name="Freeform 463">
              <a:extLst>
                <a:ext uri="{FF2B5EF4-FFF2-40B4-BE49-F238E27FC236}">
                  <a16:creationId xmlns:a16="http://schemas.microsoft.com/office/drawing/2014/main" id="{D5C764CA-4D9C-FC49-8AC4-2807213E242D}"/>
                </a:ext>
              </a:extLst>
            </p:cNvPr>
            <p:cNvSpPr>
              <a:spLocks/>
            </p:cNvSpPr>
            <p:nvPr/>
          </p:nvSpPr>
          <p:spPr bwMode="auto">
            <a:xfrm>
              <a:off x="1561987" y="2359231"/>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7"/>
                  </a:lnTo>
                  <a:lnTo>
                    <a:pt x="0" y="4"/>
                  </a:lnTo>
                  <a:lnTo>
                    <a:pt x="0" y="0"/>
                  </a:lnTo>
                  <a:lnTo>
                    <a:pt x="4" y="0"/>
                  </a:lnTo>
                  <a:lnTo>
                    <a:pt x="20" y="0"/>
                  </a:lnTo>
                  <a:lnTo>
                    <a:pt x="23" y="0"/>
                  </a:lnTo>
                  <a:lnTo>
                    <a:pt x="23" y="4"/>
                  </a:lnTo>
                  <a:lnTo>
                    <a:pt x="23" y="7"/>
                  </a:lnTo>
                  <a:lnTo>
                    <a:pt x="2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7" name="Freeform 464">
              <a:extLst>
                <a:ext uri="{FF2B5EF4-FFF2-40B4-BE49-F238E27FC236}">
                  <a16:creationId xmlns:a16="http://schemas.microsoft.com/office/drawing/2014/main" id="{133C70E7-4AAF-2B47-A411-C33A18239FFA}"/>
                </a:ext>
              </a:extLst>
            </p:cNvPr>
            <p:cNvSpPr>
              <a:spLocks/>
            </p:cNvSpPr>
            <p:nvPr/>
          </p:nvSpPr>
          <p:spPr bwMode="auto">
            <a:xfrm>
              <a:off x="1581757" y="2353273"/>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8" name="Freeform 465">
              <a:extLst>
                <a:ext uri="{FF2B5EF4-FFF2-40B4-BE49-F238E27FC236}">
                  <a16:creationId xmlns:a16="http://schemas.microsoft.com/office/drawing/2014/main" id="{80F5F162-4F3D-BA4B-B4EE-7E1051CD45A3}"/>
                </a:ext>
              </a:extLst>
            </p:cNvPr>
            <p:cNvSpPr>
              <a:spLocks/>
            </p:cNvSpPr>
            <p:nvPr/>
          </p:nvSpPr>
          <p:spPr bwMode="auto">
            <a:xfrm>
              <a:off x="1581757" y="235327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9" name="Freeform 466">
              <a:extLst>
                <a:ext uri="{FF2B5EF4-FFF2-40B4-BE49-F238E27FC236}">
                  <a16:creationId xmlns:a16="http://schemas.microsoft.com/office/drawing/2014/main" id="{50DCAAE6-4572-A748-8993-10C4B31CDE73}"/>
                </a:ext>
              </a:extLst>
            </p:cNvPr>
            <p:cNvSpPr>
              <a:spLocks/>
            </p:cNvSpPr>
            <p:nvPr/>
          </p:nvSpPr>
          <p:spPr bwMode="auto">
            <a:xfrm>
              <a:off x="1585246" y="235327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0" name="Freeform 467">
              <a:extLst>
                <a:ext uri="{FF2B5EF4-FFF2-40B4-BE49-F238E27FC236}">
                  <a16:creationId xmlns:a16="http://schemas.microsoft.com/office/drawing/2014/main" id="{E195B01E-FAFC-BD4A-A5F2-C19A3A4EC13C}"/>
                </a:ext>
              </a:extLst>
            </p:cNvPr>
            <p:cNvSpPr>
              <a:spLocks/>
            </p:cNvSpPr>
            <p:nvPr/>
          </p:nvSpPr>
          <p:spPr bwMode="auto">
            <a:xfrm>
              <a:off x="1588735" y="235327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1" name="Freeform 468">
              <a:extLst>
                <a:ext uri="{FF2B5EF4-FFF2-40B4-BE49-F238E27FC236}">
                  <a16:creationId xmlns:a16="http://schemas.microsoft.com/office/drawing/2014/main" id="{649EE478-AA15-1049-8616-33E250E80C98}"/>
                </a:ext>
              </a:extLst>
            </p:cNvPr>
            <p:cNvSpPr>
              <a:spLocks/>
            </p:cNvSpPr>
            <p:nvPr/>
          </p:nvSpPr>
          <p:spPr bwMode="auto">
            <a:xfrm>
              <a:off x="1592223" y="234334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4"/>
                  </a:lnTo>
                  <a:lnTo>
                    <a:pt x="0" y="0"/>
                  </a:lnTo>
                  <a:lnTo>
                    <a:pt x="3" y="0"/>
                  </a:lnTo>
                  <a:lnTo>
                    <a:pt x="7"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2" name="Freeform 469">
              <a:extLst>
                <a:ext uri="{FF2B5EF4-FFF2-40B4-BE49-F238E27FC236}">
                  <a16:creationId xmlns:a16="http://schemas.microsoft.com/office/drawing/2014/main" id="{FF8FD412-74B8-984A-B913-EDEF43273EFB}"/>
                </a:ext>
              </a:extLst>
            </p:cNvPr>
            <p:cNvSpPr>
              <a:spLocks/>
            </p:cNvSpPr>
            <p:nvPr/>
          </p:nvSpPr>
          <p:spPr bwMode="auto">
            <a:xfrm>
              <a:off x="1592223" y="234334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3" name="Freeform 470">
              <a:extLst>
                <a:ext uri="{FF2B5EF4-FFF2-40B4-BE49-F238E27FC236}">
                  <a16:creationId xmlns:a16="http://schemas.microsoft.com/office/drawing/2014/main" id="{F5617C4A-1084-B145-9BBF-D34CE33AA510}"/>
                </a:ext>
              </a:extLst>
            </p:cNvPr>
            <p:cNvSpPr>
              <a:spLocks/>
            </p:cNvSpPr>
            <p:nvPr/>
          </p:nvSpPr>
          <p:spPr bwMode="auto">
            <a:xfrm>
              <a:off x="1600364" y="233738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4" name="Freeform 471">
              <a:extLst>
                <a:ext uri="{FF2B5EF4-FFF2-40B4-BE49-F238E27FC236}">
                  <a16:creationId xmlns:a16="http://schemas.microsoft.com/office/drawing/2014/main" id="{90CA150E-56BE-9344-B0AB-979DE5905BFA}"/>
                </a:ext>
              </a:extLst>
            </p:cNvPr>
            <p:cNvSpPr>
              <a:spLocks/>
            </p:cNvSpPr>
            <p:nvPr/>
          </p:nvSpPr>
          <p:spPr bwMode="auto">
            <a:xfrm>
              <a:off x="1600364" y="233738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5" name="Freeform 472">
              <a:extLst>
                <a:ext uri="{FF2B5EF4-FFF2-40B4-BE49-F238E27FC236}">
                  <a16:creationId xmlns:a16="http://schemas.microsoft.com/office/drawing/2014/main" id="{B0FFBA31-C503-CE46-AFC8-AAF2A2037291}"/>
                </a:ext>
              </a:extLst>
            </p:cNvPr>
            <p:cNvSpPr>
              <a:spLocks/>
            </p:cNvSpPr>
            <p:nvPr/>
          </p:nvSpPr>
          <p:spPr bwMode="auto">
            <a:xfrm>
              <a:off x="1603853" y="233738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6" name="Freeform 473">
              <a:extLst>
                <a:ext uri="{FF2B5EF4-FFF2-40B4-BE49-F238E27FC236}">
                  <a16:creationId xmlns:a16="http://schemas.microsoft.com/office/drawing/2014/main" id="{50707A23-C062-404E-B327-46B7D4C9A9A4}"/>
                </a:ext>
              </a:extLst>
            </p:cNvPr>
            <p:cNvSpPr>
              <a:spLocks/>
            </p:cNvSpPr>
            <p:nvPr/>
          </p:nvSpPr>
          <p:spPr bwMode="auto">
            <a:xfrm>
              <a:off x="1607342" y="233043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4"/>
                  </a:lnTo>
                  <a:lnTo>
                    <a:pt x="0" y="0"/>
                  </a:lnTo>
                  <a:lnTo>
                    <a:pt x="3"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7" name="Freeform 474">
              <a:extLst>
                <a:ext uri="{FF2B5EF4-FFF2-40B4-BE49-F238E27FC236}">
                  <a16:creationId xmlns:a16="http://schemas.microsoft.com/office/drawing/2014/main" id="{74388422-B123-CB49-974C-E1FF37333FBE}"/>
                </a:ext>
              </a:extLst>
            </p:cNvPr>
            <p:cNvSpPr>
              <a:spLocks/>
            </p:cNvSpPr>
            <p:nvPr/>
          </p:nvSpPr>
          <p:spPr bwMode="auto">
            <a:xfrm>
              <a:off x="1607342" y="232150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8" name="Freeform 475">
              <a:extLst>
                <a:ext uri="{FF2B5EF4-FFF2-40B4-BE49-F238E27FC236}">
                  <a16:creationId xmlns:a16="http://schemas.microsoft.com/office/drawing/2014/main" id="{70E38A82-140F-3549-8C18-51E02BE6B8DB}"/>
                </a:ext>
              </a:extLst>
            </p:cNvPr>
            <p:cNvSpPr>
              <a:spLocks/>
            </p:cNvSpPr>
            <p:nvPr/>
          </p:nvSpPr>
          <p:spPr bwMode="auto">
            <a:xfrm>
              <a:off x="1607342" y="232150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9" name="Freeform 476">
              <a:extLst>
                <a:ext uri="{FF2B5EF4-FFF2-40B4-BE49-F238E27FC236}">
                  <a16:creationId xmlns:a16="http://schemas.microsoft.com/office/drawing/2014/main" id="{71F76362-8A9E-1A4F-BA65-FFC4F6168897}"/>
                </a:ext>
              </a:extLst>
            </p:cNvPr>
            <p:cNvSpPr>
              <a:spLocks/>
            </p:cNvSpPr>
            <p:nvPr/>
          </p:nvSpPr>
          <p:spPr bwMode="auto">
            <a:xfrm>
              <a:off x="1610830" y="232150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0" name="Freeform 477">
              <a:extLst>
                <a:ext uri="{FF2B5EF4-FFF2-40B4-BE49-F238E27FC236}">
                  <a16:creationId xmlns:a16="http://schemas.microsoft.com/office/drawing/2014/main" id="{7AF68D11-06DE-564B-9E59-D2D8EDA8305A}"/>
                </a:ext>
              </a:extLst>
            </p:cNvPr>
            <p:cNvSpPr>
              <a:spLocks/>
            </p:cNvSpPr>
            <p:nvPr/>
          </p:nvSpPr>
          <p:spPr bwMode="auto">
            <a:xfrm>
              <a:off x="1622459" y="231455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1" name="Freeform 478">
              <a:extLst>
                <a:ext uri="{FF2B5EF4-FFF2-40B4-BE49-F238E27FC236}">
                  <a16:creationId xmlns:a16="http://schemas.microsoft.com/office/drawing/2014/main" id="{F847F185-2E27-514F-843F-3DE1DBBC7972}"/>
                </a:ext>
              </a:extLst>
            </p:cNvPr>
            <p:cNvSpPr>
              <a:spLocks/>
            </p:cNvSpPr>
            <p:nvPr/>
          </p:nvSpPr>
          <p:spPr bwMode="auto">
            <a:xfrm>
              <a:off x="1622459" y="231455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2" name="Freeform 479">
              <a:extLst>
                <a:ext uri="{FF2B5EF4-FFF2-40B4-BE49-F238E27FC236}">
                  <a16:creationId xmlns:a16="http://schemas.microsoft.com/office/drawing/2014/main" id="{4B1C77D1-0E5C-2A40-9749-0171A028DA45}"/>
                </a:ext>
              </a:extLst>
            </p:cNvPr>
            <p:cNvSpPr>
              <a:spLocks/>
            </p:cNvSpPr>
            <p:nvPr/>
          </p:nvSpPr>
          <p:spPr bwMode="auto">
            <a:xfrm>
              <a:off x="1625948" y="230561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3" name="Freeform 480">
              <a:extLst>
                <a:ext uri="{FF2B5EF4-FFF2-40B4-BE49-F238E27FC236}">
                  <a16:creationId xmlns:a16="http://schemas.microsoft.com/office/drawing/2014/main" id="{F1CA9DEC-0012-734B-AA75-771B3C623416}"/>
                </a:ext>
              </a:extLst>
            </p:cNvPr>
            <p:cNvSpPr>
              <a:spLocks/>
            </p:cNvSpPr>
            <p:nvPr/>
          </p:nvSpPr>
          <p:spPr bwMode="auto">
            <a:xfrm>
              <a:off x="1625948" y="230561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4" name="Freeform 481">
              <a:extLst>
                <a:ext uri="{FF2B5EF4-FFF2-40B4-BE49-F238E27FC236}">
                  <a16:creationId xmlns:a16="http://schemas.microsoft.com/office/drawing/2014/main" id="{65599C63-B37B-5D49-A8C4-88652B75E358}"/>
                </a:ext>
              </a:extLst>
            </p:cNvPr>
            <p:cNvSpPr>
              <a:spLocks/>
            </p:cNvSpPr>
            <p:nvPr/>
          </p:nvSpPr>
          <p:spPr bwMode="auto">
            <a:xfrm>
              <a:off x="1637578" y="2305617"/>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5" name="Freeform 482">
              <a:extLst>
                <a:ext uri="{FF2B5EF4-FFF2-40B4-BE49-F238E27FC236}">
                  <a16:creationId xmlns:a16="http://schemas.microsoft.com/office/drawing/2014/main" id="{D4B06AB4-BF5E-0F46-93F4-ED0AF865F635}"/>
                </a:ext>
              </a:extLst>
            </p:cNvPr>
            <p:cNvSpPr>
              <a:spLocks/>
            </p:cNvSpPr>
            <p:nvPr/>
          </p:nvSpPr>
          <p:spPr bwMode="auto">
            <a:xfrm>
              <a:off x="1644555" y="230561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6" name="Freeform 483">
              <a:extLst>
                <a:ext uri="{FF2B5EF4-FFF2-40B4-BE49-F238E27FC236}">
                  <a16:creationId xmlns:a16="http://schemas.microsoft.com/office/drawing/2014/main" id="{F46E96F6-F038-9B43-B463-CC2AAA6AF444}"/>
                </a:ext>
              </a:extLst>
            </p:cNvPr>
            <p:cNvSpPr>
              <a:spLocks/>
            </p:cNvSpPr>
            <p:nvPr/>
          </p:nvSpPr>
          <p:spPr bwMode="auto">
            <a:xfrm>
              <a:off x="1656184" y="229866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7" name="Freeform 484">
              <a:extLst>
                <a:ext uri="{FF2B5EF4-FFF2-40B4-BE49-F238E27FC236}">
                  <a16:creationId xmlns:a16="http://schemas.microsoft.com/office/drawing/2014/main" id="{38EFEBF4-D436-6C4F-8FE6-F18A642D454F}"/>
                </a:ext>
              </a:extLst>
            </p:cNvPr>
            <p:cNvSpPr>
              <a:spLocks/>
            </p:cNvSpPr>
            <p:nvPr/>
          </p:nvSpPr>
          <p:spPr bwMode="auto">
            <a:xfrm>
              <a:off x="1656184" y="2288738"/>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6" y="17"/>
                  </a:lnTo>
                  <a:lnTo>
                    <a:pt x="3" y="17"/>
                  </a:lnTo>
                  <a:lnTo>
                    <a:pt x="0" y="17"/>
                  </a:lnTo>
                  <a:lnTo>
                    <a:pt x="0" y="13"/>
                  </a:lnTo>
                  <a:lnTo>
                    <a:pt x="0" y="4"/>
                  </a:lnTo>
                  <a:lnTo>
                    <a:pt x="0" y="0"/>
                  </a:lnTo>
                  <a:lnTo>
                    <a:pt x="3" y="0"/>
                  </a:lnTo>
                  <a:lnTo>
                    <a:pt x="6"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8" name="Freeform 485">
              <a:extLst>
                <a:ext uri="{FF2B5EF4-FFF2-40B4-BE49-F238E27FC236}">
                  <a16:creationId xmlns:a16="http://schemas.microsoft.com/office/drawing/2014/main" id="{E00B3B1A-26AE-6E42-B56C-CDDF98868FCA}"/>
                </a:ext>
              </a:extLst>
            </p:cNvPr>
            <p:cNvSpPr>
              <a:spLocks/>
            </p:cNvSpPr>
            <p:nvPr/>
          </p:nvSpPr>
          <p:spPr bwMode="auto">
            <a:xfrm>
              <a:off x="1656184" y="228873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9" name="Freeform 486">
              <a:extLst>
                <a:ext uri="{FF2B5EF4-FFF2-40B4-BE49-F238E27FC236}">
                  <a16:creationId xmlns:a16="http://schemas.microsoft.com/office/drawing/2014/main" id="{1B9286F0-A342-E741-8A5A-F4F3118A8EDE}"/>
                </a:ext>
              </a:extLst>
            </p:cNvPr>
            <p:cNvSpPr>
              <a:spLocks/>
            </p:cNvSpPr>
            <p:nvPr/>
          </p:nvSpPr>
          <p:spPr bwMode="auto">
            <a:xfrm>
              <a:off x="1659673" y="228278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0" name="Freeform 487">
              <a:extLst>
                <a:ext uri="{FF2B5EF4-FFF2-40B4-BE49-F238E27FC236}">
                  <a16:creationId xmlns:a16="http://schemas.microsoft.com/office/drawing/2014/main" id="{D50929E4-52A0-0E4C-A528-F30ACF5CFC1F}"/>
                </a:ext>
              </a:extLst>
            </p:cNvPr>
            <p:cNvSpPr>
              <a:spLocks/>
            </p:cNvSpPr>
            <p:nvPr/>
          </p:nvSpPr>
          <p:spPr bwMode="auto">
            <a:xfrm>
              <a:off x="1659673" y="228278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1" name="Freeform 488">
              <a:extLst>
                <a:ext uri="{FF2B5EF4-FFF2-40B4-BE49-F238E27FC236}">
                  <a16:creationId xmlns:a16="http://schemas.microsoft.com/office/drawing/2014/main" id="{10C9FEE9-4A68-D649-B250-AADBFB65F762}"/>
                </a:ext>
              </a:extLst>
            </p:cNvPr>
            <p:cNvSpPr>
              <a:spLocks/>
            </p:cNvSpPr>
            <p:nvPr/>
          </p:nvSpPr>
          <p:spPr bwMode="auto">
            <a:xfrm>
              <a:off x="1667814" y="2272853"/>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4"/>
                  </a:lnTo>
                  <a:lnTo>
                    <a:pt x="0" y="0"/>
                  </a:lnTo>
                  <a:lnTo>
                    <a:pt x="3" y="0"/>
                  </a:lnTo>
                  <a:lnTo>
                    <a:pt x="6" y="0"/>
                  </a:lnTo>
                  <a:lnTo>
                    <a:pt x="9" y="4"/>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2" name="Freeform 489">
              <a:extLst>
                <a:ext uri="{FF2B5EF4-FFF2-40B4-BE49-F238E27FC236}">
                  <a16:creationId xmlns:a16="http://schemas.microsoft.com/office/drawing/2014/main" id="{BE05E6B3-D776-C241-AEA1-6BE4963103A4}"/>
                </a:ext>
              </a:extLst>
            </p:cNvPr>
            <p:cNvSpPr>
              <a:spLocks/>
            </p:cNvSpPr>
            <p:nvPr/>
          </p:nvSpPr>
          <p:spPr bwMode="auto">
            <a:xfrm>
              <a:off x="1667814" y="227285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3" name="Freeform 490">
              <a:extLst>
                <a:ext uri="{FF2B5EF4-FFF2-40B4-BE49-F238E27FC236}">
                  <a16:creationId xmlns:a16="http://schemas.microsoft.com/office/drawing/2014/main" id="{A920682F-CC2C-7148-8804-CBCEAE79FA59}"/>
                </a:ext>
              </a:extLst>
            </p:cNvPr>
            <p:cNvSpPr>
              <a:spLocks/>
            </p:cNvSpPr>
            <p:nvPr/>
          </p:nvSpPr>
          <p:spPr bwMode="auto">
            <a:xfrm>
              <a:off x="1671302" y="227285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4" name="Freeform 491">
              <a:extLst>
                <a:ext uri="{FF2B5EF4-FFF2-40B4-BE49-F238E27FC236}">
                  <a16:creationId xmlns:a16="http://schemas.microsoft.com/office/drawing/2014/main" id="{93917CA1-F2C2-864A-83D3-9E96611C6F1F}"/>
                </a:ext>
              </a:extLst>
            </p:cNvPr>
            <p:cNvSpPr>
              <a:spLocks/>
            </p:cNvSpPr>
            <p:nvPr/>
          </p:nvSpPr>
          <p:spPr bwMode="auto">
            <a:xfrm>
              <a:off x="1682931" y="227285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5" name="Freeform 492">
              <a:extLst>
                <a:ext uri="{FF2B5EF4-FFF2-40B4-BE49-F238E27FC236}">
                  <a16:creationId xmlns:a16="http://schemas.microsoft.com/office/drawing/2014/main" id="{062F8BEB-A2D8-D94E-9349-E389AF417901}"/>
                </a:ext>
              </a:extLst>
            </p:cNvPr>
            <p:cNvSpPr>
              <a:spLocks/>
            </p:cNvSpPr>
            <p:nvPr/>
          </p:nvSpPr>
          <p:spPr bwMode="auto">
            <a:xfrm>
              <a:off x="1686420" y="227285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6" name="Freeform 493">
              <a:extLst>
                <a:ext uri="{FF2B5EF4-FFF2-40B4-BE49-F238E27FC236}">
                  <a16:creationId xmlns:a16="http://schemas.microsoft.com/office/drawing/2014/main" id="{084ACA43-BEF9-924C-84E2-B330724F05EF}"/>
                </a:ext>
              </a:extLst>
            </p:cNvPr>
            <p:cNvSpPr>
              <a:spLocks/>
            </p:cNvSpPr>
            <p:nvPr/>
          </p:nvSpPr>
          <p:spPr bwMode="auto">
            <a:xfrm>
              <a:off x="1689909" y="227285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7" name="Freeform 494">
              <a:extLst>
                <a:ext uri="{FF2B5EF4-FFF2-40B4-BE49-F238E27FC236}">
                  <a16:creationId xmlns:a16="http://schemas.microsoft.com/office/drawing/2014/main" id="{37BEFF0C-FFD2-4A47-A23E-D24C2CDD867B}"/>
                </a:ext>
              </a:extLst>
            </p:cNvPr>
            <p:cNvSpPr>
              <a:spLocks/>
            </p:cNvSpPr>
            <p:nvPr/>
          </p:nvSpPr>
          <p:spPr bwMode="auto">
            <a:xfrm>
              <a:off x="1693398" y="227285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8" name="Freeform 495">
              <a:extLst>
                <a:ext uri="{FF2B5EF4-FFF2-40B4-BE49-F238E27FC236}">
                  <a16:creationId xmlns:a16="http://schemas.microsoft.com/office/drawing/2014/main" id="{4BB5EE45-6637-A340-8E43-B6BA955F9DF0}"/>
                </a:ext>
              </a:extLst>
            </p:cNvPr>
            <p:cNvSpPr>
              <a:spLocks/>
            </p:cNvSpPr>
            <p:nvPr/>
          </p:nvSpPr>
          <p:spPr bwMode="auto">
            <a:xfrm>
              <a:off x="1696886" y="226689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9" name="Freeform 496">
              <a:extLst>
                <a:ext uri="{FF2B5EF4-FFF2-40B4-BE49-F238E27FC236}">
                  <a16:creationId xmlns:a16="http://schemas.microsoft.com/office/drawing/2014/main" id="{9248FCA0-51D2-B74F-BD48-F1782EF41B73}"/>
                </a:ext>
              </a:extLst>
            </p:cNvPr>
            <p:cNvSpPr>
              <a:spLocks/>
            </p:cNvSpPr>
            <p:nvPr/>
          </p:nvSpPr>
          <p:spPr bwMode="auto">
            <a:xfrm>
              <a:off x="1696886" y="226689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0" name="Freeform 497">
              <a:extLst>
                <a:ext uri="{FF2B5EF4-FFF2-40B4-BE49-F238E27FC236}">
                  <a16:creationId xmlns:a16="http://schemas.microsoft.com/office/drawing/2014/main" id="{A8A7BE65-B13F-E544-90F8-EFF33BAC59DB}"/>
                </a:ext>
              </a:extLst>
            </p:cNvPr>
            <p:cNvSpPr>
              <a:spLocks/>
            </p:cNvSpPr>
            <p:nvPr/>
          </p:nvSpPr>
          <p:spPr bwMode="auto">
            <a:xfrm>
              <a:off x="1701538" y="225696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1" name="Freeform 498">
              <a:extLst>
                <a:ext uri="{FF2B5EF4-FFF2-40B4-BE49-F238E27FC236}">
                  <a16:creationId xmlns:a16="http://schemas.microsoft.com/office/drawing/2014/main" id="{A9CC2B2B-7EA8-1A4B-9C1E-DBC51F530F98}"/>
                </a:ext>
              </a:extLst>
            </p:cNvPr>
            <p:cNvSpPr>
              <a:spLocks/>
            </p:cNvSpPr>
            <p:nvPr/>
          </p:nvSpPr>
          <p:spPr bwMode="auto">
            <a:xfrm>
              <a:off x="1701538" y="225696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2" name="Freeform 499">
              <a:extLst>
                <a:ext uri="{FF2B5EF4-FFF2-40B4-BE49-F238E27FC236}">
                  <a16:creationId xmlns:a16="http://schemas.microsoft.com/office/drawing/2014/main" id="{C5712C8C-9286-6C4B-B53C-84B48B5D3911}"/>
                </a:ext>
              </a:extLst>
            </p:cNvPr>
            <p:cNvSpPr>
              <a:spLocks/>
            </p:cNvSpPr>
            <p:nvPr/>
          </p:nvSpPr>
          <p:spPr bwMode="auto">
            <a:xfrm>
              <a:off x="1708516" y="225696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3" name="Freeform 500">
              <a:extLst>
                <a:ext uri="{FF2B5EF4-FFF2-40B4-BE49-F238E27FC236}">
                  <a16:creationId xmlns:a16="http://schemas.microsoft.com/office/drawing/2014/main" id="{C776E8A1-938F-C14C-982F-0CA6794D4677}"/>
                </a:ext>
              </a:extLst>
            </p:cNvPr>
            <p:cNvSpPr>
              <a:spLocks/>
            </p:cNvSpPr>
            <p:nvPr/>
          </p:nvSpPr>
          <p:spPr bwMode="auto">
            <a:xfrm>
              <a:off x="1716656" y="225696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4" name="Freeform 501">
              <a:extLst>
                <a:ext uri="{FF2B5EF4-FFF2-40B4-BE49-F238E27FC236}">
                  <a16:creationId xmlns:a16="http://schemas.microsoft.com/office/drawing/2014/main" id="{C376BBD6-CCD4-2147-A611-BBD3321CA680}"/>
                </a:ext>
              </a:extLst>
            </p:cNvPr>
            <p:cNvSpPr>
              <a:spLocks/>
            </p:cNvSpPr>
            <p:nvPr/>
          </p:nvSpPr>
          <p:spPr bwMode="auto">
            <a:xfrm>
              <a:off x="1720145" y="2247039"/>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5" name="Freeform 502">
              <a:extLst>
                <a:ext uri="{FF2B5EF4-FFF2-40B4-BE49-F238E27FC236}">
                  <a16:creationId xmlns:a16="http://schemas.microsoft.com/office/drawing/2014/main" id="{3859AC66-A429-5442-8B93-F2B0CA5167E6}"/>
                </a:ext>
              </a:extLst>
            </p:cNvPr>
            <p:cNvSpPr>
              <a:spLocks/>
            </p:cNvSpPr>
            <p:nvPr/>
          </p:nvSpPr>
          <p:spPr bwMode="auto">
            <a:xfrm>
              <a:off x="1720145" y="224703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6" name="Freeform 503">
              <a:extLst>
                <a:ext uri="{FF2B5EF4-FFF2-40B4-BE49-F238E27FC236}">
                  <a16:creationId xmlns:a16="http://schemas.microsoft.com/office/drawing/2014/main" id="{480FBE9E-E886-1F41-A037-F917409D1E3F}"/>
                </a:ext>
              </a:extLst>
            </p:cNvPr>
            <p:cNvSpPr>
              <a:spLocks/>
            </p:cNvSpPr>
            <p:nvPr/>
          </p:nvSpPr>
          <p:spPr bwMode="auto">
            <a:xfrm>
              <a:off x="1723634" y="224108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7" name="Freeform 504">
              <a:extLst>
                <a:ext uri="{FF2B5EF4-FFF2-40B4-BE49-F238E27FC236}">
                  <a16:creationId xmlns:a16="http://schemas.microsoft.com/office/drawing/2014/main" id="{94E81F5D-7D11-914E-AE34-416DB1C6AD0C}"/>
                </a:ext>
              </a:extLst>
            </p:cNvPr>
            <p:cNvSpPr>
              <a:spLocks/>
            </p:cNvSpPr>
            <p:nvPr/>
          </p:nvSpPr>
          <p:spPr bwMode="auto">
            <a:xfrm>
              <a:off x="1723634" y="224108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8" name="Freeform 505">
              <a:extLst>
                <a:ext uri="{FF2B5EF4-FFF2-40B4-BE49-F238E27FC236}">
                  <a16:creationId xmlns:a16="http://schemas.microsoft.com/office/drawing/2014/main" id="{0FBFCE1B-946F-EA4A-ADDB-F5E9251F45C2}"/>
                </a:ext>
              </a:extLst>
            </p:cNvPr>
            <p:cNvSpPr>
              <a:spLocks/>
            </p:cNvSpPr>
            <p:nvPr/>
          </p:nvSpPr>
          <p:spPr bwMode="auto">
            <a:xfrm>
              <a:off x="1730611" y="2241082"/>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6"/>
                  </a:lnTo>
                  <a:lnTo>
                    <a:pt x="0" y="3"/>
                  </a:lnTo>
                  <a:lnTo>
                    <a:pt x="0" y="0"/>
                  </a:lnTo>
                  <a:lnTo>
                    <a:pt x="4" y="0"/>
                  </a:lnTo>
                  <a:lnTo>
                    <a:pt x="13" y="0"/>
                  </a:lnTo>
                  <a:lnTo>
                    <a:pt x="17" y="0"/>
                  </a:lnTo>
                  <a:lnTo>
                    <a:pt x="17" y="3"/>
                  </a:lnTo>
                  <a:lnTo>
                    <a:pt x="17" y="6"/>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9" name="Freeform 506">
              <a:extLst>
                <a:ext uri="{FF2B5EF4-FFF2-40B4-BE49-F238E27FC236}">
                  <a16:creationId xmlns:a16="http://schemas.microsoft.com/office/drawing/2014/main" id="{B8778228-7C43-2745-B58B-6775566E8807}"/>
                </a:ext>
              </a:extLst>
            </p:cNvPr>
            <p:cNvSpPr>
              <a:spLocks/>
            </p:cNvSpPr>
            <p:nvPr/>
          </p:nvSpPr>
          <p:spPr bwMode="auto">
            <a:xfrm>
              <a:off x="1742241" y="224108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0" name="Freeform 507">
              <a:extLst>
                <a:ext uri="{FF2B5EF4-FFF2-40B4-BE49-F238E27FC236}">
                  <a16:creationId xmlns:a16="http://schemas.microsoft.com/office/drawing/2014/main" id="{224DBA50-B350-3646-BF24-2185BAFF2BC9}"/>
                </a:ext>
              </a:extLst>
            </p:cNvPr>
            <p:cNvSpPr>
              <a:spLocks/>
            </p:cNvSpPr>
            <p:nvPr/>
          </p:nvSpPr>
          <p:spPr bwMode="auto">
            <a:xfrm>
              <a:off x="1745729" y="223115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4"/>
                  </a:lnTo>
                  <a:lnTo>
                    <a:pt x="0" y="0"/>
                  </a:lnTo>
                  <a:lnTo>
                    <a:pt x="4" y="0"/>
                  </a:lnTo>
                  <a:lnTo>
                    <a:pt x="7"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1" name="Freeform 508">
              <a:extLst>
                <a:ext uri="{FF2B5EF4-FFF2-40B4-BE49-F238E27FC236}">
                  <a16:creationId xmlns:a16="http://schemas.microsoft.com/office/drawing/2014/main" id="{89D1FDA1-D7EA-9B4A-958E-FE666D42C90E}"/>
                </a:ext>
              </a:extLst>
            </p:cNvPr>
            <p:cNvSpPr>
              <a:spLocks/>
            </p:cNvSpPr>
            <p:nvPr/>
          </p:nvSpPr>
          <p:spPr bwMode="auto">
            <a:xfrm>
              <a:off x="1745729" y="223115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2" name="Freeform 509">
              <a:extLst>
                <a:ext uri="{FF2B5EF4-FFF2-40B4-BE49-F238E27FC236}">
                  <a16:creationId xmlns:a16="http://schemas.microsoft.com/office/drawing/2014/main" id="{19078065-8CB7-7848-BF0C-AC010C7409B7}"/>
                </a:ext>
              </a:extLst>
            </p:cNvPr>
            <p:cNvSpPr>
              <a:spLocks/>
            </p:cNvSpPr>
            <p:nvPr/>
          </p:nvSpPr>
          <p:spPr bwMode="auto">
            <a:xfrm>
              <a:off x="1750381" y="2222218"/>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3" name="Freeform 510">
              <a:extLst>
                <a:ext uri="{FF2B5EF4-FFF2-40B4-BE49-F238E27FC236}">
                  <a16:creationId xmlns:a16="http://schemas.microsoft.com/office/drawing/2014/main" id="{D2C55A2D-F1AF-F043-BF55-14593DE547E4}"/>
                </a:ext>
              </a:extLst>
            </p:cNvPr>
            <p:cNvSpPr>
              <a:spLocks/>
            </p:cNvSpPr>
            <p:nvPr/>
          </p:nvSpPr>
          <p:spPr bwMode="auto">
            <a:xfrm>
              <a:off x="1750381" y="2222218"/>
              <a:ext cx="13955" cy="8936"/>
            </a:xfrm>
            <a:custGeom>
              <a:avLst/>
              <a:gdLst>
                <a:gd name="T0" fmla="*/ 2147483646 w 12"/>
                <a:gd name="T1" fmla="*/ 2147483646 h 9"/>
                <a:gd name="T2" fmla="*/ 0 w 12"/>
                <a:gd name="T3" fmla="*/ 2147483646 h 9"/>
                <a:gd name="T4" fmla="*/ 0 w 12"/>
                <a:gd name="T5" fmla="*/ 2147483646 h 9"/>
                <a:gd name="T6" fmla="*/ 0 w 12"/>
                <a:gd name="T7" fmla="*/ 2147483646 h 9"/>
                <a:gd name="T8" fmla="*/ 0 w 12"/>
                <a:gd name="T9" fmla="*/ 0 h 9"/>
                <a:gd name="T10" fmla="*/ 2147483646 w 12"/>
                <a:gd name="T11" fmla="*/ 0 h 9"/>
                <a:gd name="T12" fmla="*/ 2147483646 w 12"/>
                <a:gd name="T13" fmla="*/ 0 h 9"/>
                <a:gd name="T14" fmla="*/ 2147483646 w 12"/>
                <a:gd name="T15" fmla="*/ 0 h 9"/>
                <a:gd name="T16" fmla="*/ 2147483646 w 12"/>
                <a:gd name="T17" fmla="*/ 2147483646 h 9"/>
                <a:gd name="T18" fmla="*/ 2147483646 w 12"/>
                <a:gd name="T19" fmla="*/ 2147483646 h 9"/>
                <a:gd name="T20" fmla="*/ 2147483646 w 12"/>
                <a:gd name="T21" fmla="*/ 2147483646 h 9"/>
                <a:gd name="T22" fmla="*/ 2147483646 w 12"/>
                <a:gd name="T23" fmla="*/ 2147483646 h 9"/>
                <a:gd name="T24" fmla="*/ 2147483646 w 1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9">
                  <a:moveTo>
                    <a:pt x="3" y="9"/>
                  </a:moveTo>
                  <a:lnTo>
                    <a:pt x="0" y="6"/>
                  </a:lnTo>
                  <a:lnTo>
                    <a:pt x="0" y="3"/>
                  </a:lnTo>
                  <a:lnTo>
                    <a:pt x="0" y="0"/>
                  </a:lnTo>
                  <a:lnTo>
                    <a:pt x="3" y="0"/>
                  </a:lnTo>
                  <a:lnTo>
                    <a:pt x="9" y="0"/>
                  </a:lnTo>
                  <a:lnTo>
                    <a:pt x="12" y="0"/>
                  </a:lnTo>
                  <a:lnTo>
                    <a:pt x="12" y="3"/>
                  </a:lnTo>
                  <a:lnTo>
                    <a:pt x="12"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4" name="Freeform 511">
              <a:extLst>
                <a:ext uri="{FF2B5EF4-FFF2-40B4-BE49-F238E27FC236}">
                  <a16:creationId xmlns:a16="http://schemas.microsoft.com/office/drawing/2014/main" id="{DF89E505-ECE5-434A-9D7C-C0DC941BA85A}"/>
                </a:ext>
              </a:extLst>
            </p:cNvPr>
            <p:cNvSpPr>
              <a:spLocks/>
            </p:cNvSpPr>
            <p:nvPr/>
          </p:nvSpPr>
          <p:spPr bwMode="auto">
            <a:xfrm>
              <a:off x="1757358" y="222221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5" name="Freeform 512">
              <a:extLst>
                <a:ext uri="{FF2B5EF4-FFF2-40B4-BE49-F238E27FC236}">
                  <a16:creationId xmlns:a16="http://schemas.microsoft.com/office/drawing/2014/main" id="{850A3DA1-E50A-214C-A997-BE6DCDE11B8B}"/>
                </a:ext>
              </a:extLst>
            </p:cNvPr>
            <p:cNvSpPr>
              <a:spLocks/>
            </p:cNvSpPr>
            <p:nvPr/>
          </p:nvSpPr>
          <p:spPr bwMode="auto">
            <a:xfrm>
              <a:off x="1768987" y="222221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9" y="0"/>
                  </a:lnTo>
                  <a:lnTo>
                    <a:pt x="13" y="0"/>
                  </a:lnTo>
                  <a:lnTo>
                    <a:pt x="13" y="3"/>
                  </a:lnTo>
                  <a:lnTo>
                    <a:pt x="13"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6" name="Freeform 513">
              <a:extLst>
                <a:ext uri="{FF2B5EF4-FFF2-40B4-BE49-F238E27FC236}">
                  <a16:creationId xmlns:a16="http://schemas.microsoft.com/office/drawing/2014/main" id="{F8CD9965-65AA-C641-B0EE-67621FF8FC80}"/>
                </a:ext>
              </a:extLst>
            </p:cNvPr>
            <p:cNvSpPr>
              <a:spLocks/>
            </p:cNvSpPr>
            <p:nvPr/>
          </p:nvSpPr>
          <p:spPr bwMode="auto">
            <a:xfrm>
              <a:off x="1775965" y="222221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7" name="Freeform 514">
              <a:extLst>
                <a:ext uri="{FF2B5EF4-FFF2-40B4-BE49-F238E27FC236}">
                  <a16:creationId xmlns:a16="http://schemas.microsoft.com/office/drawing/2014/main" id="{43DC49CF-EB33-014E-ABCC-1DE0D50CE1BC}"/>
                </a:ext>
              </a:extLst>
            </p:cNvPr>
            <p:cNvSpPr>
              <a:spLocks/>
            </p:cNvSpPr>
            <p:nvPr/>
          </p:nvSpPr>
          <p:spPr bwMode="auto">
            <a:xfrm>
              <a:off x="1779454" y="221229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8" name="Freeform 515">
              <a:extLst>
                <a:ext uri="{FF2B5EF4-FFF2-40B4-BE49-F238E27FC236}">
                  <a16:creationId xmlns:a16="http://schemas.microsoft.com/office/drawing/2014/main" id="{0FB362DA-522B-A448-AF61-F4E81E594103}"/>
                </a:ext>
              </a:extLst>
            </p:cNvPr>
            <p:cNvSpPr>
              <a:spLocks/>
            </p:cNvSpPr>
            <p:nvPr/>
          </p:nvSpPr>
          <p:spPr bwMode="auto">
            <a:xfrm>
              <a:off x="1779454" y="22122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9" name="Freeform 516">
              <a:extLst>
                <a:ext uri="{FF2B5EF4-FFF2-40B4-BE49-F238E27FC236}">
                  <a16:creationId xmlns:a16="http://schemas.microsoft.com/office/drawing/2014/main" id="{A42BBF8E-A31A-6543-B37C-29C6EE73D6EE}"/>
                </a:ext>
              </a:extLst>
            </p:cNvPr>
            <p:cNvSpPr>
              <a:spLocks/>
            </p:cNvSpPr>
            <p:nvPr/>
          </p:nvSpPr>
          <p:spPr bwMode="auto">
            <a:xfrm>
              <a:off x="1787594" y="221229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0" name="Freeform 517">
              <a:extLst>
                <a:ext uri="{FF2B5EF4-FFF2-40B4-BE49-F238E27FC236}">
                  <a16:creationId xmlns:a16="http://schemas.microsoft.com/office/drawing/2014/main" id="{6AFA5F00-2C96-D54F-A1C1-594EF712F3F1}"/>
                </a:ext>
              </a:extLst>
            </p:cNvPr>
            <p:cNvSpPr>
              <a:spLocks/>
            </p:cNvSpPr>
            <p:nvPr/>
          </p:nvSpPr>
          <p:spPr bwMode="auto">
            <a:xfrm>
              <a:off x="1791083" y="220236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4"/>
                  </a:lnTo>
                  <a:lnTo>
                    <a:pt x="0" y="0"/>
                  </a:lnTo>
                  <a:lnTo>
                    <a:pt x="3" y="0"/>
                  </a:lnTo>
                  <a:lnTo>
                    <a:pt x="6"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1" name="Freeform 518">
              <a:extLst>
                <a:ext uri="{FF2B5EF4-FFF2-40B4-BE49-F238E27FC236}">
                  <a16:creationId xmlns:a16="http://schemas.microsoft.com/office/drawing/2014/main" id="{08D6CDFC-13CD-F745-9F00-C16A1217BD40}"/>
                </a:ext>
              </a:extLst>
            </p:cNvPr>
            <p:cNvSpPr>
              <a:spLocks/>
            </p:cNvSpPr>
            <p:nvPr/>
          </p:nvSpPr>
          <p:spPr bwMode="auto">
            <a:xfrm>
              <a:off x="1791083" y="220236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2" name="Freeform 519">
              <a:extLst>
                <a:ext uri="{FF2B5EF4-FFF2-40B4-BE49-F238E27FC236}">
                  <a16:creationId xmlns:a16="http://schemas.microsoft.com/office/drawing/2014/main" id="{6CAD75F3-CE29-194B-A330-C8D82DC8A016}"/>
                </a:ext>
              </a:extLst>
            </p:cNvPr>
            <p:cNvSpPr>
              <a:spLocks/>
            </p:cNvSpPr>
            <p:nvPr/>
          </p:nvSpPr>
          <p:spPr bwMode="auto">
            <a:xfrm>
              <a:off x="1798061" y="219342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3" name="Freeform 520">
              <a:extLst>
                <a:ext uri="{FF2B5EF4-FFF2-40B4-BE49-F238E27FC236}">
                  <a16:creationId xmlns:a16="http://schemas.microsoft.com/office/drawing/2014/main" id="{0705BB04-10D4-1E45-9365-E2BA6E4C19F0}"/>
                </a:ext>
              </a:extLst>
            </p:cNvPr>
            <p:cNvSpPr>
              <a:spLocks/>
            </p:cNvSpPr>
            <p:nvPr/>
          </p:nvSpPr>
          <p:spPr bwMode="auto">
            <a:xfrm>
              <a:off x="1798061" y="219342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4" name="Freeform 521">
              <a:extLst>
                <a:ext uri="{FF2B5EF4-FFF2-40B4-BE49-F238E27FC236}">
                  <a16:creationId xmlns:a16="http://schemas.microsoft.com/office/drawing/2014/main" id="{005255ED-425E-9E49-B490-304F3C6D5008}"/>
                </a:ext>
              </a:extLst>
            </p:cNvPr>
            <p:cNvSpPr>
              <a:spLocks/>
            </p:cNvSpPr>
            <p:nvPr/>
          </p:nvSpPr>
          <p:spPr bwMode="auto">
            <a:xfrm>
              <a:off x="1802713" y="218349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5" name="Freeform 522">
              <a:extLst>
                <a:ext uri="{FF2B5EF4-FFF2-40B4-BE49-F238E27FC236}">
                  <a16:creationId xmlns:a16="http://schemas.microsoft.com/office/drawing/2014/main" id="{388EC66E-BFD9-984A-B15F-96E5AA824BCB}"/>
                </a:ext>
              </a:extLst>
            </p:cNvPr>
            <p:cNvSpPr>
              <a:spLocks/>
            </p:cNvSpPr>
            <p:nvPr/>
          </p:nvSpPr>
          <p:spPr bwMode="auto">
            <a:xfrm>
              <a:off x="1802713" y="218349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6" name="Freeform 523">
              <a:extLst>
                <a:ext uri="{FF2B5EF4-FFF2-40B4-BE49-F238E27FC236}">
                  <a16:creationId xmlns:a16="http://schemas.microsoft.com/office/drawing/2014/main" id="{4B432AE1-C329-DE40-8AA8-B4175CB56BB3}"/>
                </a:ext>
              </a:extLst>
            </p:cNvPr>
            <p:cNvSpPr>
              <a:spLocks/>
            </p:cNvSpPr>
            <p:nvPr/>
          </p:nvSpPr>
          <p:spPr bwMode="auto">
            <a:xfrm>
              <a:off x="1809690" y="218349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7" name="Freeform 524">
              <a:extLst>
                <a:ext uri="{FF2B5EF4-FFF2-40B4-BE49-F238E27FC236}">
                  <a16:creationId xmlns:a16="http://schemas.microsoft.com/office/drawing/2014/main" id="{F610B0AA-9E5B-ED4F-84D1-E67E6EA1682F}"/>
                </a:ext>
              </a:extLst>
            </p:cNvPr>
            <p:cNvSpPr>
              <a:spLocks/>
            </p:cNvSpPr>
            <p:nvPr/>
          </p:nvSpPr>
          <p:spPr bwMode="auto">
            <a:xfrm>
              <a:off x="1817830" y="218349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8" name="Freeform 525">
              <a:extLst>
                <a:ext uri="{FF2B5EF4-FFF2-40B4-BE49-F238E27FC236}">
                  <a16:creationId xmlns:a16="http://schemas.microsoft.com/office/drawing/2014/main" id="{C158514D-E553-CF4F-81BC-D1D820A8762C}"/>
                </a:ext>
              </a:extLst>
            </p:cNvPr>
            <p:cNvSpPr>
              <a:spLocks/>
            </p:cNvSpPr>
            <p:nvPr/>
          </p:nvSpPr>
          <p:spPr bwMode="auto">
            <a:xfrm>
              <a:off x="1821319" y="2173569"/>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9" name="Freeform 526">
              <a:extLst>
                <a:ext uri="{FF2B5EF4-FFF2-40B4-BE49-F238E27FC236}">
                  <a16:creationId xmlns:a16="http://schemas.microsoft.com/office/drawing/2014/main" id="{103AE8DD-5EF5-0B44-A41B-BB5BDAAD3A15}"/>
                </a:ext>
              </a:extLst>
            </p:cNvPr>
            <p:cNvSpPr>
              <a:spLocks/>
            </p:cNvSpPr>
            <p:nvPr/>
          </p:nvSpPr>
          <p:spPr bwMode="auto">
            <a:xfrm>
              <a:off x="1821319" y="217356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0" name="Freeform 527">
              <a:extLst>
                <a:ext uri="{FF2B5EF4-FFF2-40B4-BE49-F238E27FC236}">
                  <a16:creationId xmlns:a16="http://schemas.microsoft.com/office/drawing/2014/main" id="{9214D9D1-5375-0841-B1E4-9FB785EDF0B1}"/>
                </a:ext>
              </a:extLst>
            </p:cNvPr>
            <p:cNvSpPr>
              <a:spLocks/>
            </p:cNvSpPr>
            <p:nvPr/>
          </p:nvSpPr>
          <p:spPr bwMode="auto">
            <a:xfrm>
              <a:off x="1824808" y="216463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6" y="16"/>
                  </a:lnTo>
                  <a:lnTo>
                    <a:pt x="3" y="16"/>
                  </a:lnTo>
                  <a:lnTo>
                    <a:pt x="0" y="16"/>
                  </a:lnTo>
                  <a:lnTo>
                    <a:pt x="0" y="12"/>
                  </a:lnTo>
                  <a:lnTo>
                    <a:pt x="0" y="3"/>
                  </a:lnTo>
                  <a:lnTo>
                    <a:pt x="0" y="0"/>
                  </a:lnTo>
                  <a:lnTo>
                    <a:pt x="3" y="0"/>
                  </a:lnTo>
                  <a:lnTo>
                    <a:pt x="6" y="0"/>
                  </a:lnTo>
                  <a:lnTo>
                    <a:pt x="10" y="3"/>
                  </a:lnTo>
                  <a:lnTo>
                    <a:pt x="10" y="1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1" name="Freeform 528">
              <a:extLst>
                <a:ext uri="{FF2B5EF4-FFF2-40B4-BE49-F238E27FC236}">
                  <a16:creationId xmlns:a16="http://schemas.microsoft.com/office/drawing/2014/main" id="{86BE93A0-4419-DD43-9310-40497986F868}"/>
                </a:ext>
              </a:extLst>
            </p:cNvPr>
            <p:cNvSpPr>
              <a:spLocks/>
            </p:cNvSpPr>
            <p:nvPr/>
          </p:nvSpPr>
          <p:spPr bwMode="auto">
            <a:xfrm>
              <a:off x="1824808" y="2164633"/>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2" name="Freeform 529">
              <a:extLst>
                <a:ext uri="{FF2B5EF4-FFF2-40B4-BE49-F238E27FC236}">
                  <a16:creationId xmlns:a16="http://schemas.microsoft.com/office/drawing/2014/main" id="{162D382A-36A2-0549-B1B1-A4355C2F685D}"/>
                </a:ext>
              </a:extLst>
            </p:cNvPr>
            <p:cNvSpPr>
              <a:spLocks/>
            </p:cNvSpPr>
            <p:nvPr/>
          </p:nvSpPr>
          <p:spPr bwMode="auto">
            <a:xfrm>
              <a:off x="1836437" y="2154705"/>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3" name="Freeform 530">
              <a:extLst>
                <a:ext uri="{FF2B5EF4-FFF2-40B4-BE49-F238E27FC236}">
                  <a16:creationId xmlns:a16="http://schemas.microsoft.com/office/drawing/2014/main" id="{C9A3A494-E881-204F-8688-1528571E0BE1}"/>
                </a:ext>
              </a:extLst>
            </p:cNvPr>
            <p:cNvSpPr>
              <a:spLocks/>
            </p:cNvSpPr>
            <p:nvPr/>
          </p:nvSpPr>
          <p:spPr bwMode="auto">
            <a:xfrm>
              <a:off x="1836437" y="215470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4" name="Freeform 531">
              <a:extLst>
                <a:ext uri="{FF2B5EF4-FFF2-40B4-BE49-F238E27FC236}">
                  <a16:creationId xmlns:a16="http://schemas.microsoft.com/office/drawing/2014/main" id="{A5E55DF4-0FDB-AC42-BDE1-4E381CCD8A85}"/>
                </a:ext>
              </a:extLst>
            </p:cNvPr>
            <p:cNvSpPr>
              <a:spLocks/>
            </p:cNvSpPr>
            <p:nvPr/>
          </p:nvSpPr>
          <p:spPr bwMode="auto">
            <a:xfrm>
              <a:off x="1843414" y="215470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5" name="Freeform 532">
              <a:extLst>
                <a:ext uri="{FF2B5EF4-FFF2-40B4-BE49-F238E27FC236}">
                  <a16:creationId xmlns:a16="http://schemas.microsoft.com/office/drawing/2014/main" id="{1C742453-82C0-F646-860F-D6CD29505591}"/>
                </a:ext>
              </a:extLst>
            </p:cNvPr>
            <p:cNvSpPr>
              <a:spLocks/>
            </p:cNvSpPr>
            <p:nvPr/>
          </p:nvSpPr>
          <p:spPr bwMode="auto">
            <a:xfrm>
              <a:off x="1851555" y="2144776"/>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6" name="Freeform 533">
              <a:extLst>
                <a:ext uri="{FF2B5EF4-FFF2-40B4-BE49-F238E27FC236}">
                  <a16:creationId xmlns:a16="http://schemas.microsoft.com/office/drawing/2014/main" id="{F2ABEE6E-1EC2-8B4D-9452-D521B38388B1}"/>
                </a:ext>
              </a:extLst>
            </p:cNvPr>
            <p:cNvSpPr>
              <a:spLocks/>
            </p:cNvSpPr>
            <p:nvPr/>
          </p:nvSpPr>
          <p:spPr bwMode="auto">
            <a:xfrm>
              <a:off x="1851555" y="2131869"/>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7" name="Freeform 534">
              <a:extLst>
                <a:ext uri="{FF2B5EF4-FFF2-40B4-BE49-F238E27FC236}">
                  <a16:creationId xmlns:a16="http://schemas.microsoft.com/office/drawing/2014/main" id="{EDA5585C-C6D1-7E46-84C6-6919ECBB91BA}"/>
                </a:ext>
              </a:extLst>
            </p:cNvPr>
            <p:cNvSpPr>
              <a:spLocks/>
            </p:cNvSpPr>
            <p:nvPr/>
          </p:nvSpPr>
          <p:spPr bwMode="auto">
            <a:xfrm>
              <a:off x="1851555" y="213186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8" name="Freeform 535">
              <a:extLst>
                <a:ext uri="{FF2B5EF4-FFF2-40B4-BE49-F238E27FC236}">
                  <a16:creationId xmlns:a16="http://schemas.microsoft.com/office/drawing/2014/main" id="{258E080C-DC51-2049-9897-E8CE757524A2}"/>
                </a:ext>
              </a:extLst>
            </p:cNvPr>
            <p:cNvSpPr>
              <a:spLocks/>
            </p:cNvSpPr>
            <p:nvPr/>
          </p:nvSpPr>
          <p:spPr bwMode="auto">
            <a:xfrm>
              <a:off x="1855044" y="2122934"/>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9" name="Freeform 536">
              <a:extLst>
                <a:ext uri="{FF2B5EF4-FFF2-40B4-BE49-F238E27FC236}">
                  <a16:creationId xmlns:a16="http://schemas.microsoft.com/office/drawing/2014/main" id="{B91F7B79-1679-0942-9FB2-3F69FA47CE9F}"/>
                </a:ext>
              </a:extLst>
            </p:cNvPr>
            <p:cNvSpPr>
              <a:spLocks/>
            </p:cNvSpPr>
            <p:nvPr/>
          </p:nvSpPr>
          <p:spPr bwMode="auto">
            <a:xfrm>
              <a:off x="1855044" y="2122934"/>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0" name="Freeform 537">
              <a:extLst>
                <a:ext uri="{FF2B5EF4-FFF2-40B4-BE49-F238E27FC236}">
                  <a16:creationId xmlns:a16="http://schemas.microsoft.com/office/drawing/2014/main" id="{7D1E256C-3607-4D45-930C-A290E6C95D90}"/>
                </a:ext>
              </a:extLst>
            </p:cNvPr>
            <p:cNvSpPr>
              <a:spLocks/>
            </p:cNvSpPr>
            <p:nvPr/>
          </p:nvSpPr>
          <p:spPr bwMode="auto">
            <a:xfrm>
              <a:off x="1858533" y="212293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1" name="Freeform 538">
              <a:extLst>
                <a:ext uri="{FF2B5EF4-FFF2-40B4-BE49-F238E27FC236}">
                  <a16:creationId xmlns:a16="http://schemas.microsoft.com/office/drawing/2014/main" id="{B45D3B21-BED6-534F-AD79-267112FF3294}"/>
                </a:ext>
              </a:extLst>
            </p:cNvPr>
            <p:cNvSpPr>
              <a:spLocks/>
            </p:cNvSpPr>
            <p:nvPr/>
          </p:nvSpPr>
          <p:spPr bwMode="auto">
            <a:xfrm>
              <a:off x="1862021" y="211300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2" name="Freeform 539">
              <a:extLst>
                <a:ext uri="{FF2B5EF4-FFF2-40B4-BE49-F238E27FC236}">
                  <a16:creationId xmlns:a16="http://schemas.microsoft.com/office/drawing/2014/main" id="{E0DE3E7C-AE63-9245-BD2B-64CCA2DA646A}"/>
                </a:ext>
              </a:extLst>
            </p:cNvPr>
            <p:cNvSpPr>
              <a:spLocks/>
            </p:cNvSpPr>
            <p:nvPr/>
          </p:nvSpPr>
          <p:spPr bwMode="auto">
            <a:xfrm>
              <a:off x="1862021" y="2113005"/>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6"/>
                  </a:lnTo>
                  <a:lnTo>
                    <a:pt x="0" y="3"/>
                  </a:lnTo>
                  <a:lnTo>
                    <a:pt x="0" y="0"/>
                  </a:lnTo>
                  <a:lnTo>
                    <a:pt x="3" y="0"/>
                  </a:lnTo>
                  <a:lnTo>
                    <a:pt x="26" y="0"/>
                  </a:lnTo>
                  <a:lnTo>
                    <a:pt x="29" y="0"/>
                  </a:lnTo>
                  <a:lnTo>
                    <a:pt x="29" y="3"/>
                  </a:lnTo>
                  <a:lnTo>
                    <a:pt x="29" y="6"/>
                  </a:lnTo>
                  <a:lnTo>
                    <a:pt x="2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3" name="Freeform 540">
              <a:extLst>
                <a:ext uri="{FF2B5EF4-FFF2-40B4-BE49-F238E27FC236}">
                  <a16:creationId xmlns:a16="http://schemas.microsoft.com/office/drawing/2014/main" id="{EDFAA68A-24D4-3947-9901-E521943F8552}"/>
                </a:ext>
              </a:extLst>
            </p:cNvPr>
            <p:cNvSpPr>
              <a:spLocks/>
            </p:cNvSpPr>
            <p:nvPr/>
          </p:nvSpPr>
          <p:spPr bwMode="auto">
            <a:xfrm>
              <a:off x="1888769" y="2113005"/>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4" name="Freeform 541">
              <a:extLst>
                <a:ext uri="{FF2B5EF4-FFF2-40B4-BE49-F238E27FC236}">
                  <a16:creationId xmlns:a16="http://schemas.microsoft.com/office/drawing/2014/main" id="{48F2747F-9F28-A744-A37B-ADEB4291054F}"/>
                </a:ext>
              </a:extLst>
            </p:cNvPr>
            <p:cNvSpPr>
              <a:spLocks/>
            </p:cNvSpPr>
            <p:nvPr/>
          </p:nvSpPr>
          <p:spPr bwMode="auto">
            <a:xfrm>
              <a:off x="1899235" y="210307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5" name="Freeform 542">
              <a:extLst>
                <a:ext uri="{FF2B5EF4-FFF2-40B4-BE49-F238E27FC236}">
                  <a16:creationId xmlns:a16="http://schemas.microsoft.com/office/drawing/2014/main" id="{87E7A91D-7245-8644-B8E0-2EB2B71BE7D7}"/>
                </a:ext>
              </a:extLst>
            </p:cNvPr>
            <p:cNvSpPr>
              <a:spLocks/>
            </p:cNvSpPr>
            <p:nvPr/>
          </p:nvSpPr>
          <p:spPr bwMode="auto">
            <a:xfrm>
              <a:off x="1899235" y="210307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6" name="Freeform 543">
              <a:extLst>
                <a:ext uri="{FF2B5EF4-FFF2-40B4-BE49-F238E27FC236}">
                  <a16:creationId xmlns:a16="http://schemas.microsoft.com/office/drawing/2014/main" id="{E9F48B0E-8DDB-FE47-A425-EC96145F163A}"/>
                </a:ext>
              </a:extLst>
            </p:cNvPr>
            <p:cNvSpPr>
              <a:spLocks/>
            </p:cNvSpPr>
            <p:nvPr/>
          </p:nvSpPr>
          <p:spPr bwMode="auto">
            <a:xfrm>
              <a:off x="1907376" y="210307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7" name="Freeform 544">
              <a:extLst>
                <a:ext uri="{FF2B5EF4-FFF2-40B4-BE49-F238E27FC236}">
                  <a16:creationId xmlns:a16="http://schemas.microsoft.com/office/drawing/2014/main" id="{FC832352-854A-534A-8DF4-971990B1B110}"/>
                </a:ext>
              </a:extLst>
            </p:cNvPr>
            <p:cNvSpPr>
              <a:spLocks/>
            </p:cNvSpPr>
            <p:nvPr/>
          </p:nvSpPr>
          <p:spPr bwMode="auto">
            <a:xfrm>
              <a:off x="1910864" y="210307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8" name="Freeform 545">
              <a:extLst>
                <a:ext uri="{FF2B5EF4-FFF2-40B4-BE49-F238E27FC236}">
                  <a16:creationId xmlns:a16="http://schemas.microsoft.com/office/drawing/2014/main" id="{AEDF8797-DA57-CE4E-AF41-2390A6F82BCC}"/>
                </a:ext>
              </a:extLst>
            </p:cNvPr>
            <p:cNvSpPr>
              <a:spLocks/>
            </p:cNvSpPr>
            <p:nvPr/>
          </p:nvSpPr>
          <p:spPr bwMode="auto">
            <a:xfrm>
              <a:off x="1914353" y="210307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7"/>
                  </a:lnTo>
                  <a:lnTo>
                    <a:pt x="0" y="3"/>
                  </a:lnTo>
                  <a:lnTo>
                    <a:pt x="0" y="0"/>
                  </a:lnTo>
                  <a:lnTo>
                    <a:pt x="4" y="0"/>
                  </a:lnTo>
                  <a:lnTo>
                    <a:pt x="13" y="0"/>
                  </a:lnTo>
                  <a:lnTo>
                    <a:pt x="16" y="0"/>
                  </a:lnTo>
                  <a:lnTo>
                    <a:pt x="16" y="3"/>
                  </a:lnTo>
                  <a:lnTo>
                    <a:pt x="16" y="7"/>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9" name="Freeform 546">
              <a:extLst>
                <a:ext uri="{FF2B5EF4-FFF2-40B4-BE49-F238E27FC236}">
                  <a16:creationId xmlns:a16="http://schemas.microsoft.com/office/drawing/2014/main" id="{AAECF0F5-A9E9-ED42-AAB6-BC45CFE24114}"/>
                </a:ext>
              </a:extLst>
            </p:cNvPr>
            <p:cNvSpPr>
              <a:spLocks/>
            </p:cNvSpPr>
            <p:nvPr/>
          </p:nvSpPr>
          <p:spPr bwMode="auto">
            <a:xfrm>
              <a:off x="1925982" y="210307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0" name="Freeform 547">
              <a:extLst>
                <a:ext uri="{FF2B5EF4-FFF2-40B4-BE49-F238E27FC236}">
                  <a16:creationId xmlns:a16="http://schemas.microsoft.com/office/drawing/2014/main" id="{62152136-5659-7D4C-B5BA-0370F1F93547}"/>
                </a:ext>
              </a:extLst>
            </p:cNvPr>
            <p:cNvSpPr>
              <a:spLocks/>
            </p:cNvSpPr>
            <p:nvPr/>
          </p:nvSpPr>
          <p:spPr bwMode="auto">
            <a:xfrm>
              <a:off x="1937611" y="210307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1" name="Freeform 548">
              <a:extLst>
                <a:ext uri="{FF2B5EF4-FFF2-40B4-BE49-F238E27FC236}">
                  <a16:creationId xmlns:a16="http://schemas.microsoft.com/office/drawing/2014/main" id="{AACC88CA-9C27-7846-8882-C0B54A2830CB}"/>
                </a:ext>
              </a:extLst>
            </p:cNvPr>
            <p:cNvSpPr>
              <a:spLocks/>
            </p:cNvSpPr>
            <p:nvPr/>
          </p:nvSpPr>
          <p:spPr bwMode="auto">
            <a:xfrm>
              <a:off x="1941100" y="210307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2" name="Freeform 549">
              <a:extLst>
                <a:ext uri="{FF2B5EF4-FFF2-40B4-BE49-F238E27FC236}">
                  <a16:creationId xmlns:a16="http://schemas.microsoft.com/office/drawing/2014/main" id="{5B465161-4D04-574E-8E25-99BB01D74015}"/>
                </a:ext>
              </a:extLst>
            </p:cNvPr>
            <p:cNvSpPr>
              <a:spLocks/>
            </p:cNvSpPr>
            <p:nvPr/>
          </p:nvSpPr>
          <p:spPr bwMode="auto">
            <a:xfrm>
              <a:off x="1944589" y="2090170"/>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4"/>
                  </a:lnTo>
                  <a:lnTo>
                    <a:pt x="0" y="0"/>
                  </a:lnTo>
                  <a:lnTo>
                    <a:pt x="3" y="0"/>
                  </a:lnTo>
                  <a:lnTo>
                    <a:pt x="7" y="0"/>
                  </a:lnTo>
                  <a:lnTo>
                    <a:pt x="10" y="4"/>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3" name="Freeform 550">
              <a:extLst>
                <a:ext uri="{FF2B5EF4-FFF2-40B4-BE49-F238E27FC236}">
                  <a16:creationId xmlns:a16="http://schemas.microsoft.com/office/drawing/2014/main" id="{0F52B5B6-A789-324D-852D-E643695B2AFF}"/>
                </a:ext>
              </a:extLst>
            </p:cNvPr>
            <p:cNvSpPr>
              <a:spLocks/>
            </p:cNvSpPr>
            <p:nvPr/>
          </p:nvSpPr>
          <p:spPr bwMode="auto">
            <a:xfrm>
              <a:off x="1944589" y="209017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4" name="Freeform 551">
              <a:extLst>
                <a:ext uri="{FF2B5EF4-FFF2-40B4-BE49-F238E27FC236}">
                  <a16:creationId xmlns:a16="http://schemas.microsoft.com/office/drawing/2014/main" id="{0AF4BCAA-D7B1-FB44-9B88-1D666C33E424}"/>
                </a:ext>
              </a:extLst>
            </p:cNvPr>
            <p:cNvSpPr>
              <a:spLocks/>
            </p:cNvSpPr>
            <p:nvPr/>
          </p:nvSpPr>
          <p:spPr bwMode="auto">
            <a:xfrm>
              <a:off x="1952729" y="2090170"/>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4"/>
                  </a:lnTo>
                  <a:lnTo>
                    <a:pt x="0" y="0"/>
                  </a:lnTo>
                  <a:lnTo>
                    <a:pt x="3" y="0"/>
                  </a:lnTo>
                  <a:lnTo>
                    <a:pt x="9" y="0"/>
                  </a:lnTo>
                  <a:lnTo>
                    <a:pt x="12" y="0"/>
                  </a:lnTo>
                  <a:lnTo>
                    <a:pt x="12" y="4"/>
                  </a:lnTo>
                  <a:lnTo>
                    <a:pt x="12"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5" name="Freeform 552">
              <a:extLst>
                <a:ext uri="{FF2B5EF4-FFF2-40B4-BE49-F238E27FC236}">
                  <a16:creationId xmlns:a16="http://schemas.microsoft.com/office/drawing/2014/main" id="{54C2BB31-809C-3846-92DE-803DE8EFB89E}"/>
                </a:ext>
              </a:extLst>
            </p:cNvPr>
            <p:cNvSpPr>
              <a:spLocks/>
            </p:cNvSpPr>
            <p:nvPr/>
          </p:nvSpPr>
          <p:spPr bwMode="auto">
            <a:xfrm>
              <a:off x="1959707" y="208123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6" name="Freeform 553">
              <a:extLst>
                <a:ext uri="{FF2B5EF4-FFF2-40B4-BE49-F238E27FC236}">
                  <a16:creationId xmlns:a16="http://schemas.microsoft.com/office/drawing/2014/main" id="{71D1F780-F632-7241-AD31-355E6F22639E}"/>
                </a:ext>
              </a:extLst>
            </p:cNvPr>
            <p:cNvSpPr>
              <a:spLocks/>
            </p:cNvSpPr>
            <p:nvPr/>
          </p:nvSpPr>
          <p:spPr bwMode="auto">
            <a:xfrm>
              <a:off x="1959707" y="208123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7" name="Freeform 554">
              <a:extLst>
                <a:ext uri="{FF2B5EF4-FFF2-40B4-BE49-F238E27FC236}">
                  <a16:creationId xmlns:a16="http://schemas.microsoft.com/office/drawing/2014/main" id="{2335E5ED-0E8D-FE4F-A5FB-D8A05E1C9DC6}"/>
                </a:ext>
              </a:extLst>
            </p:cNvPr>
            <p:cNvSpPr>
              <a:spLocks/>
            </p:cNvSpPr>
            <p:nvPr/>
          </p:nvSpPr>
          <p:spPr bwMode="auto">
            <a:xfrm>
              <a:off x="1966684" y="208123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8" name="Freeform 555">
              <a:extLst>
                <a:ext uri="{FF2B5EF4-FFF2-40B4-BE49-F238E27FC236}">
                  <a16:creationId xmlns:a16="http://schemas.microsoft.com/office/drawing/2014/main" id="{1CA42B8B-8526-7D43-87A8-E8182001457D}"/>
                </a:ext>
              </a:extLst>
            </p:cNvPr>
            <p:cNvSpPr>
              <a:spLocks/>
            </p:cNvSpPr>
            <p:nvPr/>
          </p:nvSpPr>
          <p:spPr bwMode="auto">
            <a:xfrm>
              <a:off x="1971336" y="2081234"/>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9" name="Freeform 556">
              <a:extLst>
                <a:ext uri="{FF2B5EF4-FFF2-40B4-BE49-F238E27FC236}">
                  <a16:creationId xmlns:a16="http://schemas.microsoft.com/office/drawing/2014/main" id="{E622090F-43D7-6E46-A2E6-9E7400C8F9C8}"/>
                </a:ext>
              </a:extLst>
            </p:cNvPr>
            <p:cNvSpPr>
              <a:spLocks/>
            </p:cNvSpPr>
            <p:nvPr/>
          </p:nvSpPr>
          <p:spPr bwMode="auto">
            <a:xfrm>
              <a:off x="1974825" y="206832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0" name="Freeform 557">
              <a:extLst>
                <a:ext uri="{FF2B5EF4-FFF2-40B4-BE49-F238E27FC236}">
                  <a16:creationId xmlns:a16="http://schemas.microsoft.com/office/drawing/2014/main" id="{4E587322-350E-C740-BFA7-11D413B66721}"/>
                </a:ext>
              </a:extLst>
            </p:cNvPr>
            <p:cNvSpPr>
              <a:spLocks/>
            </p:cNvSpPr>
            <p:nvPr/>
          </p:nvSpPr>
          <p:spPr bwMode="auto">
            <a:xfrm>
              <a:off x="1974825" y="206832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1" name="Freeform 558">
              <a:extLst>
                <a:ext uri="{FF2B5EF4-FFF2-40B4-BE49-F238E27FC236}">
                  <a16:creationId xmlns:a16="http://schemas.microsoft.com/office/drawing/2014/main" id="{B53F533D-963A-6642-859F-FDB308507E5B}"/>
                </a:ext>
              </a:extLst>
            </p:cNvPr>
            <p:cNvSpPr>
              <a:spLocks/>
            </p:cNvSpPr>
            <p:nvPr/>
          </p:nvSpPr>
          <p:spPr bwMode="auto">
            <a:xfrm>
              <a:off x="1978313" y="2068327"/>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2" name="Freeform 559">
              <a:extLst>
                <a:ext uri="{FF2B5EF4-FFF2-40B4-BE49-F238E27FC236}">
                  <a16:creationId xmlns:a16="http://schemas.microsoft.com/office/drawing/2014/main" id="{9B8A3BB8-577A-9749-BE78-3A2E8A99D103}"/>
                </a:ext>
              </a:extLst>
            </p:cNvPr>
            <p:cNvSpPr>
              <a:spLocks/>
            </p:cNvSpPr>
            <p:nvPr/>
          </p:nvSpPr>
          <p:spPr bwMode="auto">
            <a:xfrm>
              <a:off x="1986454" y="206832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2" y="0"/>
                  </a:lnTo>
                  <a:lnTo>
                    <a:pt x="16" y="0"/>
                  </a:lnTo>
                  <a:lnTo>
                    <a:pt x="16" y="3"/>
                  </a:lnTo>
                  <a:lnTo>
                    <a:pt x="16" y="6"/>
                  </a:lnTo>
                  <a:lnTo>
                    <a:pt x="12"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3" name="Freeform 560">
              <a:extLst>
                <a:ext uri="{FF2B5EF4-FFF2-40B4-BE49-F238E27FC236}">
                  <a16:creationId xmlns:a16="http://schemas.microsoft.com/office/drawing/2014/main" id="{9986A241-AD97-C749-B6CE-EEC0F146F456}"/>
                </a:ext>
              </a:extLst>
            </p:cNvPr>
            <p:cNvSpPr>
              <a:spLocks/>
            </p:cNvSpPr>
            <p:nvPr/>
          </p:nvSpPr>
          <p:spPr bwMode="auto">
            <a:xfrm>
              <a:off x="1996920" y="205839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4" name="Freeform 561">
              <a:extLst>
                <a:ext uri="{FF2B5EF4-FFF2-40B4-BE49-F238E27FC236}">
                  <a16:creationId xmlns:a16="http://schemas.microsoft.com/office/drawing/2014/main" id="{B39A5069-E4AE-A040-89C2-10D894287635}"/>
                </a:ext>
              </a:extLst>
            </p:cNvPr>
            <p:cNvSpPr>
              <a:spLocks/>
            </p:cNvSpPr>
            <p:nvPr/>
          </p:nvSpPr>
          <p:spPr bwMode="auto">
            <a:xfrm>
              <a:off x="1996920" y="205839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5" name="Freeform 562">
              <a:extLst>
                <a:ext uri="{FF2B5EF4-FFF2-40B4-BE49-F238E27FC236}">
                  <a16:creationId xmlns:a16="http://schemas.microsoft.com/office/drawing/2014/main" id="{1B346D4B-E36E-E541-8C68-BA130440C4E4}"/>
                </a:ext>
              </a:extLst>
            </p:cNvPr>
            <p:cNvSpPr>
              <a:spLocks/>
            </p:cNvSpPr>
            <p:nvPr/>
          </p:nvSpPr>
          <p:spPr bwMode="auto">
            <a:xfrm>
              <a:off x="2000409" y="2045492"/>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6" name="Freeform 563">
              <a:extLst>
                <a:ext uri="{FF2B5EF4-FFF2-40B4-BE49-F238E27FC236}">
                  <a16:creationId xmlns:a16="http://schemas.microsoft.com/office/drawing/2014/main" id="{B2D105E1-AEBE-7D4A-A60E-6C12C2777268}"/>
                </a:ext>
              </a:extLst>
            </p:cNvPr>
            <p:cNvSpPr>
              <a:spLocks/>
            </p:cNvSpPr>
            <p:nvPr/>
          </p:nvSpPr>
          <p:spPr bwMode="auto">
            <a:xfrm>
              <a:off x="2000409" y="2045492"/>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4" y="10"/>
                  </a:moveTo>
                  <a:lnTo>
                    <a:pt x="0" y="7"/>
                  </a:lnTo>
                  <a:lnTo>
                    <a:pt x="0" y="3"/>
                  </a:lnTo>
                  <a:lnTo>
                    <a:pt x="0" y="0"/>
                  </a:lnTo>
                  <a:lnTo>
                    <a:pt x="4" y="0"/>
                  </a:lnTo>
                  <a:lnTo>
                    <a:pt x="23" y="0"/>
                  </a:lnTo>
                  <a:lnTo>
                    <a:pt x="26" y="0"/>
                  </a:lnTo>
                  <a:lnTo>
                    <a:pt x="26" y="3"/>
                  </a:lnTo>
                  <a:lnTo>
                    <a:pt x="26" y="7"/>
                  </a:lnTo>
                  <a:lnTo>
                    <a:pt x="2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7" name="Freeform 564">
              <a:extLst>
                <a:ext uri="{FF2B5EF4-FFF2-40B4-BE49-F238E27FC236}">
                  <a16:creationId xmlns:a16="http://schemas.microsoft.com/office/drawing/2014/main" id="{2CC0B829-EA36-3A4F-91F6-DCE19B54E8F2}"/>
                </a:ext>
              </a:extLst>
            </p:cNvPr>
            <p:cNvSpPr>
              <a:spLocks/>
            </p:cNvSpPr>
            <p:nvPr/>
          </p:nvSpPr>
          <p:spPr bwMode="auto">
            <a:xfrm>
              <a:off x="2023668" y="204549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8" name="Freeform 565">
              <a:extLst>
                <a:ext uri="{FF2B5EF4-FFF2-40B4-BE49-F238E27FC236}">
                  <a16:creationId xmlns:a16="http://schemas.microsoft.com/office/drawing/2014/main" id="{C4539E1E-F301-B64A-9FDD-F7F38D9CF0C7}"/>
                </a:ext>
              </a:extLst>
            </p:cNvPr>
            <p:cNvSpPr>
              <a:spLocks/>
            </p:cNvSpPr>
            <p:nvPr/>
          </p:nvSpPr>
          <p:spPr bwMode="auto">
            <a:xfrm>
              <a:off x="2027156" y="2032585"/>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6" y="20"/>
                  </a:lnTo>
                  <a:lnTo>
                    <a:pt x="3" y="20"/>
                  </a:lnTo>
                  <a:lnTo>
                    <a:pt x="0" y="20"/>
                  </a:lnTo>
                  <a:lnTo>
                    <a:pt x="0" y="16"/>
                  </a:lnTo>
                  <a:lnTo>
                    <a:pt x="0" y="4"/>
                  </a:lnTo>
                  <a:lnTo>
                    <a:pt x="0" y="0"/>
                  </a:lnTo>
                  <a:lnTo>
                    <a:pt x="3" y="0"/>
                  </a:lnTo>
                  <a:lnTo>
                    <a:pt x="6" y="0"/>
                  </a:lnTo>
                  <a:lnTo>
                    <a:pt x="10" y="4"/>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9" name="Freeform 566">
              <a:extLst>
                <a:ext uri="{FF2B5EF4-FFF2-40B4-BE49-F238E27FC236}">
                  <a16:creationId xmlns:a16="http://schemas.microsoft.com/office/drawing/2014/main" id="{625A5987-CEEF-1D49-8990-96279D65F73A}"/>
                </a:ext>
              </a:extLst>
            </p:cNvPr>
            <p:cNvSpPr>
              <a:spLocks/>
            </p:cNvSpPr>
            <p:nvPr/>
          </p:nvSpPr>
          <p:spPr bwMode="auto">
            <a:xfrm>
              <a:off x="2027156" y="2032585"/>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0" name="Freeform 567">
              <a:extLst>
                <a:ext uri="{FF2B5EF4-FFF2-40B4-BE49-F238E27FC236}">
                  <a16:creationId xmlns:a16="http://schemas.microsoft.com/office/drawing/2014/main" id="{13DAC340-98D2-254D-B5D1-1D31A203242F}"/>
                </a:ext>
              </a:extLst>
            </p:cNvPr>
            <p:cNvSpPr>
              <a:spLocks/>
            </p:cNvSpPr>
            <p:nvPr/>
          </p:nvSpPr>
          <p:spPr bwMode="auto">
            <a:xfrm>
              <a:off x="2042274" y="202365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1" name="Freeform 568">
              <a:extLst>
                <a:ext uri="{FF2B5EF4-FFF2-40B4-BE49-F238E27FC236}">
                  <a16:creationId xmlns:a16="http://schemas.microsoft.com/office/drawing/2014/main" id="{354D165E-5B37-154C-8B31-41665D2DF3C0}"/>
                </a:ext>
              </a:extLst>
            </p:cNvPr>
            <p:cNvSpPr>
              <a:spLocks/>
            </p:cNvSpPr>
            <p:nvPr/>
          </p:nvSpPr>
          <p:spPr bwMode="auto">
            <a:xfrm>
              <a:off x="2042274" y="2023650"/>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2" name="Freeform 569">
              <a:extLst>
                <a:ext uri="{FF2B5EF4-FFF2-40B4-BE49-F238E27FC236}">
                  <a16:creationId xmlns:a16="http://schemas.microsoft.com/office/drawing/2014/main" id="{658C7E97-F83E-794E-8C47-81FCAF343FAF}"/>
                </a:ext>
              </a:extLst>
            </p:cNvPr>
            <p:cNvSpPr>
              <a:spLocks/>
            </p:cNvSpPr>
            <p:nvPr/>
          </p:nvSpPr>
          <p:spPr bwMode="auto">
            <a:xfrm>
              <a:off x="2053904" y="202365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3" name="Freeform 570">
              <a:extLst>
                <a:ext uri="{FF2B5EF4-FFF2-40B4-BE49-F238E27FC236}">
                  <a16:creationId xmlns:a16="http://schemas.microsoft.com/office/drawing/2014/main" id="{AA8D730B-12D1-A648-8D5C-C4404D3A2459}"/>
                </a:ext>
              </a:extLst>
            </p:cNvPr>
            <p:cNvSpPr>
              <a:spLocks/>
            </p:cNvSpPr>
            <p:nvPr/>
          </p:nvSpPr>
          <p:spPr bwMode="auto">
            <a:xfrm>
              <a:off x="2057392" y="2023650"/>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9" y="0"/>
                  </a:lnTo>
                  <a:lnTo>
                    <a:pt x="13" y="0"/>
                  </a:lnTo>
                  <a:lnTo>
                    <a:pt x="13" y="3"/>
                  </a:lnTo>
                  <a:lnTo>
                    <a:pt x="13"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4" name="Freeform 571">
              <a:extLst>
                <a:ext uri="{FF2B5EF4-FFF2-40B4-BE49-F238E27FC236}">
                  <a16:creationId xmlns:a16="http://schemas.microsoft.com/office/drawing/2014/main" id="{40782DE2-6941-644C-8828-2593C7D9702B}"/>
                </a:ext>
              </a:extLst>
            </p:cNvPr>
            <p:cNvSpPr>
              <a:spLocks/>
            </p:cNvSpPr>
            <p:nvPr/>
          </p:nvSpPr>
          <p:spPr bwMode="auto">
            <a:xfrm>
              <a:off x="2064370" y="2023650"/>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5" name="Freeform 572">
              <a:extLst>
                <a:ext uri="{FF2B5EF4-FFF2-40B4-BE49-F238E27FC236}">
                  <a16:creationId xmlns:a16="http://schemas.microsoft.com/office/drawing/2014/main" id="{5F4A13E5-E623-444F-BE62-463403702DC7}"/>
                </a:ext>
              </a:extLst>
            </p:cNvPr>
            <p:cNvSpPr>
              <a:spLocks/>
            </p:cNvSpPr>
            <p:nvPr/>
          </p:nvSpPr>
          <p:spPr bwMode="auto">
            <a:xfrm>
              <a:off x="2067859" y="2023650"/>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6" name="Freeform 573">
              <a:extLst>
                <a:ext uri="{FF2B5EF4-FFF2-40B4-BE49-F238E27FC236}">
                  <a16:creationId xmlns:a16="http://schemas.microsoft.com/office/drawing/2014/main" id="{B6673F7A-F014-5C47-9D3C-C608A859484B}"/>
                </a:ext>
              </a:extLst>
            </p:cNvPr>
            <p:cNvSpPr>
              <a:spLocks/>
            </p:cNvSpPr>
            <p:nvPr/>
          </p:nvSpPr>
          <p:spPr bwMode="auto">
            <a:xfrm>
              <a:off x="2075999" y="2023650"/>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7" name="Freeform 574">
              <a:extLst>
                <a:ext uri="{FF2B5EF4-FFF2-40B4-BE49-F238E27FC236}">
                  <a16:creationId xmlns:a16="http://schemas.microsoft.com/office/drawing/2014/main" id="{B2833147-C9F5-BC4C-A8E3-E11C65311B70}"/>
                </a:ext>
              </a:extLst>
            </p:cNvPr>
            <p:cNvSpPr>
              <a:spLocks/>
            </p:cNvSpPr>
            <p:nvPr/>
          </p:nvSpPr>
          <p:spPr bwMode="auto">
            <a:xfrm>
              <a:off x="2079488" y="2023650"/>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8" name="Freeform 575">
              <a:extLst>
                <a:ext uri="{FF2B5EF4-FFF2-40B4-BE49-F238E27FC236}">
                  <a16:creationId xmlns:a16="http://schemas.microsoft.com/office/drawing/2014/main" id="{F192D64A-4F40-C44B-8325-81CC7F38E6D3}"/>
                </a:ext>
              </a:extLst>
            </p:cNvPr>
            <p:cNvSpPr>
              <a:spLocks/>
            </p:cNvSpPr>
            <p:nvPr/>
          </p:nvSpPr>
          <p:spPr bwMode="auto">
            <a:xfrm>
              <a:off x="2082976" y="2010742"/>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9" name="Freeform 576">
              <a:extLst>
                <a:ext uri="{FF2B5EF4-FFF2-40B4-BE49-F238E27FC236}">
                  <a16:creationId xmlns:a16="http://schemas.microsoft.com/office/drawing/2014/main" id="{DFFD004C-37AC-E34C-9946-A19D7B77A9DA}"/>
                </a:ext>
              </a:extLst>
            </p:cNvPr>
            <p:cNvSpPr>
              <a:spLocks/>
            </p:cNvSpPr>
            <p:nvPr/>
          </p:nvSpPr>
          <p:spPr bwMode="auto">
            <a:xfrm>
              <a:off x="2082976" y="201074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0" name="Freeform 577">
              <a:extLst>
                <a:ext uri="{FF2B5EF4-FFF2-40B4-BE49-F238E27FC236}">
                  <a16:creationId xmlns:a16="http://schemas.microsoft.com/office/drawing/2014/main" id="{09742774-2809-1F4D-91B1-5D86FD51B851}"/>
                </a:ext>
              </a:extLst>
            </p:cNvPr>
            <p:cNvSpPr>
              <a:spLocks/>
            </p:cNvSpPr>
            <p:nvPr/>
          </p:nvSpPr>
          <p:spPr bwMode="auto">
            <a:xfrm>
              <a:off x="2094606" y="199783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1" name="Freeform 578">
              <a:extLst>
                <a:ext uri="{FF2B5EF4-FFF2-40B4-BE49-F238E27FC236}">
                  <a16:creationId xmlns:a16="http://schemas.microsoft.com/office/drawing/2014/main" id="{BB5C60B6-052B-054E-8765-E83B7441D3EE}"/>
                </a:ext>
              </a:extLst>
            </p:cNvPr>
            <p:cNvSpPr>
              <a:spLocks/>
            </p:cNvSpPr>
            <p:nvPr/>
          </p:nvSpPr>
          <p:spPr bwMode="auto">
            <a:xfrm>
              <a:off x="2094606" y="199783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2" name="Freeform 579">
              <a:extLst>
                <a:ext uri="{FF2B5EF4-FFF2-40B4-BE49-F238E27FC236}">
                  <a16:creationId xmlns:a16="http://schemas.microsoft.com/office/drawing/2014/main" id="{E140ACFE-2C1E-174F-8CA9-1564EB33F515}"/>
                </a:ext>
              </a:extLst>
            </p:cNvPr>
            <p:cNvSpPr>
              <a:spLocks/>
            </p:cNvSpPr>
            <p:nvPr/>
          </p:nvSpPr>
          <p:spPr bwMode="auto">
            <a:xfrm>
              <a:off x="2098095" y="1984928"/>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3" name="Freeform 580">
              <a:extLst>
                <a:ext uri="{FF2B5EF4-FFF2-40B4-BE49-F238E27FC236}">
                  <a16:creationId xmlns:a16="http://schemas.microsoft.com/office/drawing/2014/main" id="{01848BEF-A91C-3440-A847-D4E4C20FD975}"/>
                </a:ext>
              </a:extLst>
            </p:cNvPr>
            <p:cNvSpPr>
              <a:spLocks/>
            </p:cNvSpPr>
            <p:nvPr/>
          </p:nvSpPr>
          <p:spPr bwMode="auto">
            <a:xfrm>
              <a:off x="2098095" y="198492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4" name="Freeform 581">
              <a:extLst>
                <a:ext uri="{FF2B5EF4-FFF2-40B4-BE49-F238E27FC236}">
                  <a16:creationId xmlns:a16="http://schemas.microsoft.com/office/drawing/2014/main" id="{0BF55F46-37A8-0148-ABE1-52E9E7CBF34E}"/>
                </a:ext>
              </a:extLst>
            </p:cNvPr>
            <p:cNvSpPr>
              <a:spLocks/>
            </p:cNvSpPr>
            <p:nvPr/>
          </p:nvSpPr>
          <p:spPr bwMode="auto">
            <a:xfrm>
              <a:off x="2106235" y="1969043"/>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5" name="Freeform 582">
              <a:extLst>
                <a:ext uri="{FF2B5EF4-FFF2-40B4-BE49-F238E27FC236}">
                  <a16:creationId xmlns:a16="http://schemas.microsoft.com/office/drawing/2014/main" id="{AF92E911-80BC-E94C-B9D9-C6100F38FDE4}"/>
                </a:ext>
              </a:extLst>
            </p:cNvPr>
            <p:cNvSpPr>
              <a:spLocks/>
            </p:cNvSpPr>
            <p:nvPr/>
          </p:nvSpPr>
          <p:spPr bwMode="auto">
            <a:xfrm>
              <a:off x="2106235" y="196904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6" name="Freeform 583">
              <a:extLst>
                <a:ext uri="{FF2B5EF4-FFF2-40B4-BE49-F238E27FC236}">
                  <a16:creationId xmlns:a16="http://schemas.microsoft.com/office/drawing/2014/main" id="{B9CA88D0-E1E5-4442-B0AA-6B444580A640}"/>
                </a:ext>
              </a:extLst>
            </p:cNvPr>
            <p:cNvSpPr>
              <a:spLocks/>
            </p:cNvSpPr>
            <p:nvPr/>
          </p:nvSpPr>
          <p:spPr bwMode="auto">
            <a:xfrm>
              <a:off x="2109724" y="196904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7" name="Freeform 584">
              <a:extLst>
                <a:ext uri="{FF2B5EF4-FFF2-40B4-BE49-F238E27FC236}">
                  <a16:creationId xmlns:a16="http://schemas.microsoft.com/office/drawing/2014/main" id="{406478CD-75D2-4743-AAA2-CFA878CF9E0F}"/>
                </a:ext>
              </a:extLst>
            </p:cNvPr>
            <p:cNvSpPr>
              <a:spLocks/>
            </p:cNvSpPr>
            <p:nvPr/>
          </p:nvSpPr>
          <p:spPr bwMode="auto">
            <a:xfrm>
              <a:off x="2113212" y="195613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8" name="Freeform 585">
              <a:extLst>
                <a:ext uri="{FF2B5EF4-FFF2-40B4-BE49-F238E27FC236}">
                  <a16:creationId xmlns:a16="http://schemas.microsoft.com/office/drawing/2014/main" id="{876B52E3-6D29-414D-A5C3-940C3DE533BF}"/>
                </a:ext>
              </a:extLst>
            </p:cNvPr>
            <p:cNvSpPr>
              <a:spLocks/>
            </p:cNvSpPr>
            <p:nvPr/>
          </p:nvSpPr>
          <p:spPr bwMode="auto">
            <a:xfrm>
              <a:off x="2113212" y="1956136"/>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6"/>
                  </a:lnTo>
                  <a:lnTo>
                    <a:pt x="0" y="3"/>
                  </a:lnTo>
                  <a:lnTo>
                    <a:pt x="0" y="0"/>
                  </a:lnTo>
                  <a:lnTo>
                    <a:pt x="3" y="0"/>
                  </a:lnTo>
                  <a:lnTo>
                    <a:pt x="26" y="0"/>
                  </a:lnTo>
                  <a:lnTo>
                    <a:pt x="29" y="0"/>
                  </a:lnTo>
                  <a:lnTo>
                    <a:pt x="29" y="3"/>
                  </a:lnTo>
                  <a:lnTo>
                    <a:pt x="29" y="6"/>
                  </a:lnTo>
                  <a:lnTo>
                    <a:pt x="2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9" name="Freeform 586">
              <a:extLst>
                <a:ext uri="{FF2B5EF4-FFF2-40B4-BE49-F238E27FC236}">
                  <a16:creationId xmlns:a16="http://schemas.microsoft.com/office/drawing/2014/main" id="{DB55105E-55B6-184D-A452-360578D33B2F}"/>
                </a:ext>
              </a:extLst>
            </p:cNvPr>
            <p:cNvSpPr>
              <a:spLocks/>
            </p:cNvSpPr>
            <p:nvPr/>
          </p:nvSpPr>
          <p:spPr bwMode="auto">
            <a:xfrm>
              <a:off x="2139960" y="1956136"/>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0" name="Freeform 587">
              <a:extLst>
                <a:ext uri="{FF2B5EF4-FFF2-40B4-BE49-F238E27FC236}">
                  <a16:creationId xmlns:a16="http://schemas.microsoft.com/office/drawing/2014/main" id="{F9171E41-2382-EE49-8AC3-5FA3FBACBFCA}"/>
                </a:ext>
              </a:extLst>
            </p:cNvPr>
            <p:cNvSpPr>
              <a:spLocks/>
            </p:cNvSpPr>
            <p:nvPr/>
          </p:nvSpPr>
          <p:spPr bwMode="auto">
            <a:xfrm>
              <a:off x="2155077" y="1956136"/>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1" name="Freeform 588">
              <a:extLst>
                <a:ext uri="{FF2B5EF4-FFF2-40B4-BE49-F238E27FC236}">
                  <a16:creationId xmlns:a16="http://schemas.microsoft.com/office/drawing/2014/main" id="{41436F67-8D47-C441-B7A1-5176F204018D}"/>
                </a:ext>
              </a:extLst>
            </p:cNvPr>
            <p:cNvSpPr>
              <a:spLocks/>
            </p:cNvSpPr>
            <p:nvPr/>
          </p:nvSpPr>
          <p:spPr bwMode="auto">
            <a:xfrm>
              <a:off x="2169032" y="195613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2" name="Freeform 589">
              <a:extLst>
                <a:ext uri="{FF2B5EF4-FFF2-40B4-BE49-F238E27FC236}">
                  <a16:creationId xmlns:a16="http://schemas.microsoft.com/office/drawing/2014/main" id="{ADDE411C-E221-0745-B2ED-8595C72BB393}"/>
                </a:ext>
              </a:extLst>
            </p:cNvPr>
            <p:cNvSpPr>
              <a:spLocks/>
            </p:cNvSpPr>
            <p:nvPr/>
          </p:nvSpPr>
          <p:spPr bwMode="auto">
            <a:xfrm>
              <a:off x="2173684" y="1956136"/>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3" name="Freeform 590">
              <a:extLst>
                <a:ext uri="{FF2B5EF4-FFF2-40B4-BE49-F238E27FC236}">
                  <a16:creationId xmlns:a16="http://schemas.microsoft.com/office/drawing/2014/main" id="{B6EC9909-495F-0B46-AC88-3DB70E4FC377}"/>
                </a:ext>
              </a:extLst>
            </p:cNvPr>
            <p:cNvSpPr>
              <a:spLocks/>
            </p:cNvSpPr>
            <p:nvPr/>
          </p:nvSpPr>
          <p:spPr bwMode="auto">
            <a:xfrm>
              <a:off x="2180662" y="1956136"/>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4" name="Freeform 591">
              <a:extLst>
                <a:ext uri="{FF2B5EF4-FFF2-40B4-BE49-F238E27FC236}">
                  <a16:creationId xmlns:a16="http://schemas.microsoft.com/office/drawing/2014/main" id="{B1E48319-58E5-B14B-B6DC-EC39FF0BCA1D}"/>
                </a:ext>
              </a:extLst>
            </p:cNvPr>
            <p:cNvSpPr>
              <a:spLocks/>
            </p:cNvSpPr>
            <p:nvPr/>
          </p:nvSpPr>
          <p:spPr bwMode="auto">
            <a:xfrm>
              <a:off x="2188803" y="195613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5" name="Freeform 592">
              <a:extLst>
                <a:ext uri="{FF2B5EF4-FFF2-40B4-BE49-F238E27FC236}">
                  <a16:creationId xmlns:a16="http://schemas.microsoft.com/office/drawing/2014/main" id="{CFC5A89E-D7DA-4944-B129-4D9F7D251AAD}"/>
                </a:ext>
              </a:extLst>
            </p:cNvPr>
            <p:cNvSpPr>
              <a:spLocks/>
            </p:cNvSpPr>
            <p:nvPr/>
          </p:nvSpPr>
          <p:spPr bwMode="auto">
            <a:xfrm>
              <a:off x="2192291" y="1956136"/>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6" name="Freeform 593">
              <a:extLst>
                <a:ext uri="{FF2B5EF4-FFF2-40B4-BE49-F238E27FC236}">
                  <a16:creationId xmlns:a16="http://schemas.microsoft.com/office/drawing/2014/main" id="{DCB018CA-59A6-D64C-9FD8-CABDAC1F5540}"/>
                </a:ext>
              </a:extLst>
            </p:cNvPr>
            <p:cNvSpPr>
              <a:spLocks/>
            </p:cNvSpPr>
            <p:nvPr/>
          </p:nvSpPr>
          <p:spPr bwMode="auto">
            <a:xfrm>
              <a:off x="2202758" y="1956136"/>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7" name="Freeform 594">
              <a:extLst>
                <a:ext uri="{FF2B5EF4-FFF2-40B4-BE49-F238E27FC236}">
                  <a16:creationId xmlns:a16="http://schemas.microsoft.com/office/drawing/2014/main" id="{FC023061-C86E-E849-A4E9-FA39B216CBC5}"/>
                </a:ext>
              </a:extLst>
            </p:cNvPr>
            <p:cNvSpPr>
              <a:spLocks/>
            </p:cNvSpPr>
            <p:nvPr/>
          </p:nvSpPr>
          <p:spPr bwMode="auto">
            <a:xfrm>
              <a:off x="2210898" y="1956136"/>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8" name="Freeform 595">
              <a:extLst>
                <a:ext uri="{FF2B5EF4-FFF2-40B4-BE49-F238E27FC236}">
                  <a16:creationId xmlns:a16="http://schemas.microsoft.com/office/drawing/2014/main" id="{22D8B076-3FE0-0243-A1BA-8C86A443F0DA}"/>
                </a:ext>
              </a:extLst>
            </p:cNvPr>
            <p:cNvSpPr>
              <a:spLocks/>
            </p:cNvSpPr>
            <p:nvPr/>
          </p:nvSpPr>
          <p:spPr bwMode="auto">
            <a:xfrm>
              <a:off x="2222527" y="1956136"/>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9" name="Freeform 596">
              <a:extLst>
                <a:ext uri="{FF2B5EF4-FFF2-40B4-BE49-F238E27FC236}">
                  <a16:creationId xmlns:a16="http://schemas.microsoft.com/office/drawing/2014/main" id="{23302DB5-E5C9-6744-BC67-E450049CBFAA}"/>
                </a:ext>
              </a:extLst>
            </p:cNvPr>
            <p:cNvSpPr>
              <a:spLocks/>
            </p:cNvSpPr>
            <p:nvPr/>
          </p:nvSpPr>
          <p:spPr bwMode="auto">
            <a:xfrm>
              <a:off x="2241134" y="1940251"/>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0" name="Freeform 597">
              <a:extLst>
                <a:ext uri="{FF2B5EF4-FFF2-40B4-BE49-F238E27FC236}">
                  <a16:creationId xmlns:a16="http://schemas.microsoft.com/office/drawing/2014/main" id="{4FD721E1-A1D1-DF43-9CD1-68F935D3E652}"/>
                </a:ext>
              </a:extLst>
            </p:cNvPr>
            <p:cNvSpPr>
              <a:spLocks/>
            </p:cNvSpPr>
            <p:nvPr/>
          </p:nvSpPr>
          <p:spPr bwMode="auto">
            <a:xfrm>
              <a:off x="2241134" y="1940251"/>
              <a:ext cx="37213" cy="8936"/>
            </a:xfrm>
            <a:custGeom>
              <a:avLst/>
              <a:gdLst>
                <a:gd name="T0" fmla="*/ 2147483646 w 32"/>
                <a:gd name="T1" fmla="*/ 2147483646 h 9"/>
                <a:gd name="T2" fmla="*/ 0 w 32"/>
                <a:gd name="T3" fmla="*/ 2147483646 h 9"/>
                <a:gd name="T4" fmla="*/ 0 w 32"/>
                <a:gd name="T5" fmla="*/ 2147483646 h 9"/>
                <a:gd name="T6" fmla="*/ 0 w 32"/>
                <a:gd name="T7" fmla="*/ 2147483646 h 9"/>
                <a:gd name="T8" fmla="*/ 0 w 32"/>
                <a:gd name="T9" fmla="*/ 0 h 9"/>
                <a:gd name="T10" fmla="*/ 2147483646 w 32"/>
                <a:gd name="T11" fmla="*/ 0 h 9"/>
                <a:gd name="T12" fmla="*/ 2147483646 w 32"/>
                <a:gd name="T13" fmla="*/ 0 h 9"/>
                <a:gd name="T14" fmla="*/ 2147483646 w 32"/>
                <a:gd name="T15" fmla="*/ 0 h 9"/>
                <a:gd name="T16" fmla="*/ 2147483646 w 32"/>
                <a:gd name="T17" fmla="*/ 2147483646 h 9"/>
                <a:gd name="T18" fmla="*/ 2147483646 w 32"/>
                <a:gd name="T19" fmla="*/ 2147483646 h 9"/>
                <a:gd name="T20" fmla="*/ 2147483646 w 32"/>
                <a:gd name="T21" fmla="*/ 2147483646 h 9"/>
                <a:gd name="T22" fmla="*/ 2147483646 w 32"/>
                <a:gd name="T23" fmla="*/ 2147483646 h 9"/>
                <a:gd name="T24" fmla="*/ 2147483646 w 3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9">
                  <a:moveTo>
                    <a:pt x="3" y="9"/>
                  </a:moveTo>
                  <a:lnTo>
                    <a:pt x="0" y="6"/>
                  </a:lnTo>
                  <a:lnTo>
                    <a:pt x="0" y="3"/>
                  </a:lnTo>
                  <a:lnTo>
                    <a:pt x="0" y="0"/>
                  </a:lnTo>
                  <a:lnTo>
                    <a:pt x="3" y="0"/>
                  </a:lnTo>
                  <a:lnTo>
                    <a:pt x="29" y="0"/>
                  </a:lnTo>
                  <a:lnTo>
                    <a:pt x="32" y="0"/>
                  </a:lnTo>
                  <a:lnTo>
                    <a:pt x="32" y="3"/>
                  </a:lnTo>
                  <a:lnTo>
                    <a:pt x="32" y="6"/>
                  </a:lnTo>
                  <a:lnTo>
                    <a:pt x="2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1" name="Freeform 598">
              <a:extLst>
                <a:ext uri="{FF2B5EF4-FFF2-40B4-BE49-F238E27FC236}">
                  <a16:creationId xmlns:a16="http://schemas.microsoft.com/office/drawing/2014/main" id="{7128F4E9-92A5-AC46-B9E6-D703EE16DB21}"/>
                </a:ext>
              </a:extLst>
            </p:cNvPr>
            <p:cNvSpPr>
              <a:spLocks/>
            </p:cNvSpPr>
            <p:nvPr/>
          </p:nvSpPr>
          <p:spPr bwMode="auto">
            <a:xfrm>
              <a:off x="2270207" y="1940251"/>
              <a:ext cx="41865" cy="8936"/>
            </a:xfrm>
            <a:custGeom>
              <a:avLst/>
              <a:gdLst>
                <a:gd name="T0" fmla="*/ 2147483646 w 36"/>
                <a:gd name="T1" fmla="*/ 2147483646 h 9"/>
                <a:gd name="T2" fmla="*/ 0 w 36"/>
                <a:gd name="T3" fmla="*/ 2147483646 h 9"/>
                <a:gd name="T4" fmla="*/ 0 w 36"/>
                <a:gd name="T5" fmla="*/ 2147483646 h 9"/>
                <a:gd name="T6" fmla="*/ 0 w 36"/>
                <a:gd name="T7" fmla="*/ 2147483646 h 9"/>
                <a:gd name="T8" fmla="*/ 0 w 36"/>
                <a:gd name="T9" fmla="*/ 0 h 9"/>
                <a:gd name="T10" fmla="*/ 2147483646 w 36"/>
                <a:gd name="T11" fmla="*/ 0 h 9"/>
                <a:gd name="T12" fmla="*/ 2147483646 w 36"/>
                <a:gd name="T13" fmla="*/ 0 h 9"/>
                <a:gd name="T14" fmla="*/ 2147483646 w 36"/>
                <a:gd name="T15" fmla="*/ 0 h 9"/>
                <a:gd name="T16" fmla="*/ 2147483646 w 36"/>
                <a:gd name="T17" fmla="*/ 2147483646 h 9"/>
                <a:gd name="T18" fmla="*/ 2147483646 w 36"/>
                <a:gd name="T19" fmla="*/ 2147483646 h 9"/>
                <a:gd name="T20" fmla="*/ 2147483646 w 36"/>
                <a:gd name="T21" fmla="*/ 2147483646 h 9"/>
                <a:gd name="T22" fmla="*/ 2147483646 w 36"/>
                <a:gd name="T23" fmla="*/ 2147483646 h 9"/>
                <a:gd name="T24" fmla="*/ 2147483646 w 3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9">
                  <a:moveTo>
                    <a:pt x="4" y="9"/>
                  </a:moveTo>
                  <a:lnTo>
                    <a:pt x="0" y="6"/>
                  </a:lnTo>
                  <a:lnTo>
                    <a:pt x="0" y="3"/>
                  </a:lnTo>
                  <a:lnTo>
                    <a:pt x="0" y="0"/>
                  </a:lnTo>
                  <a:lnTo>
                    <a:pt x="4" y="0"/>
                  </a:lnTo>
                  <a:lnTo>
                    <a:pt x="33" y="0"/>
                  </a:lnTo>
                  <a:lnTo>
                    <a:pt x="36" y="0"/>
                  </a:lnTo>
                  <a:lnTo>
                    <a:pt x="36" y="3"/>
                  </a:lnTo>
                  <a:lnTo>
                    <a:pt x="36" y="6"/>
                  </a:lnTo>
                  <a:lnTo>
                    <a:pt x="3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2" name="Freeform 599">
              <a:extLst>
                <a:ext uri="{FF2B5EF4-FFF2-40B4-BE49-F238E27FC236}">
                  <a16:creationId xmlns:a16="http://schemas.microsoft.com/office/drawing/2014/main" id="{747CBEF6-C419-2C40-A60F-99A1708AAF51}"/>
                </a:ext>
              </a:extLst>
            </p:cNvPr>
            <p:cNvSpPr>
              <a:spLocks/>
            </p:cNvSpPr>
            <p:nvPr/>
          </p:nvSpPr>
          <p:spPr bwMode="auto">
            <a:xfrm>
              <a:off x="2303931" y="192734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3" name="Freeform 600">
              <a:extLst>
                <a:ext uri="{FF2B5EF4-FFF2-40B4-BE49-F238E27FC236}">
                  <a16:creationId xmlns:a16="http://schemas.microsoft.com/office/drawing/2014/main" id="{E9E2DBB2-D1E0-6F42-9B10-6EE940312C3C}"/>
                </a:ext>
              </a:extLst>
            </p:cNvPr>
            <p:cNvSpPr>
              <a:spLocks/>
            </p:cNvSpPr>
            <p:nvPr/>
          </p:nvSpPr>
          <p:spPr bwMode="auto">
            <a:xfrm>
              <a:off x="2303931" y="1927343"/>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4" name="Freeform 601">
              <a:extLst>
                <a:ext uri="{FF2B5EF4-FFF2-40B4-BE49-F238E27FC236}">
                  <a16:creationId xmlns:a16="http://schemas.microsoft.com/office/drawing/2014/main" id="{0ACC6BF0-6DA4-F845-B349-E98E49C7DA9C}"/>
                </a:ext>
              </a:extLst>
            </p:cNvPr>
            <p:cNvSpPr>
              <a:spLocks/>
            </p:cNvSpPr>
            <p:nvPr/>
          </p:nvSpPr>
          <p:spPr bwMode="auto">
            <a:xfrm>
              <a:off x="2312072" y="1911458"/>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5" name="Freeform 602">
              <a:extLst>
                <a:ext uri="{FF2B5EF4-FFF2-40B4-BE49-F238E27FC236}">
                  <a16:creationId xmlns:a16="http://schemas.microsoft.com/office/drawing/2014/main" id="{32429805-0537-BD41-BE9B-1F9A744D14B5}"/>
                </a:ext>
              </a:extLst>
            </p:cNvPr>
            <p:cNvSpPr>
              <a:spLocks/>
            </p:cNvSpPr>
            <p:nvPr/>
          </p:nvSpPr>
          <p:spPr bwMode="auto">
            <a:xfrm>
              <a:off x="2312072" y="1911458"/>
              <a:ext cx="37213" cy="8936"/>
            </a:xfrm>
            <a:custGeom>
              <a:avLst/>
              <a:gdLst>
                <a:gd name="T0" fmla="*/ 2147483646 w 32"/>
                <a:gd name="T1" fmla="*/ 2147483646 h 9"/>
                <a:gd name="T2" fmla="*/ 0 w 32"/>
                <a:gd name="T3" fmla="*/ 2147483646 h 9"/>
                <a:gd name="T4" fmla="*/ 0 w 32"/>
                <a:gd name="T5" fmla="*/ 2147483646 h 9"/>
                <a:gd name="T6" fmla="*/ 0 w 32"/>
                <a:gd name="T7" fmla="*/ 2147483646 h 9"/>
                <a:gd name="T8" fmla="*/ 0 w 32"/>
                <a:gd name="T9" fmla="*/ 0 h 9"/>
                <a:gd name="T10" fmla="*/ 2147483646 w 32"/>
                <a:gd name="T11" fmla="*/ 0 h 9"/>
                <a:gd name="T12" fmla="*/ 2147483646 w 32"/>
                <a:gd name="T13" fmla="*/ 0 h 9"/>
                <a:gd name="T14" fmla="*/ 2147483646 w 32"/>
                <a:gd name="T15" fmla="*/ 0 h 9"/>
                <a:gd name="T16" fmla="*/ 2147483646 w 32"/>
                <a:gd name="T17" fmla="*/ 2147483646 h 9"/>
                <a:gd name="T18" fmla="*/ 2147483646 w 32"/>
                <a:gd name="T19" fmla="*/ 2147483646 h 9"/>
                <a:gd name="T20" fmla="*/ 2147483646 w 32"/>
                <a:gd name="T21" fmla="*/ 2147483646 h 9"/>
                <a:gd name="T22" fmla="*/ 2147483646 w 32"/>
                <a:gd name="T23" fmla="*/ 2147483646 h 9"/>
                <a:gd name="T24" fmla="*/ 2147483646 w 3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9">
                  <a:moveTo>
                    <a:pt x="3" y="9"/>
                  </a:moveTo>
                  <a:lnTo>
                    <a:pt x="0" y="6"/>
                  </a:lnTo>
                  <a:lnTo>
                    <a:pt x="0" y="3"/>
                  </a:lnTo>
                  <a:lnTo>
                    <a:pt x="0" y="0"/>
                  </a:lnTo>
                  <a:lnTo>
                    <a:pt x="3" y="0"/>
                  </a:lnTo>
                  <a:lnTo>
                    <a:pt x="29" y="0"/>
                  </a:lnTo>
                  <a:lnTo>
                    <a:pt x="32" y="0"/>
                  </a:lnTo>
                  <a:lnTo>
                    <a:pt x="32" y="3"/>
                  </a:lnTo>
                  <a:lnTo>
                    <a:pt x="32" y="6"/>
                  </a:lnTo>
                  <a:lnTo>
                    <a:pt x="2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6" name="Freeform 603">
              <a:extLst>
                <a:ext uri="{FF2B5EF4-FFF2-40B4-BE49-F238E27FC236}">
                  <a16:creationId xmlns:a16="http://schemas.microsoft.com/office/drawing/2014/main" id="{CA576F76-DF90-DA49-83A5-3351FD817AD2}"/>
                </a:ext>
              </a:extLst>
            </p:cNvPr>
            <p:cNvSpPr>
              <a:spLocks/>
            </p:cNvSpPr>
            <p:nvPr/>
          </p:nvSpPr>
          <p:spPr bwMode="auto">
            <a:xfrm>
              <a:off x="2342308" y="191145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7" name="Freeform 604">
              <a:extLst>
                <a:ext uri="{FF2B5EF4-FFF2-40B4-BE49-F238E27FC236}">
                  <a16:creationId xmlns:a16="http://schemas.microsoft.com/office/drawing/2014/main" id="{7FFCC373-F7A0-0144-9634-03DDC1736F9C}"/>
                </a:ext>
              </a:extLst>
            </p:cNvPr>
            <p:cNvSpPr>
              <a:spLocks/>
            </p:cNvSpPr>
            <p:nvPr/>
          </p:nvSpPr>
          <p:spPr bwMode="auto">
            <a:xfrm>
              <a:off x="2345797" y="191145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8" name="Freeform 605">
              <a:extLst>
                <a:ext uri="{FF2B5EF4-FFF2-40B4-BE49-F238E27FC236}">
                  <a16:creationId xmlns:a16="http://schemas.microsoft.com/office/drawing/2014/main" id="{CBAFD035-339A-6747-AC37-158AC38895B8}"/>
                </a:ext>
              </a:extLst>
            </p:cNvPr>
            <p:cNvSpPr>
              <a:spLocks/>
            </p:cNvSpPr>
            <p:nvPr/>
          </p:nvSpPr>
          <p:spPr bwMode="auto">
            <a:xfrm>
              <a:off x="2349286" y="191145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9" name="Freeform 606">
              <a:extLst>
                <a:ext uri="{FF2B5EF4-FFF2-40B4-BE49-F238E27FC236}">
                  <a16:creationId xmlns:a16="http://schemas.microsoft.com/office/drawing/2014/main" id="{C44202B8-E404-E74F-910B-B824D1D2D2F9}"/>
                </a:ext>
              </a:extLst>
            </p:cNvPr>
            <p:cNvSpPr>
              <a:spLocks/>
            </p:cNvSpPr>
            <p:nvPr/>
          </p:nvSpPr>
          <p:spPr bwMode="auto">
            <a:xfrm>
              <a:off x="2352774" y="1911458"/>
              <a:ext cx="41865" cy="8936"/>
            </a:xfrm>
            <a:custGeom>
              <a:avLst/>
              <a:gdLst>
                <a:gd name="T0" fmla="*/ 2147483646 w 36"/>
                <a:gd name="T1" fmla="*/ 2147483646 h 9"/>
                <a:gd name="T2" fmla="*/ 0 w 36"/>
                <a:gd name="T3" fmla="*/ 2147483646 h 9"/>
                <a:gd name="T4" fmla="*/ 0 w 36"/>
                <a:gd name="T5" fmla="*/ 2147483646 h 9"/>
                <a:gd name="T6" fmla="*/ 0 w 36"/>
                <a:gd name="T7" fmla="*/ 2147483646 h 9"/>
                <a:gd name="T8" fmla="*/ 0 w 36"/>
                <a:gd name="T9" fmla="*/ 0 h 9"/>
                <a:gd name="T10" fmla="*/ 2147483646 w 36"/>
                <a:gd name="T11" fmla="*/ 0 h 9"/>
                <a:gd name="T12" fmla="*/ 2147483646 w 36"/>
                <a:gd name="T13" fmla="*/ 0 h 9"/>
                <a:gd name="T14" fmla="*/ 2147483646 w 36"/>
                <a:gd name="T15" fmla="*/ 0 h 9"/>
                <a:gd name="T16" fmla="*/ 2147483646 w 36"/>
                <a:gd name="T17" fmla="*/ 2147483646 h 9"/>
                <a:gd name="T18" fmla="*/ 2147483646 w 36"/>
                <a:gd name="T19" fmla="*/ 2147483646 h 9"/>
                <a:gd name="T20" fmla="*/ 2147483646 w 36"/>
                <a:gd name="T21" fmla="*/ 2147483646 h 9"/>
                <a:gd name="T22" fmla="*/ 2147483646 w 36"/>
                <a:gd name="T23" fmla="*/ 2147483646 h 9"/>
                <a:gd name="T24" fmla="*/ 2147483646 w 3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9">
                  <a:moveTo>
                    <a:pt x="4" y="9"/>
                  </a:moveTo>
                  <a:lnTo>
                    <a:pt x="0" y="6"/>
                  </a:lnTo>
                  <a:lnTo>
                    <a:pt x="0" y="3"/>
                  </a:lnTo>
                  <a:lnTo>
                    <a:pt x="0" y="0"/>
                  </a:lnTo>
                  <a:lnTo>
                    <a:pt x="4" y="0"/>
                  </a:lnTo>
                  <a:lnTo>
                    <a:pt x="33" y="0"/>
                  </a:lnTo>
                  <a:lnTo>
                    <a:pt x="36" y="0"/>
                  </a:lnTo>
                  <a:lnTo>
                    <a:pt x="36" y="3"/>
                  </a:lnTo>
                  <a:lnTo>
                    <a:pt x="36" y="6"/>
                  </a:lnTo>
                  <a:lnTo>
                    <a:pt x="3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0" name="Freeform 608">
              <a:extLst>
                <a:ext uri="{FF2B5EF4-FFF2-40B4-BE49-F238E27FC236}">
                  <a16:creationId xmlns:a16="http://schemas.microsoft.com/office/drawing/2014/main" id="{0323EDCB-41A3-474A-A71F-B8685580E964}"/>
                </a:ext>
              </a:extLst>
            </p:cNvPr>
            <p:cNvSpPr>
              <a:spLocks/>
            </p:cNvSpPr>
            <p:nvPr/>
          </p:nvSpPr>
          <p:spPr bwMode="auto">
            <a:xfrm>
              <a:off x="2386498" y="191145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1" name="Freeform 609">
              <a:extLst>
                <a:ext uri="{FF2B5EF4-FFF2-40B4-BE49-F238E27FC236}">
                  <a16:creationId xmlns:a16="http://schemas.microsoft.com/office/drawing/2014/main" id="{819C235C-85EF-9344-B8D4-75A6AA590CE9}"/>
                </a:ext>
              </a:extLst>
            </p:cNvPr>
            <p:cNvSpPr>
              <a:spLocks/>
            </p:cNvSpPr>
            <p:nvPr/>
          </p:nvSpPr>
          <p:spPr bwMode="auto">
            <a:xfrm>
              <a:off x="2394639" y="1891601"/>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4"/>
                  </a:lnTo>
                  <a:lnTo>
                    <a:pt x="0" y="0"/>
                  </a:lnTo>
                  <a:lnTo>
                    <a:pt x="3" y="0"/>
                  </a:lnTo>
                  <a:lnTo>
                    <a:pt x="6" y="0"/>
                  </a:lnTo>
                  <a:lnTo>
                    <a:pt x="9" y="4"/>
                  </a:lnTo>
                  <a:lnTo>
                    <a:pt x="9" y="2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2" name="Freeform 610">
              <a:extLst>
                <a:ext uri="{FF2B5EF4-FFF2-40B4-BE49-F238E27FC236}">
                  <a16:creationId xmlns:a16="http://schemas.microsoft.com/office/drawing/2014/main" id="{7C355CBF-820C-884C-BEB3-0ED57C611E24}"/>
                </a:ext>
              </a:extLst>
            </p:cNvPr>
            <p:cNvSpPr>
              <a:spLocks/>
            </p:cNvSpPr>
            <p:nvPr/>
          </p:nvSpPr>
          <p:spPr bwMode="auto">
            <a:xfrm>
              <a:off x="2394639" y="189160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3" name="Freeform 611">
              <a:extLst>
                <a:ext uri="{FF2B5EF4-FFF2-40B4-BE49-F238E27FC236}">
                  <a16:creationId xmlns:a16="http://schemas.microsoft.com/office/drawing/2014/main" id="{847D0538-06FC-FA4A-8286-1552CF916BE1}"/>
                </a:ext>
              </a:extLst>
            </p:cNvPr>
            <p:cNvSpPr>
              <a:spLocks/>
            </p:cNvSpPr>
            <p:nvPr/>
          </p:nvSpPr>
          <p:spPr bwMode="auto">
            <a:xfrm>
              <a:off x="2401617" y="1891601"/>
              <a:ext cx="56984" cy="9928"/>
            </a:xfrm>
            <a:custGeom>
              <a:avLst/>
              <a:gdLst>
                <a:gd name="T0" fmla="*/ 2147483646 w 49"/>
                <a:gd name="T1" fmla="*/ 2147483646 h 10"/>
                <a:gd name="T2" fmla="*/ 0 w 49"/>
                <a:gd name="T3" fmla="*/ 2147483646 h 10"/>
                <a:gd name="T4" fmla="*/ 0 w 49"/>
                <a:gd name="T5" fmla="*/ 2147483646 h 10"/>
                <a:gd name="T6" fmla="*/ 0 w 49"/>
                <a:gd name="T7" fmla="*/ 2147483646 h 10"/>
                <a:gd name="T8" fmla="*/ 0 w 49"/>
                <a:gd name="T9" fmla="*/ 0 h 10"/>
                <a:gd name="T10" fmla="*/ 2147483646 w 49"/>
                <a:gd name="T11" fmla="*/ 0 h 10"/>
                <a:gd name="T12" fmla="*/ 2147483646 w 49"/>
                <a:gd name="T13" fmla="*/ 0 h 10"/>
                <a:gd name="T14" fmla="*/ 2147483646 w 49"/>
                <a:gd name="T15" fmla="*/ 0 h 10"/>
                <a:gd name="T16" fmla="*/ 2147483646 w 49"/>
                <a:gd name="T17" fmla="*/ 2147483646 h 10"/>
                <a:gd name="T18" fmla="*/ 2147483646 w 49"/>
                <a:gd name="T19" fmla="*/ 2147483646 h 10"/>
                <a:gd name="T20" fmla="*/ 2147483646 w 49"/>
                <a:gd name="T21" fmla="*/ 2147483646 h 10"/>
                <a:gd name="T22" fmla="*/ 2147483646 w 49"/>
                <a:gd name="T23" fmla="*/ 2147483646 h 10"/>
                <a:gd name="T24" fmla="*/ 2147483646 w 4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9" h="10">
                  <a:moveTo>
                    <a:pt x="3" y="10"/>
                  </a:moveTo>
                  <a:lnTo>
                    <a:pt x="0" y="7"/>
                  </a:lnTo>
                  <a:lnTo>
                    <a:pt x="0" y="4"/>
                  </a:lnTo>
                  <a:lnTo>
                    <a:pt x="0" y="0"/>
                  </a:lnTo>
                  <a:lnTo>
                    <a:pt x="3" y="0"/>
                  </a:lnTo>
                  <a:lnTo>
                    <a:pt x="45" y="0"/>
                  </a:lnTo>
                  <a:lnTo>
                    <a:pt x="49" y="0"/>
                  </a:lnTo>
                  <a:lnTo>
                    <a:pt x="49" y="4"/>
                  </a:lnTo>
                  <a:lnTo>
                    <a:pt x="49" y="7"/>
                  </a:lnTo>
                  <a:lnTo>
                    <a:pt x="45"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4" name="Freeform 612">
              <a:extLst>
                <a:ext uri="{FF2B5EF4-FFF2-40B4-BE49-F238E27FC236}">
                  <a16:creationId xmlns:a16="http://schemas.microsoft.com/office/drawing/2014/main" id="{259F2EF1-65DF-E949-B2E2-7356EF488A94}"/>
                </a:ext>
              </a:extLst>
            </p:cNvPr>
            <p:cNvSpPr>
              <a:spLocks/>
            </p:cNvSpPr>
            <p:nvPr/>
          </p:nvSpPr>
          <p:spPr bwMode="auto">
            <a:xfrm>
              <a:off x="2450460" y="1875716"/>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3" y="23"/>
                  </a:lnTo>
                  <a:lnTo>
                    <a:pt x="0" y="23"/>
                  </a:lnTo>
                  <a:lnTo>
                    <a:pt x="0" y="20"/>
                  </a:lnTo>
                  <a:lnTo>
                    <a:pt x="0" y="3"/>
                  </a:lnTo>
                  <a:lnTo>
                    <a:pt x="0" y="0"/>
                  </a:lnTo>
                  <a:lnTo>
                    <a:pt x="3" y="0"/>
                  </a:lnTo>
                  <a:lnTo>
                    <a:pt x="7" y="0"/>
                  </a:lnTo>
                  <a:lnTo>
                    <a:pt x="10" y="3"/>
                  </a:lnTo>
                  <a:lnTo>
                    <a:pt x="10" y="2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5" name="Freeform 613">
              <a:extLst>
                <a:ext uri="{FF2B5EF4-FFF2-40B4-BE49-F238E27FC236}">
                  <a16:creationId xmlns:a16="http://schemas.microsoft.com/office/drawing/2014/main" id="{F7D4D725-469C-7E4E-BC8F-BAD090B6A7E5}"/>
                </a:ext>
              </a:extLst>
            </p:cNvPr>
            <p:cNvSpPr>
              <a:spLocks/>
            </p:cNvSpPr>
            <p:nvPr/>
          </p:nvSpPr>
          <p:spPr bwMode="auto">
            <a:xfrm>
              <a:off x="2450460" y="1875716"/>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6" name="Freeform 614">
              <a:extLst>
                <a:ext uri="{FF2B5EF4-FFF2-40B4-BE49-F238E27FC236}">
                  <a16:creationId xmlns:a16="http://schemas.microsoft.com/office/drawing/2014/main" id="{F74D26A7-8F67-2240-963D-C610C7A0A57C}"/>
                </a:ext>
              </a:extLst>
            </p:cNvPr>
            <p:cNvSpPr>
              <a:spLocks/>
            </p:cNvSpPr>
            <p:nvPr/>
          </p:nvSpPr>
          <p:spPr bwMode="auto">
            <a:xfrm>
              <a:off x="2465577" y="1856852"/>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2"/>
                  </a:moveTo>
                  <a:lnTo>
                    <a:pt x="6" y="26"/>
                  </a:lnTo>
                  <a:lnTo>
                    <a:pt x="3" y="26"/>
                  </a:lnTo>
                  <a:lnTo>
                    <a:pt x="0" y="26"/>
                  </a:lnTo>
                  <a:lnTo>
                    <a:pt x="0" y="22"/>
                  </a:lnTo>
                  <a:lnTo>
                    <a:pt x="0" y="3"/>
                  </a:lnTo>
                  <a:lnTo>
                    <a:pt x="0" y="0"/>
                  </a:lnTo>
                  <a:lnTo>
                    <a:pt x="3" y="0"/>
                  </a:lnTo>
                  <a:lnTo>
                    <a:pt x="6" y="0"/>
                  </a:lnTo>
                  <a:lnTo>
                    <a:pt x="10" y="3"/>
                  </a:lnTo>
                  <a:lnTo>
                    <a:pt x="10" y="2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7" name="Freeform 615">
              <a:extLst>
                <a:ext uri="{FF2B5EF4-FFF2-40B4-BE49-F238E27FC236}">
                  <a16:creationId xmlns:a16="http://schemas.microsoft.com/office/drawing/2014/main" id="{32FBE7FA-DFF7-8949-B962-ECF4378CA308}"/>
                </a:ext>
              </a:extLst>
            </p:cNvPr>
            <p:cNvSpPr>
              <a:spLocks/>
            </p:cNvSpPr>
            <p:nvPr/>
          </p:nvSpPr>
          <p:spPr bwMode="auto">
            <a:xfrm>
              <a:off x="2465577" y="185685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8" name="Freeform 616">
              <a:extLst>
                <a:ext uri="{FF2B5EF4-FFF2-40B4-BE49-F238E27FC236}">
                  <a16:creationId xmlns:a16="http://schemas.microsoft.com/office/drawing/2014/main" id="{DC7E807E-3C6D-D744-8E72-BA15BE8B05EA}"/>
                </a:ext>
              </a:extLst>
            </p:cNvPr>
            <p:cNvSpPr>
              <a:spLocks/>
            </p:cNvSpPr>
            <p:nvPr/>
          </p:nvSpPr>
          <p:spPr bwMode="auto">
            <a:xfrm>
              <a:off x="2477206" y="1856852"/>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9" y="0"/>
                  </a:lnTo>
                  <a:lnTo>
                    <a:pt x="13" y="0"/>
                  </a:lnTo>
                  <a:lnTo>
                    <a:pt x="13" y="3"/>
                  </a:lnTo>
                  <a:lnTo>
                    <a:pt x="13"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9" name="Freeform 617">
              <a:extLst>
                <a:ext uri="{FF2B5EF4-FFF2-40B4-BE49-F238E27FC236}">
                  <a16:creationId xmlns:a16="http://schemas.microsoft.com/office/drawing/2014/main" id="{56910957-B5CF-7340-924B-7272DFE7A9F2}"/>
                </a:ext>
              </a:extLst>
            </p:cNvPr>
            <p:cNvSpPr>
              <a:spLocks/>
            </p:cNvSpPr>
            <p:nvPr/>
          </p:nvSpPr>
          <p:spPr bwMode="auto">
            <a:xfrm>
              <a:off x="2484184" y="185685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0" name="Freeform 618">
              <a:extLst>
                <a:ext uri="{FF2B5EF4-FFF2-40B4-BE49-F238E27FC236}">
                  <a16:creationId xmlns:a16="http://schemas.microsoft.com/office/drawing/2014/main" id="{41E4B9A9-13DC-484F-9FE7-178EFF62067C}"/>
                </a:ext>
              </a:extLst>
            </p:cNvPr>
            <p:cNvSpPr>
              <a:spLocks/>
            </p:cNvSpPr>
            <p:nvPr/>
          </p:nvSpPr>
          <p:spPr bwMode="auto">
            <a:xfrm>
              <a:off x="2487673" y="1836995"/>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3"/>
                  </a:moveTo>
                  <a:lnTo>
                    <a:pt x="7" y="26"/>
                  </a:lnTo>
                  <a:lnTo>
                    <a:pt x="4" y="26"/>
                  </a:lnTo>
                  <a:lnTo>
                    <a:pt x="0" y="26"/>
                  </a:lnTo>
                  <a:lnTo>
                    <a:pt x="0" y="23"/>
                  </a:lnTo>
                  <a:lnTo>
                    <a:pt x="0" y="4"/>
                  </a:lnTo>
                  <a:lnTo>
                    <a:pt x="0" y="0"/>
                  </a:lnTo>
                  <a:lnTo>
                    <a:pt x="4" y="0"/>
                  </a:lnTo>
                  <a:lnTo>
                    <a:pt x="7" y="0"/>
                  </a:lnTo>
                  <a:lnTo>
                    <a:pt x="10" y="4"/>
                  </a:lnTo>
                  <a:lnTo>
                    <a:pt x="10" y="2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1" name="Freeform 619">
              <a:extLst>
                <a:ext uri="{FF2B5EF4-FFF2-40B4-BE49-F238E27FC236}">
                  <a16:creationId xmlns:a16="http://schemas.microsoft.com/office/drawing/2014/main" id="{D21C1B57-61AA-184C-A7B1-DAD77F1EEC6C}"/>
                </a:ext>
              </a:extLst>
            </p:cNvPr>
            <p:cNvSpPr>
              <a:spLocks/>
            </p:cNvSpPr>
            <p:nvPr/>
          </p:nvSpPr>
          <p:spPr bwMode="auto">
            <a:xfrm>
              <a:off x="2487673" y="1836995"/>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7"/>
                  </a:lnTo>
                  <a:lnTo>
                    <a:pt x="0" y="4"/>
                  </a:lnTo>
                  <a:lnTo>
                    <a:pt x="0" y="0"/>
                  </a:lnTo>
                  <a:lnTo>
                    <a:pt x="4" y="0"/>
                  </a:lnTo>
                  <a:lnTo>
                    <a:pt x="20" y="0"/>
                  </a:lnTo>
                  <a:lnTo>
                    <a:pt x="23" y="0"/>
                  </a:lnTo>
                  <a:lnTo>
                    <a:pt x="23" y="4"/>
                  </a:lnTo>
                  <a:lnTo>
                    <a:pt x="23" y="7"/>
                  </a:lnTo>
                  <a:lnTo>
                    <a:pt x="2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2" name="Freeform 620">
              <a:extLst>
                <a:ext uri="{FF2B5EF4-FFF2-40B4-BE49-F238E27FC236}">
                  <a16:creationId xmlns:a16="http://schemas.microsoft.com/office/drawing/2014/main" id="{3FA872F8-D5CE-4B4A-BC05-3364E9852FDE}"/>
                </a:ext>
              </a:extLst>
            </p:cNvPr>
            <p:cNvSpPr>
              <a:spLocks/>
            </p:cNvSpPr>
            <p:nvPr/>
          </p:nvSpPr>
          <p:spPr bwMode="auto">
            <a:xfrm>
              <a:off x="2507442" y="1818131"/>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3"/>
                  </a:lnTo>
                  <a:lnTo>
                    <a:pt x="0" y="0"/>
                  </a:lnTo>
                  <a:lnTo>
                    <a:pt x="3" y="0"/>
                  </a:lnTo>
                  <a:lnTo>
                    <a:pt x="6" y="0"/>
                  </a:lnTo>
                  <a:lnTo>
                    <a:pt x="9" y="3"/>
                  </a:lnTo>
                  <a:lnTo>
                    <a:pt x="9" y="2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3" name="Freeform 621">
              <a:extLst>
                <a:ext uri="{FF2B5EF4-FFF2-40B4-BE49-F238E27FC236}">
                  <a16:creationId xmlns:a16="http://schemas.microsoft.com/office/drawing/2014/main" id="{0AA228BD-6B48-FC40-840C-A66447604493}"/>
                </a:ext>
              </a:extLst>
            </p:cNvPr>
            <p:cNvSpPr>
              <a:spLocks/>
            </p:cNvSpPr>
            <p:nvPr/>
          </p:nvSpPr>
          <p:spPr bwMode="auto">
            <a:xfrm>
              <a:off x="2507442" y="1818131"/>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3"/>
                  </a:lnTo>
                  <a:lnTo>
                    <a:pt x="0" y="0"/>
                  </a:lnTo>
                  <a:lnTo>
                    <a:pt x="3" y="0"/>
                  </a:lnTo>
                  <a:lnTo>
                    <a:pt x="9" y="0"/>
                  </a:lnTo>
                  <a:lnTo>
                    <a:pt x="12" y="0"/>
                  </a:lnTo>
                  <a:lnTo>
                    <a:pt x="12" y="3"/>
                  </a:lnTo>
                  <a:lnTo>
                    <a:pt x="12"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4" name="Freeform 622">
              <a:extLst>
                <a:ext uri="{FF2B5EF4-FFF2-40B4-BE49-F238E27FC236}">
                  <a16:creationId xmlns:a16="http://schemas.microsoft.com/office/drawing/2014/main" id="{9E2AA0B2-4BB9-6D47-9849-A6B86045DC60}"/>
                </a:ext>
              </a:extLst>
            </p:cNvPr>
            <p:cNvSpPr>
              <a:spLocks/>
            </p:cNvSpPr>
            <p:nvPr/>
          </p:nvSpPr>
          <p:spPr bwMode="auto">
            <a:xfrm>
              <a:off x="2514420" y="181813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5" name="Freeform 623">
              <a:extLst>
                <a:ext uri="{FF2B5EF4-FFF2-40B4-BE49-F238E27FC236}">
                  <a16:creationId xmlns:a16="http://schemas.microsoft.com/office/drawing/2014/main" id="{DDE756E9-25E0-8B4A-A6D7-50C60DD011D2}"/>
                </a:ext>
              </a:extLst>
            </p:cNvPr>
            <p:cNvSpPr>
              <a:spLocks/>
            </p:cNvSpPr>
            <p:nvPr/>
          </p:nvSpPr>
          <p:spPr bwMode="auto">
            <a:xfrm>
              <a:off x="2521397" y="1818131"/>
              <a:ext cx="82568" cy="9928"/>
            </a:xfrm>
            <a:custGeom>
              <a:avLst/>
              <a:gdLst>
                <a:gd name="T0" fmla="*/ 2147483646 w 71"/>
                <a:gd name="T1" fmla="*/ 2147483646 h 10"/>
                <a:gd name="T2" fmla="*/ 0 w 71"/>
                <a:gd name="T3" fmla="*/ 2147483646 h 10"/>
                <a:gd name="T4" fmla="*/ 0 w 71"/>
                <a:gd name="T5" fmla="*/ 2147483646 h 10"/>
                <a:gd name="T6" fmla="*/ 0 w 71"/>
                <a:gd name="T7" fmla="*/ 2147483646 h 10"/>
                <a:gd name="T8" fmla="*/ 0 w 71"/>
                <a:gd name="T9" fmla="*/ 0 h 10"/>
                <a:gd name="T10" fmla="*/ 2147483646 w 71"/>
                <a:gd name="T11" fmla="*/ 0 h 10"/>
                <a:gd name="T12" fmla="*/ 2147483646 w 71"/>
                <a:gd name="T13" fmla="*/ 0 h 10"/>
                <a:gd name="T14" fmla="*/ 2147483646 w 71"/>
                <a:gd name="T15" fmla="*/ 0 h 10"/>
                <a:gd name="T16" fmla="*/ 2147483646 w 71"/>
                <a:gd name="T17" fmla="*/ 2147483646 h 10"/>
                <a:gd name="T18" fmla="*/ 2147483646 w 71"/>
                <a:gd name="T19" fmla="*/ 2147483646 h 10"/>
                <a:gd name="T20" fmla="*/ 2147483646 w 71"/>
                <a:gd name="T21" fmla="*/ 2147483646 h 10"/>
                <a:gd name="T22" fmla="*/ 2147483646 w 71"/>
                <a:gd name="T23" fmla="*/ 2147483646 h 10"/>
                <a:gd name="T24" fmla="*/ 2147483646 w 7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0">
                  <a:moveTo>
                    <a:pt x="4" y="10"/>
                  </a:moveTo>
                  <a:lnTo>
                    <a:pt x="0" y="7"/>
                  </a:lnTo>
                  <a:lnTo>
                    <a:pt x="0" y="3"/>
                  </a:lnTo>
                  <a:lnTo>
                    <a:pt x="0" y="0"/>
                  </a:lnTo>
                  <a:lnTo>
                    <a:pt x="4" y="0"/>
                  </a:lnTo>
                  <a:lnTo>
                    <a:pt x="68" y="0"/>
                  </a:lnTo>
                  <a:lnTo>
                    <a:pt x="71" y="0"/>
                  </a:lnTo>
                  <a:lnTo>
                    <a:pt x="71" y="3"/>
                  </a:lnTo>
                  <a:lnTo>
                    <a:pt x="71" y="7"/>
                  </a:lnTo>
                  <a:lnTo>
                    <a:pt x="68"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6" name="Freeform 624">
              <a:extLst>
                <a:ext uri="{FF2B5EF4-FFF2-40B4-BE49-F238E27FC236}">
                  <a16:creationId xmlns:a16="http://schemas.microsoft.com/office/drawing/2014/main" id="{D48C38D2-E168-7E44-B886-ECCC637F87A5}"/>
                </a:ext>
              </a:extLst>
            </p:cNvPr>
            <p:cNvSpPr>
              <a:spLocks/>
            </p:cNvSpPr>
            <p:nvPr/>
          </p:nvSpPr>
          <p:spPr bwMode="auto">
            <a:xfrm>
              <a:off x="2596988" y="1799267"/>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2"/>
                  </a:moveTo>
                  <a:lnTo>
                    <a:pt x="6" y="26"/>
                  </a:lnTo>
                  <a:lnTo>
                    <a:pt x="3" y="26"/>
                  </a:lnTo>
                  <a:lnTo>
                    <a:pt x="0" y="26"/>
                  </a:lnTo>
                  <a:lnTo>
                    <a:pt x="0" y="22"/>
                  </a:lnTo>
                  <a:lnTo>
                    <a:pt x="0" y="3"/>
                  </a:lnTo>
                  <a:lnTo>
                    <a:pt x="0" y="0"/>
                  </a:lnTo>
                  <a:lnTo>
                    <a:pt x="3" y="0"/>
                  </a:lnTo>
                  <a:lnTo>
                    <a:pt x="6" y="0"/>
                  </a:lnTo>
                  <a:lnTo>
                    <a:pt x="10" y="3"/>
                  </a:lnTo>
                  <a:lnTo>
                    <a:pt x="10" y="2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7" name="Freeform 625">
              <a:extLst>
                <a:ext uri="{FF2B5EF4-FFF2-40B4-BE49-F238E27FC236}">
                  <a16:creationId xmlns:a16="http://schemas.microsoft.com/office/drawing/2014/main" id="{8B533A87-3D4F-E345-A1E9-B4DBB386A85E}"/>
                </a:ext>
              </a:extLst>
            </p:cNvPr>
            <p:cNvSpPr>
              <a:spLocks/>
            </p:cNvSpPr>
            <p:nvPr/>
          </p:nvSpPr>
          <p:spPr bwMode="auto">
            <a:xfrm>
              <a:off x="2596988" y="179926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8" name="Freeform 626">
              <a:extLst>
                <a:ext uri="{FF2B5EF4-FFF2-40B4-BE49-F238E27FC236}">
                  <a16:creationId xmlns:a16="http://schemas.microsoft.com/office/drawing/2014/main" id="{D475D1A7-A0D8-A640-8766-9CD7A6AD13CE}"/>
                </a:ext>
              </a:extLst>
            </p:cNvPr>
            <p:cNvSpPr>
              <a:spLocks/>
            </p:cNvSpPr>
            <p:nvPr/>
          </p:nvSpPr>
          <p:spPr bwMode="auto">
            <a:xfrm>
              <a:off x="2600476" y="1799267"/>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9" name="Freeform 627">
              <a:extLst>
                <a:ext uri="{FF2B5EF4-FFF2-40B4-BE49-F238E27FC236}">
                  <a16:creationId xmlns:a16="http://schemas.microsoft.com/office/drawing/2014/main" id="{43BAF3FC-133E-6840-A7F6-7D3CA2835629}"/>
                </a:ext>
              </a:extLst>
            </p:cNvPr>
            <p:cNvSpPr>
              <a:spLocks/>
            </p:cNvSpPr>
            <p:nvPr/>
          </p:nvSpPr>
          <p:spPr bwMode="auto">
            <a:xfrm>
              <a:off x="2615594" y="1799267"/>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19" y="0"/>
                  </a:lnTo>
                  <a:lnTo>
                    <a:pt x="23" y="0"/>
                  </a:lnTo>
                  <a:lnTo>
                    <a:pt x="23" y="3"/>
                  </a:lnTo>
                  <a:lnTo>
                    <a:pt x="23" y="6"/>
                  </a:lnTo>
                  <a:lnTo>
                    <a:pt x="1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0" name="Freeform 628">
              <a:extLst>
                <a:ext uri="{FF2B5EF4-FFF2-40B4-BE49-F238E27FC236}">
                  <a16:creationId xmlns:a16="http://schemas.microsoft.com/office/drawing/2014/main" id="{301439BD-7B92-6847-9986-344537EE7380}"/>
                </a:ext>
              </a:extLst>
            </p:cNvPr>
            <p:cNvSpPr>
              <a:spLocks/>
            </p:cNvSpPr>
            <p:nvPr/>
          </p:nvSpPr>
          <p:spPr bwMode="auto">
            <a:xfrm>
              <a:off x="2634201" y="179926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1" name="Freeform 629">
              <a:extLst>
                <a:ext uri="{FF2B5EF4-FFF2-40B4-BE49-F238E27FC236}">
                  <a16:creationId xmlns:a16="http://schemas.microsoft.com/office/drawing/2014/main" id="{33902A5C-5380-034F-AC76-1CE6AD48496B}"/>
                </a:ext>
              </a:extLst>
            </p:cNvPr>
            <p:cNvSpPr>
              <a:spLocks/>
            </p:cNvSpPr>
            <p:nvPr/>
          </p:nvSpPr>
          <p:spPr bwMode="auto">
            <a:xfrm>
              <a:off x="2637690" y="1799267"/>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6" y="0"/>
                  </a:lnTo>
                  <a:lnTo>
                    <a:pt x="20" y="0"/>
                  </a:lnTo>
                  <a:lnTo>
                    <a:pt x="20" y="3"/>
                  </a:lnTo>
                  <a:lnTo>
                    <a:pt x="20" y="6"/>
                  </a:lnTo>
                  <a:lnTo>
                    <a:pt x="16"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2" name="Freeform 630">
              <a:extLst>
                <a:ext uri="{FF2B5EF4-FFF2-40B4-BE49-F238E27FC236}">
                  <a16:creationId xmlns:a16="http://schemas.microsoft.com/office/drawing/2014/main" id="{2D8DCCAA-4201-9144-BFB7-A7682A14DAB9}"/>
                </a:ext>
              </a:extLst>
            </p:cNvPr>
            <p:cNvSpPr>
              <a:spLocks/>
            </p:cNvSpPr>
            <p:nvPr/>
          </p:nvSpPr>
          <p:spPr bwMode="auto">
            <a:xfrm>
              <a:off x="2652808" y="1779410"/>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3"/>
                  </a:moveTo>
                  <a:lnTo>
                    <a:pt x="7" y="26"/>
                  </a:lnTo>
                  <a:lnTo>
                    <a:pt x="3" y="26"/>
                  </a:lnTo>
                  <a:lnTo>
                    <a:pt x="0" y="26"/>
                  </a:lnTo>
                  <a:lnTo>
                    <a:pt x="0" y="23"/>
                  </a:lnTo>
                  <a:lnTo>
                    <a:pt x="0" y="4"/>
                  </a:lnTo>
                  <a:lnTo>
                    <a:pt x="0" y="0"/>
                  </a:lnTo>
                  <a:lnTo>
                    <a:pt x="3" y="0"/>
                  </a:lnTo>
                  <a:lnTo>
                    <a:pt x="7" y="0"/>
                  </a:lnTo>
                  <a:lnTo>
                    <a:pt x="10" y="4"/>
                  </a:lnTo>
                  <a:lnTo>
                    <a:pt x="10" y="2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3" name="Freeform 631">
              <a:extLst>
                <a:ext uri="{FF2B5EF4-FFF2-40B4-BE49-F238E27FC236}">
                  <a16:creationId xmlns:a16="http://schemas.microsoft.com/office/drawing/2014/main" id="{534108B6-3147-4B40-8D25-9580A711D1C5}"/>
                </a:ext>
              </a:extLst>
            </p:cNvPr>
            <p:cNvSpPr>
              <a:spLocks/>
            </p:cNvSpPr>
            <p:nvPr/>
          </p:nvSpPr>
          <p:spPr bwMode="auto">
            <a:xfrm>
              <a:off x="2652808" y="1779410"/>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3" y="10"/>
                  </a:moveTo>
                  <a:lnTo>
                    <a:pt x="0" y="7"/>
                  </a:lnTo>
                  <a:lnTo>
                    <a:pt x="0" y="4"/>
                  </a:lnTo>
                  <a:lnTo>
                    <a:pt x="0" y="0"/>
                  </a:lnTo>
                  <a:lnTo>
                    <a:pt x="3" y="0"/>
                  </a:lnTo>
                  <a:lnTo>
                    <a:pt x="16" y="0"/>
                  </a:lnTo>
                  <a:lnTo>
                    <a:pt x="20" y="0"/>
                  </a:lnTo>
                  <a:lnTo>
                    <a:pt x="20" y="4"/>
                  </a:lnTo>
                  <a:lnTo>
                    <a:pt x="20"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4" name="Freeform 632">
              <a:extLst>
                <a:ext uri="{FF2B5EF4-FFF2-40B4-BE49-F238E27FC236}">
                  <a16:creationId xmlns:a16="http://schemas.microsoft.com/office/drawing/2014/main" id="{7E33EE10-F259-134E-ABF8-CB5EA76E17D7}"/>
                </a:ext>
              </a:extLst>
            </p:cNvPr>
            <p:cNvSpPr>
              <a:spLocks/>
            </p:cNvSpPr>
            <p:nvPr/>
          </p:nvSpPr>
          <p:spPr bwMode="auto">
            <a:xfrm>
              <a:off x="2667925" y="1757568"/>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7" y="29"/>
                  </a:lnTo>
                  <a:lnTo>
                    <a:pt x="3" y="29"/>
                  </a:lnTo>
                  <a:lnTo>
                    <a:pt x="0" y="29"/>
                  </a:lnTo>
                  <a:lnTo>
                    <a:pt x="0" y="26"/>
                  </a:lnTo>
                  <a:lnTo>
                    <a:pt x="0" y="3"/>
                  </a:lnTo>
                  <a:lnTo>
                    <a:pt x="0" y="0"/>
                  </a:lnTo>
                  <a:lnTo>
                    <a:pt x="3" y="0"/>
                  </a:lnTo>
                  <a:lnTo>
                    <a:pt x="7" y="0"/>
                  </a:lnTo>
                  <a:lnTo>
                    <a:pt x="10" y="3"/>
                  </a:lnTo>
                  <a:lnTo>
                    <a:pt x="10" y="2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5" name="Freeform 633">
              <a:extLst>
                <a:ext uri="{FF2B5EF4-FFF2-40B4-BE49-F238E27FC236}">
                  <a16:creationId xmlns:a16="http://schemas.microsoft.com/office/drawing/2014/main" id="{71B4D0CC-C54B-A248-9688-85102654DFBF}"/>
                </a:ext>
              </a:extLst>
            </p:cNvPr>
            <p:cNvSpPr>
              <a:spLocks/>
            </p:cNvSpPr>
            <p:nvPr/>
          </p:nvSpPr>
          <p:spPr bwMode="auto">
            <a:xfrm>
              <a:off x="2667925" y="175756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6" name="Freeform 634">
              <a:extLst>
                <a:ext uri="{FF2B5EF4-FFF2-40B4-BE49-F238E27FC236}">
                  <a16:creationId xmlns:a16="http://schemas.microsoft.com/office/drawing/2014/main" id="{EF3FA5C9-B23D-4045-84AC-3F4260F77D34}"/>
                </a:ext>
              </a:extLst>
            </p:cNvPr>
            <p:cNvSpPr>
              <a:spLocks/>
            </p:cNvSpPr>
            <p:nvPr/>
          </p:nvSpPr>
          <p:spPr bwMode="auto">
            <a:xfrm>
              <a:off x="2671415" y="1757568"/>
              <a:ext cx="41865" cy="8936"/>
            </a:xfrm>
            <a:custGeom>
              <a:avLst/>
              <a:gdLst>
                <a:gd name="T0" fmla="*/ 2147483646 w 36"/>
                <a:gd name="T1" fmla="*/ 2147483646 h 9"/>
                <a:gd name="T2" fmla="*/ 0 w 36"/>
                <a:gd name="T3" fmla="*/ 2147483646 h 9"/>
                <a:gd name="T4" fmla="*/ 0 w 36"/>
                <a:gd name="T5" fmla="*/ 2147483646 h 9"/>
                <a:gd name="T6" fmla="*/ 0 w 36"/>
                <a:gd name="T7" fmla="*/ 2147483646 h 9"/>
                <a:gd name="T8" fmla="*/ 0 w 36"/>
                <a:gd name="T9" fmla="*/ 0 h 9"/>
                <a:gd name="T10" fmla="*/ 2147483646 w 36"/>
                <a:gd name="T11" fmla="*/ 0 h 9"/>
                <a:gd name="T12" fmla="*/ 2147483646 w 36"/>
                <a:gd name="T13" fmla="*/ 0 h 9"/>
                <a:gd name="T14" fmla="*/ 2147483646 w 36"/>
                <a:gd name="T15" fmla="*/ 0 h 9"/>
                <a:gd name="T16" fmla="*/ 2147483646 w 36"/>
                <a:gd name="T17" fmla="*/ 2147483646 h 9"/>
                <a:gd name="T18" fmla="*/ 2147483646 w 36"/>
                <a:gd name="T19" fmla="*/ 2147483646 h 9"/>
                <a:gd name="T20" fmla="*/ 2147483646 w 36"/>
                <a:gd name="T21" fmla="*/ 2147483646 h 9"/>
                <a:gd name="T22" fmla="*/ 2147483646 w 36"/>
                <a:gd name="T23" fmla="*/ 2147483646 h 9"/>
                <a:gd name="T24" fmla="*/ 2147483646 w 3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9">
                  <a:moveTo>
                    <a:pt x="4" y="9"/>
                  </a:moveTo>
                  <a:lnTo>
                    <a:pt x="0" y="6"/>
                  </a:lnTo>
                  <a:lnTo>
                    <a:pt x="0" y="3"/>
                  </a:lnTo>
                  <a:lnTo>
                    <a:pt x="0" y="0"/>
                  </a:lnTo>
                  <a:lnTo>
                    <a:pt x="4" y="0"/>
                  </a:lnTo>
                  <a:lnTo>
                    <a:pt x="33" y="0"/>
                  </a:lnTo>
                  <a:lnTo>
                    <a:pt x="36" y="0"/>
                  </a:lnTo>
                  <a:lnTo>
                    <a:pt x="36" y="3"/>
                  </a:lnTo>
                  <a:lnTo>
                    <a:pt x="36" y="6"/>
                  </a:lnTo>
                  <a:lnTo>
                    <a:pt x="3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7" name="Freeform 635">
              <a:extLst>
                <a:ext uri="{FF2B5EF4-FFF2-40B4-BE49-F238E27FC236}">
                  <a16:creationId xmlns:a16="http://schemas.microsoft.com/office/drawing/2014/main" id="{EB5C18B0-B451-2548-9B9B-BB0D9D5DDB59}"/>
                </a:ext>
              </a:extLst>
            </p:cNvPr>
            <p:cNvSpPr>
              <a:spLocks/>
            </p:cNvSpPr>
            <p:nvPr/>
          </p:nvSpPr>
          <p:spPr bwMode="auto">
            <a:xfrm>
              <a:off x="2705139" y="175756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8" name="Freeform 636">
              <a:extLst>
                <a:ext uri="{FF2B5EF4-FFF2-40B4-BE49-F238E27FC236}">
                  <a16:creationId xmlns:a16="http://schemas.microsoft.com/office/drawing/2014/main" id="{27CDF5AC-58A4-3749-B945-54E5117075ED}"/>
                </a:ext>
              </a:extLst>
            </p:cNvPr>
            <p:cNvSpPr>
              <a:spLocks/>
            </p:cNvSpPr>
            <p:nvPr/>
          </p:nvSpPr>
          <p:spPr bwMode="auto">
            <a:xfrm>
              <a:off x="2716768" y="1757568"/>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9" name="Freeform 637">
              <a:extLst>
                <a:ext uri="{FF2B5EF4-FFF2-40B4-BE49-F238E27FC236}">
                  <a16:creationId xmlns:a16="http://schemas.microsoft.com/office/drawing/2014/main" id="{389BC3D8-9E7A-904E-A08E-C792C5845EE1}"/>
                </a:ext>
              </a:extLst>
            </p:cNvPr>
            <p:cNvSpPr>
              <a:spLocks/>
            </p:cNvSpPr>
            <p:nvPr/>
          </p:nvSpPr>
          <p:spPr bwMode="auto">
            <a:xfrm>
              <a:off x="2731887" y="1757568"/>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2" y="0"/>
                  </a:lnTo>
                  <a:lnTo>
                    <a:pt x="26" y="0"/>
                  </a:lnTo>
                  <a:lnTo>
                    <a:pt x="26" y="3"/>
                  </a:lnTo>
                  <a:lnTo>
                    <a:pt x="26" y="6"/>
                  </a:lnTo>
                  <a:lnTo>
                    <a:pt x="22"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0" name="Freeform 638">
              <a:extLst>
                <a:ext uri="{FF2B5EF4-FFF2-40B4-BE49-F238E27FC236}">
                  <a16:creationId xmlns:a16="http://schemas.microsoft.com/office/drawing/2014/main" id="{E186A789-AFB1-9B47-9A91-A3037F5D422A}"/>
                </a:ext>
              </a:extLst>
            </p:cNvPr>
            <p:cNvSpPr>
              <a:spLocks/>
            </p:cNvSpPr>
            <p:nvPr/>
          </p:nvSpPr>
          <p:spPr bwMode="auto">
            <a:xfrm>
              <a:off x="2753982" y="1731754"/>
              <a:ext cx="11629" cy="31771"/>
            </a:xfrm>
            <a:custGeom>
              <a:avLst/>
              <a:gdLst>
                <a:gd name="T0" fmla="*/ 2147483646 w 10"/>
                <a:gd name="T1" fmla="*/ 2147483646 h 32"/>
                <a:gd name="T2" fmla="*/ 2147483646 w 10"/>
                <a:gd name="T3" fmla="*/ 2147483646 h 32"/>
                <a:gd name="T4" fmla="*/ 2147483646 w 10"/>
                <a:gd name="T5" fmla="*/ 2147483646 h 32"/>
                <a:gd name="T6" fmla="*/ 2147483646 w 10"/>
                <a:gd name="T7" fmla="*/ 2147483646 h 32"/>
                <a:gd name="T8" fmla="*/ 0 w 10"/>
                <a:gd name="T9" fmla="*/ 2147483646 h 32"/>
                <a:gd name="T10" fmla="*/ 0 w 10"/>
                <a:gd name="T11" fmla="*/ 2147483646 h 32"/>
                <a:gd name="T12" fmla="*/ 0 w 10"/>
                <a:gd name="T13" fmla="*/ 2147483646 h 32"/>
                <a:gd name="T14" fmla="*/ 0 w 10"/>
                <a:gd name="T15" fmla="*/ 0 h 32"/>
                <a:gd name="T16" fmla="*/ 2147483646 w 10"/>
                <a:gd name="T17" fmla="*/ 0 h 32"/>
                <a:gd name="T18" fmla="*/ 2147483646 w 10"/>
                <a:gd name="T19" fmla="*/ 0 h 32"/>
                <a:gd name="T20" fmla="*/ 2147483646 w 10"/>
                <a:gd name="T21" fmla="*/ 0 h 32"/>
                <a:gd name="T22" fmla="*/ 2147483646 w 10"/>
                <a:gd name="T23" fmla="*/ 2147483646 h 32"/>
                <a:gd name="T24" fmla="*/ 2147483646 w 10"/>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2">
                  <a:moveTo>
                    <a:pt x="10" y="29"/>
                  </a:moveTo>
                  <a:lnTo>
                    <a:pt x="7" y="32"/>
                  </a:lnTo>
                  <a:lnTo>
                    <a:pt x="3" y="32"/>
                  </a:lnTo>
                  <a:lnTo>
                    <a:pt x="0" y="32"/>
                  </a:lnTo>
                  <a:lnTo>
                    <a:pt x="0" y="29"/>
                  </a:lnTo>
                  <a:lnTo>
                    <a:pt x="0" y="3"/>
                  </a:lnTo>
                  <a:lnTo>
                    <a:pt x="0" y="0"/>
                  </a:lnTo>
                  <a:lnTo>
                    <a:pt x="3" y="0"/>
                  </a:lnTo>
                  <a:lnTo>
                    <a:pt x="7" y="0"/>
                  </a:lnTo>
                  <a:lnTo>
                    <a:pt x="10" y="3"/>
                  </a:lnTo>
                  <a:lnTo>
                    <a:pt x="10" y="2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1" name="Freeform 639">
              <a:extLst>
                <a:ext uri="{FF2B5EF4-FFF2-40B4-BE49-F238E27FC236}">
                  <a16:creationId xmlns:a16="http://schemas.microsoft.com/office/drawing/2014/main" id="{F13C90DB-30C4-8147-A717-B9C0FF44389D}"/>
                </a:ext>
              </a:extLst>
            </p:cNvPr>
            <p:cNvSpPr>
              <a:spLocks/>
            </p:cNvSpPr>
            <p:nvPr/>
          </p:nvSpPr>
          <p:spPr bwMode="auto">
            <a:xfrm>
              <a:off x="2753982" y="1731754"/>
              <a:ext cx="60472" cy="9928"/>
            </a:xfrm>
            <a:custGeom>
              <a:avLst/>
              <a:gdLst>
                <a:gd name="T0" fmla="*/ 2147483646 w 52"/>
                <a:gd name="T1" fmla="*/ 2147483646 h 10"/>
                <a:gd name="T2" fmla="*/ 0 w 52"/>
                <a:gd name="T3" fmla="*/ 2147483646 h 10"/>
                <a:gd name="T4" fmla="*/ 0 w 52"/>
                <a:gd name="T5" fmla="*/ 2147483646 h 10"/>
                <a:gd name="T6" fmla="*/ 0 w 52"/>
                <a:gd name="T7" fmla="*/ 2147483646 h 10"/>
                <a:gd name="T8" fmla="*/ 0 w 52"/>
                <a:gd name="T9" fmla="*/ 0 h 10"/>
                <a:gd name="T10" fmla="*/ 2147483646 w 52"/>
                <a:gd name="T11" fmla="*/ 0 h 10"/>
                <a:gd name="T12" fmla="*/ 2147483646 w 52"/>
                <a:gd name="T13" fmla="*/ 0 h 10"/>
                <a:gd name="T14" fmla="*/ 2147483646 w 52"/>
                <a:gd name="T15" fmla="*/ 0 h 10"/>
                <a:gd name="T16" fmla="*/ 2147483646 w 52"/>
                <a:gd name="T17" fmla="*/ 2147483646 h 10"/>
                <a:gd name="T18" fmla="*/ 2147483646 w 52"/>
                <a:gd name="T19" fmla="*/ 2147483646 h 10"/>
                <a:gd name="T20" fmla="*/ 2147483646 w 52"/>
                <a:gd name="T21" fmla="*/ 2147483646 h 10"/>
                <a:gd name="T22" fmla="*/ 2147483646 w 52"/>
                <a:gd name="T23" fmla="*/ 2147483646 h 10"/>
                <a:gd name="T24" fmla="*/ 2147483646 w 5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10">
                  <a:moveTo>
                    <a:pt x="3" y="10"/>
                  </a:moveTo>
                  <a:lnTo>
                    <a:pt x="0" y="6"/>
                  </a:lnTo>
                  <a:lnTo>
                    <a:pt x="0" y="3"/>
                  </a:lnTo>
                  <a:lnTo>
                    <a:pt x="0" y="0"/>
                  </a:lnTo>
                  <a:lnTo>
                    <a:pt x="3" y="0"/>
                  </a:lnTo>
                  <a:lnTo>
                    <a:pt x="49" y="0"/>
                  </a:lnTo>
                  <a:lnTo>
                    <a:pt x="52" y="0"/>
                  </a:lnTo>
                  <a:lnTo>
                    <a:pt x="52" y="3"/>
                  </a:lnTo>
                  <a:lnTo>
                    <a:pt x="52" y="6"/>
                  </a:lnTo>
                  <a:lnTo>
                    <a:pt x="4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2" name="Freeform 640">
              <a:extLst>
                <a:ext uri="{FF2B5EF4-FFF2-40B4-BE49-F238E27FC236}">
                  <a16:creationId xmlns:a16="http://schemas.microsoft.com/office/drawing/2014/main" id="{EE998D67-297E-C147-BF8D-44E3BBB91E5E}"/>
                </a:ext>
              </a:extLst>
            </p:cNvPr>
            <p:cNvSpPr>
              <a:spLocks/>
            </p:cNvSpPr>
            <p:nvPr/>
          </p:nvSpPr>
          <p:spPr bwMode="auto">
            <a:xfrm>
              <a:off x="2806314" y="1708918"/>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7" y="29"/>
                  </a:lnTo>
                  <a:lnTo>
                    <a:pt x="4" y="29"/>
                  </a:lnTo>
                  <a:lnTo>
                    <a:pt x="0" y="29"/>
                  </a:lnTo>
                  <a:lnTo>
                    <a:pt x="0" y="26"/>
                  </a:lnTo>
                  <a:lnTo>
                    <a:pt x="0" y="4"/>
                  </a:lnTo>
                  <a:lnTo>
                    <a:pt x="0" y="0"/>
                  </a:lnTo>
                  <a:lnTo>
                    <a:pt x="4" y="0"/>
                  </a:lnTo>
                  <a:lnTo>
                    <a:pt x="7" y="0"/>
                  </a:lnTo>
                  <a:lnTo>
                    <a:pt x="10" y="4"/>
                  </a:lnTo>
                  <a:lnTo>
                    <a:pt x="10" y="2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3" name="Freeform 641">
              <a:extLst>
                <a:ext uri="{FF2B5EF4-FFF2-40B4-BE49-F238E27FC236}">
                  <a16:creationId xmlns:a16="http://schemas.microsoft.com/office/drawing/2014/main" id="{A3185FD8-72F9-6A43-A124-7C1ACE59E300}"/>
                </a:ext>
              </a:extLst>
            </p:cNvPr>
            <p:cNvSpPr>
              <a:spLocks/>
            </p:cNvSpPr>
            <p:nvPr/>
          </p:nvSpPr>
          <p:spPr bwMode="auto">
            <a:xfrm>
              <a:off x="2806314" y="1708918"/>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4" y="10"/>
                  </a:moveTo>
                  <a:lnTo>
                    <a:pt x="0" y="7"/>
                  </a:lnTo>
                  <a:lnTo>
                    <a:pt x="0" y="4"/>
                  </a:lnTo>
                  <a:lnTo>
                    <a:pt x="0" y="0"/>
                  </a:lnTo>
                  <a:lnTo>
                    <a:pt x="4" y="0"/>
                  </a:lnTo>
                  <a:lnTo>
                    <a:pt x="23" y="0"/>
                  </a:lnTo>
                  <a:lnTo>
                    <a:pt x="26" y="0"/>
                  </a:lnTo>
                  <a:lnTo>
                    <a:pt x="26" y="4"/>
                  </a:lnTo>
                  <a:lnTo>
                    <a:pt x="26" y="7"/>
                  </a:lnTo>
                  <a:lnTo>
                    <a:pt x="2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4" name="Freeform 642">
              <a:extLst>
                <a:ext uri="{FF2B5EF4-FFF2-40B4-BE49-F238E27FC236}">
                  <a16:creationId xmlns:a16="http://schemas.microsoft.com/office/drawing/2014/main" id="{5B04FFE6-63EF-0940-9F67-4B1B3B65F55F}"/>
                </a:ext>
              </a:extLst>
            </p:cNvPr>
            <p:cNvSpPr>
              <a:spLocks/>
            </p:cNvSpPr>
            <p:nvPr/>
          </p:nvSpPr>
          <p:spPr bwMode="auto">
            <a:xfrm>
              <a:off x="2829572" y="1708918"/>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4"/>
                  </a:lnTo>
                  <a:lnTo>
                    <a:pt x="0" y="0"/>
                  </a:lnTo>
                  <a:lnTo>
                    <a:pt x="3" y="0"/>
                  </a:lnTo>
                  <a:lnTo>
                    <a:pt x="19" y="0"/>
                  </a:lnTo>
                  <a:lnTo>
                    <a:pt x="22" y="0"/>
                  </a:lnTo>
                  <a:lnTo>
                    <a:pt x="22" y="4"/>
                  </a:lnTo>
                  <a:lnTo>
                    <a:pt x="22" y="7"/>
                  </a:lnTo>
                  <a:lnTo>
                    <a:pt x="1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5" name="Freeform 643">
              <a:extLst>
                <a:ext uri="{FF2B5EF4-FFF2-40B4-BE49-F238E27FC236}">
                  <a16:creationId xmlns:a16="http://schemas.microsoft.com/office/drawing/2014/main" id="{68F13539-FF71-5440-89A5-02FF017C67A2}"/>
                </a:ext>
              </a:extLst>
            </p:cNvPr>
            <p:cNvSpPr>
              <a:spLocks/>
            </p:cNvSpPr>
            <p:nvPr/>
          </p:nvSpPr>
          <p:spPr bwMode="auto">
            <a:xfrm>
              <a:off x="2848179" y="1708918"/>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2" y="0"/>
                  </a:lnTo>
                  <a:lnTo>
                    <a:pt x="26" y="0"/>
                  </a:lnTo>
                  <a:lnTo>
                    <a:pt x="26" y="4"/>
                  </a:lnTo>
                  <a:lnTo>
                    <a:pt x="26" y="7"/>
                  </a:lnTo>
                  <a:lnTo>
                    <a:pt x="22"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6" name="Freeform 644">
              <a:extLst>
                <a:ext uri="{FF2B5EF4-FFF2-40B4-BE49-F238E27FC236}">
                  <a16:creationId xmlns:a16="http://schemas.microsoft.com/office/drawing/2014/main" id="{4108642C-87B8-804F-8BD4-621D3844633D}"/>
                </a:ext>
              </a:extLst>
            </p:cNvPr>
            <p:cNvSpPr>
              <a:spLocks/>
            </p:cNvSpPr>
            <p:nvPr/>
          </p:nvSpPr>
          <p:spPr bwMode="auto">
            <a:xfrm>
              <a:off x="2870274" y="1708918"/>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7" name="Freeform 645">
              <a:extLst>
                <a:ext uri="{FF2B5EF4-FFF2-40B4-BE49-F238E27FC236}">
                  <a16:creationId xmlns:a16="http://schemas.microsoft.com/office/drawing/2014/main" id="{86121826-FB9C-AF44-8A6C-7F5B99EE4414}"/>
                </a:ext>
              </a:extLst>
            </p:cNvPr>
            <p:cNvSpPr>
              <a:spLocks/>
            </p:cNvSpPr>
            <p:nvPr/>
          </p:nvSpPr>
          <p:spPr bwMode="auto">
            <a:xfrm>
              <a:off x="2885392" y="1708918"/>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8" name="Freeform 646">
              <a:extLst>
                <a:ext uri="{FF2B5EF4-FFF2-40B4-BE49-F238E27FC236}">
                  <a16:creationId xmlns:a16="http://schemas.microsoft.com/office/drawing/2014/main" id="{E29CF207-2EF3-CC4B-81C8-C6FDF8A1EA11}"/>
                </a:ext>
              </a:extLst>
            </p:cNvPr>
            <p:cNvSpPr>
              <a:spLocks/>
            </p:cNvSpPr>
            <p:nvPr/>
          </p:nvSpPr>
          <p:spPr bwMode="auto">
            <a:xfrm>
              <a:off x="2897021" y="1708918"/>
              <a:ext cx="62798" cy="9928"/>
            </a:xfrm>
            <a:custGeom>
              <a:avLst/>
              <a:gdLst>
                <a:gd name="T0" fmla="*/ 2147483646 w 54"/>
                <a:gd name="T1" fmla="*/ 2147483646 h 10"/>
                <a:gd name="T2" fmla="*/ 0 w 54"/>
                <a:gd name="T3" fmla="*/ 2147483646 h 10"/>
                <a:gd name="T4" fmla="*/ 0 w 54"/>
                <a:gd name="T5" fmla="*/ 2147483646 h 10"/>
                <a:gd name="T6" fmla="*/ 0 w 54"/>
                <a:gd name="T7" fmla="*/ 2147483646 h 10"/>
                <a:gd name="T8" fmla="*/ 0 w 54"/>
                <a:gd name="T9" fmla="*/ 0 h 10"/>
                <a:gd name="T10" fmla="*/ 2147483646 w 54"/>
                <a:gd name="T11" fmla="*/ 0 h 10"/>
                <a:gd name="T12" fmla="*/ 2147483646 w 54"/>
                <a:gd name="T13" fmla="*/ 0 h 10"/>
                <a:gd name="T14" fmla="*/ 2147483646 w 54"/>
                <a:gd name="T15" fmla="*/ 0 h 10"/>
                <a:gd name="T16" fmla="*/ 2147483646 w 54"/>
                <a:gd name="T17" fmla="*/ 2147483646 h 10"/>
                <a:gd name="T18" fmla="*/ 2147483646 w 54"/>
                <a:gd name="T19" fmla="*/ 2147483646 h 10"/>
                <a:gd name="T20" fmla="*/ 2147483646 w 54"/>
                <a:gd name="T21" fmla="*/ 2147483646 h 10"/>
                <a:gd name="T22" fmla="*/ 2147483646 w 54"/>
                <a:gd name="T23" fmla="*/ 2147483646 h 10"/>
                <a:gd name="T24" fmla="*/ 2147483646 w 5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 h="10">
                  <a:moveTo>
                    <a:pt x="3" y="10"/>
                  </a:moveTo>
                  <a:lnTo>
                    <a:pt x="0" y="7"/>
                  </a:lnTo>
                  <a:lnTo>
                    <a:pt x="0" y="4"/>
                  </a:lnTo>
                  <a:lnTo>
                    <a:pt x="0" y="0"/>
                  </a:lnTo>
                  <a:lnTo>
                    <a:pt x="3" y="0"/>
                  </a:lnTo>
                  <a:lnTo>
                    <a:pt x="51" y="0"/>
                  </a:lnTo>
                  <a:lnTo>
                    <a:pt x="54" y="0"/>
                  </a:lnTo>
                  <a:lnTo>
                    <a:pt x="54" y="4"/>
                  </a:lnTo>
                  <a:lnTo>
                    <a:pt x="54" y="7"/>
                  </a:lnTo>
                  <a:lnTo>
                    <a:pt x="51"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9" name="Freeform 647">
              <a:extLst>
                <a:ext uri="{FF2B5EF4-FFF2-40B4-BE49-F238E27FC236}">
                  <a16:creationId xmlns:a16="http://schemas.microsoft.com/office/drawing/2014/main" id="{07A44D2F-8313-7E40-BD57-991682B502CB}"/>
                </a:ext>
              </a:extLst>
            </p:cNvPr>
            <p:cNvSpPr>
              <a:spLocks/>
            </p:cNvSpPr>
            <p:nvPr/>
          </p:nvSpPr>
          <p:spPr bwMode="auto">
            <a:xfrm>
              <a:off x="2952842" y="170891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0" name="Freeform 648">
              <a:extLst>
                <a:ext uri="{FF2B5EF4-FFF2-40B4-BE49-F238E27FC236}">
                  <a16:creationId xmlns:a16="http://schemas.microsoft.com/office/drawing/2014/main" id="{771A4B75-F55B-1F49-A4C4-9E44DE980A25}"/>
                </a:ext>
              </a:extLst>
            </p:cNvPr>
            <p:cNvSpPr>
              <a:spLocks/>
            </p:cNvSpPr>
            <p:nvPr/>
          </p:nvSpPr>
          <p:spPr bwMode="auto">
            <a:xfrm>
              <a:off x="2956330" y="1708918"/>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4"/>
                  </a:lnTo>
                  <a:lnTo>
                    <a:pt x="0" y="0"/>
                  </a:lnTo>
                  <a:lnTo>
                    <a:pt x="3" y="0"/>
                  </a:lnTo>
                  <a:lnTo>
                    <a:pt x="26" y="0"/>
                  </a:lnTo>
                  <a:lnTo>
                    <a:pt x="29" y="0"/>
                  </a:lnTo>
                  <a:lnTo>
                    <a:pt x="29" y="4"/>
                  </a:lnTo>
                  <a:lnTo>
                    <a:pt x="29" y="7"/>
                  </a:lnTo>
                  <a:lnTo>
                    <a:pt x="2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1" name="Freeform 649">
              <a:extLst>
                <a:ext uri="{FF2B5EF4-FFF2-40B4-BE49-F238E27FC236}">
                  <a16:creationId xmlns:a16="http://schemas.microsoft.com/office/drawing/2014/main" id="{D0063CF6-D0F1-9C45-833A-9B7994B75224}"/>
                </a:ext>
              </a:extLst>
            </p:cNvPr>
            <p:cNvSpPr>
              <a:spLocks/>
            </p:cNvSpPr>
            <p:nvPr/>
          </p:nvSpPr>
          <p:spPr bwMode="auto">
            <a:xfrm>
              <a:off x="2983078" y="1708918"/>
              <a:ext cx="44191" cy="9928"/>
            </a:xfrm>
            <a:custGeom>
              <a:avLst/>
              <a:gdLst>
                <a:gd name="T0" fmla="*/ 2147483646 w 38"/>
                <a:gd name="T1" fmla="*/ 2147483646 h 10"/>
                <a:gd name="T2" fmla="*/ 0 w 38"/>
                <a:gd name="T3" fmla="*/ 2147483646 h 10"/>
                <a:gd name="T4" fmla="*/ 0 w 38"/>
                <a:gd name="T5" fmla="*/ 2147483646 h 10"/>
                <a:gd name="T6" fmla="*/ 0 w 38"/>
                <a:gd name="T7" fmla="*/ 2147483646 h 10"/>
                <a:gd name="T8" fmla="*/ 0 w 38"/>
                <a:gd name="T9" fmla="*/ 0 h 10"/>
                <a:gd name="T10" fmla="*/ 2147483646 w 38"/>
                <a:gd name="T11" fmla="*/ 0 h 10"/>
                <a:gd name="T12" fmla="*/ 2147483646 w 38"/>
                <a:gd name="T13" fmla="*/ 0 h 10"/>
                <a:gd name="T14" fmla="*/ 2147483646 w 38"/>
                <a:gd name="T15" fmla="*/ 0 h 10"/>
                <a:gd name="T16" fmla="*/ 2147483646 w 38"/>
                <a:gd name="T17" fmla="*/ 2147483646 h 10"/>
                <a:gd name="T18" fmla="*/ 2147483646 w 38"/>
                <a:gd name="T19" fmla="*/ 2147483646 h 10"/>
                <a:gd name="T20" fmla="*/ 2147483646 w 38"/>
                <a:gd name="T21" fmla="*/ 2147483646 h 10"/>
                <a:gd name="T22" fmla="*/ 2147483646 w 38"/>
                <a:gd name="T23" fmla="*/ 2147483646 h 10"/>
                <a:gd name="T24" fmla="*/ 2147483646 w 3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0">
                  <a:moveTo>
                    <a:pt x="3" y="10"/>
                  </a:moveTo>
                  <a:lnTo>
                    <a:pt x="0" y="7"/>
                  </a:lnTo>
                  <a:lnTo>
                    <a:pt x="0" y="4"/>
                  </a:lnTo>
                  <a:lnTo>
                    <a:pt x="0" y="0"/>
                  </a:lnTo>
                  <a:lnTo>
                    <a:pt x="3" y="0"/>
                  </a:lnTo>
                  <a:lnTo>
                    <a:pt x="35" y="0"/>
                  </a:lnTo>
                  <a:lnTo>
                    <a:pt x="38" y="0"/>
                  </a:lnTo>
                  <a:lnTo>
                    <a:pt x="38" y="4"/>
                  </a:lnTo>
                  <a:lnTo>
                    <a:pt x="38" y="7"/>
                  </a:lnTo>
                  <a:lnTo>
                    <a:pt x="35"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2" name="Freeform 650">
              <a:extLst>
                <a:ext uri="{FF2B5EF4-FFF2-40B4-BE49-F238E27FC236}">
                  <a16:creationId xmlns:a16="http://schemas.microsoft.com/office/drawing/2014/main" id="{9626B8A7-CF5A-A645-AEF6-7415466A6AE8}"/>
                </a:ext>
              </a:extLst>
            </p:cNvPr>
            <p:cNvSpPr>
              <a:spLocks/>
            </p:cNvSpPr>
            <p:nvPr/>
          </p:nvSpPr>
          <p:spPr bwMode="auto">
            <a:xfrm>
              <a:off x="3020291" y="170891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3" name="Freeform 651">
              <a:extLst>
                <a:ext uri="{FF2B5EF4-FFF2-40B4-BE49-F238E27FC236}">
                  <a16:creationId xmlns:a16="http://schemas.microsoft.com/office/drawing/2014/main" id="{2D339027-2683-8648-8791-12F2B6C44179}"/>
                </a:ext>
              </a:extLst>
            </p:cNvPr>
            <p:cNvSpPr>
              <a:spLocks/>
            </p:cNvSpPr>
            <p:nvPr/>
          </p:nvSpPr>
          <p:spPr bwMode="auto">
            <a:xfrm>
              <a:off x="3027269" y="1708918"/>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4" y="10"/>
                  </a:moveTo>
                  <a:lnTo>
                    <a:pt x="0" y="7"/>
                  </a:lnTo>
                  <a:lnTo>
                    <a:pt x="0" y="4"/>
                  </a:lnTo>
                  <a:lnTo>
                    <a:pt x="0" y="0"/>
                  </a:lnTo>
                  <a:lnTo>
                    <a:pt x="4" y="0"/>
                  </a:lnTo>
                  <a:lnTo>
                    <a:pt x="39" y="0"/>
                  </a:lnTo>
                  <a:lnTo>
                    <a:pt x="42" y="0"/>
                  </a:lnTo>
                  <a:lnTo>
                    <a:pt x="42" y="4"/>
                  </a:lnTo>
                  <a:lnTo>
                    <a:pt x="42" y="7"/>
                  </a:lnTo>
                  <a:lnTo>
                    <a:pt x="39"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4" name="Freeform 652">
              <a:extLst>
                <a:ext uri="{FF2B5EF4-FFF2-40B4-BE49-F238E27FC236}">
                  <a16:creationId xmlns:a16="http://schemas.microsoft.com/office/drawing/2014/main" id="{35193FFC-C9E7-5D46-B37F-C9EE0316FCE8}"/>
                </a:ext>
              </a:extLst>
            </p:cNvPr>
            <p:cNvSpPr>
              <a:spLocks/>
            </p:cNvSpPr>
            <p:nvPr/>
          </p:nvSpPr>
          <p:spPr bwMode="auto">
            <a:xfrm>
              <a:off x="3069134" y="1708918"/>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2" y="0"/>
                  </a:lnTo>
                  <a:lnTo>
                    <a:pt x="26" y="0"/>
                  </a:lnTo>
                  <a:lnTo>
                    <a:pt x="26" y="4"/>
                  </a:lnTo>
                  <a:lnTo>
                    <a:pt x="26" y="7"/>
                  </a:lnTo>
                  <a:lnTo>
                    <a:pt x="22"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5" name="Freeform 653">
              <a:extLst>
                <a:ext uri="{FF2B5EF4-FFF2-40B4-BE49-F238E27FC236}">
                  <a16:creationId xmlns:a16="http://schemas.microsoft.com/office/drawing/2014/main" id="{E0868CAD-82A5-C142-9BFD-57BBA497F2DF}"/>
                </a:ext>
              </a:extLst>
            </p:cNvPr>
            <p:cNvSpPr>
              <a:spLocks/>
            </p:cNvSpPr>
            <p:nvPr/>
          </p:nvSpPr>
          <p:spPr bwMode="auto">
            <a:xfrm>
              <a:off x="3091229" y="1671190"/>
              <a:ext cx="11629" cy="44678"/>
            </a:xfrm>
            <a:custGeom>
              <a:avLst/>
              <a:gdLst>
                <a:gd name="T0" fmla="*/ 2147483646 w 10"/>
                <a:gd name="T1" fmla="*/ 2147483646 h 45"/>
                <a:gd name="T2" fmla="*/ 2147483646 w 10"/>
                <a:gd name="T3" fmla="*/ 2147483646 h 45"/>
                <a:gd name="T4" fmla="*/ 2147483646 w 10"/>
                <a:gd name="T5" fmla="*/ 2147483646 h 45"/>
                <a:gd name="T6" fmla="*/ 2147483646 w 10"/>
                <a:gd name="T7" fmla="*/ 2147483646 h 45"/>
                <a:gd name="T8" fmla="*/ 0 w 10"/>
                <a:gd name="T9" fmla="*/ 2147483646 h 45"/>
                <a:gd name="T10" fmla="*/ 0 w 10"/>
                <a:gd name="T11" fmla="*/ 2147483646 h 45"/>
                <a:gd name="T12" fmla="*/ 0 w 10"/>
                <a:gd name="T13" fmla="*/ 2147483646 h 45"/>
                <a:gd name="T14" fmla="*/ 0 w 10"/>
                <a:gd name="T15" fmla="*/ 0 h 45"/>
                <a:gd name="T16" fmla="*/ 2147483646 w 10"/>
                <a:gd name="T17" fmla="*/ 0 h 45"/>
                <a:gd name="T18" fmla="*/ 2147483646 w 10"/>
                <a:gd name="T19" fmla="*/ 0 h 45"/>
                <a:gd name="T20" fmla="*/ 2147483646 w 10"/>
                <a:gd name="T21" fmla="*/ 0 h 45"/>
                <a:gd name="T22" fmla="*/ 2147483646 w 10"/>
                <a:gd name="T23" fmla="*/ 2147483646 h 45"/>
                <a:gd name="T24" fmla="*/ 2147483646 w 10"/>
                <a:gd name="T25" fmla="*/ 2147483646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45">
                  <a:moveTo>
                    <a:pt x="10" y="42"/>
                  </a:moveTo>
                  <a:lnTo>
                    <a:pt x="7" y="45"/>
                  </a:lnTo>
                  <a:lnTo>
                    <a:pt x="3" y="45"/>
                  </a:lnTo>
                  <a:lnTo>
                    <a:pt x="0" y="45"/>
                  </a:lnTo>
                  <a:lnTo>
                    <a:pt x="0" y="42"/>
                  </a:lnTo>
                  <a:lnTo>
                    <a:pt x="0" y="3"/>
                  </a:lnTo>
                  <a:lnTo>
                    <a:pt x="0" y="0"/>
                  </a:lnTo>
                  <a:lnTo>
                    <a:pt x="3" y="0"/>
                  </a:lnTo>
                  <a:lnTo>
                    <a:pt x="7" y="0"/>
                  </a:lnTo>
                  <a:lnTo>
                    <a:pt x="10" y="3"/>
                  </a:lnTo>
                  <a:lnTo>
                    <a:pt x="10" y="4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6" name="Freeform 654">
              <a:extLst>
                <a:ext uri="{FF2B5EF4-FFF2-40B4-BE49-F238E27FC236}">
                  <a16:creationId xmlns:a16="http://schemas.microsoft.com/office/drawing/2014/main" id="{C7152749-1F68-BD4E-A9BE-A0C6895BFFDA}"/>
                </a:ext>
              </a:extLst>
            </p:cNvPr>
            <p:cNvSpPr>
              <a:spLocks/>
            </p:cNvSpPr>
            <p:nvPr/>
          </p:nvSpPr>
          <p:spPr bwMode="auto">
            <a:xfrm>
              <a:off x="3091229" y="1671190"/>
              <a:ext cx="33725" cy="8936"/>
            </a:xfrm>
            <a:custGeom>
              <a:avLst/>
              <a:gdLst>
                <a:gd name="T0" fmla="*/ 2147483646 w 29"/>
                <a:gd name="T1" fmla="*/ 2147483646 h 9"/>
                <a:gd name="T2" fmla="*/ 0 w 29"/>
                <a:gd name="T3" fmla="*/ 2147483646 h 9"/>
                <a:gd name="T4" fmla="*/ 0 w 29"/>
                <a:gd name="T5" fmla="*/ 2147483646 h 9"/>
                <a:gd name="T6" fmla="*/ 0 w 29"/>
                <a:gd name="T7" fmla="*/ 2147483646 h 9"/>
                <a:gd name="T8" fmla="*/ 0 w 29"/>
                <a:gd name="T9" fmla="*/ 0 h 9"/>
                <a:gd name="T10" fmla="*/ 2147483646 w 29"/>
                <a:gd name="T11" fmla="*/ 0 h 9"/>
                <a:gd name="T12" fmla="*/ 2147483646 w 29"/>
                <a:gd name="T13" fmla="*/ 0 h 9"/>
                <a:gd name="T14" fmla="*/ 2147483646 w 29"/>
                <a:gd name="T15" fmla="*/ 0 h 9"/>
                <a:gd name="T16" fmla="*/ 2147483646 w 29"/>
                <a:gd name="T17" fmla="*/ 2147483646 h 9"/>
                <a:gd name="T18" fmla="*/ 2147483646 w 29"/>
                <a:gd name="T19" fmla="*/ 2147483646 h 9"/>
                <a:gd name="T20" fmla="*/ 2147483646 w 29"/>
                <a:gd name="T21" fmla="*/ 2147483646 h 9"/>
                <a:gd name="T22" fmla="*/ 2147483646 w 29"/>
                <a:gd name="T23" fmla="*/ 2147483646 h 9"/>
                <a:gd name="T24" fmla="*/ 2147483646 w 2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9">
                  <a:moveTo>
                    <a:pt x="3" y="9"/>
                  </a:moveTo>
                  <a:lnTo>
                    <a:pt x="0" y="6"/>
                  </a:lnTo>
                  <a:lnTo>
                    <a:pt x="0" y="3"/>
                  </a:lnTo>
                  <a:lnTo>
                    <a:pt x="0" y="0"/>
                  </a:lnTo>
                  <a:lnTo>
                    <a:pt x="3" y="0"/>
                  </a:lnTo>
                  <a:lnTo>
                    <a:pt x="26" y="0"/>
                  </a:lnTo>
                  <a:lnTo>
                    <a:pt x="29" y="0"/>
                  </a:lnTo>
                  <a:lnTo>
                    <a:pt x="29" y="3"/>
                  </a:lnTo>
                  <a:lnTo>
                    <a:pt x="29" y="6"/>
                  </a:lnTo>
                  <a:lnTo>
                    <a:pt x="2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7" name="Freeform 655">
              <a:extLst>
                <a:ext uri="{FF2B5EF4-FFF2-40B4-BE49-F238E27FC236}">
                  <a16:creationId xmlns:a16="http://schemas.microsoft.com/office/drawing/2014/main" id="{B16D7FEA-CDB9-6F40-BC26-87B1DD245412}"/>
                </a:ext>
              </a:extLst>
            </p:cNvPr>
            <p:cNvSpPr>
              <a:spLocks/>
            </p:cNvSpPr>
            <p:nvPr/>
          </p:nvSpPr>
          <p:spPr bwMode="auto">
            <a:xfrm>
              <a:off x="3117976" y="1671190"/>
              <a:ext cx="55820" cy="8936"/>
            </a:xfrm>
            <a:custGeom>
              <a:avLst/>
              <a:gdLst>
                <a:gd name="T0" fmla="*/ 2147483646 w 48"/>
                <a:gd name="T1" fmla="*/ 2147483646 h 9"/>
                <a:gd name="T2" fmla="*/ 0 w 48"/>
                <a:gd name="T3" fmla="*/ 2147483646 h 9"/>
                <a:gd name="T4" fmla="*/ 0 w 48"/>
                <a:gd name="T5" fmla="*/ 2147483646 h 9"/>
                <a:gd name="T6" fmla="*/ 0 w 48"/>
                <a:gd name="T7" fmla="*/ 2147483646 h 9"/>
                <a:gd name="T8" fmla="*/ 0 w 48"/>
                <a:gd name="T9" fmla="*/ 0 h 9"/>
                <a:gd name="T10" fmla="*/ 2147483646 w 48"/>
                <a:gd name="T11" fmla="*/ 0 h 9"/>
                <a:gd name="T12" fmla="*/ 2147483646 w 48"/>
                <a:gd name="T13" fmla="*/ 0 h 9"/>
                <a:gd name="T14" fmla="*/ 2147483646 w 48"/>
                <a:gd name="T15" fmla="*/ 0 h 9"/>
                <a:gd name="T16" fmla="*/ 2147483646 w 48"/>
                <a:gd name="T17" fmla="*/ 2147483646 h 9"/>
                <a:gd name="T18" fmla="*/ 2147483646 w 48"/>
                <a:gd name="T19" fmla="*/ 2147483646 h 9"/>
                <a:gd name="T20" fmla="*/ 2147483646 w 48"/>
                <a:gd name="T21" fmla="*/ 2147483646 h 9"/>
                <a:gd name="T22" fmla="*/ 2147483646 w 48"/>
                <a:gd name="T23" fmla="*/ 2147483646 h 9"/>
                <a:gd name="T24" fmla="*/ 2147483646 w 48"/>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9">
                  <a:moveTo>
                    <a:pt x="3" y="9"/>
                  </a:moveTo>
                  <a:lnTo>
                    <a:pt x="0" y="6"/>
                  </a:lnTo>
                  <a:lnTo>
                    <a:pt x="0" y="3"/>
                  </a:lnTo>
                  <a:lnTo>
                    <a:pt x="0" y="0"/>
                  </a:lnTo>
                  <a:lnTo>
                    <a:pt x="3" y="0"/>
                  </a:lnTo>
                  <a:lnTo>
                    <a:pt x="45" y="0"/>
                  </a:lnTo>
                  <a:lnTo>
                    <a:pt x="48" y="0"/>
                  </a:lnTo>
                  <a:lnTo>
                    <a:pt x="48" y="3"/>
                  </a:lnTo>
                  <a:lnTo>
                    <a:pt x="48" y="6"/>
                  </a:lnTo>
                  <a:lnTo>
                    <a:pt x="45"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8" name="Freeform 656">
              <a:extLst>
                <a:ext uri="{FF2B5EF4-FFF2-40B4-BE49-F238E27FC236}">
                  <a16:creationId xmlns:a16="http://schemas.microsoft.com/office/drawing/2014/main" id="{0E1DEB9E-E9A4-CE4F-9CA8-2C4AF749474F}"/>
                </a:ext>
              </a:extLst>
            </p:cNvPr>
            <p:cNvSpPr>
              <a:spLocks/>
            </p:cNvSpPr>
            <p:nvPr/>
          </p:nvSpPr>
          <p:spPr bwMode="auto">
            <a:xfrm>
              <a:off x="3166819" y="1671190"/>
              <a:ext cx="33725" cy="8936"/>
            </a:xfrm>
            <a:custGeom>
              <a:avLst/>
              <a:gdLst>
                <a:gd name="T0" fmla="*/ 2147483646 w 29"/>
                <a:gd name="T1" fmla="*/ 2147483646 h 9"/>
                <a:gd name="T2" fmla="*/ 0 w 29"/>
                <a:gd name="T3" fmla="*/ 2147483646 h 9"/>
                <a:gd name="T4" fmla="*/ 0 w 29"/>
                <a:gd name="T5" fmla="*/ 2147483646 h 9"/>
                <a:gd name="T6" fmla="*/ 0 w 29"/>
                <a:gd name="T7" fmla="*/ 2147483646 h 9"/>
                <a:gd name="T8" fmla="*/ 0 w 29"/>
                <a:gd name="T9" fmla="*/ 0 h 9"/>
                <a:gd name="T10" fmla="*/ 2147483646 w 29"/>
                <a:gd name="T11" fmla="*/ 0 h 9"/>
                <a:gd name="T12" fmla="*/ 2147483646 w 29"/>
                <a:gd name="T13" fmla="*/ 0 h 9"/>
                <a:gd name="T14" fmla="*/ 2147483646 w 29"/>
                <a:gd name="T15" fmla="*/ 0 h 9"/>
                <a:gd name="T16" fmla="*/ 2147483646 w 29"/>
                <a:gd name="T17" fmla="*/ 2147483646 h 9"/>
                <a:gd name="T18" fmla="*/ 2147483646 w 29"/>
                <a:gd name="T19" fmla="*/ 2147483646 h 9"/>
                <a:gd name="T20" fmla="*/ 2147483646 w 29"/>
                <a:gd name="T21" fmla="*/ 2147483646 h 9"/>
                <a:gd name="T22" fmla="*/ 2147483646 w 29"/>
                <a:gd name="T23" fmla="*/ 2147483646 h 9"/>
                <a:gd name="T24" fmla="*/ 2147483646 w 2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9">
                  <a:moveTo>
                    <a:pt x="3" y="9"/>
                  </a:moveTo>
                  <a:lnTo>
                    <a:pt x="0" y="6"/>
                  </a:lnTo>
                  <a:lnTo>
                    <a:pt x="0" y="3"/>
                  </a:lnTo>
                  <a:lnTo>
                    <a:pt x="0" y="0"/>
                  </a:lnTo>
                  <a:lnTo>
                    <a:pt x="3" y="0"/>
                  </a:lnTo>
                  <a:lnTo>
                    <a:pt x="25" y="0"/>
                  </a:lnTo>
                  <a:lnTo>
                    <a:pt x="29" y="0"/>
                  </a:lnTo>
                  <a:lnTo>
                    <a:pt x="29" y="3"/>
                  </a:lnTo>
                  <a:lnTo>
                    <a:pt x="29" y="6"/>
                  </a:lnTo>
                  <a:lnTo>
                    <a:pt x="25"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9" name="Freeform 657">
              <a:extLst>
                <a:ext uri="{FF2B5EF4-FFF2-40B4-BE49-F238E27FC236}">
                  <a16:creationId xmlns:a16="http://schemas.microsoft.com/office/drawing/2014/main" id="{07A1A1C0-0D81-254A-9F08-DB1B6ACC6ED7}"/>
                </a:ext>
              </a:extLst>
            </p:cNvPr>
            <p:cNvSpPr>
              <a:spLocks/>
            </p:cNvSpPr>
            <p:nvPr/>
          </p:nvSpPr>
          <p:spPr bwMode="auto">
            <a:xfrm>
              <a:off x="3192403" y="1625519"/>
              <a:ext cx="11629" cy="51628"/>
            </a:xfrm>
            <a:custGeom>
              <a:avLst/>
              <a:gdLst>
                <a:gd name="T0" fmla="*/ 2147483646 w 10"/>
                <a:gd name="T1" fmla="*/ 2147483646 h 52"/>
                <a:gd name="T2" fmla="*/ 2147483646 w 10"/>
                <a:gd name="T3" fmla="*/ 2147483646 h 52"/>
                <a:gd name="T4" fmla="*/ 2147483646 w 10"/>
                <a:gd name="T5" fmla="*/ 2147483646 h 52"/>
                <a:gd name="T6" fmla="*/ 2147483646 w 10"/>
                <a:gd name="T7" fmla="*/ 2147483646 h 52"/>
                <a:gd name="T8" fmla="*/ 0 w 10"/>
                <a:gd name="T9" fmla="*/ 2147483646 h 52"/>
                <a:gd name="T10" fmla="*/ 0 w 10"/>
                <a:gd name="T11" fmla="*/ 2147483646 h 52"/>
                <a:gd name="T12" fmla="*/ 0 w 10"/>
                <a:gd name="T13" fmla="*/ 2147483646 h 52"/>
                <a:gd name="T14" fmla="*/ 0 w 10"/>
                <a:gd name="T15" fmla="*/ 0 h 52"/>
                <a:gd name="T16" fmla="*/ 2147483646 w 10"/>
                <a:gd name="T17" fmla="*/ 0 h 52"/>
                <a:gd name="T18" fmla="*/ 2147483646 w 10"/>
                <a:gd name="T19" fmla="*/ 0 h 52"/>
                <a:gd name="T20" fmla="*/ 2147483646 w 10"/>
                <a:gd name="T21" fmla="*/ 0 h 52"/>
                <a:gd name="T22" fmla="*/ 2147483646 w 10"/>
                <a:gd name="T23" fmla="*/ 2147483646 h 52"/>
                <a:gd name="T24" fmla="*/ 2147483646 w 10"/>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52">
                  <a:moveTo>
                    <a:pt x="10" y="49"/>
                  </a:moveTo>
                  <a:lnTo>
                    <a:pt x="7" y="52"/>
                  </a:lnTo>
                  <a:lnTo>
                    <a:pt x="3" y="52"/>
                  </a:lnTo>
                  <a:lnTo>
                    <a:pt x="0" y="52"/>
                  </a:lnTo>
                  <a:lnTo>
                    <a:pt x="0" y="49"/>
                  </a:lnTo>
                  <a:lnTo>
                    <a:pt x="0" y="4"/>
                  </a:lnTo>
                  <a:lnTo>
                    <a:pt x="0" y="0"/>
                  </a:lnTo>
                  <a:lnTo>
                    <a:pt x="3" y="0"/>
                  </a:lnTo>
                  <a:lnTo>
                    <a:pt x="7" y="0"/>
                  </a:lnTo>
                  <a:lnTo>
                    <a:pt x="10" y="4"/>
                  </a:lnTo>
                  <a:lnTo>
                    <a:pt x="10" y="4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0" name="Freeform 658">
              <a:extLst>
                <a:ext uri="{FF2B5EF4-FFF2-40B4-BE49-F238E27FC236}">
                  <a16:creationId xmlns:a16="http://schemas.microsoft.com/office/drawing/2014/main" id="{181AB11F-264B-B04C-86BA-E05320502325}"/>
                </a:ext>
              </a:extLst>
            </p:cNvPr>
            <p:cNvSpPr>
              <a:spLocks/>
            </p:cNvSpPr>
            <p:nvPr/>
          </p:nvSpPr>
          <p:spPr bwMode="auto">
            <a:xfrm>
              <a:off x="3192403" y="1625519"/>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3" y="0"/>
                  </a:lnTo>
                  <a:lnTo>
                    <a:pt x="26" y="0"/>
                  </a:lnTo>
                  <a:lnTo>
                    <a:pt x="26" y="4"/>
                  </a:lnTo>
                  <a:lnTo>
                    <a:pt x="26" y="7"/>
                  </a:lnTo>
                  <a:lnTo>
                    <a:pt x="2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1" name="Freeform 659">
              <a:extLst>
                <a:ext uri="{FF2B5EF4-FFF2-40B4-BE49-F238E27FC236}">
                  <a16:creationId xmlns:a16="http://schemas.microsoft.com/office/drawing/2014/main" id="{A2999BEE-C25A-8B48-9BA4-218428A15735}"/>
                </a:ext>
              </a:extLst>
            </p:cNvPr>
            <p:cNvSpPr>
              <a:spLocks/>
            </p:cNvSpPr>
            <p:nvPr/>
          </p:nvSpPr>
          <p:spPr bwMode="auto">
            <a:xfrm>
              <a:off x="3215662" y="1625519"/>
              <a:ext cx="59309" cy="9928"/>
            </a:xfrm>
            <a:custGeom>
              <a:avLst/>
              <a:gdLst>
                <a:gd name="T0" fmla="*/ 2147483646 w 51"/>
                <a:gd name="T1" fmla="*/ 2147483646 h 10"/>
                <a:gd name="T2" fmla="*/ 0 w 51"/>
                <a:gd name="T3" fmla="*/ 2147483646 h 10"/>
                <a:gd name="T4" fmla="*/ 0 w 51"/>
                <a:gd name="T5" fmla="*/ 2147483646 h 10"/>
                <a:gd name="T6" fmla="*/ 0 w 51"/>
                <a:gd name="T7" fmla="*/ 2147483646 h 10"/>
                <a:gd name="T8" fmla="*/ 0 w 51"/>
                <a:gd name="T9" fmla="*/ 0 h 10"/>
                <a:gd name="T10" fmla="*/ 2147483646 w 51"/>
                <a:gd name="T11" fmla="*/ 0 h 10"/>
                <a:gd name="T12" fmla="*/ 2147483646 w 51"/>
                <a:gd name="T13" fmla="*/ 0 h 10"/>
                <a:gd name="T14" fmla="*/ 2147483646 w 51"/>
                <a:gd name="T15" fmla="*/ 0 h 10"/>
                <a:gd name="T16" fmla="*/ 2147483646 w 51"/>
                <a:gd name="T17" fmla="*/ 2147483646 h 10"/>
                <a:gd name="T18" fmla="*/ 2147483646 w 51"/>
                <a:gd name="T19" fmla="*/ 2147483646 h 10"/>
                <a:gd name="T20" fmla="*/ 2147483646 w 51"/>
                <a:gd name="T21" fmla="*/ 2147483646 h 10"/>
                <a:gd name="T22" fmla="*/ 2147483646 w 51"/>
                <a:gd name="T23" fmla="*/ 2147483646 h 10"/>
                <a:gd name="T24" fmla="*/ 2147483646 w 5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1" h="10">
                  <a:moveTo>
                    <a:pt x="3" y="10"/>
                  </a:moveTo>
                  <a:lnTo>
                    <a:pt x="0" y="7"/>
                  </a:lnTo>
                  <a:lnTo>
                    <a:pt x="0" y="4"/>
                  </a:lnTo>
                  <a:lnTo>
                    <a:pt x="0" y="0"/>
                  </a:lnTo>
                  <a:lnTo>
                    <a:pt x="3" y="0"/>
                  </a:lnTo>
                  <a:lnTo>
                    <a:pt x="48" y="0"/>
                  </a:lnTo>
                  <a:lnTo>
                    <a:pt x="51" y="0"/>
                  </a:lnTo>
                  <a:lnTo>
                    <a:pt x="51" y="4"/>
                  </a:lnTo>
                  <a:lnTo>
                    <a:pt x="51" y="7"/>
                  </a:lnTo>
                  <a:lnTo>
                    <a:pt x="48"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2" name="Freeform 660">
              <a:extLst>
                <a:ext uri="{FF2B5EF4-FFF2-40B4-BE49-F238E27FC236}">
                  <a16:creationId xmlns:a16="http://schemas.microsoft.com/office/drawing/2014/main" id="{0640E5CB-5C16-4B4A-BD35-A2B6D1AABAB4}"/>
                </a:ext>
              </a:extLst>
            </p:cNvPr>
            <p:cNvSpPr>
              <a:spLocks/>
            </p:cNvSpPr>
            <p:nvPr/>
          </p:nvSpPr>
          <p:spPr bwMode="auto">
            <a:xfrm>
              <a:off x="3267993" y="1625519"/>
              <a:ext cx="86056" cy="9928"/>
            </a:xfrm>
            <a:custGeom>
              <a:avLst/>
              <a:gdLst>
                <a:gd name="T0" fmla="*/ 2147483646 w 74"/>
                <a:gd name="T1" fmla="*/ 2147483646 h 10"/>
                <a:gd name="T2" fmla="*/ 0 w 74"/>
                <a:gd name="T3" fmla="*/ 2147483646 h 10"/>
                <a:gd name="T4" fmla="*/ 0 w 74"/>
                <a:gd name="T5" fmla="*/ 2147483646 h 10"/>
                <a:gd name="T6" fmla="*/ 0 w 74"/>
                <a:gd name="T7" fmla="*/ 2147483646 h 10"/>
                <a:gd name="T8" fmla="*/ 0 w 74"/>
                <a:gd name="T9" fmla="*/ 0 h 10"/>
                <a:gd name="T10" fmla="*/ 2147483646 w 74"/>
                <a:gd name="T11" fmla="*/ 0 h 10"/>
                <a:gd name="T12" fmla="*/ 2147483646 w 74"/>
                <a:gd name="T13" fmla="*/ 0 h 10"/>
                <a:gd name="T14" fmla="*/ 2147483646 w 74"/>
                <a:gd name="T15" fmla="*/ 0 h 10"/>
                <a:gd name="T16" fmla="*/ 2147483646 w 74"/>
                <a:gd name="T17" fmla="*/ 2147483646 h 10"/>
                <a:gd name="T18" fmla="*/ 2147483646 w 74"/>
                <a:gd name="T19" fmla="*/ 2147483646 h 10"/>
                <a:gd name="T20" fmla="*/ 2147483646 w 74"/>
                <a:gd name="T21" fmla="*/ 2147483646 h 10"/>
                <a:gd name="T22" fmla="*/ 2147483646 w 74"/>
                <a:gd name="T23" fmla="*/ 2147483646 h 10"/>
                <a:gd name="T24" fmla="*/ 2147483646 w 7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0">
                  <a:moveTo>
                    <a:pt x="3" y="10"/>
                  </a:moveTo>
                  <a:lnTo>
                    <a:pt x="0" y="7"/>
                  </a:lnTo>
                  <a:lnTo>
                    <a:pt x="0" y="4"/>
                  </a:lnTo>
                  <a:lnTo>
                    <a:pt x="0" y="0"/>
                  </a:lnTo>
                  <a:lnTo>
                    <a:pt x="3" y="0"/>
                  </a:lnTo>
                  <a:lnTo>
                    <a:pt x="71" y="0"/>
                  </a:lnTo>
                  <a:lnTo>
                    <a:pt x="74" y="0"/>
                  </a:lnTo>
                  <a:lnTo>
                    <a:pt x="74" y="4"/>
                  </a:lnTo>
                  <a:lnTo>
                    <a:pt x="74" y="7"/>
                  </a:lnTo>
                  <a:lnTo>
                    <a:pt x="71"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3" name="Freeform 661">
              <a:extLst>
                <a:ext uri="{FF2B5EF4-FFF2-40B4-BE49-F238E27FC236}">
                  <a16:creationId xmlns:a16="http://schemas.microsoft.com/office/drawing/2014/main" id="{3DF0E309-F032-184A-827A-69E4B4AED006}"/>
                </a:ext>
              </a:extLst>
            </p:cNvPr>
            <p:cNvSpPr>
              <a:spLocks/>
            </p:cNvSpPr>
            <p:nvPr/>
          </p:nvSpPr>
          <p:spPr bwMode="auto">
            <a:xfrm>
              <a:off x="3345909" y="1625519"/>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7"/>
                  </a:lnTo>
                  <a:lnTo>
                    <a:pt x="0" y="4"/>
                  </a:lnTo>
                  <a:lnTo>
                    <a:pt x="0" y="0"/>
                  </a:lnTo>
                  <a:lnTo>
                    <a:pt x="4" y="0"/>
                  </a:lnTo>
                  <a:lnTo>
                    <a:pt x="20" y="0"/>
                  </a:lnTo>
                  <a:lnTo>
                    <a:pt x="23" y="0"/>
                  </a:lnTo>
                  <a:lnTo>
                    <a:pt x="23" y="4"/>
                  </a:lnTo>
                  <a:lnTo>
                    <a:pt x="23" y="7"/>
                  </a:lnTo>
                  <a:lnTo>
                    <a:pt x="2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4" name="Freeform 662">
              <a:extLst>
                <a:ext uri="{FF2B5EF4-FFF2-40B4-BE49-F238E27FC236}">
                  <a16:creationId xmlns:a16="http://schemas.microsoft.com/office/drawing/2014/main" id="{6BAC51BE-E559-8942-A95B-CEBD144BD99A}"/>
                </a:ext>
              </a:extLst>
            </p:cNvPr>
            <p:cNvSpPr>
              <a:spLocks/>
            </p:cNvSpPr>
            <p:nvPr/>
          </p:nvSpPr>
          <p:spPr bwMode="auto">
            <a:xfrm>
              <a:off x="3364516" y="1574884"/>
              <a:ext cx="11629" cy="57585"/>
            </a:xfrm>
            <a:custGeom>
              <a:avLst/>
              <a:gdLst>
                <a:gd name="T0" fmla="*/ 2147483646 w 10"/>
                <a:gd name="T1" fmla="*/ 2147483646 h 58"/>
                <a:gd name="T2" fmla="*/ 2147483646 w 10"/>
                <a:gd name="T3" fmla="*/ 2147483646 h 58"/>
                <a:gd name="T4" fmla="*/ 2147483646 w 10"/>
                <a:gd name="T5" fmla="*/ 2147483646 h 58"/>
                <a:gd name="T6" fmla="*/ 2147483646 w 10"/>
                <a:gd name="T7" fmla="*/ 2147483646 h 58"/>
                <a:gd name="T8" fmla="*/ 0 w 10"/>
                <a:gd name="T9" fmla="*/ 2147483646 h 58"/>
                <a:gd name="T10" fmla="*/ 0 w 10"/>
                <a:gd name="T11" fmla="*/ 2147483646 h 58"/>
                <a:gd name="T12" fmla="*/ 0 w 10"/>
                <a:gd name="T13" fmla="*/ 2147483646 h 58"/>
                <a:gd name="T14" fmla="*/ 0 w 10"/>
                <a:gd name="T15" fmla="*/ 0 h 58"/>
                <a:gd name="T16" fmla="*/ 2147483646 w 10"/>
                <a:gd name="T17" fmla="*/ 0 h 58"/>
                <a:gd name="T18" fmla="*/ 2147483646 w 10"/>
                <a:gd name="T19" fmla="*/ 0 h 58"/>
                <a:gd name="T20" fmla="*/ 2147483646 w 10"/>
                <a:gd name="T21" fmla="*/ 0 h 58"/>
                <a:gd name="T22" fmla="*/ 2147483646 w 10"/>
                <a:gd name="T23" fmla="*/ 2147483646 h 58"/>
                <a:gd name="T24" fmla="*/ 2147483646 w 10"/>
                <a:gd name="T25" fmla="*/ 214748364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58">
                  <a:moveTo>
                    <a:pt x="10" y="55"/>
                  </a:moveTo>
                  <a:lnTo>
                    <a:pt x="7" y="58"/>
                  </a:lnTo>
                  <a:lnTo>
                    <a:pt x="4" y="58"/>
                  </a:lnTo>
                  <a:lnTo>
                    <a:pt x="0" y="58"/>
                  </a:lnTo>
                  <a:lnTo>
                    <a:pt x="0" y="55"/>
                  </a:lnTo>
                  <a:lnTo>
                    <a:pt x="0" y="3"/>
                  </a:lnTo>
                  <a:lnTo>
                    <a:pt x="0" y="0"/>
                  </a:lnTo>
                  <a:lnTo>
                    <a:pt x="4" y="0"/>
                  </a:lnTo>
                  <a:lnTo>
                    <a:pt x="7" y="0"/>
                  </a:lnTo>
                  <a:lnTo>
                    <a:pt x="10" y="3"/>
                  </a:lnTo>
                  <a:lnTo>
                    <a:pt x="10" y="55"/>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5" name="Freeform 663">
              <a:extLst>
                <a:ext uri="{FF2B5EF4-FFF2-40B4-BE49-F238E27FC236}">
                  <a16:creationId xmlns:a16="http://schemas.microsoft.com/office/drawing/2014/main" id="{731F30DD-47A2-A94C-B309-5C865CF96512}"/>
                </a:ext>
              </a:extLst>
            </p:cNvPr>
            <p:cNvSpPr>
              <a:spLocks/>
            </p:cNvSpPr>
            <p:nvPr/>
          </p:nvSpPr>
          <p:spPr bwMode="auto">
            <a:xfrm>
              <a:off x="3364516" y="1574884"/>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4" y="10"/>
                  </a:moveTo>
                  <a:lnTo>
                    <a:pt x="0" y="6"/>
                  </a:lnTo>
                  <a:lnTo>
                    <a:pt x="0" y="3"/>
                  </a:lnTo>
                  <a:lnTo>
                    <a:pt x="0" y="0"/>
                  </a:lnTo>
                  <a:lnTo>
                    <a:pt x="4" y="0"/>
                  </a:lnTo>
                  <a:lnTo>
                    <a:pt x="26" y="0"/>
                  </a:lnTo>
                  <a:lnTo>
                    <a:pt x="29" y="0"/>
                  </a:lnTo>
                  <a:lnTo>
                    <a:pt x="29" y="3"/>
                  </a:lnTo>
                  <a:lnTo>
                    <a:pt x="29" y="6"/>
                  </a:lnTo>
                  <a:lnTo>
                    <a:pt x="26"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6" name="Freeform 664">
              <a:extLst>
                <a:ext uri="{FF2B5EF4-FFF2-40B4-BE49-F238E27FC236}">
                  <a16:creationId xmlns:a16="http://schemas.microsoft.com/office/drawing/2014/main" id="{79AFBBA9-63B3-5B44-BF61-B9B5598118E7}"/>
                </a:ext>
              </a:extLst>
            </p:cNvPr>
            <p:cNvSpPr>
              <a:spLocks/>
            </p:cNvSpPr>
            <p:nvPr/>
          </p:nvSpPr>
          <p:spPr bwMode="auto">
            <a:xfrm>
              <a:off x="3391263" y="1574884"/>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3" y="10"/>
                  </a:moveTo>
                  <a:lnTo>
                    <a:pt x="0" y="6"/>
                  </a:lnTo>
                  <a:lnTo>
                    <a:pt x="0" y="3"/>
                  </a:lnTo>
                  <a:lnTo>
                    <a:pt x="0" y="0"/>
                  </a:lnTo>
                  <a:lnTo>
                    <a:pt x="3" y="0"/>
                  </a:lnTo>
                  <a:lnTo>
                    <a:pt x="19" y="0"/>
                  </a:lnTo>
                  <a:lnTo>
                    <a:pt x="23" y="0"/>
                  </a:lnTo>
                  <a:lnTo>
                    <a:pt x="23" y="3"/>
                  </a:lnTo>
                  <a:lnTo>
                    <a:pt x="23" y="6"/>
                  </a:lnTo>
                  <a:lnTo>
                    <a:pt x="1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7" name="Freeform 665">
              <a:extLst>
                <a:ext uri="{FF2B5EF4-FFF2-40B4-BE49-F238E27FC236}">
                  <a16:creationId xmlns:a16="http://schemas.microsoft.com/office/drawing/2014/main" id="{DCCC9724-6EE4-384C-AF44-2C5E8CB9ED41}"/>
                </a:ext>
              </a:extLst>
            </p:cNvPr>
            <p:cNvSpPr>
              <a:spLocks/>
            </p:cNvSpPr>
            <p:nvPr/>
          </p:nvSpPr>
          <p:spPr bwMode="auto">
            <a:xfrm>
              <a:off x="3409869" y="1574884"/>
              <a:ext cx="94197" cy="9928"/>
            </a:xfrm>
            <a:custGeom>
              <a:avLst/>
              <a:gdLst>
                <a:gd name="T0" fmla="*/ 2147483646 w 81"/>
                <a:gd name="T1" fmla="*/ 2147483646 h 10"/>
                <a:gd name="T2" fmla="*/ 0 w 81"/>
                <a:gd name="T3" fmla="*/ 2147483646 h 10"/>
                <a:gd name="T4" fmla="*/ 0 w 81"/>
                <a:gd name="T5" fmla="*/ 2147483646 h 10"/>
                <a:gd name="T6" fmla="*/ 0 w 81"/>
                <a:gd name="T7" fmla="*/ 2147483646 h 10"/>
                <a:gd name="T8" fmla="*/ 0 w 81"/>
                <a:gd name="T9" fmla="*/ 0 h 10"/>
                <a:gd name="T10" fmla="*/ 2147483646 w 81"/>
                <a:gd name="T11" fmla="*/ 0 h 10"/>
                <a:gd name="T12" fmla="*/ 2147483646 w 81"/>
                <a:gd name="T13" fmla="*/ 0 h 10"/>
                <a:gd name="T14" fmla="*/ 2147483646 w 81"/>
                <a:gd name="T15" fmla="*/ 0 h 10"/>
                <a:gd name="T16" fmla="*/ 2147483646 w 81"/>
                <a:gd name="T17" fmla="*/ 2147483646 h 10"/>
                <a:gd name="T18" fmla="*/ 2147483646 w 81"/>
                <a:gd name="T19" fmla="*/ 2147483646 h 10"/>
                <a:gd name="T20" fmla="*/ 2147483646 w 81"/>
                <a:gd name="T21" fmla="*/ 2147483646 h 10"/>
                <a:gd name="T22" fmla="*/ 2147483646 w 81"/>
                <a:gd name="T23" fmla="*/ 2147483646 h 10"/>
                <a:gd name="T24" fmla="*/ 2147483646 w 8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1" h="10">
                  <a:moveTo>
                    <a:pt x="3" y="10"/>
                  </a:moveTo>
                  <a:lnTo>
                    <a:pt x="0" y="6"/>
                  </a:lnTo>
                  <a:lnTo>
                    <a:pt x="0" y="3"/>
                  </a:lnTo>
                  <a:lnTo>
                    <a:pt x="0" y="0"/>
                  </a:lnTo>
                  <a:lnTo>
                    <a:pt x="3" y="0"/>
                  </a:lnTo>
                  <a:lnTo>
                    <a:pt x="78" y="0"/>
                  </a:lnTo>
                  <a:lnTo>
                    <a:pt x="81" y="0"/>
                  </a:lnTo>
                  <a:lnTo>
                    <a:pt x="81" y="3"/>
                  </a:lnTo>
                  <a:lnTo>
                    <a:pt x="81" y="6"/>
                  </a:lnTo>
                  <a:lnTo>
                    <a:pt x="78"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8" name="Freeform 666">
              <a:extLst>
                <a:ext uri="{FF2B5EF4-FFF2-40B4-BE49-F238E27FC236}">
                  <a16:creationId xmlns:a16="http://schemas.microsoft.com/office/drawing/2014/main" id="{8FB619D7-D362-CC4C-A5C7-B53D10C6FF27}"/>
                </a:ext>
              </a:extLst>
            </p:cNvPr>
            <p:cNvSpPr>
              <a:spLocks/>
            </p:cNvSpPr>
            <p:nvPr/>
          </p:nvSpPr>
          <p:spPr bwMode="auto">
            <a:xfrm>
              <a:off x="3495926" y="1510349"/>
              <a:ext cx="11629" cy="70492"/>
            </a:xfrm>
            <a:custGeom>
              <a:avLst/>
              <a:gdLst>
                <a:gd name="T0" fmla="*/ 2147483646 w 10"/>
                <a:gd name="T1" fmla="*/ 2147483646 h 71"/>
                <a:gd name="T2" fmla="*/ 2147483646 w 10"/>
                <a:gd name="T3" fmla="*/ 2147483646 h 71"/>
                <a:gd name="T4" fmla="*/ 2147483646 w 10"/>
                <a:gd name="T5" fmla="*/ 2147483646 h 71"/>
                <a:gd name="T6" fmla="*/ 2147483646 w 10"/>
                <a:gd name="T7" fmla="*/ 2147483646 h 71"/>
                <a:gd name="T8" fmla="*/ 0 w 10"/>
                <a:gd name="T9" fmla="*/ 2147483646 h 71"/>
                <a:gd name="T10" fmla="*/ 0 w 10"/>
                <a:gd name="T11" fmla="*/ 2147483646 h 71"/>
                <a:gd name="T12" fmla="*/ 0 w 10"/>
                <a:gd name="T13" fmla="*/ 2147483646 h 71"/>
                <a:gd name="T14" fmla="*/ 0 w 10"/>
                <a:gd name="T15" fmla="*/ 0 h 71"/>
                <a:gd name="T16" fmla="*/ 2147483646 w 10"/>
                <a:gd name="T17" fmla="*/ 0 h 71"/>
                <a:gd name="T18" fmla="*/ 2147483646 w 10"/>
                <a:gd name="T19" fmla="*/ 0 h 71"/>
                <a:gd name="T20" fmla="*/ 2147483646 w 10"/>
                <a:gd name="T21" fmla="*/ 0 h 71"/>
                <a:gd name="T22" fmla="*/ 2147483646 w 10"/>
                <a:gd name="T23" fmla="*/ 2147483646 h 71"/>
                <a:gd name="T24" fmla="*/ 2147483646 w 10"/>
                <a:gd name="T25" fmla="*/ 2147483646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71">
                  <a:moveTo>
                    <a:pt x="10" y="68"/>
                  </a:moveTo>
                  <a:lnTo>
                    <a:pt x="7" y="71"/>
                  </a:lnTo>
                  <a:lnTo>
                    <a:pt x="4" y="71"/>
                  </a:lnTo>
                  <a:lnTo>
                    <a:pt x="0" y="71"/>
                  </a:lnTo>
                  <a:lnTo>
                    <a:pt x="0" y="68"/>
                  </a:lnTo>
                  <a:lnTo>
                    <a:pt x="0" y="4"/>
                  </a:lnTo>
                  <a:lnTo>
                    <a:pt x="0" y="0"/>
                  </a:lnTo>
                  <a:lnTo>
                    <a:pt x="4" y="0"/>
                  </a:lnTo>
                  <a:lnTo>
                    <a:pt x="7" y="0"/>
                  </a:lnTo>
                  <a:lnTo>
                    <a:pt x="10" y="4"/>
                  </a:lnTo>
                  <a:lnTo>
                    <a:pt x="10" y="68"/>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9" name="Freeform 667">
              <a:extLst>
                <a:ext uri="{FF2B5EF4-FFF2-40B4-BE49-F238E27FC236}">
                  <a16:creationId xmlns:a16="http://schemas.microsoft.com/office/drawing/2014/main" id="{5CFFE17C-E43F-E841-884C-9B694E18D36B}"/>
                </a:ext>
              </a:extLst>
            </p:cNvPr>
            <p:cNvSpPr>
              <a:spLocks/>
            </p:cNvSpPr>
            <p:nvPr/>
          </p:nvSpPr>
          <p:spPr bwMode="auto">
            <a:xfrm>
              <a:off x="3495926" y="1510349"/>
              <a:ext cx="251191" cy="9928"/>
            </a:xfrm>
            <a:custGeom>
              <a:avLst/>
              <a:gdLst>
                <a:gd name="T0" fmla="*/ 2147483646 w 216"/>
                <a:gd name="T1" fmla="*/ 2147483646 h 10"/>
                <a:gd name="T2" fmla="*/ 0 w 216"/>
                <a:gd name="T3" fmla="*/ 2147483646 h 10"/>
                <a:gd name="T4" fmla="*/ 0 w 216"/>
                <a:gd name="T5" fmla="*/ 2147483646 h 10"/>
                <a:gd name="T6" fmla="*/ 0 w 216"/>
                <a:gd name="T7" fmla="*/ 2147483646 h 10"/>
                <a:gd name="T8" fmla="*/ 0 w 216"/>
                <a:gd name="T9" fmla="*/ 0 h 10"/>
                <a:gd name="T10" fmla="*/ 2147483646 w 216"/>
                <a:gd name="T11" fmla="*/ 0 h 10"/>
                <a:gd name="T12" fmla="*/ 2147483646 w 216"/>
                <a:gd name="T13" fmla="*/ 0 h 10"/>
                <a:gd name="T14" fmla="*/ 2147483646 w 216"/>
                <a:gd name="T15" fmla="*/ 0 h 10"/>
                <a:gd name="T16" fmla="*/ 2147483646 w 216"/>
                <a:gd name="T17" fmla="*/ 2147483646 h 10"/>
                <a:gd name="T18" fmla="*/ 2147483646 w 216"/>
                <a:gd name="T19" fmla="*/ 2147483646 h 10"/>
                <a:gd name="T20" fmla="*/ 2147483646 w 216"/>
                <a:gd name="T21" fmla="*/ 2147483646 h 10"/>
                <a:gd name="T22" fmla="*/ 2147483646 w 216"/>
                <a:gd name="T23" fmla="*/ 2147483646 h 10"/>
                <a:gd name="T24" fmla="*/ 2147483646 w 2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6" h="10">
                  <a:moveTo>
                    <a:pt x="4" y="10"/>
                  </a:moveTo>
                  <a:lnTo>
                    <a:pt x="0" y="7"/>
                  </a:lnTo>
                  <a:lnTo>
                    <a:pt x="0" y="4"/>
                  </a:lnTo>
                  <a:lnTo>
                    <a:pt x="0" y="0"/>
                  </a:lnTo>
                  <a:lnTo>
                    <a:pt x="4" y="0"/>
                  </a:lnTo>
                  <a:lnTo>
                    <a:pt x="213" y="0"/>
                  </a:lnTo>
                  <a:lnTo>
                    <a:pt x="216" y="0"/>
                  </a:lnTo>
                  <a:lnTo>
                    <a:pt x="216" y="4"/>
                  </a:lnTo>
                  <a:lnTo>
                    <a:pt x="216" y="7"/>
                  </a:lnTo>
                  <a:lnTo>
                    <a:pt x="2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0" name="Freeform 668">
              <a:extLst>
                <a:ext uri="{FF2B5EF4-FFF2-40B4-BE49-F238E27FC236}">
                  <a16:creationId xmlns:a16="http://schemas.microsoft.com/office/drawing/2014/main" id="{2A33482F-BD3F-FF49-A402-1AD622EEA8DA}"/>
                </a:ext>
              </a:extLst>
            </p:cNvPr>
            <p:cNvSpPr>
              <a:spLocks/>
            </p:cNvSpPr>
            <p:nvPr/>
          </p:nvSpPr>
          <p:spPr bwMode="auto">
            <a:xfrm>
              <a:off x="3740139" y="1510349"/>
              <a:ext cx="141876" cy="9928"/>
            </a:xfrm>
            <a:custGeom>
              <a:avLst/>
              <a:gdLst>
                <a:gd name="T0" fmla="*/ 2147483646 w 122"/>
                <a:gd name="T1" fmla="*/ 2147483646 h 10"/>
                <a:gd name="T2" fmla="*/ 0 w 122"/>
                <a:gd name="T3" fmla="*/ 2147483646 h 10"/>
                <a:gd name="T4" fmla="*/ 0 w 122"/>
                <a:gd name="T5" fmla="*/ 2147483646 h 10"/>
                <a:gd name="T6" fmla="*/ 0 w 122"/>
                <a:gd name="T7" fmla="*/ 2147483646 h 10"/>
                <a:gd name="T8" fmla="*/ 0 w 122"/>
                <a:gd name="T9" fmla="*/ 0 h 10"/>
                <a:gd name="T10" fmla="*/ 2147483646 w 122"/>
                <a:gd name="T11" fmla="*/ 0 h 10"/>
                <a:gd name="T12" fmla="*/ 2147483646 w 122"/>
                <a:gd name="T13" fmla="*/ 0 h 10"/>
                <a:gd name="T14" fmla="*/ 2147483646 w 122"/>
                <a:gd name="T15" fmla="*/ 0 h 10"/>
                <a:gd name="T16" fmla="*/ 2147483646 w 122"/>
                <a:gd name="T17" fmla="*/ 2147483646 h 10"/>
                <a:gd name="T18" fmla="*/ 2147483646 w 122"/>
                <a:gd name="T19" fmla="*/ 2147483646 h 10"/>
                <a:gd name="T20" fmla="*/ 2147483646 w 122"/>
                <a:gd name="T21" fmla="*/ 2147483646 h 10"/>
                <a:gd name="T22" fmla="*/ 2147483646 w 122"/>
                <a:gd name="T23" fmla="*/ 2147483646 h 10"/>
                <a:gd name="T24" fmla="*/ 2147483646 w 1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2" h="10">
                  <a:moveTo>
                    <a:pt x="3" y="10"/>
                  </a:moveTo>
                  <a:lnTo>
                    <a:pt x="0" y="7"/>
                  </a:lnTo>
                  <a:lnTo>
                    <a:pt x="0" y="4"/>
                  </a:lnTo>
                  <a:lnTo>
                    <a:pt x="0" y="0"/>
                  </a:lnTo>
                  <a:lnTo>
                    <a:pt x="3" y="0"/>
                  </a:lnTo>
                  <a:lnTo>
                    <a:pt x="119" y="0"/>
                  </a:lnTo>
                  <a:lnTo>
                    <a:pt x="122" y="0"/>
                  </a:lnTo>
                  <a:lnTo>
                    <a:pt x="122" y="4"/>
                  </a:lnTo>
                  <a:lnTo>
                    <a:pt x="122" y="7"/>
                  </a:lnTo>
                  <a:lnTo>
                    <a:pt x="11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1" name="Freeform 669">
              <a:extLst>
                <a:ext uri="{FF2B5EF4-FFF2-40B4-BE49-F238E27FC236}">
                  <a16:creationId xmlns:a16="http://schemas.microsoft.com/office/drawing/2014/main" id="{ADD05A87-EDA9-894D-9DB4-1D6D1C46F015}"/>
                </a:ext>
              </a:extLst>
            </p:cNvPr>
            <p:cNvSpPr>
              <a:spLocks/>
            </p:cNvSpPr>
            <p:nvPr/>
          </p:nvSpPr>
          <p:spPr bwMode="auto">
            <a:xfrm>
              <a:off x="3875038" y="1510349"/>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2" y="0"/>
                  </a:lnTo>
                  <a:lnTo>
                    <a:pt x="26" y="0"/>
                  </a:lnTo>
                  <a:lnTo>
                    <a:pt x="26" y="4"/>
                  </a:lnTo>
                  <a:lnTo>
                    <a:pt x="26" y="7"/>
                  </a:lnTo>
                  <a:lnTo>
                    <a:pt x="22"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2" name="Freeform 670">
              <a:extLst>
                <a:ext uri="{FF2B5EF4-FFF2-40B4-BE49-F238E27FC236}">
                  <a16:creationId xmlns:a16="http://schemas.microsoft.com/office/drawing/2014/main" id="{B524FF1B-2E27-6D42-8913-2559BE0A016B}"/>
                </a:ext>
              </a:extLst>
            </p:cNvPr>
            <p:cNvSpPr>
              <a:spLocks/>
            </p:cNvSpPr>
            <p:nvPr/>
          </p:nvSpPr>
          <p:spPr bwMode="auto">
            <a:xfrm>
              <a:off x="3897134" y="1510349"/>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3" y="10"/>
                  </a:moveTo>
                  <a:lnTo>
                    <a:pt x="0" y="7"/>
                  </a:lnTo>
                  <a:lnTo>
                    <a:pt x="0" y="4"/>
                  </a:lnTo>
                  <a:lnTo>
                    <a:pt x="0" y="0"/>
                  </a:lnTo>
                  <a:lnTo>
                    <a:pt x="3" y="0"/>
                  </a:lnTo>
                  <a:lnTo>
                    <a:pt x="32" y="0"/>
                  </a:lnTo>
                  <a:lnTo>
                    <a:pt x="36" y="0"/>
                  </a:lnTo>
                  <a:lnTo>
                    <a:pt x="36" y="4"/>
                  </a:lnTo>
                  <a:lnTo>
                    <a:pt x="36" y="7"/>
                  </a:lnTo>
                  <a:lnTo>
                    <a:pt x="32"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3" name="Freeform 671">
              <a:extLst>
                <a:ext uri="{FF2B5EF4-FFF2-40B4-BE49-F238E27FC236}">
                  <a16:creationId xmlns:a16="http://schemas.microsoft.com/office/drawing/2014/main" id="{AE8901C1-A34B-C840-A36C-32E765417677}"/>
                </a:ext>
              </a:extLst>
            </p:cNvPr>
            <p:cNvSpPr>
              <a:spLocks/>
            </p:cNvSpPr>
            <p:nvPr/>
          </p:nvSpPr>
          <p:spPr bwMode="auto">
            <a:xfrm>
              <a:off x="3930858" y="15103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4" name="Freeform 672">
              <a:extLst>
                <a:ext uri="{FF2B5EF4-FFF2-40B4-BE49-F238E27FC236}">
                  <a16:creationId xmlns:a16="http://schemas.microsoft.com/office/drawing/2014/main" id="{9569872E-6431-324C-BC76-3ED40210691E}"/>
                </a:ext>
              </a:extLst>
            </p:cNvPr>
            <p:cNvSpPr>
              <a:spLocks/>
            </p:cNvSpPr>
            <p:nvPr/>
          </p:nvSpPr>
          <p:spPr bwMode="auto">
            <a:xfrm>
              <a:off x="3938999" y="1510349"/>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4"/>
                  </a:lnTo>
                  <a:lnTo>
                    <a:pt x="0" y="0"/>
                  </a:lnTo>
                  <a:lnTo>
                    <a:pt x="3" y="0"/>
                  </a:lnTo>
                  <a:lnTo>
                    <a:pt x="25" y="0"/>
                  </a:lnTo>
                  <a:lnTo>
                    <a:pt x="29" y="0"/>
                  </a:lnTo>
                  <a:lnTo>
                    <a:pt x="29" y="4"/>
                  </a:lnTo>
                  <a:lnTo>
                    <a:pt x="29" y="7"/>
                  </a:lnTo>
                  <a:lnTo>
                    <a:pt x="25"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5" name="Freeform 673">
              <a:extLst>
                <a:ext uri="{FF2B5EF4-FFF2-40B4-BE49-F238E27FC236}">
                  <a16:creationId xmlns:a16="http://schemas.microsoft.com/office/drawing/2014/main" id="{48068858-6C1D-D94E-9E4A-77FE63D44F6C}"/>
                </a:ext>
              </a:extLst>
            </p:cNvPr>
            <p:cNvSpPr>
              <a:spLocks/>
            </p:cNvSpPr>
            <p:nvPr/>
          </p:nvSpPr>
          <p:spPr bwMode="auto">
            <a:xfrm>
              <a:off x="3964583" y="1510349"/>
              <a:ext cx="150017" cy="9928"/>
            </a:xfrm>
            <a:custGeom>
              <a:avLst/>
              <a:gdLst>
                <a:gd name="T0" fmla="*/ 2147483646 w 129"/>
                <a:gd name="T1" fmla="*/ 2147483646 h 10"/>
                <a:gd name="T2" fmla="*/ 0 w 129"/>
                <a:gd name="T3" fmla="*/ 2147483646 h 10"/>
                <a:gd name="T4" fmla="*/ 0 w 129"/>
                <a:gd name="T5" fmla="*/ 2147483646 h 10"/>
                <a:gd name="T6" fmla="*/ 0 w 129"/>
                <a:gd name="T7" fmla="*/ 2147483646 h 10"/>
                <a:gd name="T8" fmla="*/ 0 w 129"/>
                <a:gd name="T9" fmla="*/ 0 h 10"/>
                <a:gd name="T10" fmla="*/ 2147483646 w 129"/>
                <a:gd name="T11" fmla="*/ 0 h 10"/>
                <a:gd name="T12" fmla="*/ 2147483646 w 129"/>
                <a:gd name="T13" fmla="*/ 0 h 10"/>
                <a:gd name="T14" fmla="*/ 2147483646 w 129"/>
                <a:gd name="T15" fmla="*/ 0 h 10"/>
                <a:gd name="T16" fmla="*/ 2147483646 w 129"/>
                <a:gd name="T17" fmla="*/ 2147483646 h 10"/>
                <a:gd name="T18" fmla="*/ 2147483646 w 129"/>
                <a:gd name="T19" fmla="*/ 2147483646 h 10"/>
                <a:gd name="T20" fmla="*/ 2147483646 w 129"/>
                <a:gd name="T21" fmla="*/ 2147483646 h 10"/>
                <a:gd name="T22" fmla="*/ 2147483646 w 129"/>
                <a:gd name="T23" fmla="*/ 2147483646 h 10"/>
                <a:gd name="T24" fmla="*/ 2147483646 w 1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9" h="10">
                  <a:moveTo>
                    <a:pt x="3" y="10"/>
                  </a:moveTo>
                  <a:lnTo>
                    <a:pt x="0" y="7"/>
                  </a:lnTo>
                  <a:lnTo>
                    <a:pt x="0" y="4"/>
                  </a:lnTo>
                  <a:lnTo>
                    <a:pt x="0" y="0"/>
                  </a:lnTo>
                  <a:lnTo>
                    <a:pt x="3" y="0"/>
                  </a:lnTo>
                  <a:lnTo>
                    <a:pt x="126" y="0"/>
                  </a:lnTo>
                  <a:lnTo>
                    <a:pt x="129" y="0"/>
                  </a:lnTo>
                  <a:lnTo>
                    <a:pt x="129" y="4"/>
                  </a:lnTo>
                  <a:lnTo>
                    <a:pt x="129" y="7"/>
                  </a:lnTo>
                  <a:lnTo>
                    <a:pt x="12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6" name="Freeform 674">
              <a:extLst>
                <a:ext uri="{FF2B5EF4-FFF2-40B4-BE49-F238E27FC236}">
                  <a16:creationId xmlns:a16="http://schemas.microsoft.com/office/drawing/2014/main" id="{88A8CC24-E837-BA49-AE34-E284AA9C2A7F}"/>
                </a:ext>
              </a:extLst>
            </p:cNvPr>
            <p:cNvSpPr>
              <a:spLocks/>
            </p:cNvSpPr>
            <p:nvPr/>
          </p:nvSpPr>
          <p:spPr bwMode="auto">
            <a:xfrm>
              <a:off x="4107622" y="1510349"/>
              <a:ext cx="104663" cy="9928"/>
            </a:xfrm>
            <a:custGeom>
              <a:avLst/>
              <a:gdLst>
                <a:gd name="T0" fmla="*/ 2147483646 w 90"/>
                <a:gd name="T1" fmla="*/ 2147483646 h 10"/>
                <a:gd name="T2" fmla="*/ 0 w 90"/>
                <a:gd name="T3" fmla="*/ 2147483646 h 10"/>
                <a:gd name="T4" fmla="*/ 0 w 90"/>
                <a:gd name="T5" fmla="*/ 2147483646 h 10"/>
                <a:gd name="T6" fmla="*/ 0 w 90"/>
                <a:gd name="T7" fmla="*/ 2147483646 h 10"/>
                <a:gd name="T8" fmla="*/ 0 w 90"/>
                <a:gd name="T9" fmla="*/ 0 h 10"/>
                <a:gd name="T10" fmla="*/ 2147483646 w 90"/>
                <a:gd name="T11" fmla="*/ 0 h 10"/>
                <a:gd name="T12" fmla="*/ 2147483646 w 90"/>
                <a:gd name="T13" fmla="*/ 0 h 10"/>
                <a:gd name="T14" fmla="*/ 2147483646 w 90"/>
                <a:gd name="T15" fmla="*/ 0 h 10"/>
                <a:gd name="T16" fmla="*/ 2147483646 w 90"/>
                <a:gd name="T17" fmla="*/ 2147483646 h 10"/>
                <a:gd name="T18" fmla="*/ 2147483646 w 90"/>
                <a:gd name="T19" fmla="*/ 2147483646 h 10"/>
                <a:gd name="T20" fmla="*/ 2147483646 w 90"/>
                <a:gd name="T21" fmla="*/ 2147483646 h 10"/>
                <a:gd name="T22" fmla="*/ 2147483646 w 90"/>
                <a:gd name="T23" fmla="*/ 2147483646 h 10"/>
                <a:gd name="T24" fmla="*/ 2147483646 w 9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
                  <a:moveTo>
                    <a:pt x="3" y="10"/>
                  </a:moveTo>
                  <a:lnTo>
                    <a:pt x="0" y="7"/>
                  </a:lnTo>
                  <a:lnTo>
                    <a:pt x="0" y="4"/>
                  </a:lnTo>
                  <a:lnTo>
                    <a:pt x="0" y="0"/>
                  </a:lnTo>
                  <a:lnTo>
                    <a:pt x="3" y="0"/>
                  </a:lnTo>
                  <a:lnTo>
                    <a:pt x="87" y="0"/>
                  </a:lnTo>
                  <a:lnTo>
                    <a:pt x="90" y="0"/>
                  </a:lnTo>
                  <a:lnTo>
                    <a:pt x="90" y="4"/>
                  </a:lnTo>
                  <a:lnTo>
                    <a:pt x="90" y="7"/>
                  </a:lnTo>
                  <a:lnTo>
                    <a:pt x="8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7" name="Freeform 677">
              <a:extLst>
                <a:ext uri="{FF2B5EF4-FFF2-40B4-BE49-F238E27FC236}">
                  <a16:creationId xmlns:a16="http://schemas.microsoft.com/office/drawing/2014/main" id="{DA891700-3096-D448-A6CE-C1FA1EB0C448}"/>
                </a:ext>
              </a:extLst>
            </p:cNvPr>
            <p:cNvSpPr>
              <a:spLocks/>
            </p:cNvSpPr>
            <p:nvPr/>
          </p:nvSpPr>
          <p:spPr bwMode="auto">
            <a:xfrm>
              <a:off x="921217" y="2836788"/>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4" y="10"/>
                  </a:moveTo>
                  <a:lnTo>
                    <a:pt x="0" y="7"/>
                  </a:lnTo>
                  <a:lnTo>
                    <a:pt x="0" y="3"/>
                  </a:lnTo>
                  <a:lnTo>
                    <a:pt x="0" y="0"/>
                  </a:lnTo>
                  <a:lnTo>
                    <a:pt x="4" y="0"/>
                  </a:lnTo>
                  <a:lnTo>
                    <a:pt x="39" y="0"/>
                  </a:lnTo>
                  <a:lnTo>
                    <a:pt x="42" y="0"/>
                  </a:lnTo>
                  <a:lnTo>
                    <a:pt x="42" y="3"/>
                  </a:lnTo>
                  <a:lnTo>
                    <a:pt x="42" y="7"/>
                  </a:lnTo>
                  <a:lnTo>
                    <a:pt x="39"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8" name="Freeform 678">
              <a:extLst>
                <a:ext uri="{FF2B5EF4-FFF2-40B4-BE49-F238E27FC236}">
                  <a16:creationId xmlns:a16="http://schemas.microsoft.com/office/drawing/2014/main" id="{6D13F737-7E87-3842-893D-3D94DA657AE7}"/>
                </a:ext>
              </a:extLst>
            </p:cNvPr>
            <p:cNvSpPr>
              <a:spLocks/>
            </p:cNvSpPr>
            <p:nvPr/>
          </p:nvSpPr>
          <p:spPr bwMode="auto">
            <a:xfrm>
              <a:off x="963082" y="2827852"/>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2"/>
                  </a:moveTo>
                  <a:lnTo>
                    <a:pt x="6" y="16"/>
                  </a:lnTo>
                  <a:lnTo>
                    <a:pt x="3" y="16"/>
                  </a:lnTo>
                  <a:lnTo>
                    <a:pt x="0" y="16"/>
                  </a:lnTo>
                  <a:lnTo>
                    <a:pt x="0" y="12"/>
                  </a:lnTo>
                  <a:lnTo>
                    <a:pt x="0" y="3"/>
                  </a:lnTo>
                  <a:lnTo>
                    <a:pt x="0" y="0"/>
                  </a:lnTo>
                  <a:lnTo>
                    <a:pt x="3" y="0"/>
                  </a:lnTo>
                  <a:lnTo>
                    <a:pt x="6" y="0"/>
                  </a:lnTo>
                  <a:lnTo>
                    <a:pt x="9" y="3"/>
                  </a:lnTo>
                  <a:lnTo>
                    <a:pt x="9" y="1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9" name="Freeform 679">
              <a:extLst>
                <a:ext uri="{FF2B5EF4-FFF2-40B4-BE49-F238E27FC236}">
                  <a16:creationId xmlns:a16="http://schemas.microsoft.com/office/drawing/2014/main" id="{F61B5A31-C2F3-0047-8A2F-924D37A24A0C}"/>
                </a:ext>
              </a:extLst>
            </p:cNvPr>
            <p:cNvSpPr>
              <a:spLocks/>
            </p:cNvSpPr>
            <p:nvPr/>
          </p:nvSpPr>
          <p:spPr bwMode="auto">
            <a:xfrm>
              <a:off x="963082" y="2827852"/>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2" y="0"/>
                  </a:lnTo>
                  <a:lnTo>
                    <a:pt x="26" y="0"/>
                  </a:lnTo>
                  <a:lnTo>
                    <a:pt x="26" y="3"/>
                  </a:lnTo>
                  <a:lnTo>
                    <a:pt x="26" y="6"/>
                  </a:lnTo>
                  <a:lnTo>
                    <a:pt x="2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0" name="Freeform 680">
              <a:extLst>
                <a:ext uri="{FF2B5EF4-FFF2-40B4-BE49-F238E27FC236}">
                  <a16:creationId xmlns:a16="http://schemas.microsoft.com/office/drawing/2014/main" id="{11556556-7689-5B45-862C-23F36362C9CF}"/>
                </a:ext>
              </a:extLst>
            </p:cNvPr>
            <p:cNvSpPr>
              <a:spLocks/>
            </p:cNvSpPr>
            <p:nvPr/>
          </p:nvSpPr>
          <p:spPr bwMode="auto">
            <a:xfrm>
              <a:off x="985178" y="282090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1" name="Freeform 681">
              <a:extLst>
                <a:ext uri="{FF2B5EF4-FFF2-40B4-BE49-F238E27FC236}">
                  <a16:creationId xmlns:a16="http://schemas.microsoft.com/office/drawing/2014/main" id="{FD26A360-2096-5248-BB8D-2AD835035BF2}"/>
                </a:ext>
              </a:extLst>
            </p:cNvPr>
            <p:cNvSpPr>
              <a:spLocks/>
            </p:cNvSpPr>
            <p:nvPr/>
          </p:nvSpPr>
          <p:spPr bwMode="auto">
            <a:xfrm>
              <a:off x="985178" y="282090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2" name="Freeform 682">
              <a:extLst>
                <a:ext uri="{FF2B5EF4-FFF2-40B4-BE49-F238E27FC236}">
                  <a16:creationId xmlns:a16="http://schemas.microsoft.com/office/drawing/2014/main" id="{7A6AE1EB-2B75-AC46-9BE5-2DF093E419D3}"/>
                </a:ext>
              </a:extLst>
            </p:cNvPr>
            <p:cNvSpPr>
              <a:spLocks/>
            </p:cNvSpPr>
            <p:nvPr/>
          </p:nvSpPr>
          <p:spPr bwMode="auto">
            <a:xfrm>
              <a:off x="988667" y="281494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3" name="Freeform 683">
              <a:extLst>
                <a:ext uri="{FF2B5EF4-FFF2-40B4-BE49-F238E27FC236}">
                  <a16:creationId xmlns:a16="http://schemas.microsoft.com/office/drawing/2014/main" id="{4F6B9E5C-C624-3445-B50B-E3843A26DCBF}"/>
                </a:ext>
              </a:extLst>
            </p:cNvPr>
            <p:cNvSpPr>
              <a:spLocks/>
            </p:cNvSpPr>
            <p:nvPr/>
          </p:nvSpPr>
          <p:spPr bwMode="auto">
            <a:xfrm>
              <a:off x="988667" y="280501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4" name="Freeform 684">
              <a:extLst>
                <a:ext uri="{FF2B5EF4-FFF2-40B4-BE49-F238E27FC236}">
                  <a16:creationId xmlns:a16="http://schemas.microsoft.com/office/drawing/2014/main" id="{829F0586-4C25-BF4B-8304-58E3695DAB9B}"/>
                </a:ext>
              </a:extLst>
            </p:cNvPr>
            <p:cNvSpPr>
              <a:spLocks/>
            </p:cNvSpPr>
            <p:nvPr/>
          </p:nvSpPr>
          <p:spPr bwMode="auto">
            <a:xfrm>
              <a:off x="988667" y="2799060"/>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4" y="12"/>
                  </a:lnTo>
                  <a:lnTo>
                    <a:pt x="0" y="12"/>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5" name="Freeform 685">
              <a:extLst>
                <a:ext uri="{FF2B5EF4-FFF2-40B4-BE49-F238E27FC236}">
                  <a16:creationId xmlns:a16="http://schemas.microsoft.com/office/drawing/2014/main" id="{EA361079-DA20-6B4B-A193-9D1D16D15162}"/>
                </a:ext>
              </a:extLst>
            </p:cNvPr>
            <p:cNvSpPr>
              <a:spLocks/>
            </p:cNvSpPr>
            <p:nvPr/>
          </p:nvSpPr>
          <p:spPr bwMode="auto">
            <a:xfrm>
              <a:off x="988667" y="2799060"/>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6" name="Freeform 686">
              <a:extLst>
                <a:ext uri="{FF2B5EF4-FFF2-40B4-BE49-F238E27FC236}">
                  <a16:creationId xmlns:a16="http://schemas.microsoft.com/office/drawing/2014/main" id="{A1B6CF0B-35A5-E748-A6AB-9474789D42F1}"/>
                </a:ext>
              </a:extLst>
            </p:cNvPr>
            <p:cNvSpPr>
              <a:spLocks/>
            </p:cNvSpPr>
            <p:nvPr/>
          </p:nvSpPr>
          <p:spPr bwMode="auto">
            <a:xfrm>
              <a:off x="993318" y="2792110"/>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7" name="Freeform 687">
              <a:extLst>
                <a:ext uri="{FF2B5EF4-FFF2-40B4-BE49-F238E27FC236}">
                  <a16:creationId xmlns:a16="http://schemas.microsoft.com/office/drawing/2014/main" id="{5F1150B9-6912-554D-B200-C3A7CA5BCCC8}"/>
                </a:ext>
              </a:extLst>
            </p:cNvPr>
            <p:cNvSpPr>
              <a:spLocks/>
            </p:cNvSpPr>
            <p:nvPr/>
          </p:nvSpPr>
          <p:spPr bwMode="auto">
            <a:xfrm>
              <a:off x="993318" y="279211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8" name="Freeform 688">
              <a:extLst>
                <a:ext uri="{FF2B5EF4-FFF2-40B4-BE49-F238E27FC236}">
                  <a16:creationId xmlns:a16="http://schemas.microsoft.com/office/drawing/2014/main" id="{F5C2B2DC-1F3A-CB46-BD36-86BEB37F614B}"/>
                </a:ext>
              </a:extLst>
            </p:cNvPr>
            <p:cNvSpPr>
              <a:spLocks/>
            </p:cNvSpPr>
            <p:nvPr/>
          </p:nvSpPr>
          <p:spPr bwMode="auto">
            <a:xfrm>
              <a:off x="1007273" y="2782182"/>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9" name="Freeform 689">
              <a:extLst>
                <a:ext uri="{FF2B5EF4-FFF2-40B4-BE49-F238E27FC236}">
                  <a16:creationId xmlns:a16="http://schemas.microsoft.com/office/drawing/2014/main" id="{6BAB97AC-797F-CA42-B7BE-A0A9F36022DE}"/>
                </a:ext>
              </a:extLst>
            </p:cNvPr>
            <p:cNvSpPr>
              <a:spLocks/>
            </p:cNvSpPr>
            <p:nvPr/>
          </p:nvSpPr>
          <p:spPr bwMode="auto">
            <a:xfrm>
              <a:off x="1007273" y="277622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0" name="Freeform 690">
              <a:extLst>
                <a:ext uri="{FF2B5EF4-FFF2-40B4-BE49-F238E27FC236}">
                  <a16:creationId xmlns:a16="http://schemas.microsoft.com/office/drawing/2014/main" id="{77EAA15C-4509-7C4F-93F0-5DE9ACFBD9A3}"/>
                </a:ext>
              </a:extLst>
            </p:cNvPr>
            <p:cNvSpPr>
              <a:spLocks/>
            </p:cNvSpPr>
            <p:nvPr/>
          </p:nvSpPr>
          <p:spPr bwMode="auto">
            <a:xfrm>
              <a:off x="1007273" y="27762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1" name="Freeform 691">
              <a:extLst>
                <a:ext uri="{FF2B5EF4-FFF2-40B4-BE49-F238E27FC236}">
                  <a16:creationId xmlns:a16="http://schemas.microsoft.com/office/drawing/2014/main" id="{D96ABCA4-961B-EE48-8D6C-D2DAB940D465}"/>
                </a:ext>
              </a:extLst>
            </p:cNvPr>
            <p:cNvSpPr>
              <a:spLocks/>
            </p:cNvSpPr>
            <p:nvPr/>
          </p:nvSpPr>
          <p:spPr bwMode="auto">
            <a:xfrm>
              <a:off x="1011925" y="2769274"/>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2" name="Freeform 692">
              <a:extLst>
                <a:ext uri="{FF2B5EF4-FFF2-40B4-BE49-F238E27FC236}">
                  <a16:creationId xmlns:a16="http://schemas.microsoft.com/office/drawing/2014/main" id="{554F4EDA-2F77-6A4F-8769-EB3173703B14}"/>
                </a:ext>
              </a:extLst>
            </p:cNvPr>
            <p:cNvSpPr>
              <a:spLocks/>
            </p:cNvSpPr>
            <p:nvPr/>
          </p:nvSpPr>
          <p:spPr bwMode="auto">
            <a:xfrm>
              <a:off x="1011925" y="2769274"/>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3" name="Freeform 693">
              <a:extLst>
                <a:ext uri="{FF2B5EF4-FFF2-40B4-BE49-F238E27FC236}">
                  <a16:creationId xmlns:a16="http://schemas.microsoft.com/office/drawing/2014/main" id="{3F11E1E8-D238-024C-8090-2DBB37768AD2}"/>
                </a:ext>
              </a:extLst>
            </p:cNvPr>
            <p:cNvSpPr>
              <a:spLocks/>
            </p:cNvSpPr>
            <p:nvPr/>
          </p:nvSpPr>
          <p:spPr bwMode="auto">
            <a:xfrm>
              <a:off x="1015414" y="276033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4" name="Freeform 694">
              <a:extLst>
                <a:ext uri="{FF2B5EF4-FFF2-40B4-BE49-F238E27FC236}">
                  <a16:creationId xmlns:a16="http://schemas.microsoft.com/office/drawing/2014/main" id="{ECE45BF1-E72E-6D4A-BE31-FA044C069831}"/>
                </a:ext>
              </a:extLst>
            </p:cNvPr>
            <p:cNvSpPr>
              <a:spLocks/>
            </p:cNvSpPr>
            <p:nvPr/>
          </p:nvSpPr>
          <p:spPr bwMode="auto">
            <a:xfrm>
              <a:off x="1015414" y="2760339"/>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5" name="Freeform 695">
              <a:extLst>
                <a:ext uri="{FF2B5EF4-FFF2-40B4-BE49-F238E27FC236}">
                  <a16:creationId xmlns:a16="http://schemas.microsoft.com/office/drawing/2014/main" id="{1BAEF121-56E2-374E-BA98-D03B1D6720B1}"/>
                </a:ext>
              </a:extLst>
            </p:cNvPr>
            <p:cNvSpPr>
              <a:spLocks/>
            </p:cNvSpPr>
            <p:nvPr/>
          </p:nvSpPr>
          <p:spPr bwMode="auto">
            <a:xfrm>
              <a:off x="1018903" y="2747432"/>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6" name="Freeform 696">
              <a:extLst>
                <a:ext uri="{FF2B5EF4-FFF2-40B4-BE49-F238E27FC236}">
                  <a16:creationId xmlns:a16="http://schemas.microsoft.com/office/drawing/2014/main" id="{D6CA7596-1B93-EF46-BE45-F1324AA5ADE4}"/>
                </a:ext>
              </a:extLst>
            </p:cNvPr>
            <p:cNvSpPr>
              <a:spLocks/>
            </p:cNvSpPr>
            <p:nvPr/>
          </p:nvSpPr>
          <p:spPr bwMode="auto">
            <a:xfrm>
              <a:off x="1018903" y="273750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7" name="Freeform 697">
              <a:extLst>
                <a:ext uri="{FF2B5EF4-FFF2-40B4-BE49-F238E27FC236}">
                  <a16:creationId xmlns:a16="http://schemas.microsoft.com/office/drawing/2014/main" id="{6E6EADBC-C14A-F143-9731-712F8254F8CA}"/>
                </a:ext>
              </a:extLst>
            </p:cNvPr>
            <p:cNvSpPr>
              <a:spLocks/>
            </p:cNvSpPr>
            <p:nvPr/>
          </p:nvSpPr>
          <p:spPr bwMode="auto">
            <a:xfrm>
              <a:off x="1018903" y="2737503"/>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8" name="Freeform 698">
              <a:extLst>
                <a:ext uri="{FF2B5EF4-FFF2-40B4-BE49-F238E27FC236}">
                  <a16:creationId xmlns:a16="http://schemas.microsoft.com/office/drawing/2014/main" id="{F766CA13-9A5F-3945-96B9-ADC75954A376}"/>
                </a:ext>
              </a:extLst>
            </p:cNvPr>
            <p:cNvSpPr>
              <a:spLocks/>
            </p:cNvSpPr>
            <p:nvPr/>
          </p:nvSpPr>
          <p:spPr bwMode="auto">
            <a:xfrm>
              <a:off x="1034021" y="273154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6" y="13"/>
                  </a:lnTo>
                  <a:lnTo>
                    <a:pt x="3" y="13"/>
                  </a:lnTo>
                  <a:lnTo>
                    <a:pt x="0" y="13"/>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9" name="Freeform 699">
              <a:extLst>
                <a:ext uri="{FF2B5EF4-FFF2-40B4-BE49-F238E27FC236}">
                  <a16:creationId xmlns:a16="http://schemas.microsoft.com/office/drawing/2014/main" id="{D26230AE-365F-7648-AEDE-AB714004E559}"/>
                </a:ext>
              </a:extLst>
            </p:cNvPr>
            <p:cNvSpPr>
              <a:spLocks/>
            </p:cNvSpPr>
            <p:nvPr/>
          </p:nvSpPr>
          <p:spPr bwMode="auto">
            <a:xfrm>
              <a:off x="1034021" y="273154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0" name="Freeform 700">
              <a:extLst>
                <a:ext uri="{FF2B5EF4-FFF2-40B4-BE49-F238E27FC236}">
                  <a16:creationId xmlns:a16="http://schemas.microsoft.com/office/drawing/2014/main" id="{77703CEA-100A-A74A-AD9B-978186611405}"/>
                </a:ext>
              </a:extLst>
            </p:cNvPr>
            <p:cNvSpPr>
              <a:spLocks/>
            </p:cNvSpPr>
            <p:nvPr/>
          </p:nvSpPr>
          <p:spPr bwMode="auto">
            <a:xfrm>
              <a:off x="1037509" y="272459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4"/>
                  </a:lnTo>
                  <a:lnTo>
                    <a:pt x="0" y="0"/>
                  </a:lnTo>
                  <a:lnTo>
                    <a:pt x="3"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1" name="Freeform 701">
              <a:extLst>
                <a:ext uri="{FF2B5EF4-FFF2-40B4-BE49-F238E27FC236}">
                  <a16:creationId xmlns:a16="http://schemas.microsoft.com/office/drawing/2014/main" id="{151E43C6-4E81-DE4F-BE1B-AB20C6DB7FC6}"/>
                </a:ext>
              </a:extLst>
            </p:cNvPr>
            <p:cNvSpPr>
              <a:spLocks/>
            </p:cNvSpPr>
            <p:nvPr/>
          </p:nvSpPr>
          <p:spPr bwMode="auto">
            <a:xfrm>
              <a:off x="1037509" y="272459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2" name="Freeform 702">
              <a:extLst>
                <a:ext uri="{FF2B5EF4-FFF2-40B4-BE49-F238E27FC236}">
                  <a16:creationId xmlns:a16="http://schemas.microsoft.com/office/drawing/2014/main" id="{F26388B3-06BF-4349-9690-C2D8D3CBB084}"/>
                </a:ext>
              </a:extLst>
            </p:cNvPr>
            <p:cNvSpPr>
              <a:spLocks/>
            </p:cNvSpPr>
            <p:nvPr/>
          </p:nvSpPr>
          <p:spPr bwMode="auto">
            <a:xfrm>
              <a:off x="1040999" y="271566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3" name="Freeform 703">
              <a:extLst>
                <a:ext uri="{FF2B5EF4-FFF2-40B4-BE49-F238E27FC236}">
                  <a16:creationId xmlns:a16="http://schemas.microsoft.com/office/drawing/2014/main" id="{5D340832-52D3-D344-8F2B-10AD2333C69C}"/>
                </a:ext>
              </a:extLst>
            </p:cNvPr>
            <p:cNvSpPr>
              <a:spLocks/>
            </p:cNvSpPr>
            <p:nvPr/>
          </p:nvSpPr>
          <p:spPr bwMode="auto">
            <a:xfrm>
              <a:off x="1040999" y="271566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4" name="Freeform 704">
              <a:extLst>
                <a:ext uri="{FF2B5EF4-FFF2-40B4-BE49-F238E27FC236}">
                  <a16:creationId xmlns:a16="http://schemas.microsoft.com/office/drawing/2014/main" id="{E8C104AF-C02A-A340-907E-20B8CEAA2E31}"/>
                </a:ext>
              </a:extLst>
            </p:cNvPr>
            <p:cNvSpPr>
              <a:spLocks/>
            </p:cNvSpPr>
            <p:nvPr/>
          </p:nvSpPr>
          <p:spPr bwMode="auto">
            <a:xfrm>
              <a:off x="1049139" y="270871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5" name="Freeform 705">
              <a:extLst>
                <a:ext uri="{FF2B5EF4-FFF2-40B4-BE49-F238E27FC236}">
                  <a16:creationId xmlns:a16="http://schemas.microsoft.com/office/drawing/2014/main" id="{A020B7B2-DCCD-9844-9C83-87958086C580}"/>
                </a:ext>
              </a:extLst>
            </p:cNvPr>
            <p:cNvSpPr>
              <a:spLocks/>
            </p:cNvSpPr>
            <p:nvPr/>
          </p:nvSpPr>
          <p:spPr bwMode="auto">
            <a:xfrm>
              <a:off x="1049139" y="270871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6" name="Freeform 706">
              <a:extLst>
                <a:ext uri="{FF2B5EF4-FFF2-40B4-BE49-F238E27FC236}">
                  <a16:creationId xmlns:a16="http://schemas.microsoft.com/office/drawing/2014/main" id="{73065D36-DE1D-AD4B-9E8F-C0BFE1F270E7}"/>
                </a:ext>
              </a:extLst>
            </p:cNvPr>
            <p:cNvSpPr>
              <a:spLocks/>
            </p:cNvSpPr>
            <p:nvPr/>
          </p:nvSpPr>
          <p:spPr bwMode="auto">
            <a:xfrm>
              <a:off x="1052628" y="270275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7" name="Freeform 707">
              <a:extLst>
                <a:ext uri="{FF2B5EF4-FFF2-40B4-BE49-F238E27FC236}">
                  <a16:creationId xmlns:a16="http://schemas.microsoft.com/office/drawing/2014/main" id="{937547B1-807F-974A-8AAF-DFC2159C616C}"/>
                </a:ext>
              </a:extLst>
            </p:cNvPr>
            <p:cNvSpPr>
              <a:spLocks/>
            </p:cNvSpPr>
            <p:nvPr/>
          </p:nvSpPr>
          <p:spPr bwMode="auto">
            <a:xfrm>
              <a:off x="1052628" y="270275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8" name="Freeform 708">
              <a:extLst>
                <a:ext uri="{FF2B5EF4-FFF2-40B4-BE49-F238E27FC236}">
                  <a16:creationId xmlns:a16="http://schemas.microsoft.com/office/drawing/2014/main" id="{60B78EB4-3343-A44F-9109-7A3718E83404}"/>
                </a:ext>
              </a:extLst>
            </p:cNvPr>
            <p:cNvSpPr>
              <a:spLocks/>
            </p:cNvSpPr>
            <p:nvPr/>
          </p:nvSpPr>
          <p:spPr bwMode="auto">
            <a:xfrm>
              <a:off x="1060768" y="2692826"/>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9" name="Freeform 709">
              <a:extLst>
                <a:ext uri="{FF2B5EF4-FFF2-40B4-BE49-F238E27FC236}">
                  <a16:creationId xmlns:a16="http://schemas.microsoft.com/office/drawing/2014/main" id="{CF75FC78-54A7-C545-A227-8CD2CEAC6D49}"/>
                </a:ext>
              </a:extLst>
            </p:cNvPr>
            <p:cNvSpPr>
              <a:spLocks/>
            </p:cNvSpPr>
            <p:nvPr/>
          </p:nvSpPr>
          <p:spPr bwMode="auto">
            <a:xfrm>
              <a:off x="1060768" y="2692826"/>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6"/>
                  </a:lnTo>
                  <a:lnTo>
                    <a:pt x="0" y="3"/>
                  </a:lnTo>
                  <a:lnTo>
                    <a:pt x="0" y="0"/>
                  </a:lnTo>
                  <a:lnTo>
                    <a:pt x="3" y="0"/>
                  </a:lnTo>
                  <a:lnTo>
                    <a:pt x="9" y="0"/>
                  </a:lnTo>
                  <a:lnTo>
                    <a:pt x="12" y="0"/>
                  </a:lnTo>
                  <a:lnTo>
                    <a:pt x="12" y="3"/>
                  </a:lnTo>
                  <a:lnTo>
                    <a:pt x="12"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0" name="Freeform 710">
              <a:extLst>
                <a:ext uri="{FF2B5EF4-FFF2-40B4-BE49-F238E27FC236}">
                  <a16:creationId xmlns:a16="http://schemas.microsoft.com/office/drawing/2014/main" id="{418158AC-8EE1-D14D-B33B-1470675C6DEB}"/>
                </a:ext>
              </a:extLst>
            </p:cNvPr>
            <p:cNvSpPr>
              <a:spLocks/>
            </p:cNvSpPr>
            <p:nvPr/>
          </p:nvSpPr>
          <p:spPr bwMode="auto">
            <a:xfrm>
              <a:off x="1067745" y="2686869"/>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1" name="Freeform 711">
              <a:extLst>
                <a:ext uri="{FF2B5EF4-FFF2-40B4-BE49-F238E27FC236}">
                  <a16:creationId xmlns:a16="http://schemas.microsoft.com/office/drawing/2014/main" id="{7C13C6F2-CA0E-8C45-B1E9-61D8C3682CE2}"/>
                </a:ext>
              </a:extLst>
            </p:cNvPr>
            <p:cNvSpPr>
              <a:spLocks/>
            </p:cNvSpPr>
            <p:nvPr/>
          </p:nvSpPr>
          <p:spPr bwMode="auto">
            <a:xfrm>
              <a:off x="1067745" y="2686869"/>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2" name="Freeform 712">
              <a:extLst>
                <a:ext uri="{FF2B5EF4-FFF2-40B4-BE49-F238E27FC236}">
                  <a16:creationId xmlns:a16="http://schemas.microsoft.com/office/drawing/2014/main" id="{FF14A45B-46A5-4F47-BDCB-2A5B5D10E88B}"/>
                </a:ext>
              </a:extLst>
            </p:cNvPr>
            <p:cNvSpPr>
              <a:spLocks/>
            </p:cNvSpPr>
            <p:nvPr/>
          </p:nvSpPr>
          <p:spPr bwMode="auto">
            <a:xfrm>
              <a:off x="1074723" y="267694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3" name="Freeform 713">
              <a:extLst>
                <a:ext uri="{FF2B5EF4-FFF2-40B4-BE49-F238E27FC236}">
                  <a16:creationId xmlns:a16="http://schemas.microsoft.com/office/drawing/2014/main" id="{FB508667-119D-9A42-B19B-70EDC60D3814}"/>
                </a:ext>
              </a:extLst>
            </p:cNvPr>
            <p:cNvSpPr>
              <a:spLocks/>
            </p:cNvSpPr>
            <p:nvPr/>
          </p:nvSpPr>
          <p:spPr bwMode="auto">
            <a:xfrm>
              <a:off x="1074723" y="266999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4" name="Freeform 714">
              <a:extLst>
                <a:ext uri="{FF2B5EF4-FFF2-40B4-BE49-F238E27FC236}">
                  <a16:creationId xmlns:a16="http://schemas.microsoft.com/office/drawing/2014/main" id="{C0846F9E-4B0D-9143-BC6D-9E80C09D1B18}"/>
                </a:ext>
              </a:extLst>
            </p:cNvPr>
            <p:cNvSpPr>
              <a:spLocks/>
            </p:cNvSpPr>
            <p:nvPr/>
          </p:nvSpPr>
          <p:spPr bwMode="auto">
            <a:xfrm>
              <a:off x="1074723" y="266403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5" name="Freeform 715">
              <a:extLst>
                <a:ext uri="{FF2B5EF4-FFF2-40B4-BE49-F238E27FC236}">
                  <a16:creationId xmlns:a16="http://schemas.microsoft.com/office/drawing/2014/main" id="{AFC96260-E2E2-2D41-807D-E5C85E944D09}"/>
                </a:ext>
              </a:extLst>
            </p:cNvPr>
            <p:cNvSpPr>
              <a:spLocks/>
            </p:cNvSpPr>
            <p:nvPr/>
          </p:nvSpPr>
          <p:spPr bwMode="auto">
            <a:xfrm>
              <a:off x="1074723" y="266403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6" name="Freeform 716">
              <a:extLst>
                <a:ext uri="{FF2B5EF4-FFF2-40B4-BE49-F238E27FC236}">
                  <a16:creationId xmlns:a16="http://schemas.microsoft.com/office/drawing/2014/main" id="{1D0A90ED-9E3C-0046-A13B-F129631FA84A}"/>
                </a:ext>
              </a:extLst>
            </p:cNvPr>
            <p:cNvSpPr>
              <a:spLocks/>
            </p:cNvSpPr>
            <p:nvPr/>
          </p:nvSpPr>
          <p:spPr bwMode="auto">
            <a:xfrm>
              <a:off x="1082864" y="265410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7" name="Freeform 717">
              <a:extLst>
                <a:ext uri="{FF2B5EF4-FFF2-40B4-BE49-F238E27FC236}">
                  <a16:creationId xmlns:a16="http://schemas.microsoft.com/office/drawing/2014/main" id="{19F00750-DEF4-2D46-BF61-F9AE74300921}"/>
                </a:ext>
              </a:extLst>
            </p:cNvPr>
            <p:cNvSpPr>
              <a:spLocks/>
            </p:cNvSpPr>
            <p:nvPr/>
          </p:nvSpPr>
          <p:spPr bwMode="auto">
            <a:xfrm>
              <a:off x="1082864" y="264814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8" name="Freeform 718">
              <a:extLst>
                <a:ext uri="{FF2B5EF4-FFF2-40B4-BE49-F238E27FC236}">
                  <a16:creationId xmlns:a16="http://schemas.microsoft.com/office/drawing/2014/main" id="{9B4440DC-54FF-464C-85A6-67E63654F01A}"/>
                </a:ext>
              </a:extLst>
            </p:cNvPr>
            <p:cNvSpPr>
              <a:spLocks/>
            </p:cNvSpPr>
            <p:nvPr/>
          </p:nvSpPr>
          <p:spPr bwMode="auto">
            <a:xfrm>
              <a:off x="1082864" y="264814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9" name="Freeform 719">
              <a:extLst>
                <a:ext uri="{FF2B5EF4-FFF2-40B4-BE49-F238E27FC236}">
                  <a16:creationId xmlns:a16="http://schemas.microsoft.com/office/drawing/2014/main" id="{BD64FE8E-DB25-4C4B-9AAC-8B99745C893C}"/>
                </a:ext>
              </a:extLst>
            </p:cNvPr>
            <p:cNvSpPr>
              <a:spLocks/>
            </p:cNvSpPr>
            <p:nvPr/>
          </p:nvSpPr>
          <p:spPr bwMode="auto">
            <a:xfrm>
              <a:off x="1089841" y="264119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0" name="Freeform 720">
              <a:extLst>
                <a:ext uri="{FF2B5EF4-FFF2-40B4-BE49-F238E27FC236}">
                  <a16:creationId xmlns:a16="http://schemas.microsoft.com/office/drawing/2014/main" id="{33471248-A078-CF47-8A6E-5B4EBE31B69B}"/>
                </a:ext>
              </a:extLst>
            </p:cNvPr>
            <p:cNvSpPr>
              <a:spLocks/>
            </p:cNvSpPr>
            <p:nvPr/>
          </p:nvSpPr>
          <p:spPr bwMode="auto">
            <a:xfrm>
              <a:off x="1089841" y="264119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1" name="Freeform 721">
              <a:extLst>
                <a:ext uri="{FF2B5EF4-FFF2-40B4-BE49-F238E27FC236}">
                  <a16:creationId xmlns:a16="http://schemas.microsoft.com/office/drawing/2014/main" id="{5364A030-8B4E-5D4F-AF07-DDBFE050781A}"/>
                </a:ext>
              </a:extLst>
            </p:cNvPr>
            <p:cNvSpPr>
              <a:spLocks/>
            </p:cNvSpPr>
            <p:nvPr/>
          </p:nvSpPr>
          <p:spPr bwMode="auto">
            <a:xfrm>
              <a:off x="1094493" y="2632262"/>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2" name="Freeform 722">
              <a:extLst>
                <a:ext uri="{FF2B5EF4-FFF2-40B4-BE49-F238E27FC236}">
                  <a16:creationId xmlns:a16="http://schemas.microsoft.com/office/drawing/2014/main" id="{3E5488F1-BC9C-8544-843A-FEC145A449A8}"/>
                </a:ext>
              </a:extLst>
            </p:cNvPr>
            <p:cNvSpPr>
              <a:spLocks/>
            </p:cNvSpPr>
            <p:nvPr/>
          </p:nvSpPr>
          <p:spPr bwMode="auto">
            <a:xfrm>
              <a:off x="1094493" y="263226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2" y="0"/>
                  </a:lnTo>
                  <a:lnTo>
                    <a:pt x="16" y="0"/>
                  </a:lnTo>
                  <a:lnTo>
                    <a:pt x="16" y="3"/>
                  </a:lnTo>
                  <a:lnTo>
                    <a:pt x="16" y="6"/>
                  </a:lnTo>
                  <a:lnTo>
                    <a:pt x="1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3" name="Freeform 723">
              <a:extLst>
                <a:ext uri="{FF2B5EF4-FFF2-40B4-BE49-F238E27FC236}">
                  <a16:creationId xmlns:a16="http://schemas.microsoft.com/office/drawing/2014/main" id="{AE10BFB9-E0CD-0D46-9FAE-B134DEA537EB}"/>
                </a:ext>
              </a:extLst>
            </p:cNvPr>
            <p:cNvSpPr>
              <a:spLocks/>
            </p:cNvSpPr>
            <p:nvPr/>
          </p:nvSpPr>
          <p:spPr bwMode="auto">
            <a:xfrm>
              <a:off x="1104959" y="262531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4" name="Freeform 724">
              <a:extLst>
                <a:ext uri="{FF2B5EF4-FFF2-40B4-BE49-F238E27FC236}">
                  <a16:creationId xmlns:a16="http://schemas.microsoft.com/office/drawing/2014/main" id="{C4AEE7F4-F669-BC4B-B996-85FC51D3F43A}"/>
                </a:ext>
              </a:extLst>
            </p:cNvPr>
            <p:cNvSpPr>
              <a:spLocks/>
            </p:cNvSpPr>
            <p:nvPr/>
          </p:nvSpPr>
          <p:spPr bwMode="auto">
            <a:xfrm>
              <a:off x="1104959" y="262531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5" name="Freeform 725">
              <a:extLst>
                <a:ext uri="{FF2B5EF4-FFF2-40B4-BE49-F238E27FC236}">
                  <a16:creationId xmlns:a16="http://schemas.microsoft.com/office/drawing/2014/main" id="{9DABD1F5-92E4-5C49-96BE-4222CE08571D}"/>
                </a:ext>
              </a:extLst>
            </p:cNvPr>
            <p:cNvSpPr>
              <a:spLocks/>
            </p:cNvSpPr>
            <p:nvPr/>
          </p:nvSpPr>
          <p:spPr bwMode="auto">
            <a:xfrm>
              <a:off x="1113100" y="2619355"/>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6" name="Freeform 726">
              <a:extLst>
                <a:ext uri="{FF2B5EF4-FFF2-40B4-BE49-F238E27FC236}">
                  <a16:creationId xmlns:a16="http://schemas.microsoft.com/office/drawing/2014/main" id="{48D03B5B-54B9-8940-9248-872D6395972E}"/>
                </a:ext>
              </a:extLst>
            </p:cNvPr>
            <p:cNvSpPr>
              <a:spLocks/>
            </p:cNvSpPr>
            <p:nvPr/>
          </p:nvSpPr>
          <p:spPr bwMode="auto">
            <a:xfrm>
              <a:off x="1113100" y="2619355"/>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9" y="0"/>
                  </a:lnTo>
                  <a:lnTo>
                    <a:pt x="13" y="0"/>
                  </a:lnTo>
                  <a:lnTo>
                    <a:pt x="13" y="3"/>
                  </a:lnTo>
                  <a:lnTo>
                    <a:pt x="13" y="6"/>
                  </a:lnTo>
                  <a:lnTo>
                    <a:pt x="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7" name="Freeform 727">
              <a:extLst>
                <a:ext uri="{FF2B5EF4-FFF2-40B4-BE49-F238E27FC236}">
                  <a16:creationId xmlns:a16="http://schemas.microsoft.com/office/drawing/2014/main" id="{7D84D1AD-C24E-4044-BB5A-4859FD1D1B5C}"/>
                </a:ext>
              </a:extLst>
            </p:cNvPr>
            <p:cNvSpPr>
              <a:spLocks/>
            </p:cNvSpPr>
            <p:nvPr/>
          </p:nvSpPr>
          <p:spPr bwMode="auto">
            <a:xfrm>
              <a:off x="1120077" y="260942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8" name="Freeform 728">
              <a:extLst>
                <a:ext uri="{FF2B5EF4-FFF2-40B4-BE49-F238E27FC236}">
                  <a16:creationId xmlns:a16="http://schemas.microsoft.com/office/drawing/2014/main" id="{61F11B60-7B05-F64D-B382-AFAA77672705}"/>
                </a:ext>
              </a:extLst>
            </p:cNvPr>
            <p:cNvSpPr>
              <a:spLocks/>
            </p:cNvSpPr>
            <p:nvPr/>
          </p:nvSpPr>
          <p:spPr bwMode="auto">
            <a:xfrm>
              <a:off x="1120077" y="2609427"/>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3" y="10"/>
                  </a:moveTo>
                  <a:lnTo>
                    <a:pt x="0" y="7"/>
                  </a:lnTo>
                  <a:lnTo>
                    <a:pt x="0" y="3"/>
                  </a:lnTo>
                  <a:lnTo>
                    <a:pt x="0" y="0"/>
                  </a:lnTo>
                  <a:lnTo>
                    <a:pt x="3" y="0"/>
                  </a:lnTo>
                  <a:lnTo>
                    <a:pt x="19" y="0"/>
                  </a:lnTo>
                  <a:lnTo>
                    <a:pt x="23" y="0"/>
                  </a:lnTo>
                  <a:lnTo>
                    <a:pt x="23" y="3"/>
                  </a:lnTo>
                  <a:lnTo>
                    <a:pt x="23" y="7"/>
                  </a:lnTo>
                  <a:lnTo>
                    <a:pt x="1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9" name="Freeform 729">
              <a:extLst>
                <a:ext uri="{FF2B5EF4-FFF2-40B4-BE49-F238E27FC236}">
                  <a16:creationId xmlns:a16="http://schemas.microsoft.com/office/drawing/2014/main" id="{FB596FD8-CE37-C443-BC63-DB5F337CE84A}"/>
                </a:ext>
              </a:extLst>
            </p:cNvPr>
            <p:cNvSpPr>
              <a:spLocks/>
            </p:cNvSpPr>
            <p:nvPr/>
          </p:nvSpPr>
          <p:spPr bwMode="auto">
            <a:xfrm>
              <a:off x="1138684" y="260347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0" name="Freeform 730">
              <a:extLst>
                <a:ext uri="{FF2B5EF4-FFF2-40B4-BE49-F238E27FC236}">
                  <a16:creationId xmlns:a16="http://schemas.microsoft.com/office/drawing/2014/main" id="{DAC58D72-891A-394C-9A98-E48A8B087ACA}"/>
                </a:ext>
              </a:extLst>
            </p:cNvPr>
            <p:cNvSpPr>
              <a:spLocks/>
            </p:cNvSpPr>
            <p:nvPr/>
          </p:nvSpPr>
          <p:spPr bwMode="auto">
            <a:xfrm>
              <a:off x="1138684" y="259652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1" name="Freeform 731">
              <a:extLst>
                <a:ext uri="{FF2B5EF4-FFF2-40B4-BE49-F238E27FC236}">
                  <a16:creationId xmlns:a16="http://schemas.microsoft.com/office/drawing/2014/main" id="{163C54DF-FDB8-4E45-9A2C-4B7B1EEA93B4}"/>
                </a:ext>
              </a:extLst>
            </p:cNvPr>
            <p:cNvSpPr>
              <a:spLocks/>
            </p:cNvSpPr>
            <p:nvPr/>
          </p:nvSpPr>
          <p:spPr bwMode="auto">
            <a:xfrm>
              <a:off x="1138684" y="258758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2" name="Freeform 732">
              <a:extLst>
                <a:ext uri="{FF2B5EF4-FFF2-40B4-BE49-F238E27FC236}">
                  <a16:creationId xmlns:a16="http://schemas.microsoft.com/office/drawing/2014/main" id="{E62DE2FD-1258-BA47-AE0F-2DA336FB6227}"/>
                </a:ext>
              </a:extLst>
            </p:cNvPr>
            <p:cNvSpPr>
              <a:spLocks/>
            </p:cNvSpPr>
            <p:nvPr/>
          </p:nvSpPr>
          <p:spPr bwMode="auto">
            <a:xfrm>
              <a:off x="1138684" y="258063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3" name="Freeform 733">
              <a:extLst>
                <a:ext uri="{FF2B5EF4-FFF2-40B4-BE49-F238E27FC236}">
                  <a16:creationId xmlns:a16="http://schemas.microsoft.com/office/drawing/2014/main" id="{6D2BC3F4-C906-E749-8493-A9AD7634B4A2}"/>
                </a:ext>
              </a:extLst>
            </p:cNvPr>
            <p:cNvSpPr>
              <a:spLocks/>
            </p:cNvSpPr>
            <p:nvPr/>
          </p:nvSpPr>
          <p:spPr bwMode="auto">
            <a:xfrm>
              <a:off x="1138684" y="257467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4" name="Freeform 734">
              <a:extLst>
                <a:ext uri="{FF2B5EF4-FFF2-40B4-BE49-F238E27FC236}">
                  <a16:creationId xmlns:a16="http://schemas.microsoft.com/office/drawing/2014/main" id="{C39E408E-920A-7240-B822-E748F0146C80}"/>
                </a:ext>
              </a:extLst>
            </p:cNvPr>
            <p:cNvSpPr>
              <a:spLocks/>
            </p:cNvSpPr>
            <p:nvPr/>
          </p:nvSpPr>
          <p:spPr bwMode="auto">
            <a:xfrm>
              <a:off x="1138684" y="257467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5" name="Freeform 735">
              <a:extLst>
                <a:ext uri="{FF2B5EF4-FFF2-40B4-BE49-F238E27FC236}">
                  <a16:creationId xmlns:a16="http://schemas.microsoft.com/office/drawing/2014/main" id="{E1F808FF-C38C-2B42-A53F-F2E6BD688BEE}"/>
                </a:ext>
              </a:extLst>
            </p:cNvPr>
            <p:cNvSpPr>
              <a:spLocks/>
            </p:cNvSpPr>
            <p:nvPr/>
          </p:nvSpPr>
          <p:spPr bwMode="auto">
            <a:xfrm>
              <a:off x="1142172" y="256474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6" name="Freeform 736">
              <a:extLst>
                <a:ext uri="{FF2B5EF4-FFF2-40B4-BE49-F238E27FC236}">
                  <a16:creationId xmlns:a16="http://schemas.microsoft.com/office/drawing/2014/main" id="{038B29E1-C58C-3042-A04A-2C720B1EF7DA}"/>
                </a:ext>
              </a:extLst>
            </p:cNvPr>
            <p:cNvSpPr>
              <a:spLocks/>
            </p:cNvSpPr>
            <p:nvPr/>
          </p:nvSpPr>
          <p:spPr bwMode="auto">
            <a:xfrm>
              <a:off x="1142172" y="25647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7" name="Freeform 737">
              <a:extLst>
                <a:ext uri="{FF2B5EF4-FFF2-40B4-BE49-F238E27FC236}">
                  <a16:creationId xmlns:a16="http://schemas.microsoft.com/office/drawing/2014/main" id="{1A2141B7-6B23-174C-8E70-0DA01AA6B411}"/>
                </a:ext>
              </a:extLst>
            </p:cNvPr>
            <p:cNvSpPr>
              <a:spLocks/>
            </p:cNvSpPr>
            <p:nvPr/>
          </p:nvSpPr>
          <p:spPr bwMode="auto">
            <a:xfrm>
              <a:off x="1150313" y="255779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8" name="Freeform 738">
              <a:extLst>
                <a:ext uri="{FF2B5EF4-FFF2-40B4-BE49-F238E27FC236}">
                  <a16:creationId xmlns:a16="http://schemas.microsoft.com/office/drawing/2014/main" id="{A1DFD287-6CF9-A64E-AC84-5172FE7DEA82}"/>
                </a:ext>
              </a:extLst>
            </p:cNvPr>
            <p:cNvSpPr>
              <a:spLocks/>
            </p:cNvSpPr>
            <p:nvPr/>
          </p:nvSpPr>
          <p:spPr bwMode="auto">
            <a:xfrm>
              <a:off x="1150313" y="255779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9" name="Freeform 739">
              <a:extLst>
                <a:ext uri="{FF2B5EF4-FFF2-40B4-BE49-F238E27FC236}">
                  <a16:creationId xmlns:a16="http://schemas.microsoft.com/office/drawing/2014/main" id="{7E3E06B2-AC7C-284E-8A64-8C1E295D4D08}"/>
                </a:ext>
              </a:extLst>
            </p:cNvPr>
            <p:cNvSpPr>
              <a:spLocks/>
            </p:cNvSpPr>
            <p:nvPr/>
          </p:nvSpPr>
          <p:spPr bwMode="auto">
            <a:xfrm>
              <a:off x="1157291" y="255184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0" name="Freeform 740">
              <a:extLst>
                <a:ext uri="{FF2B5EF4-FFF2-40B4-BE49-F238E27FC236}">
                  <a16:creationId xmlns:a16="http://schemas.microsoft.com/office/drawing/2014/main" id="{48942092-5A87-8B49-A746-CA47869F0B9F}"/>
                </a:ext>
              </a:extLst>
            </p:cNvPr>
            <p:cNvSpPr>
              <a:spLocks/>
            </p:cNvSpPr>
            <p:nvPr/>
          </p:nvSpPr>
          <p:spPr bwMode="auto">
            <a:xfrm>
              <a:off x="1157291" y="255184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1" name="Freeform 741">
              <a:extLst>
                <a:ext uri="{FF2B5EF4-FFF2-40B4-BE49-F238E27FC236}">
                  <a16:creationId xmlns:a16="http://schemas.microsoft.com/office/drawing/2014/main" id="{CB08D5C4-1313-924A-84F0-C1E46D27E3DB}"/>
                </a:ext>
              </a:extLst>
            </p:cNvPr>
            <p:cNvSpPr>
              <a:spLocks/>
            </p:cNvSpPr>
            <p:nvPr/>
          </p:nvSpPr>
          <p:spPr bwMode="auto">
            <a:xfrm>
              <a:off x="1161942" y="2541914"/>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4"/>
                  </a:lnTo>
                  <a:lnTo>
                    <a:pt x="0" y="0"/>
                  </a:lnTo>
                  <a:lnTo>
                    <a:pt x="3" y="0"/>
                  </a:lnTo>
                  <a:lnTo>
                    <a:pt x="6" y="0"/>
                  </a:lnTo>
                  <a:lnTo>
                    <a:pt x="9" y="4"/>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2" name="Freeform 742">
              <a:extLst>
                <a:ext uri="{FF2B5EF4-FFF2-40B4-BE49-F238E27FC236}">
                  <a16:creationId xmlns:a16="http://schemas.microsoft.com/office/drawing/2014/main" id="{1F227541-C13E-BF44-BE97-9316B652E590}"/>
                </a:ext>
              </a:extLst>
            </p:cNvPr>
            <p:cNvSpPr>
              <a:spLocks/>
            </p:cNvSpPr>
            <p:nvPr/>
          </p:nvSpPr>
          <p:spPr bwMode="auto">
            <a:xfrm>
              <a:off x="1161942" y="2535957"/>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3" name="Freeform 743">
              <a:extLst>
                <a:ext uri="{FF2B5EF4-FFF2-40B4-BE49-F238E27FC236}">
                  <a16:creationId xmlns:a16="http://schemas.microsoft.com/office/drawing/2014/main" id="{2F5FBAC5-4776-A44A-8474-DA5533E1F017}"/>
                </a:ext>
              </a:extLst>
            </p:cNvPr>
            <p:cNvSpPr>
              <a:spLocks/>
            </p:cNvSpPr>
            <p:nvPr/>
          </p:nvSpPr>
          <p:spPr bwMode="auto">
            <a:xfrm>
              <a:off x="1161942" y="2535957"/>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6"/>
                  </a:lnTo>
                  <a:lnTo>
                    <a:pt x="0" y="3"/>
                  </a:lnTo>
                  <a:lnTo>
                    <a:pt x="0" y="0"/>
                  </a:lnTo>
                  <a:lnTo>
                    <a:pt x="3" y="0"/>
                  </a:lnTo>
                  <a:lnTo>
                    <a:pt x="9" y="0"/>
                  </a:lnTo>
                  <a:lnTo>
                    <a:pt x="12" y="0"/>
                  </a:lnTo>
                  <a:lnTo>
                    <a:pt x="12" y="3"/>
                  </a:lnTo>
                  <a:lnTo>
                    <a:pt x="12"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4" name="Freeform 744">
              <a:extLst>
                <a:ext uri="{FF2B5EF4-FFF2-40B4-BE49-F238E27FC236}">
                  <a16:creationId xmlns:a16="http://schemas.microsoft.com/office/drawing/2014/main" id="{D8A15E49-51DA-8D46-AEE0-625FD51653C1}"/>
                </a:ext>
              </a:extLst>
            </p:cNvPr>
            <p:cNvSpPr>
              <a:spLocks/>
            </p:cNvSpPr>
            <p:nvPr/>
          </p:nvSpPr>
          <p:spPr bwMode="auto">
            <a:xfrm>
              <a:off x="1168920" y="252900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5" name="Freeform 745">
              <a:extLst>
                <a:ext uri="{FF2B5EF4-FFF2-40B4-BE49-F238E27FC236}">
                  <a16:creationId xmlns:a16="http://schemas.microsoft.com/office/drawing/2014/main" id="{5D2379D0-EDC1-0642-9598-D209E9A083C6}"/>
                </a:ext>
              </a:extLst>
            </p:cNvPr>
            <p:cNvSpPr>
              <a:spLocks/>
            </p:cNvSpPr>
            <p:nvPr/>
          </p:nvSpPr>
          <p:spPr bwMode="auto">
            <a:xfrm>
              <a:off x="1168920" y="252007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6" name="Freeform 746">
              <a:extLst>
                <a:ext uri="{FF2B5EF4-FFF2-40B4-BE49-F238E27FC236}">
                  <a16:creationId xmlns:a16="http://schemas.microsoft.com/office/drawing/2014/main" id="{1FADEC1B-2FB2-4747-99C9-B37E43A61651}"/>
                </a:ext>
              </a:extLst>
            </p:cNvPr>
            <p:cNvSpPr>
              <a:spLocks/>
            </p:cNvSpPr>
            <p:nvPr/>
          </p:nvSpPr>
          <p:spPr bwMode="auto">
            <a:xfrm>
              <a:off x="1168920" y="252007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7" name="Freeform 747">
              <a:extLst>
                <a:ext uri="{FF2B5EF4-FFF2-40B4-BE49-F238E27FC236}">
                  <a16:creationId xmlns:a16="http://schemas.microsoft.com/office/drawing/2014/main" id="{AC42BEBB-CE41-5240-BBC4-1D2B7771DCB6}"/>
                </a:ext>
              </a:extLst>
            </p:cNvPr>
            <p:cNvSpPr>
              <a:spLocks/>
            </p:cNvSpPr>
            <p:nvPr/>
          </p:nvSpPr>
          <p:spPr bwMode="auto">
            <a:xfrm>
              <a:off x="1172408" y="252007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8" name="Freeform 748">
              <a:extLst>
                <a:ext uri="{FF2B5EF4-FFF2-40B4-BE49-F238E27FC236}">
                  <a16:creationId xmlns:a16="http://schemas.microsoft.com/office/drawing/2014/main" id="{7BC2ED55-B13C-D34D-89AC-93303CF3C0A5}"/>
                </a:ext>
              </a:extLst>
            </p:cNvPr>
            <p:cNvSpPr>
              <a:spLocks/>
            </p:cNvSpPr>
            <p:nvPr/>
          </p:nvSpPr>
          <p:spPr bwMode="auto">
            <a:xfrm>
              <a:off x="1175897" y="251312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9" name="Freeform 749">
              <a:extLst>
                <a:ext uri="{FF2B5EF4-FFF2-40B4-BE49-F238E27FC236}">
                  <a16:creationId xmlns:a16="http://schemas.microsoft.com/office/drawing/2014/main" id="{95B2C24E-003E-474D-BF21-496DE24D07BC}"/>
                </a:ext>
              </a:extLst>
            </p:cNvPr>
            <p:cNvSpPr>
              <a:spLocks/>
            </p:cNvSpPr>
            <p:nvPr/>
          </p:nvSpPr>
          <p:spPr bwMode="auto">
            <a:xfrm>
              <a:off x="1175897" y="251312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0" name="Freeform 750">
              <a:extLst>
                <a:ext uri="{FF2B5EF4-FFF2-40B4-BE49-F238E27FC236}">
                  <a16:creationId xmlns:a16="http://schemas.microsoft.com/office/drawing/2014/main" id="{F4C3121B-D9B2-1742-B675-5E6D4CB57615}"/>
                </a:ext>
              </a:extLst>
            </p:cNvPr>
            <p:cNvSpPr>
              <a:spLocks/>
            </p:cNvSpPr>
            <p:nvPr/>
          </p:nvSpPr>
          <p:spPr bwMode="auto">
            <a:xfrm>
              <a:off x="1180549" y="2513121"/>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1" name="Freeform 751">
              <a:extLst>
                <a:ext uri="{FF2B5EF4-FFF2-40B4-BE49-F238E27FC236}">
                  <a16:creationId xmlns:a16="http://schemas.microsoft.com/office/drawing/2014/main" id="{2C9999CF-F85C-A94A-B1D0-E704D12A27CC}"/>
                </a:ext>
              </a:extLst>
            </p:cNvPr>
            <p:cNvSpPr>
              <a:spLocks/>
            </p:cNvSpPr>
            <p:nvPr/>
          </p:nvSpPr>
          <p:spPr bwMode="auto">
            <a:xfrm>
              <a:off x="1184038" y="250418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2" name="Freeform 752">
              <a:extLst>
                <a:ext uri="{FF2B5EF4-FFF2-40B4-BE49-F238E27FC236}">
                  <a16:creationId xmlns:a16="http://schemas.microsoft.com/office/drawing/2014/main" id="{791C5713-0C61-384A-83CF-BD28AF846893}"/>
                </a:ext>
              </a:extLst>
            </p:cNvPr>
            <p:cNvSpPr>
              <a:spLocks/>
            </p:cNvSpPr>
            <p:nvPr/>
          </p:nvSpPr>
          <p:spPr bwMode="auto">
            <a:xfrm>
              <a:off x="1184038" y="250418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3" name="Freeform 753">
              <a:extLst>
                <a:ext uri="{FF2B5EF4-FFF2-40B4-BE49-F238E27FC236}">
                  <a16:creationId xmlns:a16="http://schemas.microsoft.com/office/drawing/2014/main" id="{FB8BE896-1638-5B48-90DA-B9C23BDD43A2}"/>
                </a:ext>
              </a:extLst>
            </p:cNvPr>
            <p:cNvSpPr>
              <a:spLocks/>
            </p:cNvSpPr>
            <p:nvPr/>
          </p:nvSpPr>
          <p:spPr bwMode="auto">
            <a:xfrm>
              <a:off x="1187527" y="249723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4" name="Freeform 754">
              <a:extLst>
                <a:ext uri="{FF2B5EF4-FFF2-40B4-BE49-F238E27FC236}">
                  <a16:creationId xmlns:a16="http://schemas.microsoft.com/office/drawing/2014/main" id="{D6AD7463-7E26-E149-9596-C78EA5D3B684}"/>
                </a:ext>
              </a:extLst>
            </p:cNvPr>
            <p:cNvSpPr>
              <a:spLocks/>
            </p:cNvSpPr>
            <p:nvPr/>
          </p:nvSpPr>
          <p:spPr bwMode="auto">
            <a:xfrm>
              <a:off x="1187527" y="249723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5" name="Freeform 755">
              <a:extLst>
                <a:ext uri="{FF2B5EF4-FFF2-40B4-BE49-F238E27FC236}">
                  <a16:creationId xmlns:a16="http://schemas.microsoft.com/office/drawing/2014/main" id="{353E8DFA-E2EF-6040-BBE0-E7D3A301E017}"/>
                </a:ext>
              </a:extLst>
            </p:cNvPr>
            <p:cNvSpPr>
              <a:spLocks/>
            </p:cNvSpPr>
            <p:nvPr/>
          </p:nvSpPr>
          <p:spPr bwMode="auto">
            <a:xfrm>
              <a:off x="1191015" y="249127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6" name="Freeform 756">
              <a:extLst>
                <a:ext uri="{FF2B5EF4-FFF2-40B4-BE49-F238E27FC236}">
                  <a16:creationId xmlns:a16="http://schemas.microsoft.com/office/drawing/2014/main" id="{86C45059-7B1A-914F-9AB1-CF961D6364C2}"/>
                </a:ext>
              </a:extLst>
            </p:cNvPr>
            <p:cNvSpPr>
              <a:spLocks/>
            </p:cNvSpPr>
            <p:nvPr/>
          </p:nvSpPr>
          <p:spPr bwMode="auto">
            <a:xfrm>
              <a:off x="1191015" y="249127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7" name="Freeform 757">
              <a:extLst>
                <a:ext uri="{FF2B5EF4-FFF2-40B4-BE49-F238E27FC236}">
                  <a16:creationId xmlns:a16="http://schemas.microsoft.com/office/drawing/2014/main" id="{B75B9E7C-0562-ED4B-8069-1A12A77089D2}"/>
                </a:ext>
              </a:extLst>
            </p:cNvPr>
            <p:cNvSpPr>
              <a:spLocks/>
            </p:cNvSpPr>
            <p:nvPr/>
          </p:nvSpPr>
          <p:spPr bwMode="auto">
            <a:xfrm>
              <a:off x="1195667" y="249127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8" name="Freeform 758">
              <a:extLst>
                <a:ext uri="{FF2B5EF4-FFF2-40B4-BE49-F238E27FC236}">
                  <a16:creationId xmlns:a16="http://schemas.microsoft.com/office/drawing/2014/main" id="{668758DC-0244-7F42-A8E9-20EC269C1792}"/>
                </a:ext>
              </a:extLst>
            </p:cNvPr>
            <p:cNvSpPr>
              <a:spLocks/>
            </p:cNvSpPr>
            <p:nvPr/>
          </p:nvSpPr>
          <p:spPr bwMode="auto">
            <a:xfrm>
              <a:off x="1199156" y="2481350"/>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9" name="Freeform 759">
              <a:extLst>
                <a:ext uri="{FF2B5EF4-FFF2-40B4-BE49-F238E27FC236}">
                  <a16:creationId xmlns:a16="http://schemas.microsoft.com/office/drawing/2014/main" id="{C4969DAD-F76E-784C-B154-6486F6F98D93}"/>
                </a:ext>
              </a:extLst>
            </p:cNvPr>
            <p:cNvSpPr>
              <a:spLocks/>
            </p:cNvSpPr>
            <p:nvPr/>
          </p:nvSpPr>
          <p:spPr bwMode="auto">
            <a:xfrm>
              <a:off x="1199156" y="248135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0" name="Freeform 760">
              <a:extLst>
                <a:ext uri="{FF2B5EF4-FFF2-40B4-BE49-F238E27FC236}">
                  <a16:creationId xmlns:a16="http://schemas.microsoft.com/office/drawing/2014/main" id="{8247CD7C-27B6-9B44-BCD9-40A3076E7FCA}"/>
                </a:ext>
              </a:extLst>
            </p:cNvPr>
            <p:cNvSpPr>
              <a:spLocks/>
            </p:cNvSpPr>
            <p:nvPr/>
          </p:nvSpPr>
          <p:spPr bwMode="auto">
            <a:xfrm>
              <a:off x="1202644" y="2475393"/>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1" name="Freeform 761">
              <a:extLst>
                <a:ext uri="{FF2B5EF4-FFF2-40B4-BE49-F238E27FC236}">
                  <a16:creationId xmlns:a16="http://schemas.microsoft.com/office/drawing/2014/main" id="{84FD812F-3400-F84E-A5C4-6B5620FD236A}"/>
                </a:ext>
              </a:extLst>
            </p:cNvPr>
            <p:cNvSpPr>
              <a:spLocks/>
            </p:cNvSpPr>
            <p:nvPr/>
          </p:nvSpPr>
          <p:spPr bwMode="auto">
            <a:xfrm>
              <a:off x="1202644" y="24753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2" name="Freeform 762">
              <a:extLst>
                <a:ext uri="{FF2B5EF4-FFF2-40B4-BE49-F238E27FC236}">
                  <a16:creationId xmlns:a16="http://schemas.microsoft.com/office/drawing/2014/main" id="{4BB559A8-BC0A-A44C-8252-AC4045A60BA8}"/>
                </a:ext>
              </a:extLst>
            </p:cNvPr>
            <p:cNvSpPr>
              <a:spLocks/>
            </p:cNvSpPr>
            <p:nvPr/>
          </p:nvSpPr>
          <p:spPr bwMode="auto">
            <a:xfrm>
              <a:off x="1206133" y="246546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3" name="Freeform 763">
              <a:extLst>
                <a:ext uri="{FF2B5EF4-FFF2-40B4-BE49-F238E27FC236}">
                  <a16:creationId xmlns:a16="http://schemas.microsoft.com/office/drawing/2014/main" id="{F3C1192C-0908-4E4A-AFF0-3ED77619179B}"/>
                </a:ext>
              </a:extLst>
            </p:cNvPr>
            <p:cNvSpPr>
              <a:spLocks/>
            </p:cNvSpPr>
            <p:nvPr/>
          </p:nvSpPr>
          <p:spPr bwMode="auto">
            <a:xfrm>
              <a:off x="1206133" y="246546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4" name="Freeform 764">
              <a:extLst>
                <a:ext uri="{FF2B5EF4-FFF2-40B4-BE49-F238E27FC236}">
                  <a16:creationId xmlns:a16="http://schemas.microsoft.com/office/drawing/2014/main" id="{6DA89D30-F4D2-0B4E-B8C7-A3A32BAEEF42}"/>
                </a:ext>
              </a:extLst>
            </p:cNvPr>
            <p:cNvSpPr>
              <a:spLocks/>
            </p:cNvSpPr>
            <p:nvPr/>
          </p:nvSpPr>
          <p:spPr bwMode="auto">
            <a:xfrm>
              <a:off x="1209622" y="245851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5" name="Freeform 765">
              <a:extLst>
                <a:ext uri="{FF2B5EF4-FFF2-40B4-BE49-F238E27FC236}">
                  <a16:creationId xmlns:a16="http://schemas.microsoft.com/office/drawing/2014/main" id="{4F8FF142-DB05-D94A-9B47-68833FD1A7A4}"/>
                </a:ext>
              </a:extLst>
            </p:cNvPr>
            <p:cNvSpPr>
              <a:spLocks/>
            </p:cNvSpPr>
            <p:nvPr/>
          </p:nvSpPr>
          <p:spPr bwMode="auto">
            <a:xfrm>
              <a:off x="1209622" y="245851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6" name="Freeform 766">
              <a:extLst>
                <a:ext uri="{FF2B5EF4-FFF2-40B4-BE49-F238E27FC236}">
                  <a16:creationId xmlns:a16="http://schemas.microsoft.com/office/drawing/2014/main" id="{13BBE68B-B25F-4242-B339-CBF6E59DCB79}"/>
                </a:ext>
              </a:extLst>
            </p:cNvPr>
            <p:cNvSpPr>
              <a:spLocks/>
            </p:cNvSpPr>
            <p:nvPr/>
          </p:nvSpPr>
          <p:spPr bwMode="auto">
            <a:xfrm>
              <a:off x="1214274" y="245255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7" name="Freeform 767">
              <a:extLst>
                <a:ext uri="{FF2B5EF4-FFF2-40B4-BE49-F238E27FC236}">
                  <a16:creationId xmlns:a16="http://schemas.microsoft.com/office/drawing/2014/main" id="{4C89D681-EE9D-EF4A-A940-05078AAED1F8}"/>
                </a:ext>
              </a:extLst>
            </p:cNvPr>
            <p:cNvSpPr>
              <a:spLocks/>
            </p:cNvSpPr>
            <p:nvPr/>
          </p:nvSpPr>
          <p:spPr bwMode="auto">
            <a:xfrm>
              <a:off x="1214274" y="245255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8" name="Freeform 768">
              <a:extLst>
                <a:ext uri="{FF2B5EF4-FFF2-40B4-BE49-F238E27FC236}">
                  <a16:creationId xmlns:a16="http://schemas.microsoft.com/office/drawing/2014/main" id="{A02AEE70-E445-2D43-98DC-3F5D5B758E4F}"/>
                </a:ext>
              </a:extLst>
            </p:cNvPr>
            <p:cNvSpPr>
              <a:spLocks/>
            </p:cNvSpPr>
            <p:nvPr/>
          </p:nvSpPr>
          <p:spPr bwMode="auto">
            <a:xfrm>
              <a:off x="1217763" y="245255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9" name="Freeform 769">
              <a:extLst>
                <a:ext uri="{FF2B5EF4-FFF2-40B4-BE49-F238E27FC236}">
                  <a16:creationId xmlns:a16="http://schemas.microsoft.com/office/drawing/2014/main" id="{10E5019F-DF7A-FE46-8F08-AE9A4CF65527}"/>
                </a:ext>
              </a:extLst>
            </p:cNvPr>
            <p:cNvSpPr>
              <a:spLocks/>
            </p:cNvSpPr>
            <p:nvPr/>
          </p:nvSpPr>
          <p:spPr bwMode="auto">
            <a:xfrm>
              <a:off x="1221251" y="244262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4"/>
                  </a:lnTo>
                  <a:lnTo>
                    <a:pt x="0" y="0"/>
                  </a:lnTo>
                  <a:lnTo>
                    <a:pt x="3"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0" name="Freeform 770">
              <a:extLst>
                <a:ext uri="{FF2B5EF4-FFF2-40B4-BE49-F238E27FC236}">
                  <a16:creationId xmlns:a16="http://schemas.microsoft.com/office/drawing/2014/main" id="{137C29F9-CF3D-9F40-A58E-75D01EE403B6}"/>
                </a:ext>
              </a:extLst>
            </p:cNvPr>
            <p:cNvSpPr>
              <a:spLocks/>
            </p:cNvSpPr>
            <p:nvPr/>
          </p:nvSpPr>
          <p:spPr bwMode="auto">
            <a:xfrm>
              <a:off x="1221251" y="243667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1" name="Freeform 771">
              <a:extLst>
                <a:ext uri="{FF2B5EF4-FFF2-40B4-BE49-F238E27FC236}">
                  <a16:creationId xmlns:a16="http://schemas.microsoft.com/office/drawing/2014/main" id="{AFA91BCC-4DFD-9D4C-A12E-4A3C85A46537}"/>
                </a:ext>
              </a:extLst>
            </p:cNvPr>
            <p:cNvSpPr>
              <a:spLocks/>
            </p:cNvSpPr>
            <p:nvPr/>
          </p:nvSpPr>
          <p:spPr bwMode="auto">
            <a:xfrm>
              <a:off x="1221251" y="242674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2" name="Freeform 772">
              <a:extLst>
                <a:ext uri="{FF2B5EF4-FFF2-40B4-BE49-F238E27FC236}">
                  <a16:creationId xmlns:a16="http://schemas.microsoft.com/office/drawing/2014/main" id="{63F2ABFA-7940-844A-B444-CEB1A68F0E62}"/>
                </a:ext>
              </a:extLst>
            </p:cNvPr>
            <p:cNvSpPr>
              <a:spLocks/>
            </p:cNvSpPr>
            <p:nvPr/>
          </p:nvSpPr>
          <p:spPr bwMode="auto">
            <a:xfrm>
              <a:off x="1221251" y="242674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3" name="Freeform 773">
              <a:extLst>
                <a:ext uri="{FF2B5EF4-FFF2-40B4-BE49-F238E27FC236}">
                  <a16:creationId xmlns:a16="http://schemas.microsoft.com/office/drawing/2014/main" id="{0F6BC75C-698B-9A46-93FC-A75F7FEA90A0}"/>
                </a:ext>
              </a:extLst>
            </p:cNvPr>
            <p:cNvSpPr>
              <a:spLocks/>
            </p:cNvSpPr>
            <p:nvPr/>
          </p:nvSpPr>
          <p:spPr bwMode="auto">
            <a:xfrm>
              <a:off x="1224740" y="242078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4" name="Freeform 774">
              <a:extLst>
                <a:ext uri="{FF2B5EF4-FFF2-40B4-BE49-F238E27FC236}">
                  <a16:creationId xmlns:a16="http://schemas.microsoft.com/office/drawing/2014/main" id="{997B4C4D-92E8-5B46-9098-9EBBE0DA3B90}"/>
                </a:ext>
              </a:extLst>
            </p:cNvPr>
            <p:cNvSpPr>
              <a:spLocks/>
            </p:cNvSpPr>
            <p:nvPr/>
          </p:nvSpPr>
          <p:spPr bwMode="auto">
            <a:xfrm>
              <a:off x="1224740" y="2420787"/>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5" name="Freeform 775">
              <a:extLst>
                <a:ext uri="{FF2B5EF4-FFF2-40B4-BE49-F238E27FC236}">
                  <a16:creationId xmlns:a16="http://schemas.microsoft.com/office/drawing/2014/main" id="{AC2BC217-7829-1543-88A7-2BE1CADA9A0A}"/>
                </a:ext>
              </a:extLst>
            </p:cNvPr>
            <p:cNvSpPr>
              <a:spLocks/>
            </p:cNvSpPr>
            <p:nvPr/>
          </p:nvSpPr>
          <p:spPr bwMode="auto">
            <a:xfrm>
              <a:off x="1232880" y="2410858"/>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6" name="Freeform 776">
              <a:extLst>
                <a:ext uri="{FF2B5EF4-FFF2-40B4-BE49-F238E27FC236}">
                  <a16:creationId xmlns:a16="http://schemas.microsoft.com/office/drawing/2014/main" id="{767641A6-493F-664F-987A-B7A933EC767B}"/>
                </a:ext>
              </a:extLst>
            </p:cNvPr>
            <p:cNvSpPr>
              <a:spLocks/>
            </p:cNvSpPr>
            <p:nvPr/>
          </p:nvSpPr>
          <p:spPr bwMode="auto">
            <a:xfrm>
              <a:off x="1232880" y="241085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7" name="Freeform 777">
              <a:extLst>
                <a:ext uri="{FF2B5EF4-FFF2-40B4-BE49-F238E27FC236}">
                  <a16:creationId xmlns:a16="http://schemas.microsoft.com/office/drawing/2014/main" id="{94879F75-59D3-9E47-A34B-8C7B84ED19A6}"/>
                </a:ext>
              </a:extLst>
            </p:cNvPr>
            <p:cNvSpPr>
              <a:spLocks/>
            </p:cNvSpPr>
            <p:nvPr/>
          </p:nvSpPr>
          <p:spPr bwMode="auto">
            <a:xfrm>
              <a:off x="1236369" y="241085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8" name="Freeform 778">
              <a:extLst>
                <a:ext uri="{FF2B5EF4-FFF2-40B4-BE49-F238E27FC236}">
                  <a16:creationId xmlns:a16="http://schemas.microsoft.com/office/drawing/2014/main" id="{199B7E54-0186-5E42-B215-C169AFE6A385}"/>
                </a:ext>
              </a:extLst>
            </p:cNvPr>
            <p:cNvSpPr>
              <a:spLocks/>
            </p:cNvSpPr>
            <p:nvPr/>
          </p:nvSpPr>
          <p:spPr bwMode="auto">
            <a:xfrm>
              <a:off x="1243347" y="240490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9" name="Freeform 779">
              <a:extLst>
                <a:ext uri="{FF2B5EF4-FFF2-40B4-BE49-F238E27FC236}">
                  <a16:creationId xmlns:a16="http://schemas.microsoft.com/office/drawing/2014/main" id="{B70F60C9-727C-1B45-A5E9-653C805F3552}"/>
                </a:ext>
              </a:extLst>
            </p:cNvPr>
            <p:cNvSpPr>
              <a:spLocks/>
            </p:cNvSpPr>
            <p:nvPr/>
          </p:nvSpPr>
          <p:spPr bwMode="auto">
            <a:xfrm>
              <a:off x="1243347" y="24049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0" name="Freeform 780">
              <a:extLst>
                <a:ext uri="{FF2B5EF4-FFF2-40B4-BE49-F238E27FC236}">
                  <a16:creationId xmlns:a16="http://schemas.microsoft.com/office/drawing/2014/main" id="{C7581827-DAEE-844D-AE96-C48D5287E73A}"/>
                </a:ext>
              </a:extLst>
            </p:cNvPr>
            <p:cNvSpPr>
              <a:spLocks/>
            </p:cNvSpPr>
            <p:nvPr/>
          </p:nvSpPr>
          <p:spPr bwMode="auto">
            <a:xfrm>
              <a:off x="1247999" y="2394973"/>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1" name="Freeform 781">
              <a:extLst>
                <a:ext uri="{FF2B5EF4-FFF2-40B4-BE49-F238E27FC236}">
                  <a16:creationId xmlns:a16="http://schemas.microsoft.com/office/drawing/2014/main" id="{8C608B61-F709-314F-B93C-18D27F90982D}"/>
                </a:ext>
              </a:extLst>
            </p:cNvPr>
            <p:cNvSpPr>
              <a:spLocks/>
            </p:cNvSpPr>
            <p:nvPr/>
          </p:nvSpPr>
          <p:spPr bwMode="auto">
            <a:xfrm>
              <a:off x="1247999" y="239497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2" name="Freeform 782">
              <a:extLst>
                <a:ext uri="{FF2B5EF4-FFF2-40B4-BE49-F238E27FC236}">
                  <a16:creationId xmlns:a16="http://schemas.microsoft.com/office/drawing/2014/main" id="{15C4EF12-2583-C945-B325-1D3B317880A8}"/>
                </a:ext>
              </a:extLst>
            </p:cNvPr>
            <p:cNvSpPr>
              <a:spLocks/>
            </p:cNvSpPr>
            <p:nvPr/>
          </p:nvSpPr>
          <p:spPr bwMode="auto">
            <a:xfrm>
              <a:off x="1251487" y="238802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3" name="Freeform 783">
              <a:extLst>
                <a:ext uri="{FF2B5EF4-FFF2-40B4-BE49-F238E27FC236}">
                  <a16:creationId xmlns:a16="http://schemas.microsoft.com/office/drawing/2014/main" id="{6E0C6B48-6894-E743-A781-3480921F6AFA}"/>
                </a:ext>
              </a:extLst>
            </p:cNvPr>
            <p:cNvSpPr>
              <a:spLocks/>
            </p:cNvSpPr>
            <p:nvPr/>
          </p:nvSpPr>
          <p:spPr bwMode="auto">
            <a:xfrm>
              <a:off x="1251487" y="238802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4" name="Freeform 784">
              <a:extLst>
                <a:ext uri="{FF2B5EF4-FFF2-40B4-BE49-F238E27FC236}">
                  <a16:creationId xmlns:a16="http://schemas.microsoft.com/office/drawing/2014/main" id="{FB7D1F77-3B90-A24C-8B00-0CBDCBA8D098}"/>
                </a:ext>
              </a:extLst>
            </p:cNvPr>
            <p:cNvSpPr>
              <a:spLocks/>
            </p:cNvSpPr>
            <p:nvPr/>
          </p:nvSpPr>
          <p:spPr bwMode="auto">
            <a:xfrm>
              <a:off x="1254976" y="237908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5" name="Freeform 785">
              <a:extLst>
                <a:ext uri="{FF2B5EF4-FFF2-40B4-BE49-F238E27FC236}">
                  <a16:creationId xmlns:a16="http://schemas.microsoft.com/office/drawing/2014/main" id="{FA55DCBA-E599-434B-B37D-CBF4BEE092C3}"/>
                </a:ext>
              </a:extLst>
            </p:cNvPr>
            <p:cNvSpPr>
              <a:spLocks/>
            </p:cNvSpPr>
            <p:nvPr/>
          </p:nvSpPr>
          <p:spPr bwMode="auto">
            <a:xfrm>
              <a:off x="1254976" y="237213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4"/>
                  </a:lnTo>
                  <a:lnTo>
                    <a:pt x="0" y="0"/>
                  </a:lnTo>
                  <a:lnTo>
                    <a:pt x="3"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6" name="Freeform 786">
              <a:extLst>
                <a:ext uri="{FF2B5EF4-FFF2-40B4-BE49-F238E27FC236}">
                  <a16:creationId xmlns:a16="http://schemas.microsoft.com/office/drawing/2014/main" id="{96536BE8-06FB-8B4A-91E7-060641E6D57B}"/>
                </a:ext>
              </a:extLst>
            </p:cNvPr>
            <p:cNvSpPr>
              <a:spLocks/>
            </p:cNvSpPr>
            <p:nvPr/>
          </p:nvSpPr>
          <p:spPr bwMode="auto">
            <a:xfrm>
              <a:off x="1254976" y="236320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7" name="Freeform 787">
              <a:extLst>
                <a:ext uri="{FF2B5EF4-FFF2-40B4-BE49-F238E27FC236}">
                  <a16:creationId xmlns:a16="http://schemas.microsoft.com/office/drawing/2014/main" id="{A5824D55-E18D-1E4A-A321-C949C241FD79}"/>
                </a:ext>
              </a:extLst>
            </p:cNvPr>
            <p:cNvSpPr>
              <a:spLocks/>
            </p:cNvSpPr>
            <p:nvPr/>
          </p:nvSpPr>
          <p:spPr bwMode="auto">
            <a:xfrm>
              <a:off x="1254976" y="236320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8" name="Freeform 788">
              <a:extLst>
                <a:ext uri="{FF2B5EF4-FFF2-40B4-BE49-F238E27FC236}">
                  <a16:creationId xmlns:a16="http://schemas.microsoft.com/office/drawing/2014/main" id="{AC18B028-95F2-B544-ACF6-E69FA201F026}"/>
                </a:ext>
              </a:extLst>
            </p:cNvPr>
            <p:cNvSpPr>
              <a:spLocks/>
            </p:cNvSpPr>
            <p:nvPr/>
          </p:nvSpPr>
          <p:spPr bwMode="auto">
            <a:xfrm>
              <a:off x="1258465" y="235625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9" name="Freeform 789">
              <a:extLst>
                <a:ext uri="{FF2B5EF4-FFF2-40B4-BE49-F238E27FC236}">
                  <a16:creationId xmlns:a16="http://schemas.microsoft.com/office/drawing/2014/main" id="{F1372597-CF80-0F4A-8801-1BD6589C3164}"/>
                </a:ext>
              </a:extLst>
            </p:cNvPr>
            <p:cNvSpPr>
              <a:spLocks/>
            </p:cNvSpPr>
            <p:nvPr/>
          </p:nvSpPr>
          <p:spPr bwMode="auto">
            <a:xfrm>
              <a:off x="1258465" y="235625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0" name="Freeform 790">
              <a:extLst>
                <a:ext uri="{FF2B5EF4-FFF2-40B4-BE49-F238E27FC236}">
                  <a16:creationId xmlns:a16="http://schemas.microsoft.com/office/drawing/2014/main" id="{E6597CF2-E484-064E-86D7-DA652A450037}"/>
                </a:ext>
              </a:extLst>
            </p:cNvPr>
            <p:cNvSpPr>
              <a:spLocks/>
            </p:cNvSpPr>
            <p:nvPr/>
          </p:nvSpPr>
          <p:spPr bwMode="auto">
            <a:xfrm>
              <a:off x="1263116" y="2356252"/>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3"/>
                  </a:lnTo>
                  <a:lnTo>
                    <a:pt x="0" y="0"/>
                  </a:lnTo>
                  <a:lnTo>
                    <a:pt x="3" y="0"/>
                  </a:lnTo>
                  <a:lnTo>
                    <a:pt x="9" y="0"/>
                  </a:lnTo>
                  <a:lnTo>
                    <a:pt x="12" y="0"/>
                  </a:lnTo>
                  <a:lnTo>
                    <a:pt x="12" y="3"/>
                  </a:lnTo>
                  <a:lnTo>
                    <a:pt x="12" y="7"/>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1" name="Freeform 791">
              <a:extLst>
                <a:ext uri="{FF2B5EF4-FFF2-40B4-BE49-F238E27FC236}">
                  <a16:creationId xmlns:a16="http://schemas.microsoft.com/office/drawing/2014/main" id="{F78A0241-CA9A-1447-A4AD-467E66B7DD37}"/>
                </a:ext>
              </a:extLst>
            </p:cNvPr>
            <p:cNvSpPr>
              <a:spLocks/>
            </p:cNvSpPr>
            <p:nvPr/>
          </p:nvSpPr>
          <p:spPr bwMode="auto">
            <a:xfrm>
              <a:off x="1270094" y="235625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2" name="Freeform 792">
              <a:extLst>
                <a:ext uri="{FF2B5EF4-FFF2-40B4-BE49-F238E27FC236}">
                  <a16:creationId xmlns:a16="http://schemas.microsoft.com/office/drawing/2014/main" id="{06540AF9-2500-7E4C-AFFF-FC6B4CE28B28}"/>
                </a:ext>
              </a:extLst>
            </p:cNvPr>
            <p:cNvSpPr>
              <a:spLocks/>
            </p:cNvSpPr>
            <p:nvPr/>
          </p:nvSpPr>
          <p:spPr bwMode="auto">
            <a:xfrm>
              <a:off x="1277071" y="234731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4" y="16"/>
                  </a:lnTo>
                  <a:lnTo>
                    <a:pt x="0" y="16"/>
                  </a:lnTo>
                  <a:lnTo>
                    <a:pt x="0" y="12"/>
                  </a:lnTo>
                  <a:lnTo>
                    <a:pt x="0" y="3"/>
                  </a:lnTo>
                  <a:lnTo>
                    <a:pt x="0" y="0"/>
                  </a:lnTo>
                  <a:lnTo>
                    <a:pt x="4" y="0"/>
                  </a:lnTo>
                  <a:lnTo>
                    <a:pt x="7" y="0"/>
                  </a:lnTo>
                  <a:lnTo>
                    <a:pt x="10" y="3"/>
                  </a:lnTo>
                  <a:lnTo>
                    <a:pt x="10" y="1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3" name="Freeform 793">
              <a:extLst>
                <a:ext uri="{FF2B5EF4-FFF2-40B4-BE49-F238E27FC236}">
                  <a16:creationId xmlns:a16="http://schemas.microsoft.com/office/drawing/2014/main" id="{2FACA177-7624-4C48-94D6-481CAF1B69D3}"/>
                </a:ext>
              </a:extLst>
            </p:cNvPr>
            <p:cNvSpPr>
              <a:spLocks/>
            </p:cNvSpPr>
            <p:nvPr/>
          </p:nvSpPr>
          <p:spPr bwMode="auto">
            <a:xfrm>
              <a:off x="1277071" y="234036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4" name="Freeform 794">
              <a:extLst>
                <a:ext uri="{FF2B5EF4-FFF2-40B4-BE49-F238E27FC236}">
                  <a16:creationId xmlns:a16="http://schemas.microsoft.com/office/drawing/2014/main" id="{1DD61CB3-92C8-F740-8629-29A595A0E5F3}"/>
                </a:ext>
              </a:extLst>
            </p:cNvPr>
            <p:cNvSpPr>
              <a:spLocks/>
            </p:cNvSpPr>
            <p:nvPr/>
          </p:nvSpPr>
          <p:spPr bwMode="auto">
            <a:xfrm>
              <a:off x="1277071" y="234036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5" name="Freeform 795">
              <a:extLst>
                <a:ext uri="{FF2B5EF4-FFF2-40B4-BE49-F238E27FC236}">
                  <a16:creationId xmlns:a16="http://schemas.microsoft.com/office/drawing/2014/main" id="{2747AFF1-EC1C-4244-8619-3369114B4877}"/>
                </a:ext>
              </a:extLst>
            </p:cNvPr>
            <p:cNvSpPr>
              <a:spLocks/>
            </p:cNvSpPr>
            <p:nvPr/>
          </p:nvSpPr>
          <p:spPr bwMode="auto">
            <a:xfrm>
              <a:off x="1281723" y="2330438"/>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6" name="Freeform 796">
              <a:extLst>
                <a:ext uri="{FF2B5EF4-FFF2-40B4-BE49-F238E27FC236}">
                  <a16:creationId xmlns:a16="http://schemas.microsoft.com/office/drawing/2014/main" id="{3E5F69B8-D918-6D49-82DA-3DB656BB20FD}"/>
                </a:ext>
              </a:extLst>
            </p:cNvPr>
            <p:cNvSpPr>
              <a:spLocks/>
            </p:cNvSpPr>
            <p:nvPr/>
          </p:nvSpPr>
          <p:spPr bwMode="auto">
            <a:xfrm>
              <a:off x="1281723" y="233043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7" name="Freeform 797">
              <a:extLst>
                <a:ext uri="{FF2B5EF4-FFF2-40B4-BE49-F238E27FC236}">
                  <a16:creationId xmlns:a16="http://schemas.microsoft.com/office/drawing/2014/main" id="{ECC4EBE8-482E-4249-8621-0442BF31EC76}"/>
                </a:ext>
              </a:extLst>
            </p:cNvPr>
            <p:cNvSpPr>
              <a:spLocks/>
            </p:cNvSpPr>
            <p:nvPr/>
          </p:nvSpPr>
          <p:spPr bwMode="auto">
            <a:xfrm>
              <a:off x="1285212" y="232448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8" name="Freeform 798">
              <a:extLst>
                <a:ext uri="{FF2B5EF4-FFF2-40B4-BE49-F238E27FC236}">
                  <a16:creationId xmlns:a16="http://schemas.microsoft.com/office/drawing/2014/main" id="{73A34336-D007-7C41-ADF2-30D3EFF6621C}"/>
                </a:ext>
              </a:extLst>
            </p:cNvPr>
            <p:cNvSpPr>
              <a:spLocks/>
            </p:cNvSpPr>
            <p:nvPr/>
          </p:nvSpPr>
          <p:spPr bwMode="auto">
            <a:xfrm>
              <a:off x="1285212" y="231455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9" name="Freeform 799">
              <a:extLst>
                <a:ext uri="{FF2B5EF4-FFF2-40B4-BE49-F238E27FC236}">
                  <a16:creationId xmlns:a16="http://schemas.microsoft.com/office/drawing/2014/main" id="{13C37C79-5DD9-7447-886F-6C0297C82BCE}"/>
                </a:ext>
              </a:extLst>
            </p:cNvPr>
            <p:cNvSpPr>
              <a:spLocks/>
            </p:cNvSpPr>
            <p:nvPr/>
          </p:nvSpPr>
          <p:spPr bwMode="auto">
            <a:xfrm>
              <a:off x="1285212" y="2314552"/>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0" name="Freeform 800">
              <a:extLst>
                <a:ext uri="{FF2B5EF4-FFF2-40B4-BE49-F238E27FC236}">
                  <a16:creationId xmlns:a16="http://schemas.microsoft.com/office/drawing/2014/main" id="{224490F0-F1B1-5C40-A647-1AA41513947F}"/>
                </a:ext>
              </a:extLst>
            </p:cNvPr>
            <p:cNvSpPr>
              <a:spLocks/>
            </p:cNvSpPr>
            <p:nvPr/>
          </p:nvSpPr>
          <p:spPr bwMode="auto">
            <a:xfrm>
              <a:off x="1300330" y="2308595"/>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1" name="Freeform 801">
              <a:extLst>
                <a:ext uri="{FF2B5EF4-FFF2-40B4-BE49-F238E27FC236}">
                  <a16:creationId xmlns:a16="http://schemas.microsoft.com/office/drawing/2014/main" id="{2A885940-5C0A-6244-A055-8FB02F3DBBF7}"/>
                </a:ext>
              </a:extLst>
            </p:cNvPr>
            <p:cNvSpPr>
              <a:spLocks/>
            </p:cNvSpPr>
            <p:nvPr/>
          </p:nvSpPr>
          <p:spPr bwMode="auto">
            <a:xfrm>
              <a:off x="1300330" y="2308595"/>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2" name="Freeform 802">
              <a:extLst>
                <a:ext uri="{FF2B5EF4-FFF2-40B4-BE49-F238E27FC236}">
                  <a16:creationId xmlns:a16="http://schemas.microsoft.com/office/drawing/2014/main" id="{29CBEEAF-7AB0-0746-9DE9-6E19F76130D9}"/>
                </a:ext>
              </a:extLst>
            </p:cNvPr>
            <p:cNvSpPr>
              <a:spLocks/>
            </p:cNvSpPr>
            <p:nvPr/>
          </p:nvSpPr>
          <p:spPr bwMode="auto">
            <a:xfrm>
              <a:off x="1303819" y="229866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3" name="Freeform 803">
              <a:extLst>
                <a:ext uri="{FF2B5EF4-FFF2-40B4-BE49-F238E27FC236}">
                  <a16:creationId xmlns:a16="http://schemas.microsoft.com/office/drawing/2014/main" id="{6CAE6FB0-E58A-784A-B5D2-B4FC469F3151}"/>
                </a:ext>
              </a:extLst>
            </p:cNvPr>
            <p:cNvSpPr>
              <a:spLocks/>
            </p:cNvSpPr>
            <p:nvPr/>
          </p:nvSpPr>
          <p:spPr bwMode="auto">
            <a:xfrm>
              <a:off x="1303819" y="229271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6" y="13"/>
                  </a:lnTo>
                  <a:lnTo>
                    <a:pt x="3" y="13"/>
                  </a:lnTo>
                  <a:lnTo>
                    <a:pt x="0" y="13"/>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4" name="Freeform 804">
              <a:extLst>
                <a:ext uri="{FF2B5EF4-FFF2-40B4-BE49-F238E27FC236}">
                  <a16:creationId xmlns:a16="http://schemas.microsoft.com/office/drawing/2014/main" id="{97879FE5-9A8D-ED41-8BFA-0D31E55FE0C2}"/>
                </a:ext>
              </a:extLst>
            </p:cNvPr>
            <p:cNvSpPr>
              <a:spLocks/>
            </p:cNvSpPr>
            <p:nvPr/>
          </p:nvSpPr>
          <p:spPr bwMode="auto">
            <a:xfrm>
              <a:off x="1303819" y="2292710"/>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5" name="Freeform 805">
              <a:extLst>
                <a:ext uri="{FF2B5EF4-FFF2-40B4-BE49-F238E27FC236}">
                  <a16:creationId xmlns:a16="http://schemas.microsoft.com/office/drawing/2014/main" id="{986050FD-C90D-1448-949B-6D47EC53D0F9}"/>
                </a:ext>
              </a:extLst>
            </p:cNvPr>
            <p:cNvSpPr>
              <a:spLocks/>
            </p:cNvSpPr>
            <p:nvPr/>
          </p:nvSpPr>
          <p:spPr bwMode="auto">
            <a:xfrm>
              <a:off x="1318936" y="228278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6" name="Freeform 806">
              <a:extLst>
                <a:ext uri="{FF2B5EF4-FFF2-40B4-BE49-F238E27FC236}">
                  <a16:creationId xmlns:a16="http://schemas.microsoft.com/office/drawing/2014/main" id="{80981A32-93C8-544B-AD18-C5D977C3370C}"/>
                </a:ext>
              </a:extLst>
            </p:cNvPr>
            <p:cNvSpPr>
              <a:spLocks/>
            </p:cNvSpPr>
            <p:nvPr/>
          </p:nvSpPr>
          <p:spPr bwMode="auto">
            <a:xfrm>
              <a:off x="1318936" y="2276824"/>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7" name="Freeform 807">
              <a:extLst>
                <a:ext uri="{FF2B5EF4-FFF2-40B4-BE49-F238E27FC236}">
                  <a16:creationId xmlns:a16="http://schemas.microsoft.com/office/drawing/2014/main" id="{5AFAA9E3-F307-9B42-9D86-359B2F10A246}"/>
                </a:ext>
              </a:extLst>
            </p:cNvPr>
            <p:cNvSpPr>
              <a:spLocks/>
            </p:cNvSpPr>
            <p:nvPr/>
          </p:nvSpPr>
          <p:spPr bwMode="auto">
            <a:xfrm>
              <a:off x="1318936" y="226689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8" name="Freeform 809">
              <a:extLst>
                <a:ext uri="{FF2B5EF4-FFF2-40B4-BE49-F238E27FC236}">
                  <a16:creationId xmlns:a16="http://schemas.microsoft.com/office/drawing/2014/main" id="{107F37E9-C43E-E644-9826-152DFC46754B}"/>
                </a:ext>
              </a:extLst>
            </p:cNvPr>
            <p:cNvSpPr>
              <a:spLocks/>
            </p:cNvSpPr>
            <p:nvPr/>
          </p:nvSpPr>
          <p:spPr bwMode="auto">
            <a:xfrm>
              <a:off x="1318936" y="2266896"/>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9" name="Freeform 810">
              <a:extLst>
                <a:ext uri="{FF2B5EF4-FFF2-40B4-BE49-F238E27FC236}">
                  <a16:creationId xmlns:a16="http://schemas.microsoft.com/office/drawing/2014/main" id="{7D171C38-20CB-2043-A53B-8F19B33B8E26}"/>
                </a:ext>
              </a:extLst>
            </p:cNvPr>
            <p:cNvSpPr>
              <a:spLocks/>
            </p:cNvSpPr>
            <p:nvPr/>
          </p:nvSpPr>
          <p:spPr bwMode="auto">
            <a:xfrm>
              <a:off x="1330566" y="2259946"/>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0" name="Freeform 811">
              <a:extLst>
                <a:ext uri="{FF2B5EF4-FFF2-40B4-BE49-F238E27FC236}">
                  <a16:creationId xmlns:a16="http://schemas.microsoft.com/office/drawing/2014/main" id="{4A48B063-522D-3342-982A-A6A8D848A13C}"/>
                </a:ext>
              </a:extLst>
            </p:cNvPr>
            <p:cNvSpPr>
              <a:spLocks/>
            </p:cNvSpPr>
            <p:nvPr/>
          </p:nvSpPr>
          <p:spPr bwMode="auto">
            <a:xfrm>
              <a:off x="1330566" y="225994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1" name="Freeform 812">
              <a:extLst>
                <a:ext uri="{FF2B5EF4-FFF2-40B4-BE49-F238E27FC236}">
                  <a16:creationId xmlns:a16="http://schemas.microsoft.com/office/drawing/2014/main" id="{1B994612-6399-BF44-B38F-D4BD721A2657}"/>
                </a:ext>
              </a:extLst>
            </p:cNvPr>
            <p:cNvSpPr>
              <a:spLocks/>
            </p:cNvSpPr>
            <p:nvPr/>
          </p:nvSpPr>
          <p:spPr bwMode="auto">
            <a:xfrm>
              <a:off x="1334055" y="2251010"/>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2" name="Freeform 813">
              <a:extLst>
                <a:ext uri="{FF2B5EF4-FFF2-40B4-BE49-F238E27FC236}">
                  <a16:creationId xmlns:a16="http://schemas.microsoft.com/office/drawing/2014/main" id="{F919E9A5-2E33-2D48-A3C1-2800C1B2A4C3}"/>
                </a:ext>
              </a:extLst>
            </p:cNvPr>
            <p:cNvSpPr>
              <a:spLocks/>
            </p:cNvSpPr>
            <p:nvPr/>
          </p:nvSpPr>
          <p:spPr bwMode="auto">
            <a:xfrm>
              <a:off x="1334055" y="225101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3" name="Freeform 814">
              <a:extLst>
                <a:ext uri="{FF2B5EF4-FFF2-40B4-BE49-F238E27FC236}">
                  <a16:creationId xmlns:a16="http://schemas.microsoft.com/office/drawing/2014/main" id="{C56F4719-B830-8A4D-B3C5-6229B29ADD7B}"/>
                </a:ext>
              </a:extLst>
            </p:cNvPr>
            <p:cNvSpPr>
              <a:spLocks/>
            </p:cNvSpPr>
            <p:nvPr/>
          </p:nvSpPr>
          <p:spPr bwMode="auto">
            <a:xfrm>
              <a:off x="1337543" y="224108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4" name="Freeform 815">
              <a:extLst>
                <a:ext uri="{FF2B5EF4-FFF2-40B4-BE49-F238E27FC236}">
                  <a16:creationId xmlns:a16="http://schemas.microsoft.com/office/drawing/2014/main" id="{986307DF-D369-E742-8BF0-6F1C4DD671E4}"/>
                </a:ext>
              </a:extLst>
            </p:cNvPr>
            <p:cNvSpPr>
              <a:spLocks/>
            </p:cNvSpPr>
            <p:nvPr/>
          </p:nvSpPr>
          <p:spPr bwMode="auto">
            <a:xfrm>
              <a:off x="1337543" y="2235125"/>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5" name="Freeform 816">
              <a:extLst>
                <a:ext uri="{FF2B5EF4-FFF2-40B4-BE49-F238E27FC236}">
                  <a16:creationId xmlns:a16="http://schemas.microsoft.com/office/drawing/2014/main" id="{E7A7E6B9-3335-ED42-ADFC-13B13346031A}"/>
                </a:ext>
              </a:extLst>
            </p:cNvPr>
            <p:cNvSpPr>
              <a:spLocks/>
            </p:cNvSpPr>
            <p:nvPr/>
          </p:nvSpPr>
          <p:spPr bwMode="auto">
            <a:xfrm>
              <a:off x="1337543" y="223512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6" name="Freeform 817">
              <a:extLst>
                <a:ext uri="{FF2B5EF4-FFF2-40B4-BE49-F238E27FC236}">
                  <a16:creationId xmlns:a16="http://schemas.microsoft.com/office/drawing/2014/main" id="{645BA75A-E5E6-C945-9A68-04C881F95FC2}"/>
                </a:ext>
              </a:extLst>
            </p:cNvPr>
            <p:cNvSpPr>
              <a:spLocks/>
            </p:cNvSpPr>
            <p:nvPr/>
          </p:nvSpPr>
          <p:spPr bwMode="auto">
            <a:xfrm>
              <a:off x="1341032" y="222519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7" name="Freeform 818">
              <a:extLst>
                <a:ext uri="{FF2B5EF4-FFF2-40B4-BE49-F238E27FC236}">
                  <a16:creationId xmlns:a16="http://schemas.microsoft.com/office/drawing/2014/main" id="{A1BDE781-71E5-7A4F-9A41-36CADEF35E42}"/>
                </a:ext>
              </a:extLst>
            </p:cNvPr>
            <p:cNvSpPr>
              <a:spLocks/>
            </p:cNvSpPr>
            <p:nvPr/>
          </p:nvSpPr>
          <p:spPr bwMode="auto">
            <a:xfrm>
              <a:off x="1341032" y="222519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8" name="Freeform 819">
              <a:extLst>
                <a:ext uri="{FF2B5EF4-FFF2-40B4-BE49-F238E27FC236}">
                  <a16:creationId xmlns:a16="http://schemas.microsoft.com/office/drawing/2014/main" id="{477BC80E-0F5D-DE44-BB26-218E7C4274A2}"/>
                </a:ext>
              </a:extLst>
            </p:cNvPr>
            <p:cNvSpPr>
              <a:spLocks/>
            </p:cNvSpPr>
            <p:nvPr/>
          </p:nvSpPr>
          <p:spPr bwMode="auto">
            <a:xfrm>
              <a:off x="1344521" y="221824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9" name="Freeform 820">
              <a:extLst>
                <a:ext uri="{FF2B5EF4-FFF2-40B4-BE49-F238E27FC236}">
                  <a16:creationId xmlns:a16="http://schemas.microsoft.com/office/drawing/2014/main" id="{903DA046-6DA7-2042-A02D-046C0188ED83}"/>
                </a:ext>
              </a:extLst>
            </p:cNvPr>
            <p:cNvSpPr>
              <a:spLocks/>
            </p:cNvSpPr>
            <p:nvPr/>
          </p:nvSpPr>
          <p:spPr bwMode="auto">
            <a:xfrm>
              <a:off x="1344521" y="221824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0" name="Freeform 821">
              <a:extLst>
                <a:ext uri="{FF2B5EF4-FFF2-40B4-BE49-F238E27FC236}">
                  <a16:creationId xmlns:a16="http://schemas.microsoft.com/office/drawing/2014/main" id="{21C8E5D4-5F83-534F-A786-7D5E8A089E56}"/>
                </a:ext>
              </a:extLst>
            </p:cNvPr>
            <p:cNvSpPr>
              <a:spLocks/>
            </p:cNvSpPr>
            <p:nvPr/>
          </p:nvSpPr>
          <p:spPr bwMode="auto">
            <a:xfrm>
              <a:off x="1349172" y="22182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1" name="Freeform 822">
              <a:extLst>
                <a:ext uri="{FF2B5EF4-FFF2-40B4-BE49-F238E27FC236}">
                  <a16:creationId xmlns:a16="http://schemas.microsoft.com/office/drawing/2014/main" id="{17F4BFD7-ECAF-314C-B833-CCA11919AD0E}"/>
                </a:ext>
              </a:extLst>
            </p:cNvPr>
            <p:cNvSpPr>
              <a:spLocks/>
            </p:cNvSpPr>
            <p:nvPr/>
          </p:nvSpPr>
          <p:spPr bwMode="auto">
            <a:xfrm>
              <a:off x="1356150" y="220931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2" name="Freeform 823">
              <a:extLst>
                <a:ext uri="{FF2B5EF4-FFF2-40B4-BE49-F238E27FC236}">
                  <a16:creationId xmlns:a16="http://schemas.microsoft.com/office/drawing/2014/main" id="{7650BFFB-B816-EA4A-8D8D-A21BF46D5297}"/>
                </a:ext>
              </a:extLst>
            </p:cNvPr>
            <p:cNvSpPr>
              <a:spLocks/>
            </p:cNvSpPr>
            <p:nvPr/>
          </p:nvSpPr>
          <p:spPr bwMode="auto">
            <a:xfrm>
              <a:off x="1356150" y="220931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3" name="Freeform 824">
              <a:extLst>
                <a:ext uri="{FF2B5EF4-FFF2-40B4-BE49-F238E27FC236}">
                  <a16:creationId xmlns:a16="http://schemas.microsoft.com/office/drawing/2014/main" id="{043D727A-39AC-C343-9A94-00EB14498D5D}"/>
                </a:ext>
              </a:extLst>
            </p:cNvPr>
            <p:cNvSpPr>
              <a:spLocks/>
            </p:cNvSpPr>
            <p:nvPr/>
          </p:nvSpPr>
          <p:spPr bwMode="auto">
            <a:xfrm>
              <a:off x="1364291" y="2209311"/>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2" y="0"/>
                  </a:lnTo>
                  <a:lnTo>
                    <a:pt x="16" y="0"/>
                  </a:lnTo>
                  <a:lnTo>
                    <a:pt x="16" y="3"/>
                  </a:lnTo>
                  <a:lnTo>
                    <a:pt x="16" y="6"/>
                  </a:lnTo>
                  <a:lnTo>
                    <a:pt x="1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4" name="Freeform 825">
              <a:extLst>
                <a:ext uri="{FF2B5EF4-FFF2-40B4-BE49-F238E27FC236}">
                  <a16:creationId xmlns:a16="http://schemas.microsoft.com/office/drawing/2014/main" id="{63250AC4-80C1-4B49-8336-7B0AFE005B14}"/>
                </a:ext>
              </a:extLst>
            </p:cNvPr>
            <p:cNvSpPr>
              <a:spLocks/>
            </p:cNvSpPr>
            <p:nvPr/>
          </p:nvSpPr>
          <p:spPr bwMode="auto">
            <a:xfrm>
              <a:off x="1374757" y="220931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5" name="Freeform 826">
              <a:extLst>
                <a:ext uri="{FF2B5EF4-FFF2-40B4-BE49-F238E27FC236}">
                  <a16:creationId xmlns:a16="http://schemas.microsoft.com/office/drawing/2014/main" id="{AEF6586E-BECB-C14C-96E3-9B39C57F44AE}"/>
                </a:ext>
              </a:extLst>
            </p:cNvPr>
            <p:cNvSpPr>
              <a:spLocks/>
            </p:cNvSpPr>
            <p:nvPr/>
          </p:nvSpPr>
          <p:spPr bwMode="auto">
            <a:xfrm>
              <a:off x="1382898" y="2199382"/>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6" name="Freeform 827">
              <a:extLst>
                <a:ext uri="{FF2B5EF4-FFF2-40B4-BE49-F238E27FC236}">
                  <a16:creationId xmlns:a16="http://schemas.microsoft.com/office/drawing/2014/main" id="{DB73681D-D834-0345-B9E3-A97FDFE3A8DD}"/>
                </a:ext>
              </a:extLst>
            </p:cNvPr>
            <p:cNvSpPr>
              <a:spLocks/>
            </p:cNvSpPr>
            <p:nvPr/>
          </p:nvSpPr>
          <p:spPr bwMode="auto">
            <a:xfrm>
              <a:off x="1382898" y="219938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7" name="Freeform 828">
              <a:extLst>
                <a:ext uri="{FF2B5EF4-FFF2-40B4-BE49-F238E27FC236}">
                  <a16:creationId xmlns:a16="http://schemas.microsoft.com/office/drawing/2014/main" id="{131BE0E6-845C-8148-AC00-4C018249A796}"/>
                </a:ext>
              </a:extLst>
            </p:cNvPr>
            <p:cNvSpPr>
              <a:spLocks/>
            </p:cNvSpPr>
            <p:nvPr/>
          </p:nvSpPr>
          <p:spPr bwMode="auto">
            <a:xfrm>
              <a:off x="1386386" y="219342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6" y="13"/>
                  </a:lnTo>
                  <a:lnTo>
                    <a:pt x="3" y="13"/>
                  </a:lnTo>
                  <a:lnTo>
                    <a:pt x="0" y="13"/>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8" name="Freeform 829">
              <a:extLst>
                <a:ext uri="{FF2B5EF4-FFF2-40B4-BE49-F238E27FC236}">
                  <a16:creationId xmlns:a16="http://schemas.microsoft.com/office/drawing/2014/main" id="{62070099-647F-1B4C-A8C3-7C6614031337}"/>
                </a:ext>
              </a:extLst>
            </p:cNvPr>
            <p:cNvSpPr>
              <a:spLocks/>
            </p:cNvSpPr>
            <p:nvPr/>
          </p:nvSpPr>
          <p:spPr bwMode="auto">
            <a:xfrm>
              <a:off x="1386386" y="2193425"/>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9" name="Freeform 830">
              <a:extLst>
                <a:ext uri="{FF2B5EF4-FFF2-40B4-BE49-F238E27FC236}">
                  <a16:creationId xmlns:a16="http://schemas.microsoft.com/office/drawing/2014/main" id="{9E9C85DD-6D92-BB4C-A4DD-D6B5BDE4C1D5}"/>
                </a:ext>
              </a:extLst>
            </p:cNvPr>
            <p:cNvSpPr>
              <a:spLocks/>
            </p:cNvSpPr>
            <p:nvPr/>
          </p:nvSpPr>
          <p:spPr bwMode="auto">
            <a:xfrm>
              <a:off x="1401504" y="218349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0" name="Freeform 831">
              <a:extLst>
                <a:ext uri="{FF2B5EF4-FFF2-40B4-BE49-F238E27FC236}">
                  <a16:creationId xmlns:a16="http://schemas.microsoft.com/office/drawing/2014/main" id="{147205F7-10AF-634F-B389-FBD2B257CBB4}"/>
                </a:ext>
              </a:extLst>
            </p:cNvPr>
            <p:cNvSpPr>
              <a:spLocks/>
            </p:cNvSpPr>
            <p:nvPr/>
          </p:nvSpPr>
          <p:spPr bwMode="auto">
            <a:xfrm>
              <a:off x="1401504" y="218349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1" name="Freeform 832">
              <a:extLst>
                <a:ext uri="{FF2B5EF4-FFF2-40B4-BE49-F238E27FC236}">
                  <a16:creationId xmlns:a16="http://schemas.microsoft.com/office/drawing/2014/main" id="{AA25DCF5-8380-6E44-8A25-18BB0BFE9653}"/>
                </a:ext>
              </a:extLst>
            </p:cNvPr>
            <p:cNvSpPr>
              <a:spLocks/>
            </p:cNvSpPr>
            <p:nvPr/>
          </p:nvSpPr>
          <p:spPr bwMode="auto">
            <a:xfrm>
              <a:off x="1404993" y="217654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2" name="Freeform 833">
              <a:extLst>
                <a:ext uri="{FF2B5EF4-FFF2-40B4-BE49-F238E27FC236}">
                  <a16:creationId xmlns:a16="http://schemas.microsoft.com/office/drawing/2014/main" id="{D83CA7EA-703F-D044-8144-C0E1B18412DA}"/>
                </a:ext>
              </a:extLst>
            </p:cNvPr>
            <p:cNvSpPr>
              <a:spLocks/>
            </p:cNvSpPr>
            <p:nvPr/>
          </p:nvSpPr>
          <p:spPr bwMode="auto">
            <a:xfrm>
              <a:off x="1404993" y="216761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3" name="Freeform 834">
              <a:extLst>
                <a:ext uri="{FF2B5EF4-FFF2-40B4-BE49-F238E27FC236}">
                  <a16:creationId xmlns:a16="http://schemas.microsoft.com/office/drawing/2014/main" id="{F33998A1-7CB6-6549-B2DB-47DA7C66E2F1}"/>
                </a:ext>
              </a:extLst>
            </p:cNvPr>
            <p:cNvSpPr>
              <a:spLocks/>
            </p:cNvSpPr>
            <p:nvPr/>
          </p:nvSpPr>
          <p:spPr bwMode="auto">
            <a:xfrm>
              <a:off x="1404993" y="2167611"/>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19" y="0"/>
                  </a:lnTo>
                  <a:lnTo>
                    <a:pt x="23" y="0"/>
                  </a:lnTo>
                  <a:lnTo>
                    <a:pt x="23" y="3"/>
                  </a:lnTo>
                  <a:lnTo>
                    <a:pt x="23" y="6"/>
                  </a:lnTo>
                  <a:lnTo>
                    <a:pt x="1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4" name="Freeform 835">
              <a:extLst>
                <a:ext uri="{FF2B5EF4-FFF2-40B4-BE49-F238E27FC236}">
                  <a16:creationId xmlns:a16="http://schemas.microsoft.com/office/drawing/2014/main" id="{A7B85CC0-8FDF-3A42-9CD7-13629459123A}"/>
                </a:ext>
              </a:extLst>
            </p:cNvPr>
            <p:cNvSpPr>
              <a:spLocks/>
            </p:cNvSpPr>
            <p:nvPr/>
          </p:nvSpPr>
          <p:spPr bwMode="auto">
            <a:xfrm>
              <a:off x="1423599" y="215768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5" name="Freeform 836">
              <a:extLst>
                <a:ext uri="{FF2B5EF4-FFF2-40B4-BE49-F238E27FC236}">
                  <a16:creationId xmlns:a16="http://schemas.microsoft.com/office/drawing/2014/main" id="{49B8B982-20BA-FB45-8FE9-63890A67FC87}"/>
                </a:ext>
              </a:extLst>
            </p:cNvPr>
            <p:cNvSpPr>
              <a:spLocks/>
            </p:cNvSpPr>
            <p:nvPr/>
          </p:nvSpPr>
          <p:spPr bwMode="auto">
            <a:xfrm>
              <a:off x="1423599" y="215768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6" name="Freeform 837">
              <a:extLst>
                <a:ext uri="{FF2B5EF4-FFF2-40B4-BE49-F238E27FC236}">
                  <a16:creationId xmlns:a16="http://schemas.microsoft.com/office/drawing/2014/main" id="{75A12309-CA6B-F44A-8DC3-94D39793B1ED}"/>
                </a:ext>
              </a:extLst>
            </p:cNvPr>
            <p:cNvSpPr>
              <a:spLocks/>
            </p:cNvSpPr>
            <p:nvPr/>
          </p:nvSpPr>
          <p:spPr bwMode="auto">
            <a:xfrm>
              <a:off x="1431740" y="2151726"/>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7" name="Freeform 838">
              <a:extLst>
                <a:ext uri="{FF2B5EF4-FFF2-40B4-BE49-F238E27FC236}">
                  <a16:creationId xmlns:a16="http://schemas.microsoft.com/office/drawing/2014/main" id="{1921035A-6853-8F4E-83E5-05AFE2E09DBD}"/>
                </a:ext>
              </a:extLst>
            </p:cNvPr>
            <p:cNvSpPr>
              <a:spLocks/>
            </p:cNvSpPr>
            <p:nvPr/>
          </p:nvSpPr>
          <p:spPr bwMode="auto">
            <a:xfrm>
              <a:off x="1431740" y="2151726"/>
              <a:ext cx="13955" cy="8936"/>
            </a:xfrm>
            <a:custGeom>
              <a:avLst/>
              <a:gdLst>
                <a:gd name="T0" fmla="*/ 2147483646 w 12"/>
                <a:gd name="T1" fmla="*/ 2147483646 h 9"/>
                <a:gd name="T2" fmla="*/ 0 w 12"/>
                <a:gd name="T3" fmla="*/ 2147483646 h 9"/>
                <a:gd name="T4" fmla="*/ 0 w 12"/>
                <a:gd name="T5" fmla="*/ 2147483646 h 9"/>
                <a:gd name="T6" fmla="*/ 0 w 12"/>
                <a:gd name="T7" fmla="*/ 2147483646 h 9"/>
                <a:gd name="T8" fmla="*/ 0 w 12"/>
                <a:gd name="T9" fmla="*/ 0 h 9"/>
                <a:gd name="T10" fmla="*/ 2147483646 w 12"/>
                <a:gd name="T11" fmla="*/ 0 h 9"/>
                <a:gd name="T12" fmla="*/ 2147483646 w 12"/>
                <a:gd name="T13" fmla="*/ 0 h 9"/>
                <a:gd name="T14" fmla="*/ 2147483646 w 12"/>
                <a:gd name="T15" fmla="*/ 0 h 9"/>
                <a:gd name="T16" fmla="*/ 2147483646 w 12"/>
                <a:gd name="T17" fmla="*/ 2147483646 h 9"/>
                <a:gd name="T18" fmla="*/ 2147483646 w 12"/>
                <a:gd name="T19" fmla="*/ 2147483646 h 9"/>
                <a:gd name="T20" fmla="*/ 2147483646 w 12"/>
                <a:gd name="T21" fmla="*/ 2147483646 h 9"/>
                <a:gd name="T22" fmla="*/ 2147483646 w 12"/>
                <a:gd name="T23" fmla="*/ 2147483646 h 9"/>
                <a:gd name="T24" fmla="*/ 2147483646 w 1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9">
                  <a:moveTo>
                    <a:pt x="3" y="9"/>
                  </a:moveTo>
                  <a:lnTo>
                    <a:pt x="0" y="6"/>
                  </a:lnTo>
                  <a:lnTo>
                    <a:pt x="0" y="3"/>
                  </a:lnTo>
                  <a:lnTo>
                    <a:pt x="0" y="0"/>
                  </a:lnTo>
                  <a:lnTo>
                    <a:pt x="3" y="0"/>
                  </a:lnTo>
                  <a:lnTo>
                    <a:pt x="9" y="0"/>
                  </a:lnTo>
                  <a:lnTo>
                    <a:pt x="12" y="0"/>
                  </a:lnTo>
                  <a:lnTo>
                    <a:pt x="12" y="3"/>
                  </a:lnTo>
                  <a:lnTo>
                    <a:pt x="12" y="6"/>
                  </a:lnTo>
                  <a:lnTo>
                    <a:pt x="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8" name="Freeform 839">
              <a:extLst>
                <a:ext uri="{FF2B5EF4-FFF2-40B4-BE49-F238E27FC236}">
                  <a16:creationId xmlns:a16="http://schemas.microsoft.com/office/drawing/2014/main" id="{35E59A3A-EC2B-554C-BC0F-3BD5FF601EF2}"/>
                </a:ext>
              </a:extLst>
            </p:cNvPr>
            <p:cNvSpPr>
              <a:spLocks/>
            </p:cNvSpPr>
            <p:nvPr/>
          </p:nvSpPr>
          <p:spPr bwMode="auto">
            <a:xfrm>
              <a:off x="1438718" y="214179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9" name="Freeform 840">
              <a:extLst>
                <a:ext uri="{FF2B5EF4-FFF2-40B4-BE49-F238E27FC236}">
                  <a16:creationId xmlns:a16="http://schemas.microsoft.com/office/drawing/2014/main" id="{A616F3CA-C9D9-564C-8505-9040BD70DA8B}"/>
                </a:ext>
              </a:extLst>
            </p:cNvPr>
            <p:cNvSpPr>
              <a:spLocks/>
            </p:cNvSpPr>
            <p:nvPr/>
          </p:nvSpPr>
          <p:spPr bwMode="auto">
            <a:xfrm>
              <a:off x="1438718" y="214179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0" name="Freeform 841">
              <a:extLst>
                <a:ext uri="{FF2B5EF4-FFF2-40B4-BE49-F238E27FC236}">
                  <a16:creationId xmlns:a16="http://schemas.microsoft.com/office/drawing/2014/main" id="{845670FA-B173-4642-91BD-2DE41BF0D30D}"/>
                </a:ext>
              </a:extLst>
            </p:cNvPr>
            <p:cNvSpPr>
              <a:spLocks/>
            </p:cNvSpPr>
            <p:nvPr/>
          </p:nvSpPr>
          <p:spPr bwMode="auto">
            <a:xfrm>
              <a:off x="1442206" y="213186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4"/>
                  </a:lnTo>
                  <a:lnTo>
                    <a:pt x="0" y="0"/>
                  </a:lnTo>
                  <a:lnTo>
                    <a:pt x="3"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1" name="Freeform 842">
              <a:extLst>
                <a:ext uri="{FF2B5EF4-FFF2-40B4-BE49-F238E27FC236}">
                  <a16:creationId xmlns:a16="http://schemas.microsoft.com/office/drawing/2014/main" id="{329438EB-AD3F-B74F-91B0-9313FC89933C}"/>
                </a:ext>
              </a:extLst>
            </p:cNvPr>
            <p:cNvSpPr>
              <a:spLocks/>
            </p:cNvSpPr>
            <p:nvPr/>
          </p:nvSpPr>
          <p:spPr bwMode="auto">
            <a:xfrm>
              <a:off x="1442206" y="213186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2" name="Freeform 843">
              <a:extLst>
                <a:ext uri="{FF2B5EF4-FFF2-40B4-BE49-F238E27FC236}">
                  <a16:creationId xmlns:a16="http://schemas.microsoft.com/office/drawing/2014/main" id="{1A21A964-2102-6B43-B701-087C5837A056}"/>
                </a:ext>
              </a:extLst>
            </p:cNvPr>
            <p:cNvSpPr>
              <a:spLocks/>
            </p:cNvSpPr>
            <p:nvPr/>
          </p:nvSpPr>
          <p:spPr bwMode="auto">
            <a:xfrm>
              <a:off x="1445695" y="212591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3" name="Freeform 844">
              <a:extLst>
                <a:ext uri="{FF2B5EF4-FFF2-40B4-BE49-F238E27FC236}">
                  <a16:creationId xmlns:a16="http://schemas.microsoft.com/office/drawing/2014/main" id="{35C0E222-5013-0243-8B74-FB41CD5CDEDD}"/>
                </a:ext>
              </a:extLst>
            </p:cNvPr>
            <p:cNvSpPr>
              <a:spLocks/>
            </p:cNvSpPr>
            <p:nvPr/>
          </p:nvSpPr>
          <p:spPr bwMode="auto">
            <a:xfrm>
              <a:off x="1445695" y="212591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4" name="Freeform 845">
              <a:extLst>
                <a:ext uri="{FF2B5EF4-FFF2-40B4-BE49-F238E27FC236}">
                  <a16:creationId xmlns:a16="http://schemas.microsoft.com/office/drawing/2014/main" id="{007CFA00-B629-A349-8683-BCD7236BB9F9}"/>
                </a:ext>
              </a:extLst>
            </p:cNvPr>
            <p:cNvSpPr>
              <a:spLocks/>
            </p:cNvSpPr>
            <p:nvPr/>
          </p:nvSpPr>
          <p:spPr bwMode="auto">
            <a:xfrm>
              <a:off x="1453835" y="211598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5" name="Freeform 846">
              <a:extLst>
                <a:ext uri="{FF2B5EF4-FFF2-40B4-BE49-F238E27FC236}">
                  <a16:creationId xmlns:a16="http://schemas.microsoft.com/office/drawing/2014/main" id="{E0C61067-618B-1E4E-9F9C-438FA4FC1CE0}"/>
                </a:ext>
              </a:extLst>
            </p:cNvPr>
            <p:cNvSpPr>
              <a:spLocks/>
            </p:cNvSpPr>
            <p:nvPr/>
          </p:nvSpPr>
          <p:spPr bwMode="auto">
            <a:xfrm>
              <a:off x="1453835" y="211598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6" name="Freeform 847">
              <a:extLst>
                <a:ext uri="{FF2B5EF4-FFF2-40B4-BE49-F238E27FC236}">
                  <a16:creationId xmlns:a16="http://schemas.microsoft.com/office/drawing/2014/main" id="{D0ED65B7-9CB2-A04D-ADF6-D9EA5A8A6260}"/>
                </a:ext>
              </a:extLst>
            </p:cNvPr>
            <p:cNvSpPr>
              <a:spLocks/>
            </p:cNvSpPr>
            <p:nvPr/>
          </p:nvSpPr>
          <p:spPr bwMode="auto">
            <a:xfrm>
              <a:off x="1457324" y="211598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7" name="Freeform 848">
              <a:extLst>
                <a:ext uri="{FF2B5EF4-FFF2-40B4-BE49-F238E27FC236}">
                  <a16:creationId xmlns:a16="http://schemas.microsoft.com/office/drawing/2014/main" id="{9733B589-16A2-ED4D-9794-83FED266C256}"/>
                </a:ext>
              </a:extLst>
            </p:cNvPr>
            <p:cNvSpPr>
              <a:spLocks/>
            </p:cNvSpPr>
            <p:nvPr/>
          </p:nvSpPr>
          <p:spPr bwMode="auto">
            <a:xfrm>
              <a:off x="1460813" y="2106055"/>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8" name="Freeform 849">
              <a:extLst>
                <a:ext uri="{FF2B5EF4-FFF2-40B4-BE49-F238E27FC236}">
                  <a16:creationId xmlns:a16="http://schemas.microsoft.com/office/drawing/2014/main" id="{D0735DDC-3A06-9E47-8853-E4DCC9C22F20}"/>
                </a:ext>
              </a:extLst>
            </p:cNvPr>
            <p:cNvSpPr>
              <a:spLocks/>
            </p:cNvSpPr>
            <p:nvPr/>
          </p:nvSpPr>
          <p:spPr bwMode="auto">
            <a:xfrm>
              <a:off x="1460813" y="210605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9" name="Freeform 850">
              <a:extLst>
                <a:ext uri="{FF2B5EF4-FFF2-40B4-BE49-F238E27FC236}">
                  <a16:creationId xmlns:a16="http://schemas.microsoft.com/office/drawing/2014/main" id="{90D61086-8B20-4342-833B-1481022A5815}"/>
                </a:ext>
              </a:extLst>
            </p:cNvPr>
            <p:cNvSpPr>
              <a:spLocks/>
            </p:cNvSpPr>
            <p:nvPr/>
          </p:nvSpPr>
          <p:spPr bwMode="auto">
            <a:xfrm>
              <a:off x="1465465" y="2106055"/>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4"/>
                  </a:lnTo>
                  <a:lnTo>
                    <a:pt x="0" y="0"/>
                  </a:lnTo>
                  <a:lnTo>
                    <a:pt x="3" y="0"/>
                  </a:lnTo>
                  <a:lnTo>
                    <a:pt x="9" y="0"/>
                  </a:lnTo>
                  <a:lnTo>
                    <a:pt x="12" y="0"/>
                  </a:lnTo>
                  <a:lnTo>
                    <a:pt x="12" y="4"/>
                  </a:lnTo>
                  <a:lnTo>
                    <a:pt x="12" y="7"/>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0" name="Freeform 851">
              <a:extLst>
                <a:ext uri="{FF2B5EF4-FFF2-40B4-BE49-F238E27FC236}">
                  <a16:creationId xmlns:a16="http://schemas.microsoft.com/office/drawing/2014/main" id="{BD1A77C9-C96A-A241-A0CC-B6DC6C53FB96}"/>
                </a:ext>
              </a:extLst>
            </p:cNvPr>
            <p:cNvSpPr>
              <a:spLocks/>
            </p:cNvSpPr>
            <p:nvPr/>
          </p:nvSpPr>
          <p:spPr bwMode="auto">
            <a:xfrm>
              <a:off x="1472442" y="210009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1" name="Freeform 852">
              <a:extLst>
                <a:ext uri="{FF2B5EF4-FFF2-40B4-BE49-F238E27FC236}">
                  <a16:creationId xmlns:a16="http://schemas.microsoft.com/office/drawing/2014/main" id="{5B166456-A2CD-B549-A977-55540DFF38DE}"/>
                </a:ext>
              </a:extLst>
            </p:cNvPr>
            <p:cNvSpPr>
              <a:spLocks/>
            </p:cNvSpPr>
            <p:nvPr/>
          </p:nvSpPr>
          <p:spPr bwMode="auto">
            <a:xfrm>
              <a:off x="1472442" y="209017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2" name="Freeform 853">
              <a:extLst>
                <a:ext uri="{FF2B5EF4-FFF2-40B4-BE49-F238E27FC236}">
                  <a16:creationId xmlns:a16="http://schemas.microsoft.com/office/drawing/2014/main" id="{4AB9DE0C-1C3E-C94D-9965-4119299EAE5E}"/>
                </a:ext>
              </a:extLst>
            </p:cNvPr>
            <p:cNvSpPr>
              <a:spLocks/>
            </p:cNvSpPr>
            <p:nvPr/>
          </p:nvSpPr>
          <p:spPr bwMode="auto">
            <a:xfrm>
              <a:off x="1472442" y="209017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3" name="Freeform 854">
              <a:extLst>
                <a:ext uri="{FF2B5EF4-FFF2-40B4-BE49-F238E27FC236}">
                  <a16:creationId xmlns:a16="http://schemas.microsoft.com/office/drawing/2014/main" id="{67F9F661-1AFB-5A43-B1A7-BACCA2111F31}"/>
                </a:ext>
              </a:extLst>
            </p:cNvPr>
            <p:cNvSpPr>
              <a:spLocks/>
            </p:cNvSpPr>
            <p:nvPr/>
          </p:nvSpPr>
          <p:spPr bwMode="auto">
            <a:xfrm>
              <a:off x="1475931" y="2090170"/>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3" y="10"/>
                  </a:moveTo>
                  <a:lnTo>
                    <a:pt x="0" y="7"/>
                  </a:lnTo>
                  <a:lnTo>
                    <a:pt x="0" y="4"/>
                  </a:lnTo>
                  <a:lnTo>
                    <a:pt x="0" y="0"/>
                  </a:lnTo>
                  <a:lnTo>
                    <a:pt x="3" y="0"/>
                  </a:lnTo>
                  <a:lnTo>
                    <a:pt x="20" y="0"/>
                  </a:lnTo>
                  <a:lnTo>
                    <a:pt x="23" y="0"/>
                  </a:lnTo>
                  <a:lnTo>
                    <a:pt x="23" y="4"/>
                  </a:lnTo>
                  <a:lnTo>
                    <a:pt x="23" y="7"/>
                  </a:lnTo>
                  <a:lnTo>
                    <a:pt x="2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4" name="Freeform 855">
              <a:extLst>
                <a:ext uri="{FF2B5EF4-FFF2-40B4-BE49-F238E27FC236}">
                  <a16:creationId xmlns:a16="http://schemas.microsoft.com/office/drawing/2014/main" id="{1B426416-65C6-FD4D-9B9C-5E5F7C033C23}"/>
                </a:ext>
              </a:extLst>
            </p:cNvPr>
            <p:cNvSpPr>
              <a:spLocks/>
            </p:cNvSpPr>
            <p:nvPr/>
          </p:nvSpPr>
          <p:spPr bwMode="auto">
            <a:xfrm>
              <a:off x="1494538" y="208123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5" name="Freeform 856">
              <a:extLst>
                <a:ext uri="{FF2B5EF4-FFF2-40B4-BE49-F238E27FC236}">
                  <a16:creationId xmlns:a16="http://schemas.microsoft.com/office/drawing/2014/main" id="{C849FA35-C6C3-0B4F-90C1-9BAA33C3B7FB}"/>
                </a:ext>
              </a:extLst>
            </p:cNvPr>
            <p:cNvSpPr>
              <a:spLocks/>
            </p:cNvSpPr>
            <p:nvPr/>
          </p:nvSpPr>
          <p:spPr bwMode="auto">
            <a:xfrm>
              <a:off x="1494538" y="208123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6" name="Freeform 857">
              <a:extLst>
                <a:ext uri="{FF2B5EF4-FFF2-40B4-BE49-F238E27FC236}">
                  <a16:creationId xmlns:a16="http://schemas.microsoft.com/office/drawing/2014/main" id="{1CBA0D3C-BB1F-2A4A-9A1A-FAFFA675605C}"/>
                </a:ext>
              </a:extLst>
            </p:cNvPr>
            <p:cNvSpPr>
              <a:spLocks/>
            </p:cNvSpPr>
            <p:nvPr/>
          </p:nvSpPr>
          <p:spPr bwMode="auto">
            <a:xfrm>
              <a:off x="1502678" y="207130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7" name="Freeform 858">
              <a:extLst>
                <a:ext uri="{FF2B5EF4-FFF2-40B4-BE49-F238E27FC236}">
                  <a16:creationId xmlns:a16="http://schemas.microsoft.com/office/drawing/2014/main" id="{FCEF4FEC-6701-E343-98E2-41F076D9E7B0}"/>
                </a:ext>
              </a:extLst>
            </p:cNvPr>
            <p:cNvSpPr>
              <a:spLocks/>
            </p:cNvSpPr>
            <p:nvPr/>
          </p:nvSpPr>
          <p:spPr bwMode="auto">
            <a:xfrm>
              <a:off x="1502678" y="2065349"/>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8" name="Freeform 859">
              <a:extLst>
                <a:ext uri="{FF2B5EF4-FFF2-40B4-BE49-F238E27FC236}">
                  <a16:creationId xmlns:a16="http://schemas.microsoft.com/office/drawing/2014/main" id="{6DD8C786-55DE-B948-804D-7C1E5E831972}"/>
                </a:ext>
              </a:extLst>
            </p:cNvPr>
            <p:cNvSpPr>
              <a:spLocks/>
            </p:cNvSpPr>
            <p:nvPr/>
          </p:nvSpPr>
          <p:spPr bwMode="auto">
            <a:xfrm>
              <a:off x="1502678" y="2065349"/>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9" name="Freeform 860">
              <a:extLst>
                <a:ext uri="{FF2B5EF4-FFF2-40B4-BE49-F238E27FC236}">
                  <a16:creationId xmlns:a16="http://schemas.microsoft.com/office/drawing/2014/main" id="{F9CB70A0-D9F7-0A43-A10D-8BB4953FAB6B}"/>
                </a:ext>
              </a:extLst>
            </p:cNvPr>
            <p:cNvSpPr>
              <a:spLocks/>
            </p:cNvSpPr>
            <p:nvPr/>
          </p:nvSpPr>
          <p:spPr bwMode="auto">
            <a:xfrm>
              <a:off x="1517796" y="2055421"/>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0" name="Freeform 861">
              <a:extLst>
                <a:ext uri="{FF2B5EF4-FFF2-40B4-BE49-F238E27FC236}">
                  <a16:creationId xmlns:a16="http://schemas.microsoft.com/office/drawing/2014/main" id="{C706C6CA-437A-6D4F-B502-43438C042E8D}"/>
                </a:ext>
              </a:extLst>
            </p:cNvPr>
            <p:cNvSpPr>
              <a:spLocks/>
            </p:cNvSpPr>
            <p:nvPr/>
          </p:nvSpPr>
          <p:spPr bwMode="auto">
            <a:xfrm>
              <a:off x="1517796" y="205542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1" name="Freeform 862">
              <a:extLst>
                <a:ext uri="{FF2B5EF4-FFF2-40B4-BE49-F238E27FC236}">
                  <a16:creationId xmlns:a16="http://schemas.microsoft.com/office/drawing/2014/main" id="{CD007742-0FF5-CB41-AA7C-2180421D5E3E}"/>
                </a:ext>
              </a:extLst>
            </p:cNvPr>
            <p:cNvSpPr>
              <a:spLocks/>
            </p:cNvSpPr>
            <p:nvPr/>
          </p:nvSpPr>
          <p:spPr bwMode="auto">
            <a:xfrm>
              <a:off x="1524774" y="204549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2" name="Freeform 863">
              <a:extLst>
                <a:ext uri="{FF2B5EF4-FFF2-40B4-BE49-F238E27FC236}">
                  <a16:creationId xmlns:a16="http://schemas.microsoft.com/office/drawing/2014/main" id="{0480CC11-6868-DB49-A99B-9297F7AD2E28}"/>
                </a:ext>
              </a:extLst>
            </p:cNvPr>
            <p:cNvSpPr>
              <a:spLocks/>
            </p:cNvSpPr>
            <p:nvPr/>
          </p:nvSpPr>
          <p:spPr bwMode="auto">
            <a:xfrm>
              <a:off x="1524774" y="204549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3" name="Freeform 864">
              <a:extLst>
                <a:ext uri="{FF2B5EF4-FFF2-40B4-BE49-F238E27FC236}">
                  <a16:creationId xmlns:a16="http://schemas.microsoft.com/office/drawing/2014/main" id="{240487C7-EBC1-7241-8EB5-09C0A39597ED}"/>
                </a:ext>
              </a:extLst>
            </p:cNvPr>
            <p:cNvSpPr>
              <a:spLocks/>
            </p:cNvSpPr>
            <p:nvPr/>
          </p:nvSpPr>
          <p:spPr bwMode="auto">
            <a:xfrm>
              <a:off x="1528262" y="203953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4" name="Freeform 865">
              <a:extLst>
                <a:ext uri="{FF2B5EF4-FFF2-40B4-BE49-F238E27FC236}">
                  <a16:creationId xmlns:a16="http://schemas.microsoft.com/office/drawing/2014/main" id="{A4648A38-7BAB-F042-AF71-69E8E3DA4234}"/>
                </a:ext>
              </a:extLst>
            </p:cNvPr>
            <p:cNvSpPr>
              <a:spLocks/>
            </p:cNvSpPr>
            <p:nvPr/>
          </p:nvSpPr>
          <p:spPr bwMode="auto">
            <a:xfrm>
              <a:off x="1528262" y="2039535"/>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7" y="0"/>
                  </a:lnTo>
                  <a:lnTo>
                    <a:pt x="20" y="0"/>
                  </a:lnTo>
                  <a:lnTo>
                    <a:pt x="20" y="3"/>
                  </a:lnTo>
                  <a:lnTo>
                    <a:pt x="20" y="6"/>
                  </a:lnTo>
                  <a:lnTo>
                    <a:pt x="1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5" name="Freeform 866">
              <a:extLst>
                <a:ext uri="{FF2B5EF4-FFF2-40B4-BE49-F238E27FC236}">
                  <a16:creationId xmlns:a16="http://schemas.microsoft.com/office/drawing/2014/main" id="{5810FFBB-F092-1C44-9CA1-B5F5A1361C78}"/>
                </a:ext>
              </a:extLst>
            </p:cNvPr>
            <p:cNvSpPr>
              <a:spLocks/>
            </p:cNvSpPr>
            <p:nvPr/>
          </p:nvSpPr>
          <p:spPr bwMode="auto">
            <a:xfrm>
              <a:off x="1543381" y="2039535"/>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6" name="Freeform 867">
              <a:extLst>
                <a:ext uri="{FF2B5EF4-FFF2-40B4-BE49-F238E27FC236}">
                  <a16:creationId xmlns:a16="http://schemas.microsoft.com/office/drawing/2014/main" id="{A6807C98-45AF-9743-AEBE-2159F2F34CA6}"/>
                </a:ext>
              </a:extLst>
            </p:cNvPr>
            <p:cNvSpPr>
              <a:spLocks/>
            </p:cNvSpPr>
            <p:nvPr/>
          </p:nvSpPr>
          <p:spPr bwMode="auto">
            <a:xfrm>
              <a:off x="1551521" y="202960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7" name="Freeform 868">
              <a:extLst>
                <a:ext uri="{FF2B5EF4-FFF2-40B4-BE49-F238E27FC236}">
                  <a16:creationId xmlns:a16="http://schemas.microsoft.com/office/drawing/2014/main" id="{3048A5F7-F973-5A4F-B4F1-9923C32B3749}"/>
                </a:ext>
              </a:extLst>
            </p:cNvPr>
            <p:cNvSpPr>
              <a:spLocks/>
            </p:cNvSpPr>
            <p:nvPr/>
          </p:nvSpPr>
          <p:spPr bwMode="auto">
            <a:xfrm>
              <a:off x="1551521" y="202960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8" name="Freeform 869">
              <a:extLst>
                <a:ext uri="{FF2B5EF4-FFF2-40B4-BE49-F238E27FC236}">
                  <a16:creationId xmlns:a16="http://schemas.microsoft.com/office/drawing/2014/main" id="{EFA202A6-21B4-1E41-8288-2EF8E25E914A}"/>
                </a:ext>
              </a:extLst>
            </p:cNvPr>
            <p:cNvSpPr>
              <a:spLocks/>
            </p:cNvSpPr>
            <p:nvPr/>
          </p:nvSpPr>
          <p:spPr bwMode="auto">
            <a:xfrm>
              <a:off x="1555010" y="2019678"/>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6" y="17"/>
                  </a:lnTo>
                  <a:lnTo>
                    <a:pt x="3" y="17"/>
                  </a:lnTo>
                  <a:lnTo>
                    <a:pt x="0" y="17"/>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9" name="Freeform 870">
              <a:extLst>
                <a:ext uri="{FF2B5EF4-FFF2-40B4-BE49-F238E27FC236}">
                  <a16:creationId xmlns:a16="http://schemas.microsoft.com/office/drawing/2014/main" id="{95C97080-2F79-D146-B130-AFE5CE2AC559}"/>
                </a:ext>
              </a:extLst>
            </p:cNvPr>
            <p:cNvSpPr>
              <a:spLocks/>
            </p:cNvSpPr>
            <p:nvPr/>
          </p:nvSpPr>
          <p:spPr bwMode="auto">
            <a:xfrm>
              <a:off x="1555010" y="201967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0" name="Freeform 871">
              <a:extLst>
                <a:ext uri="{FF2B5EF4-FFF2-40B4-BE49-F238E27FC236}">
                  <a16:creationId xmlns:a16="http://schemas.microsoft.com/office/drawing/2014/main" id="{BA6B68DF-EFAE-964B-822D-77FC263FA1D2}"/>
                </a:ext>
              </a:extLst>
            </p:cNvPr>
            <p:cNvSpPr>
              <a:spLocks/>
            </p:cNvSpPr>
            <p:nvPr/>
          </p:nvSpPr>
          <p:spPr bwMode="auto">
            <a:xfrm>
              <a:off x="1561987" y="201074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1" name="Freeform 872">
              <a:extLst>
                <a:ext uri="{FF2B5EF4-FFF2-40B4-BE49-F238E27FC236}">
                  <a16:creationId xmlns:a16="http://schemas.microsoft.com/office/drawing/2014/main" id="{3C5F87A0-3C11-1744-A8A7-4BA4A3D61F9D}"/>
                </a:ext>
              </a:extLst>
            </p:cNvPr>
            <p:cNvSpPr>
              <a:spLocks/>
            </p:cNvSpPr>
            <p:nvPr/>
          </p:nvSpPr>
          <p:spPr bwMode="auto">
            <a:xfrm>
              <a:off x="1561987" y="201074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2" name="Freeform 873">
              <a:extLst>
                <a:ext uri="{FF2B5EF4-FFF2-40B4-BE49-F238E27FC236}">
                  <a16:creationId xmlns:a16="http://schemas.microsoft.com/office/drawing/2014/main" id="{3133D55C-FCF3-4F42-8CAB-1994500A0709}"/>
                </a:ext>
              </a:extLst>
            </p:cNvPr>
            <p:cNvSpPr>
              <a:spLocks/>
            </p:cNvSpPr>
            <p:nvPr/>
          </p:nvSpPr>
          <p:spPr bwMode="auto">
            <a:xfrm>
              <a:off x="1566639" y="2010742"/>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3" name="Freeform 874">
              <a:extLst>
                <a:ext uri="{FF2B5EF4-FFF2-40B4-BE49-F238E27FC236}">
                  <a16:creationId xmlns:a16="http://schemas.microsoft.com/office/drawing/2014/main" id="{857B7E68-9520-6F47-AA96-7FCE8650223F}"/>
                </a:ext>
              </a:extLst>
            </p:cNvPr>
            <p:cNvSpPr>
              <a:spLocks/>
            </p:cNvSpPr>
            <p:nvPr/>
          </p:nvSpPr>
          <p:spPr bwMode="auto">
            <a:xfrm>
              <a:off x="1581757" y="2000814"/>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4" name="Freeform 875">
              <a:extLst>
                <a:ext uri="{FF2B5EF4-FFF2-40B4-BE49-F238E27FC236}">
                  <a16:creationId xmlns:a16="http://schemas.microsoft.com/office/drawing/2014/main" id="{9BDC3301-3934-FB46-BC2F-412652D44212}"/>
                </a:ext>
              </a:extLst>
            </p:cNvPr>
            <p:cNvSpPr>
              <a:spLocks/>
            </p:cNvSpPr>
            <p:nvPr/>
          </p:nvSpPr>
          <p:spPr bwMode="auto">
            <a:xfrm>
              <a:off x="1581757" y="2000814"/>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6"/>
                  </a:lnTo>
                  <a:lnTo>
                    <a:pt x="0" y="3"/>
                  </a:lnTo>
                  <a:lnTo>
                    <a:pt x="0" y="0"/>
                  </a:lnTo>
                  <a:lnTo>
                    <a:pt x="3" y="0"/>
                  </a:lnTo>
                  <a:lnTo>
                    <a:pt x="9" y="0"/>
                  </a:lnTo>
                  <a:lnTo>
                    <a:pt x="12" y="0"/>
                  </a:lnTo>
                  <a:lnTo>
                    <a:pt x="12" y="3"/>
                  </a:lnTo>
                  <a:lnTo>
                    <a:pt x="12"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5" name="Freeform 876">
              <a:extLst>
                <a:ext uri="{FF2B5EF4-FFF2-40B4-BE49-F238E27FC236}">
                  <a16:creationId xmlns:a16="http://schemas.microsoft.com/office/drawing/2014/main" id="{D8FC95EA-CA77-7044-B931-A8CEB9CECB98}"/>
                </a:ext>
              </a:extLst>
            </p:cNvPr>
            <p:cNvSpPr>
              <a:spLocks/>
            </p:cNvSpPr>
            <p:nvPr/>
          </p:nvSpPr>
          <p:spPr bwMode="auto">
            <a:xfrm>
              <a:off x="1588734" y="1994857"/>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6" name="Freeform 877">
              <a:extLst>
                <a:ext uri="{FF2B5EF4-FFF2-40B4-BE49-F238E27FC236}">
                  <a16:creationId xmlns:a16="http://schemas.microsoft.com/office/drawing/2014/main" id="{0A516BB0-D854-E149-AD3D-1814115D2E6F}"/>
                </a:ext>
              </a:extLst>
            </p:cNvPr>
            <p:cNvSpPr>
              <a:spLocks/>
            </p:cNvSpPr>
            <p:nvPr/>
          </p:nvSpPr>
          <p:spPr bwMode="auto">
            <a:xfrm>
              <a:off x="1588734" y="198492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7" name="Freeform 878">
              <a:extLst>
                <a:ext uri="{FF2B5EF4-FFF2-40B4-BE49-F238E27FC236}">
                  <a16:creationId xmlns:a16="http://schemas.microsoft.com/office/drawing/2014/main" id="{C12B00AC-8174-924C-A44A-FE857667317D}"/>
                </a:ext>
              </a:extLst>
            </p:cNvPr>
            <p:cNvSpPr>
              <a:spLocks/>
            </p:cNvSpPr>
            <p:nvPr/>
          </p:nvSpPr>
          <p:spPr bwMode="auto">
            <a:xfrm>
              <a:off x="1588734" y="197500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8" name="Freeform 879">
              <a:extLst>
                <a:ext uri="{FF2B5EF4-FFF2-40B4-BE49-F238E27FC236}">
                  <a16:creationId xmlns:a16="http://schemas.microsoft.com/office/drawing/2014/main" id="{91530AB7-1AEA-6C42-9796-806EDFEEC5EF}"/>
                </a:ext>
              </a:extLst>
            </p:cNvPr>
            <p:cNvSpPr>
              <a:spLocks/>
            </p:cNvSpPr>
            <p:nvPr/>
          </p:nvSpPr>
          <p:spPr bwMode="auto">
            <a:xfrm>
              <a:off x="1588734" y="197500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9" name="Freeform 880">
              <a:extLst>
                <a:ext uri="{FF2B5EF4-FFF2-40B4-BE49-F238E27FC236}">
                  <a16:creationId xmlns:a16="http://schemas.microsoft.com/office/drawing/2014/main" id="{59F87442-BE1E-6047-93AA-79B7CD6760D0}"/>
                </a:ext>
              </a:extLst>
            </p:cNvPr>
            <p:cNvSpPr>
              <a:spLocks/>
            </p:cNvSpPr>
            <p:nvPr/>
          </p:nvSpPr>
          <p:spPr bwMode="auto">
            <a:xfrm>
              <a:off x="1592223" y="196606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0" name="Freeform 881">
              <a:extLst>
                <a:ext uri="{FF2B5EF4-FFF2-40B4-BE49-F238E27FC236}">
                  <a16:creationId xmlns:a16="http://schemas.microsoft.com/office/drawing/2014/main" id="{DD929A23-2E4A-E744-93E4-5E5C9AF5CDF6}"/>
                </a:ext>
              </a:extLst>
            </p:cNvPr>
            <p:cNvSpPr>
              <a:spLocks/>
            </p:cNvSpPr>
            <p:nvPr/>
          </p:nvSpPr>
          <p:spPr bwMode="auto">
            <a:xfrm>
              <a:off x="1592223" y="196606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1" name="Freeform 882">
              <a:extLst>
                <a:ext uri="{FF2B5EF4-FFF2-40B4-BE49-F238E27FC236}">
                  <a16:creationId xmlns:a16="http://schemas.microsoft.com/office/drawing/2014/main" id="{C1DEF88C-FB3A-DB4D-94F1-7B8A661117D1}"/>
                </a:ext>
              </a:extLst>
            </p:cNvPr>
            <p:cNvSpPr>
              <a:spLocks/>
            </p:cNvSpPr>
            <p:nvPr/>
          </p:nvSpPr>
          <p:spPr bwMode="auto">
            <a:xfrm>
              <a:off x="1595712" y="196606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2" name="Freeform 883">
              <a:extLst>
                <a:ext uri="{FF2B5EF4-FFF2-40B4-BE49-F238E27FC236}">
                  <a16:creationId xmlns:a16="http://schemas.microsoft.com/office/drawing/2014/main" id="{7EC86870-B64B-8C40-A884-016D429D62B3}"/>
                </a:ext>
              </a:extLst>
            </p:cNvPr>
            <p:cNvSpPr>
              <a:spLocks/>
            </p:cNvSpPr>
            <p:nvPr/>
          </p:nvSpPr>
          <p:spPr bwMode="auto">
            <a:xfrm>
              <a:off x="1600363" y="1956136"/>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3" name="Freeform 884">
              <a:extLst>
                <a:ext uri="{FF2B5EF4-FFF2-40B4-BE49-F238E27FC236}">
                  <a16:creationId xmlns:a16="http://schemas.microsoft.com/office/drawing/2014/main" id="{D20CFADA-47DF-AA4B-BB01-A8A4D25BD7FE}"/>
                </a:ext>
              </a:extLst>
            </p:cNvPr>
            <p:cNvSpPr>
              <a:spLocks/>
            </p:cNvSpPr>
            <p:nvPr/>
          </p:nvSpPr>
          <p:spPr bwMode="auto">
            <a:xfrm>
              <a:off x="1600363" y="195613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4" name="Freeform 885">
              <a:extLst>
                <a:ext uri="{FF2B5EF4-FFF2-40B4-BE49-F238E27FC236}">
                  <a16:creationId xmlns:a16="http://schemas.microsoft.com/office/drawing/2014/main" id="{CE08D06B-16A5-0645-B473-4C875B762A6C}"/>
                </a:ext>
              </a:extLst>
            </p:cNvPr>
            <p:cNvSpPr>
              <a:spLocks/>
            </p:cNvSpPr>
            <p:nvPr/>
          </p:nvSpPr>
          <p:spPr bwMode="auto">
            <a:xfrm>
              <a:off x="1603853" y="194918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5" name="Freeform 886">
              <a:extLst>
                <a:ext uri="{FF2B5EF4-FFF2-40B4-BE49-F238E27FC236}">
                  <a16:creationId xmlns:a16="http://schemas.microsoft.com/office/drawing/2014/main" id="{AFF9FCFD-E691-0B4C-80E6-D84F49D269EC}"/>
                </a:ext>
              </a:extLst>
            </p:cNvPr>
            <p:cNvSpPr>
              <a:spLocks/>
            </p:cNvSpPr>
            <p:nvPr/>
          </p:nvSpPr>
          <p:spPr bwMode="auto">
            <a:xfrm>
              <a:off x="1603853" y="194918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6" name="Freeform 887">
              <a:extLst>
                <a:ext uri="{FF2B5EF4-FFF2-40B4-BE49-F238E27FC236}">
                  <a16:creationId xmlns:a16="http://schemas.microsoft.com/office/drawing/2014/main" id="{91A7A5FE-B46E-AE40-998C-A9A23E240834}"/>
                </a:ext>
              </a:extLst>
            </p:cNvPr>
            <p:cNvSpPr>
              <a:spLocks/>
            </p:cNvSpPr>
            <p:nvPr/>
          </p:nvSpPr>
          <p:spPr bwMode="auto">
            <a:xfrm>
              <a:off x="1607341" y="194025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7" name="Freeform 888">
              <a:extLst>
                <a:ext uri="{FF2B5EF4-FFF2-40B4-BE49-F238E27FC236}">
                  <a16:creationId xmlns:a16="http://schemas.microsoft.com/office/drawing/2014/main" id="{046474C5-5501-0C47-80FF-9CE2B73086D1}"/>
                </a:ext>
              </a:extLst>
            </p:cNvPr>
            <p:cNvSpPr>
              <a:spLocks/>
            </p:cNvSpPr>
            <p:nvPr/>
          </p:nvSpPr>
          <p:spPr bwMode="auto">
            <a:xfrm>
              <a:off x="1607341" y="1940251"/>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8" name="Freeform 889">
              <a:extLst>
                <a:ext uri="{FF2B5EF4-FFF2-40B4-BE49-F238E27FC236}">
                  <a16:creationId xmlns:a16="http://schemas.microsoft.com/office/drawing/2014/main" id="{4003176E-008F-8D44-AD54-12CB607D0E30}"/>
                </a:ext>
              </a:extLst>
            </p:cNvPr>
            <p:cNvSpPr>
              <a:spLocks/>
            </p:cNvSpPr>
            <p:nvPr/>
          </p:nvSpPr>
          <p:spPr bwMode="auto">
            <a:xfrm>
              <a:off x="1618970" y="1940251"/>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9" name="Freeform 890">
              <a:extLst>
                <a:ext uri="{FF2B5EF4-FFF2-40B4-BE49-F238E27FC236}">
                  <a16:creationId xmlns:a16="http://schemas.microsoft.com/office/drawing/2014/main" id="{C86AF8DF-B230-1348-B554-8DE024573921}"/>
                </a:ext>
              </a:extLst>
            </p:cNvPr>
            <p:cNvSpPr>
              <a:spLocks/>
            </p:cNvSpPr>
            <p:nvPr/>
          </p:nvSpPr>
          <p:spPr bwMode="auto">
            <a:xfrm>
              <a:off x="1622459" y="193032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0" name="Freeform 891">
              <a:extLst>
                <a:ext uri="{FF2B5EF4-FFF2-40B4-BE49-F238E27FC236}">
                  <a16:creationId xmlns:a16="http://schemas.microsoft.com/office/drawing/2014/main" id="{7C282575-DF55-0D43-83ED-16DF6E2FAB93}"/>
                </a:ext>
              </a:extLst>
            </p:cNvPr>
            <p:cNvSpPr>
              <a:spLocks/>
            </p:cNvSpPr>
            <p:nvPr/>
          </p:nvSpPr>
          <p:spPr bwMode="auto">
            <a:xfrm>
              <a:off x="1622459" y="193032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1" name="Freeform 892">
              <a:extLst>
                <a:ext uri="{FF2B5EF4-FFF2-40B4-BE49-F238E27FC236}">
                  <a16:creationId xmlns:a16="http://schemas.microsoft.com/office/drawing/2014/main" id="{7C48D336-66E2-F442-ABEE-8F9642702BE3}"/>
                </a:ext>
              </a:extLst>
            </p:cNvPr>
            <p:cNvSpPr>
              <a:spLocks/>
            </p:cNvSpPr>
            <p:nvPr/>
          </p:nvSpPr>
          <p:spPr bwMode="auto">
            <a:xfrm>
              <a:off x="1629437" y="193032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2" name="Freeform 893">
              <a:extLst>
                <a:ext uri="{FF2B5EF4-FFF2-40B4-BE49-F238E27FC236}">
                  <a16:creationId xmlns:a16="http://schemas.microsoft.com/office/drawing/2014/main" id="{D602CF9E-C023-B245-99BB-599F11D55EAD}"/>
                </a:ext>
              </a:extLst>
            </p:cNvPr>
            <p:cNvSpPr>
              <a:spLocks/>
            </p:cNvSpPr>
            <p:nvPr/>
          </p:nvSpPr>
          <p:spPr bwMode="auto">
            <a:xfrm>
              <a:off x="1637577" y="192039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3" name="Freeform 894">
              <a:extLst>
                <a:ext uri="{FF2B5EF4-FFF2-40B4-BE49-F238E27FC236}">
                  <a16:creationId xmlns:a16="http://schemas.microsoft.com/office/drawing/2014/main" id="{EE862D0F-DFAC-3B45-BC69-43D2C171A654}"/>
                </a:ext>
              </a:extLst>
            </p:cNvPr>
            <p:cNvSpPr>
              <a:spLocks/>
            </p:cNvSpPr>
            <p:nvPr/>
          </p:nvSpPr>
          <p:spPr bwMode="auto">
            <a:xfrm>
              <a:off x="1637577" y="192039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4" name="Freeform 895">
              <a:extLst>
                <a:ext uri="{FF2B5EF4-FFF2-40B4-BE49-F238E27FC236}">
                  <a16:creationId xmlns:a16="http://schemas.microsoft.com/office/drawing/2014/main" id="{D129D751-A7B8-2743-8ABC-8BC1CADC5E39}"/>
                </a:ext>
              </a:extLst>
            </p:cNvPr>
            <p:cNvSpPr>
              <a:spLocks/>
            </p:cNvSpPr>
            <p:nvPr/>
          </p:nvSpPr>
          <p:spPr bwMode="auto">
            <a:xfrm>
              <a:off x="1641066" y="192039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5" name="Freeform 896">
              <a:extLst>
                <a:ext uri="{FF2B5EF4-FFF2-40B4-BE49-F238E27FC236}">
                  <a16:creationId xmlns:a16="http://schemas.microsoft.com/office/drawing/2014/main" id="{C1C31B59-F144-BF48-8067-A336BCABBD59}"/>
                </a:ext>
              </a:extLst>
            </p:cNvPr>
            <p:cNvSpPr>
              <a:spLocks/>
            </p:cNvSpPr>
            <p:nvPr/>
          </p:nvSpPr>
          <p:spPr bwMode="auto">
            <a:xfrm>
              <a:off x="1652695" y="192039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6" name="Freeform 897">
              <a:extLst>
                <a:ext uri="{FF2B5EF4-FFF2-40B4-BE49-F238E27FC236}">
                  <a16:creationId xmlns:a16="http://schemas.microsoft.com/office/drawing/2014/main" id="{B87C052A-E564-FC4A-93DD-074E13AC55A4}"/>
                </a:ext>
              </a:extLst>
            </p:cNvPr>
            <p:cNvSpPr>
              <a:spLocks/>
            </p:cNvSpPr>
            <p:nvPr/>
          </p:nvSpPr>
          <p:spPr bwMode="auto">
            <a:xfrm>
              <a:off x="1659673" y="192039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7" name="Freeform 898">
              <a:extLst>
                <a:ext uri="{FF2B5EF4-FFF2-40B4-BE49-F238E27FC236}">
                  <a16:creationId xmlns:a16="http://schemas.microsoft.com/office/drawing/2014/main" id="{A56349B9-7F78-2F49-9136-A71B8D131B5C}"/>
                </a:ext>
              </a:extLst>
            </p:cNvPr>
            <p:cNvSpPr>
              <a:spLocks/>
            </p:cNvSpPr>
            <p:nvPr/>
          </p:nvSpPr>
          <p:spPr bwMode="auto">
            <a:xfrm>
              <a:off x="1671302" y="192039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8" name="Freeform 899">
              <a:extLst>
                <a:ext uri="{FF2B5EF4-FFF2-40B4-BE49-F238E27FC236}">
                  <a16:creationId xmlns:a16="http://schemas.microsoft.com/office/drawing/2014/main" id="{189E79D1-DB91-2D4F-9E6C-718D9AF28F9A}"/>
                </a:ext>
              </a:extLst>
            </p:cNvPr>
            <p:cNvSpPr>
              <a:spLocks/>
            </p:cNvSpPr>
            <p:nvPr/>
          </p:nvSpPr>
          <p:spPr bwMode="auto">
            <a:xfrm>
              <a:off x="1674790" y="191145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9" name="Freeform 900">
              <a:extLst>
                <a:ext uri="{FF2B5EF4-FFF2-40B4-BE49-F238E27FC236}">
                  <a16:creationId xmlns:a16="http://schemas.microsoft.com/office/drawing/2014/main" id="{16D94C86-19F8-1A44-B77A-1890046E633E}"/>
                </a:ext>
              </a:extLst>
            </p:cNvPr>
            <p:cNvSpPr>
              <a:spLocks/>
            </p:cNvSpPr>
            <p:nvPr/>
          </p:nvSpPr>
          <p:spPr bwMode="auto">
            <a:xfrm>
              <a:off x="1674790" y="191145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0" name="Freeform 901">
              <a:extLst>
                <a:ext uri="{FF2B5EF4-FFF2-40B4-BE49-F238E27FC236}">
                  <a16:creationId xmlns:a16="http://schemas.microsoft.com/office/drawing/2014/main" id="{EF12DC7E-CD43-C149-B18D-0B32997683ED}"/>
                </a:ext>
              </a:extLst>
            </p:cNvPr>
            <p:cNvSpPr>
              <a:spLocks/>
            </p:cNvSpPr>
            <p:nvPr/>
          </p:nvSpPr>
          <p:spPr bwMode="auto">
            <a:xfrm>
              <a:off x="1682931" y="1901530"/>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1" name="Freeform 902">
              <a:extLst>
                <a:ext uri="{FF2B5EF4-FFF2-40B4-BE49-F238E27FC236}">
                  <a16:creationId xmlns:a16="http://schemas.microsoft.com/office/drawing/2014/main" id="{A52C9220-4760-0F4D-8806-A5D977956C03}"/>
                </a:ext>
              </a:extLst>
            </p:cNvPr>
            <p:cNvSpPr>
              <a:spLocks/>
            </p:cNvSpPr>
            <p:nvPr/>
          </p:nvSpPr>
          <p:spPr bwMode="auto">
            <a:xfrm>
              <a:off x="1682931" y="1901530"/>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6"/>
                  </a:lnTo>
                  <a:lnTo>
                    <a:pt x="0" y="3"/>
                  </a:lnTo>
                  <a:lnTo>
                    <a:pt x="0" y="0"/>
                  </a:lnTo>
                  <a:lnTo>
                    <a:pt x="3" y="0"/>
                  </a:lnTo>
                  <a:lnTo>
                    <a:pt x="9" y="0"/>
                  </a:lnTo>
                  <a:lnTo>
                    <a:pt x="12" y="0"/>
                  </a:lnTo>
                  <a:lnTo>
                    <a:pt x="12" y="3"/>
                  </a:lnTo>
                  <a:lnTo>
                    <a:pt x="12"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2" name="Freeform 903">
              <a:extLst>
                <a:ext uri="{FF2B5EF4-FFF2-40B4-BE49-F238E27FC236}">
                  <a16:creationId xmlns:a16="http://schemas.microsoft.com/office/drawing/2014/main" id="{AD10002E-DC26-2848-A124-3AC45FFF08A8}"/>
                </a:ext>
              </a:extLst>
            </p:cNvPr>
            <p:cNvSpPr>
              <a:spLocks/>
            </p:cNvSpPr>
            <p:nvPr/>
          </p:nvSpPr>
          <p:spPr bwMode="auto">
            <a:xfrm>
              <a:off x="1689909" y="190153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3" name="Freeform 904">
              <a:extLst>
                <a:ext uri="{FF2B5EF4-FFF2-40B4-BE49-F238E27FC236}">
                  <a16:creationId xmlns:a16="http://schemas.microsoft.com/office/drawing/2014/main" id="{F7BFCA95-8A69-6D49-9EC5-F2722E6F8F71}"/>
                </a:ext>
              </a:extLst>
            </p:cNvPr>
            <p:cNvSpPr>
              <a:spLocks/>
            </p:cNvSpPr>
            <p:nvPr/>
          </p:nvSpPr>
          <p:spPr bwMode="auto">
            <a:xfrm>
              <a:off x="1705026" y="188862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4" name="Freeform 905">
              <a:extLst>
                <a:ext uri="{FF2B5EF4-FFF2-40B4-BE49-F238E27FC236}">
                  <a16:creationId xmlns:a16="http://schemas.microsoft.com/office/drawing/2014/main" id="{F67F4474-2F85-A243-8DE1-663910670956}"/>
                </a:ext>
              </a:extLst>
            </p:cNvPr>
            <p:cNvSpPr>
              <a:spLocks/>
            </p:cNvSpPr>
            <p:nvPr/>
          </p:nvSpPr>
          <p:spPr bwMode="auto">
            <a:xfrm>
              <a:off x="1705026" y="188862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5" name="Freeform 906">
              <a:extLst>
                <a:ext uri="{FF2B5EF4-FFF2-40B4-BE49-F238E27FC236}">
                  <a16:creationId xmlns:a16="http://schemas.microsoft.com/office/drawing/2014/main" id="{7357A9AC-386F-5843-BBDC-DEFF80E83F78}"/>
                </a:ext>
              </a:extLst>
            </p:cNvPr>
            <p:cNvSpPr>
              <a:spLocks/>
            </p:cNvSpPr>
            <p:nvPr/>
          </p:nvSpPr>
          <p:spPr bwMode="auto">
            <a:xfrm>
              <a:off x="1716656" y="188862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2" y="0"/>
                  </a:lnTo>
                  <a:lnTo>
                    <a:pt x="16" y="0"/>
                  </a:lnTo>
                  <a:lnTo>
                    <a:pt x="16" y="3"/>
                  </a:lnTo>
                  <a:lnTo>
                    <a:pt x="16" y="7"/>
                  </a:lnTo>
                  <a:lnTo>
                    <a:pt x="1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6" name="Freeform 907">
              <a:extLst>
                <a:ext uri="{FF2B5EF4-FFF2-40B4-BE49-F238E27FC236}">
                  <a16:creationId xmlns:a16="http://schemas.microsoft.com/office/drawing/2014/main" id="{722911CF-6B7F-0B46-B495-F09B21013863}"/>
                </a:ext>
              </a:extLst>
            </p:cNvPr>
            <p:cNvSpPr>
              <a:spLocks/>
            </p:cNvSpPr>
            <p:nvPr/>
          </p:nvSpPr>
          <p:spPr bwMode="auto">
            <a:xfrm>
              <a:off x="1727122" y="188862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7" name="Freeform 908">
              <a:extLst>
                <a:ext uri="{FF2B5EF4-FFF2-40B4-BE49-F238E27FC236}">
                  <a16:creationId xmlns:a16="http://schemas.microsoft.com/office/drawing/2014/main" id="{06B7BC23-F287-8942-A205-2FB46D51B571}"/>
                </a:ext>
              </a:extLst>
            </p:cNvPr>
            <p:cNvSpPr>
              <a:spLocks/>
            </p:cNvSpPr>
            <p:nvPr/>
          </p:nvSpPr>
          <p:spPr bwMode="auto">
            <a:xfrm>
              <a:off x="1730611" y="1878694"/>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8" name="Freeform 909">
              <a:extLst>
                <a:ext uri="{FF2B5EF4-FFF2-40B4-BE49-F238E27FC236}">
                  <a16:creationId xmlns:a16="http://schemas.microsoft.com/office/drawing/2014/main" id="{C5A2D01E-DD4A-8944-AD06-791EDD2B4178}"/>
                </a:ext>
              </a:extLst>
            </p:cNvPr>
            <p:cNvSpPr>
              <a:spLocks/>
            </p:cNvSpPr>
            <p:nvPr/>
          </p:nvSpPr>
          <p:spPr bwMode="auto">
            <a:xfrm>
              <a:off x="1730611" y="187869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9" name="Freeform 910">
              <a:extLst>
                <a:ext uri="{FF2B5EF4-FFF2-40B4-BE49-F238E27FC236}">
                  <a16:creationId xmlns:a16="http://schemas.microsoft.com/office/drawing/2014/main" id="{C3AD2EF0-700F-F64C-92F5-030F14CE9AEB}"/>
                </a:ext>
              </a:extLst>
            </p:cNvPr>
            <p:cNvSpPr>
              <a:spLocks/>
            </p:cNvSpPr>
            <p:nvPr/>
          </p:nvSpPr>
          <p:spPr bwMode="auto">
            <a:xfrm>
              <a:off x="1735262" y="1869759"/>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0" name="Freeform 911">
              <a:extLst>
                <a:ext uri="{FF2B5EF4-FFF2-40B4-BE49-F238E27FC236}">
                  <a16:creationId xmlns:a16="http://schemas.microsoft.com/office/drawing/2014/main" id="{78F18386-88D3-0A42-8D65-23EA08E46BB6}"/>
                </a:ext>
              </a:extLst>
            </p:cNvPr>
            <p:cNvSpPr>
              <a:spLocks/>
            </p:cNvSpPr>
            <p:nvPr/>
          </p:nvSpPr>
          <p:spPr bwMode="auto">
            <a:xfrm>
              <a:off x="1735262" y="1869759"/>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1" name="Freeform 912">
              <a:extLst>
                <a:ext uri="{FF2B5EF4-FFF2-40B4-BE49-F238E27FC236}">
                  <a16:creationId xmlns:a16="http://schemas.microsoft.com/office/drawing/2014/main" id="{502F4C7E-F7FF-0644-96AC-ADC4ED86FC2F}"/>
                </a:ext>
              </a:extLst>
            </p:cNvPr>
            <p:cNvSpPr>
              <a:spLocks/>
            </p:cNvSpPr>
            <p:nvPr/>
          </p:nvSpPr>
          <p:spPr bwMode="auto">
            <a:xfrm>
              <a:off x="1738752" y="185983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2" name="Freeform 913">
              <a:extLst>
                <a:ext uri="{FF2B5EF4-FFF2-40B4-BE49-F238E27FC236}">
                  <a16:creationId xmlns:a16="http://schemas.microsoft.com/office/drawing/2014/main" id="{7EE452F1-5A6A-A140-834E-F99AAE6DA914}"/>
                </a:ext>
              </a:extLst>
            </p:cNvPr>
            <p:cNvSpPr>
              <a:spLocks/>
            </p:cNvSpPr>
            <p:nvPr/>
          </p:nvSpPr>
          <p:spPr bwMode="auto">
            <a:xfrm>
              <a:off x="1738752" y="185983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3" name="Freeform 914">
              <a:extLst>
                <a:ext uri="{FF2B5EF4-FFF2-40B4-BE49-F238E27FC236}">
                  <a16:creationId xmlns:a16="http://schemas.microsoft.com/office/drawing/2014/main" id="{49BD6146-7D22-9246-967D-1F65D8F5B7C4}"/>
                </a:ext>
              </a:extLst>
            </p:cNvPr>
            <p:cNvSpPr>
              <a:spLocks/>
            </p:cNvSpPr>
            <p:nvPr/>
          </p:nvSpPr>
          <p:spPr bwMode="auto">
            <a:xfrm>
              <a:off x="1745729" y="185983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4" name="Freeform 915">
              <a:extLst>
                <a:ext uri="{FF2B5EF4-FFF2-40B4-BE49-F238E27FC236}">
                  <a16:creationId xmlns:a16="http://schemas.microsoft.com/office/drawing/2014/main" id="{626D7677-DE03-BB4D-B508-8EBA6F3ED7B1}"/>
                </a:ext>
              </a:extLst>
            </p:cNvPr>
            <p:cNvSpPr>
              <a:spLocks/>
            </p:cNvSpPr>
            <p:nvPr/>
          </p:nvSpPr>
          <p:spPr bwMode="auto">
            <a:xfrm>
              <a:off x="1753869" y="1846923"/>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5" name="Freeform 916">
              <a:extLst>
                <a:ext uri="{FF2B5EF4-FFF2-40B4-BE49-F238E27FC236}">
                  <a16:creationId xmlns:a16="http://schemas.microsoft.com/office/drawing/2014/main" id="{A423CAC9-6F4A-664E-8189-B67119325AC9}"/>
                </a:ext>
              </a:extLst>
            </p:cNvPr>
            <p:cNvSpPr>
              <a:spLocks/>
            </p:cNvSpPr>
            <p:nvPr/>
          </p:nvSpPr>
          <p:spPr bwMode="auto">
            <a:xfrm>
              <a:off x="1753869" y="184692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6" name="Freeform 917">
              <a:extLst>
                <a:ext uri="{FF2B5EF4-FFF2-40B4-BE49-F238E27FC236}">
                  <a16:creationId xmlns:a16="http://schemas.microsoft.com/office/drawing/2014/main" id="{5C1C8671-B210-BE41-A435-4472AC5B8238}"/>
                </a:ext>
              </a:extLst>
            </p:cNvPr>
            <p:cNvSpPr>
              <a:spLocks/>
            </p:cNvSpPr>
            <p:nvPr/>
          </p:nvSpPr>
          <p:spPr bwMode="auto">
            <a:xfrm>
              <a:off x="1764336" y="184692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7" name="Freeform 918">
              <a:extLst>
                <a:ext uri="{FF2B5EF4-FFF2-40B4-BE49-F238E27FC236}">
                  <a16:creationId xmlns:a16="http://schemas.microsoft.com/office/drawing/2014/main" id="{BCE2B9DC-E13C-D84B-AECE-068B39D2A4BB}"/>
                </a:ext>
              </a:extLst>
            </p:cNvPr>
            <p:cNvSpPr>
              <a:spLocks/>
            </p:cNvSpPr>
            <p:nvPr/>
          </p:nvSpPr>
          <p:spPr bwMode="auto">
            <a:xfrm>
              <a:off x="1772476" y="1836995"/>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6" y="17"/>
                  </a:lnTo>
                  <a:lnTo>
                    <a:pt x="3" y="17"/>
                  </a:lnTo>
                  <a:lnTo>
                    <a:pt x="0" y="17"/>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8" name="Freeform 919">
              <a:extLst>
                <a:ext uri="{FF2B5EF4-FFF2-40B4-BE49-F238E27FC236}">
                  <a16:creationId xmlns:a16="http://schemas.microsoft.com/office/drawing/2014/main" id="{1CAF203D-8C1F-974C-A018-4636C8258BDE}"/>
                </a:ext>
              </a:extLst>
            </p:cNvPr>
            <p:cNvSpPr>
              <a:spLocks/>
            </p:cNvSpPr>
            <p:nvPr/>
          </p:nvSpPr>
          <p:spPr bwMode="auto">
            <a:xfrm>
              <a:off x="1772476" y="183699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9" name="Freeform 920">
              <a:extLst>
                <a:ext uri="{FF2B5EF4-FFF2-40B4-BE49-F238E27FC236}">
                  <a16:creationId xmlns:a16="http://schemas.microsoft.com/office/drawing/2014/main" id="{E0BD2804-CD98-8D42-BCFA-18F2449DDF0C}"/>
                </a:ext>
              </a:extLst>
            </p:cNvPr>
            <p:cNvSpPr>
              <a:spLocks/>
            </p:cNvSpPr>
            <p:nvPr/>
          </p:nvSpPr>
          <p:spPr bwMode="auto">
            <a:xfrm>
              <a:off x="1779453" y="1825081"/>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0" name="Freeform 921">
              <a:extLst>
                <a:ext uri="{FF2B5EF4-FFF2-40B4-BE49-F238E27FC236}">
                  <a16:creationId xmlns:a16="http://schemas.microsoft.com/office/drawing/2014/main" id="{0BA66D26-6927-3A4E-B38C-F8DDCB2854D6}"/>
                </a:ext>
              </a:extLst>
            </p:cNvPr>
            <p:cNvSpPr>
              <a:spLocks/>
            </p:cNvSpPr>
            <p:nvPr/>
          </p:nvSpPr>
          <p:spPr bwMode="auto">
            <a:xfrm>
              <a:off x="1779453" y="1825081"/>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6" y="0"/>
                  </a:lnTo>
                  <a:lnTo>
                    <a:pt x="20" y="0"/>
                  </a:lnTo>
                  <a:lnTo>
                    <a:pt x="20" y="3"/>
                  </a:lnTo>
                  <a:lnTo>
                    <a:pt x="20" y="6"/>
                  </a:lnTo>
                  <a:lnTo>
                    <a:pt x="16"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1" name="Freeform 922">
              <a:extLst>
                <a:ext uri="{FF2B5EF4-FFF2-40B4-BE49-F238E27FC236}">
                  <a16:creationId xmlns:a16="http://schemas.microsoft.com/office/drawing/2014/main" id="{D1AA41A4-D33C-3445-B4D4-1B06873B5343}"/>
                </a:ext>
              </a:extLst>
            </p:cNvPr>
            <p:cNvSpPr>
              <a:spLocks/>
            </p:cNvSpPr>
            <p:nvPr/>
          </p:nvSpPr>
          <p:spPr bwMode="auto">
            <a:xfrm>
              <a:off x="1794572" y="1825081"/>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3" y="9"/>
                  </a:moveTo>
                  <a:lnTo>
                    <a:pt x="0" y="6"/>
                  </a:lnTo>
                  <a:lnTo>
                    <a:pt x="0" y="3"/>
                  </a:lnTo>
                  <a:lnTo>
                    <a:pt x="0" y="0"/>
                  </a:lnTo>
                  <a:lnTo>
                    <a:pt x="3" y="0"/>
                  </a:lnTo>
                  <a:lnTo>
                    <a:pt x="16" y="0"/>
                  </a:lnTo>
                  <a:lnTo>
                    <a:pt x="20" y="0"/>
                  </a:lnTo>
                  <a:lnTo>
                    <a:pt x="20" y="3"/>
                  </a:lnTo>
                  <a:lnTo>
                    <a:pt x="20"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2" name="Freeform 923">
              <a:extLst>
                <a:ext uri="{FF2B5EF4-FFF2-40B4-BE49-F238E27FC236}">
                  <a16:creationId xmlns:a16="http://schemas.microsoft.com/office/drawing/2014/main" id="{DD3131D9-3D10-DF43-ACCC-E214E7F450D6}"/>
                </a:ext>
              </a:extLst>
            </p:cNvPr>
            <p:cNvSpPr>
              <a:spLocks/>
            </p:cNvSpPr>
            <p:nvPr/>
          </p:nvSpPr>
          <p:spPr bwMode="auto">
            <a:xfrm>
              <a:off x="1809689" y="182508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3" name="Freeform 924">
              <a:extLst>
                <a:ext uri="{FF2B5EF4-FFF2-40B4-BE49-F238E27FC236}">
                  <a16:creationId xmlns:a16="http://schemas.microsoft.com/office/drawing/2014/main" id="{9767AC01-ACED-0A48-8F21-B49FC414E3B0}"/>
                </a:ext>
              </a:extLst>
            </p:cNvPr>
            <p:cNvSpPr>
              <a:spLocks/>
            </p:cNvSpPr>
            <p:nvPr/>
          </p:nvSpPr>
          <p:spPr bwMode="auto">
            <a:xfrm>
              <a:off x="1817830" y="1815153"/>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4" name="Freeform 925">
              <a:extLst>
                <a:ext uri="{FF2B5EF4-FFF2-40B4-BE49-F238E27FC236}">
                  <a16:creationId xmlns:a16="http://schemas.microsoft.com/office/drawing/2014/main" id="{E15953D8-56C1-B34B-AE59-6870D1ED247D}"/>
                </a:ext>
              </a:extLst>
            </p:cNvPr>
            <p:cNvSpPr>
              <a:spLocks/>
            </p:cNvSpPr>
            <p:nvPr/>
          </p:nvSpPr>
          <p:spPr bwMode="auto">
            <a:xfrm>
              <a:off x="1817830" y="1815153"/>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5" name="Freeform 926">
              <a:extLst>
                <a:ext uri="{FF2B5EF4-FFF2-40B4-BE49-F238E27FC236}">
                  <a16:creationId xmlns:a16="http://schemas.microsoft.com/office/drawing/2014/main" id="{8F90853A-FA90-8E4C-BFC7-0CF0187D2B1E}"/>
                </a:ext>
              </a:extLst>
            </p:cNvPr>
            <p:cNvSpPr>
              <a:spLocks/>
            </p:cNvSpPr>
            <p:nvPr/>
          </p:nvSpPr>
          <p:spPr bwMode="auto">
            <a:xfrm>
              <a:off x="1831785" y="1802245"/>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6" name="Freeform 927">
              <a:extLst>
                <a:ext uri="{FF2B5EF4-FFF2-40B4-BE49-F238E27FC236}">
                  <a16:creationId xmlns:a16="http://schemas.microsoft.com/office/drawing/2014/main" id="{DC8F5A37-B4BD-2C44-B724-669757CDF606}"/>
                </a:ext>
              </a:extLst>
            </p:cNvPr>
            <p:cNvSpPr>
              <a:spLocks/>
            </p:cNvSpPr>
            <p:nvPr/>
          </p:nvSpPr>
          <p:spPr bwMode="auto">
            <a:xfrm>
              <a:off x="1831785" y="1802245"/>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7" name="Freeform 928">
              <a:extLst>
                <a:ext uri="{FF2B5EF4-FFF2-40B4-BE49-F238E27FC236}">
                  <a16:creationId xmlns:a16="http://schemas.microsoft.com/office/drawing/2014/main" id="{F903318C-AEA6-4040-AB4B-989DA8E6A071}"/>
                </a:ext>
              </a:extLst>
            </p:cNvPr>
            <p:cNvSpPr>
              <a:spLocks/>
            </p:cNvSpPr>
            <p:nvPr/>
          </p:nvSpPr>
          <p:spPr bwMode="auto">
            <a:xfrm>
              <a:off x="1851555" y="179231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8" name="Freeform 929">
              <a:extLst>
                <a:ext uri="{FF2B5EF4-FFF2-40B4-BE49-F238E27FC236}">
                  <a16:creationId xmlns:a16="http://schemas.microsoft.com/office/drawing/2014/main" id="{566EA4DB-9386-5A4F-9E33-AC6351BF0A2F}"/>
                </a:ext>
              </a:extLst>
            </p:cNvPr>
            <p:cNvSpPr>
              <a:spLocks/>
            </p:cNvSpPr>
            <p:nvPr/>
          </p:nvSpPr>
          <p:spPr bwMode="auto">
            <a:xfrm>
              <a:off x="1851555" y="1792317"/>
              <a:ext cx="29073" cy="9928"/>
            </a:xfrm>
            <a:custGeom>
              <a:avLst/>
              <a:gdLst>
                <a:gd name="T0" fmla="*/ 2147483646 w 25"/>
                <a:gd name="T1" fmla="*/ 2147483646 h 10"/>
                <a:gd name="T2" fmla="*/ 0 w 25"/>
                <a:gd name="T3" fmla="*/ 2147483646 h 10"/>
                <a:gd name="T4" fmla="*/ 0 w 25"/>
                <a:gd name="T5" fmla="*/ 2147483646 h 10"/>
                <a:gd name="T6" fmla="*/ 0 w 25"/>
                <a:gd name="T7" fmla="*/ 2147483646 h 10"/>
                <a:gd name="T8" fmla="*/ 0 w 25"/>
                <a:gd name="T9" fmla="*/ 0 h 10"/>
                <a:gd name="T10" fmla="*/ 2147483646 w 25"/>
                <a:gd name="T11" fmla="*/ 0 h 10"/>
                <a:gd name="T12" fmla="*/ 2147483646 w 25"/>
                <a:gd name="T13" fmla="*/ 0 h 10"/>
                <a:gd name="T14" fmla="*/ 2147483646 w 25"/>
                <a:gd name="T15" fmla="*/ 0 h 10"/>
                <a:gd name="T16" fmla="*/ 2147483646 w 25"/>
                <a:gd name="T17" fmla="*/ 2147483646 h 10"/>
                <a:gd name="T18" fmla="*/ 2147483646 w 25"/>
                <a:gd name="T19" fmla="*/ 2147483646 h 10"/>
                <a:gd name="T20" fmla="*/ 2147483646 w 25"/>
                <a:gd name="T21" fmla="*/ 2147483646 h 10"/>
                <a:gd name="T22" fmla="*/ 2147483646 w 25"/>
                <a:gd name="T23" fmla="*/ 2147483646 h 10"/>
                <a:gd name="T24" fmla="*/ 2147483646 w 2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0">
                  <a:moveTo>
                    <a:pt x="3" y="10"/>
                  </a:moveTo>
                  <a:lnTo>
                    <a:pt x="0" y="7"/>
                  </a:lnTo>
                  <a:lnTo>
                    <a:pt x="0" y="3"/>
                  </a:lnTo>
                  <a:lnTo>
                    <a:pt x="0" y="0"/>
                  </a:lnTo>
                  <a:lnTo>
                    <a:pt x="3" y="0"/>
                  </a:lnTo>
                  <a:lnTo>
                    <a:pt x="22" y="0"/>
                  </a:lnTo>
                  <a:lnTo>
                    <a:pt x="25" y="0"/>
                  </a:lnTo>
                  <a:lnTo>
                    <a:pt x="25" y="3"/>
                  </a:lnTo>
                  <a:lnTo>
                    <a:pt x="25" y="7"/>
                  </a:lnTo>
                  <a:lnTo>
                    <a:pt x="2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9" name="Freeform 930">
              <a:extLst>
                <a:ext uri="{FF2B5EF4-FFF2-40B4-BE49-F238E27FC236}">
                  <a16:creationId xmlns:a16="http://schemas.microsoft.com/office/drawing/2014/main" id="{669B915E-6A5B-2A49-9363-ACA2A3A8AD3C}"/>
                </a:ext>
              </a:extLst>
            </p:cNvPr>
            <p:cNvSpPr>
              <a:spLocks/>
            </p:cNvSpPr>
            <p:nvPr/>
          </p:nvSpPr>
          <p:spPr bwMode="auto">
            <a:xfrm>
              <a:off x="1873650" y="1779410"/>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6" y="20"/>
                  </a:lnTo>
                  <a:lnTo>
                    <a:pt x="3" y="20"/>
                  </a:lnTo>
                  <a:lnTo>
                    <a:pt x="0" y="20"/>
                  </a:lnTo>
                  <a:lnTo>
                    <a:pt x="0" y="16"/>
                  </a:lnTo>
                  <a:lnTo>
                    <a:pt x="0" y="4"/>
                  </a:lnTo>
                  <a:lnTo>
                    <a:pt x="0" y="0"/>
                  </a:lnTo>
                  <a:lnTo>
                    <a:pt x="3" y="0"/>
                  </a:lnTo>
                  <a:lnTo>
                    <a:pt x="6" y="0"/>
                  </a:lnTo>
                  <a:lnTo>
                    <a:pt x="10" y="4"/>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0" name="Freeform 931">
              <a:extLst>
                <a:ext uri="{FF2B5EF4-FFF2-40B4-BE49-F238E27FC236}">
                  <a16:creationId xmlns:a16="http://schemas.microsoft.com/office/drawing/2014/main" id="{FCF6B76E-2BDB-EF43-82DC-5F76C2BB6B62}"/>
                </a:ext>
              </a:extLst>
            </p:cNvPr>
            <p:cNvSpPr>
              <a:spLocks/>
            </p:cNvSpPr>
            <p:nvPr/>
          </p:nvSpPr>
          <p:spPr bwMode="auto">
            <a:xfrm>
              <a:off x="1873650" y="177941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1" name="Freeform 932">
              <a:extLst>
                <a:ext uri="{FF2B5EF4-FFF2-40B4-BE49-F238E27FC236}">
                  <a16:creationId xmlns:a16="http://schemas.microsoft.com/office/drawing/2014/main" id="{718CDFF8-6C3F-0945-9116-D70F51397885}"/>
                </a:ext>
              </a:extLst>
            </p:cNvPr>
            <p:cNvSpPr>
              <a:spLocks/>
            </p:cNvSpPr>
            <p:nvPr/>
          </p:nvSpPr>
          <p:spPr bwMode="auto">
            <a:xfrm>
              <a:off x="1885280" y="1770474"/>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2" name="Freeform 933">
              <a:extLst>
                <a:ext uri="{FF2B5EF4-FFF2-40B4-BE49-F238E27FC236}">
                  <a16:creationId xmlns:a16="http://schemas.microsoft.com/office/drawing/2014/main" id="{5EE51CDE-9449-BB4E-BD9F-5468D3E14A47}"/>
                </a:ext>
              </a:extLst>
            </p:cNvPr>
            <p:cNvSpPr>
              <a:spLocks/>
            </p:cNvSpPr>
            <p:nvPr/>
          </p:nvSpPr>
          <p:spPr bwMode="auto">
            <a:xfrm>
              <a:off x="1885280" y="1770474"/>
              <a:ext cx="25584" cy="8936"/>
            </a:xfrm>
            <a:custGeom>
              <a:avLst/>
              <a:gdLst>
                <a:gd name="T0" fmla="*/ 2147483646 w 22"/>
                <a:gd name="T1" fmla="*/ 2147483646 h 9"/>
                <a:gd name="T2" fmla="*/ 0 w 22"/>
                <a:gd name="T3" fmla="*/ 2147483646 h 9"/>
                <a:gd name="T4" fmla="*/ 0 w 22"/>
                <a:gd name="T5" fmla="*/ 2147483646 h 9"/>
                <a:gd name="T6" fmla="*/ 0 w 22"/>
                <a:gd name="T7" fmla="*/ 2147483646 h 9"/>
                <a:gd name="T8" fmla="*/ 0 w 22"/>
                <a:gd name="T9" fmla="*/ 0 h 9"/>
                <a:gd name="T10" fmla="*/ 2147483646 w 22"/>
                <a:gd name="T11" fmla="*/ 0 h 9"/>
                <a:gd name="T12" fmla="*/ 2147483646 w 22"/>
                <a:gd name="T13" fmla="*/ 0 h 9"/>
                <a:gd name="T14" fmla="*/ 2147483646 w 22"/>
                <a:gd name="T15" fmla="*/ 0 h 9"/>
                <a:gd name="T16" fmla="*/ 2147483646 w 22"/>
                <a:gd name="T17" fmla="*/ 2147483646 h 9"/>
                <a:gd name="T18" fmla="*/ 2147483646 w 22"/>
                <a:gd name="T19" fmla="*/ 2147483646 h 9"/>
                <a:gd name="T20" fmla="*/ 2147483646 w 22"/>
                <a:gd name="T21" fmla="*/ 2147483646 h 9"/>
                <a:gd name="T22" fmla="*/ 2147483646 w 22"/>
                <a:gd name="T23" fmla="*/ 2147483646 h 9"/>
                <a:gd name="T24" fmla="*/ 2147483646 w 2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9">
                  <a:moveTo>
                    <a:pt x="3" y="9"/>
                  </a:moveTo>
                  <a:lnTo>
                    <a:pt x="0" y="6"/>
                  </a:lnTo>
                  <a:lnTo>
                    <a:pt x="0" y="3"/>
                  </a:lnTo>
                  <a:lnTo>
                    <a:pt x="0" y="0"/>
                  </a:lnTo>
                  <a:lnTo>
                    <a:pt x="3" y="0"/>
                  </a:lnTo>
                  <a:lnTo>
                    <a:pt x="19" y="0"/>
                  </a:lnTo>
                  <a:lnTo>
                    <a:pt x="22" y="0"/>
                  </a:lnTo>
                  <a:lnTo>
                    <a:pt x="22" y="3"/>
                  </a:lnTo>
                  <a:lnTo>
                    <a:pt x="22" y="6"/>
                  </a:lnTo>
                  <a:lnTo>
                    <a:pt x="1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3" name="Freeform 934">
              <a:extLst>
                <a:ext uri="{FF2B5EF4-FFF2-40B4-BE49-F238E27FC236}">
                  <a16:creationId xmlns:a16="http://schemas.microsoft.com/office/drawing/2014/main" id="{B60ECA16-09F1-F34D-975B-28BBE19BAC0C}"/>
                </a:ext>
              </a:extLst>
            </p:cNvPr>
            <p:cNvSpPr>
              <a:spLocks/>
            </p:cNvSpPr>
            <p:nvPr/>
          </p:nvSpPr>
          <p:spPr bwMode="auto">
            <a:xfrm>
              <a:off x="1903886" y="1757568"/>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4" name="Freeform 935">
              <a:extLst>
                <a:ext uri="{FF2B5EF4-FFF2-40B4-BE49-F238E27FC236}">
                  <a16:creationId xmlns:a16="http://schemas.microsoft.com/office/drawing/2014/main" id="{BC652A63-5533-1F47-A6CF-CAF0D7280FBA}"/>
                </a:ext>
              </a:extLst>
            </p:cNvPr>
            <p:cNvSpPr>
              <a:spLocks/>
            </p:cNvSpPr>
            <p:nvPr/>
          </p:nvSpPr>
          <p:spPr bwMode="auto">
            <a:xfrm>
              <a:off x="1903886" y="175756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5" name="Freeform 936">
              <a:extLst>
                <a:ext uri="{FF2B5EF4-FFF2-40B4-BE49-F238E27FC236}">
                  <a16:creationId xmlns:a16="http://schemas.microsoft.com/office/drawing/2014/main" id="{57B31C7E-8557-7146-9EEA-A0C9693A9B9C}"/>
                </a:ext>
              </a:extLst>
            </p:cNvPr>
            <p:cNvSpPr>
              <a:spLocks/>
            </p:cNvSpPr>
            <p:nvPr/>
          </p:nvSpPr>
          <p:spPr bwMode="auto">
            <a:xfrm>
              <a:off x="1907375" y="175756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6" name="Freeform 937">
              <a:extLst>
                <a:ext uri="{FF2B5EF4-FFF2-40B4-BE49-F238E27FC236}">
                  <a16:creationId xmlns:a16="http://schemas.microsoft.com/office/drawing/2014/main" id="{4D6EA812-AF0F-7F49-881C-66A35C4763D1}"/>
                </a:ext>
              </a:extLst>
            </p:cNvPr>
            <p:cNvSpPr>
              <a:spLocks/>
            </p:cNvSpPr>
            <p:nvPr/>
          </p:nvSpPr>
          <p:spPr bwMode="auto">
            <a:xfrm>
              <a:off x="1910864" y="1757568"/>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19" y="0"/>
                  </a:lnTo>
                  <a:lnTo>
                    <a:pt x="23" y="0"/>
                  </a:lnTo>
                  <a:lnTo>
                    <a:pt x="23" y="3"/>
                  </a:lnTo>
                  <a:lnTo>
                    <a:pt x="23" y="6"/>
                  </a:lnTo>
                  <a:lnTo>
                    <a:pt x="1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7" name="Freeform 938">
              <a:extLst>
                <a:ext uri="{FF2B5EF4-FFF2-40B4-BE49-F238E27FC236}">
                  <a16:creationId xmlns:a16="http://schemas.microsoft.com/office/drawing/2014/main" id="{A6353294-F6D7-614F-88A4-E0F94F53F24B}"/>
                </a:ext>
              </a:extLst>
            </p:cNvPr>
            <p:cNvSpPr>
              <a:spLocks/>
            </p:cNvSpPr>
            <p:nvPr/>
          </p:nvSpPr>
          <p:spPr bwMode="auto">
            <a:xfrm>
              <a:off x="1929471" y="1757568"/>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3" y="9"/>
                  </a:moveTo>
                  <a:lnTo>
                    <a:pt x="0" y="6"/>
                  </a:lnTo>
                  <a:lnTo>
                    <a:pt x="0" y="3"/>
                  </a:lnTo>
                  <a:lnTo>
                    <a:pt x="0" y="0"/>
                  </a:lnTo>
                  <a:lnTo>
                    <a:pt x="3" y="0"/>
                  </a:lnTo>
                  <a:lnTo>
                    <a:pt x="16" y="0"/>
                  </a:lnTo>
                  <a:lnTo>
                    <a:pt x="20" y="0"/>
                  </a:lnTo>
                  <a:lnTo>
                    <a:pt x="20" y="3"/>
                  </a:lnTo>
                  <a:lnTo>
                    <a:pt x="20"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8" name="Freeform 939">
              <a:extLst>
                <a:ext uri="{FF2B5EF4-FFF2-40B4-BE49-F238E27FC236}">
                  <a16:creationId xmlns:a16="http://schemas.microsoft.com/office/drawing/2014/main" id="{D520B147-BC0C-7F4D-890F-B15C785C76B3}"/>
                </a:ext>
              </a:extLst>
            </p:cNvPr>
            <p:cNvSpPr>
              <a:spLocks/>
            </p:cNvSpPr>
            <p:nvPr/>
          </p:nvSpPr>
          <p:spPr bwMode="auto">
            <a:xfrm>
              <a:off x="1944588" y="175756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9" name="Freeform 940">
              <a:extLst>
                <a:ext uri="{FF2B5EF4-FFF2-40B4-BE49-F238E27FC236}">
                  <a16:creationId xmlns:a16="http://schemas.microsoft.com/office/drawing/2014/main" id="{BEC49174-D2EB-4942-8DFB-76954A58C366}"/>
                </a:ext>
              </a:extLst>
            </p:cNvPr>
            <p:cNvSpPr>
              <a:spLocks/>
            </p:cNvSpPr>
            <p:nvPr/>
          </p:nvSpPr>
          <p:spPr bwMode="auto">
            <a:xfrm>
              <a:off x="1952729" y="174466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0" name="Freeform 941">
              <a:extLst>
                <a:ext uri="{FF2B5EF4-FFF2-40B4-BE49-F238E27FC236}">
                  <a16:creationId xmlns:a16="http://schemas.microsoft.com/office/drawing/2014/main" id="{28AAA18B-A966-F141-ADEA-32382F752B10}"/>
                </a:ext>
              </a:extLst>
            </p:cNvPr>
            <p:cNvSpPr>
              <a:spLocks/>
            </p:cNvSpPr>
            <p:nvPr/>
          </p:nvSpPr>
          <p:spPr bwMode="auto">
            <a:xfrm>
              <a:off x="1952729" y="174466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1" name="Freeform 942">
              <a:extLst>
                <a:ext uri="{FF2B5EF4-FFF2-40B4-BE49-F238E27FC236}">
                  <a16:creationId xmlns:a16="http://schemas.microsoft.com/office/drawing/2014/main" id="{A24C43C5-38BD-0F43-B96F-D7757F1E6422}"/>
                </a:ext>
              </a:extLst>
            </p:cNvPr>
            <p:cNvSpPr>
              <a:spLocks/>
            </p:cNvSpPr>
            <p:nvPr/>
          </p:nvSpPr>
          <p:spPr bwMode="auto">
            <a:xfrm>
              <a:off x="1956217" y="174466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2" name="Freeform 943">
              <a:extLst>
                <a:ext uri="{FF2B5EF4-FFF2-40B4-BE49-F238E27FC236}">
                  <a16:creationId xmlns:a16="http://schemas.microsoft.com/office/drawing/2014/main" id="{10C6EC46-32DE-7744-8E04-DDF0FA3E0B87}"/>
                </a:ext>
              </a:extLst>
            </p:cNvPr>
            <p:cNvSpPr>
              <a:spLocks/>
            </p:cNvSpPr>
            <p:nvPr/>
          </p:nvSpPr>
          <p:spPr bwMode="auto">
            <a:xfrm>
              <a:off x="1971336" y="17446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3" name="Freeform 944">
              <a:extLst>
                <a:ext uri="{FF2B5EF4-FFF2-40B4-BE49-F238E27FC236}">
                  <a16:creationId xmlns:a16="http://schemas.microsoft.com/office/drawing/2014/main" id="{7E77EB0D-39CC-F042-B396-88189D5B1ACE}"/>
                </a:ext>
              </a:extLst>
            </p:cNvPr>
            <p:cNvSpPr>
              <a:spLocks/>
            </p:cNvSpPr>
            <p:nvPr/>
          </p:nvSpPr>
          <p:spPr bwMode="auto">
            <a:xfrm>
              <a:off x="1978313" y="17446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4" name="Freeform 945">
              <a:extLst>
                <a:ext uri="{FF2B5EF4-FFF2-40B4-BE49-F238E27FC236}">
                  <a16:creationId xmlns:a16="http://schemas.microsoft.com/office/drawing/2014/main" id="{9C862750-0129-7243-BB6B-A874CFF40C51}"/>
                </a:ext>
              </a:extLst>
            </p:cNvPr>
            <p:cNvSpPr>
              <a:spLocks/>
            </p:cNvSpPr>
            <p:nvPr/>
          </p:nvSpPr>
          <p:spPr bwMode="auto">
            <a:xfrm>
              <a:off x="1986453" y="174466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5" name="Freeform 946">
              <a:extLst>
                <a:ext uri="{FF2B5EF4-FFF2-40B4-BE49-F238E27FC236}">
                  <a16:creationId xmlns:a16="http://schemas.microsoft.com/office/drawing/2014/main" id="{907D173C-C5A7-774F-B218-8D00EEB7FA61}"/>
                </a:ext>
              </a:extLst>
            </p:cNvPr>
            <p:cNvSpPr>
              <a:spLocks/>
            </p:cNvSpPr>
            <p:nvPr/>
          </p:nvSpPr>
          <p:spPr bwMode="auto">
            <a:xfrm>
              <a:off x="1989943" y="174466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6" name="Freeform 947">
              <a:extLst>
                <a:ext uri="{FF2B5EF4-FFF2-40B4-BE49-F238E27FC236}">
                  <a16:creationId xmlns:a16="http://schemas.microsoft.com/office/drawing/2014/main" id="{7C90891E-1ED1-114C-A34D-F9A6C2962126}"/>
                </a:ext>
              </a:extLst>
            </p:cNvPr>
            <p:cNvSpPr>
              <a:spLocks/>
            </p:cNvSpPr>
            <p:nvPr/>
          </p:nvSpPr>
          <p:spPr bwMode="auto">
            <a:xfrm>
              <a:off x="1993431" y="17446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7" name="Freeform 948">
              <a:extLst>
                <a:ext uri="{FF2B5EF4-FFF2-40B4-BE49-F238E27FC236}">
                  <a16:creationId xmlns:a16="http://schemas.microsoft.com/office/drawing/2014/main" id="{646AD620-DA10-0249-916D-BC2C78E7B0BB}"/>
                </a:ext>
              </a:extLst>
            </p:cNvPr>
            <p:cNvSpPr>
              <a:spLocks/>
            </p:cNvSpPr>
            <p:nvPr/>
          </p:nvSpPr>
          <p:spPr bwMode="auto">
            <a:xfrm>
              <a:off x="1996920" y="1744660"/>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3" y="10"/>
                  </a:moveTo>
                  <a:lnTo>
                    <a:pt x="0" y="6"/>
                  </a:lnTo>
                  <a:lnTo>
                    <a:pt x="0" y="3"/>
                  </a:lnTo>
                  <a:lnTo>
                    <a:pt x="0" y="0"/>
                  </a:lnTo>
                  <a:lnTo>
                    <a:pt x="3" y="0"/>
                  </a:lnTo>
                  <a:lnTo>
                    <a:pt x="16" y="0"/>
                  </a:lnTo>
                  <a:lnTo>
                    <a:pt x="20" y="0"/>
                  </a:lnTo>
                  <a:lnTo>
                    <a:pt x="20" y="3"/>
                  </a:lnTo>
                  <a:lnTo>
                    <a:pt x="20" y="6"/>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8" name="Freeform 949">
              <a:extLst>
                <a:ext uri="{FF2B5EF4-FFF2-40B4-BE49-F238E27FC236}">
                  <a16:creationId xmlns:a16="http://schemas.microsoft.com/office/drawing/2014/main" id="{C7ADF7D7-3F8E-C245-9F00-BC58C12F8227}"/>
                </a:ext>
              </a:extLst>
            </p:cNvPr>
            <p:cNvSpPr>
              <a:spLocks/>
            </p:cNvSpPr>
            <p:nvPr/>
          </p:nvSpPr>
          <p:spPr bwMode="auto">
            <a:xfrm>
              <a:off x="2012038" y="17446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9" name="Freeform 950">
              <a:extLst>
                <a:ext uri="{FF2B5EF4-FFF2-40B4-BE49-F238E27FC236}">
                  <a16:creationId xmlns:a16="http://schemas.microsoft.com/office/drawing/2014/main" id="{95B9BAF5-9985-A24A-B148-1C2DCC8BEFCC}"/>
                </a:ext>
              </a:extLst>
            </p:cNvPr>
            <p:cNvSpPr>
              <a:spLocks/>
            </p:cNvSpPr>
            <p:nvPr/>
          </p:nvSpPr>
          <p:spPr bwMode="auto">
            <a:xfrm>
              <a:off x="2015527" y="1731754"/>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0" name="Freeform 951">
              <a:extLst>
                <a:ext uri="{FF2B5EF4-FFF2-40B4-BE49-F238E27FC236}">
                  <a16:creationId xmlns:a16="http://schemas.microsoft.com/office/drawing/2014/main" id="{020A2C9A-CDDD-7D44-934B-0264583F7378}"/>
                </a:ext>
              </a:extLst>
            </p:cNvPr>
            <p:cNvSpPr>
              <a:spLocks/>
            </p:cNvSpPr>
            <p:nvPr/>
          </p:nvSpPr>
          <p:spPr bwMode="auto">
            <a:xfrm>
              <a:off x="2015527" y="173175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6"/>
                  </a:lnTo>
                  <a:lnTo>
                    <a:pt x="0" y="3"/>
                  </a:lnTo>
                  <a:lnTo>
                    <a:pt x="0" y="0"/>
                  </a:lnTo>
                  <a:lnTo>
                    <a:pt x="4" y="0"/>
                  </a:lnTo>
                  <a:lnTo>
                    <a:pt x="13" y="0"/>
                  </a:lnTo>
                  <a:lnTo>
                    <a:pt x="16" y="0"/>
                  </a:lnTo>
                  <a:lnTo>
                    <a:pt x="16" y="3"/>
                  </a:lnTo>
                  <a:lnTo>
                    <a:pt x="16" y="6"/>
                  </a:lnTo>
                  <a:lnTo>
                    <a:pt x="13"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1" name="Freeform 952">
              <a:extLst>
                <a:ext uri="{FF2B5EF4-FFF2-40B4-BE49-F238E27FC236}">
                  <a16:creationId xmlns:a16="http://schemas.microsoft.com/office/drawing/2014/main" id="{41BF5FE0-982D-AC41-BEEE-AB2FFE3130F5}"/>
                </a:ext>
              </a:extLst>
            </p:cNvPr>
            <p:cNvSpPr>
              <a:spLocks/>
            </p:cNvSpPr>
            <p:nvPr/>
          </p:nvSpPr>
          <p:spPr bwMode="auto">
            <a:xfrm>
              <a:off x="2027156" y="173175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2" name="Freeform 953">
              <a:extLst>
                <a:ext uri="{FF2B5EF4-FFF2-40B4-BE49-F238E27FC236}">
                  <a16:creationId xmlns:a16="http://schemas.microsoft.com/office/drawing/2014/main" id="{E2429AEB-D997-B54F-9DB2-C0364C1EA1AE}"/>
                </a:ext>
              </a:extLst>
            </p:cNvPr>
            <p:cNvSpPr>
              <a:spLocks/>
            </p:cNvSpPr>
            <p:nvPr/>
          </p:nvSpPr>
          <p:spPr bwMode="auto">
            <a:xfrm>
              <a:off x="2030644" y="171884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3" name="Freeform 954">
              <a:extLst>
                <a:ext uri="{FF2B5EF4-FFF2-40B4-BE49-F238E27FC236}">
                  <a16:creationId xmlns:a16="http://schemas.microsoft.com/office/drawing/2014/main" id="{4EA42ABA-9A9C-6A4B-9E93-9490C7F4ADD6}"/>
                </a:ext>
              </a:extLst>
            </p:cNvPr>
            <p:cNvSpPr>
              <a:spLocks/>
            </p:cNvSpPr>
            <p:nvPr/>
          </p:nvSpPr>
          <p:spPr bwMode="auto">
            <a:xfrm>
              <a:off x="2030644" y="1718846"/>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6"/>
                  </a:lnTo>
                  <a:lnTo>
                    <a:pt x="0" y="3"/>
                  </a:lnTo>
                  <a:lnTo>
                    <a:pt x="0" y="0"/>
                  </a:lnTo>
                  <a:lnTo>
                    <a:pt x="3" y="0"/>
                  </a:lnTo>
                  <a:lnTo>
                    <a:pt x="26" y="0"/>
                  </a:lnTo>
                  <a:lnTo>
                    <a:pt x="29" y="0"/>
                  </a:lnTo>
                  <a:lnTo>
                    <a:pt x="29" y="3"/>
                  </a:lnTo>
                  <a:lnTo>
                    <a:pt x="29" y="6"/>
                  </a:lnTo>
                  <a:lnTo>
                    <a:pt x="2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4" name="Freeform 955">
              <a:extLst>
                <a:ext uri="{FF2B5EF4-FFF2-40B4-BE49-F238E27FC236}">
                  <a16:creationId xmlns:a16="http://schemas.microsoft.com/office/drawing/2014/main" id="{C14E2C9B-D3FB-F84D-A2C1-F38FA1F7EBC1}"/>
                </a:ext>
              </a:extLst>
            </p:cNvPr>
            <p:cNvSpPr>
              <a:spLocks/>
            </p:cNvSpPr>
            <p:nvPr/>
          </p:nvSpPr>
          <p:spPr bwMode="auto">
            <a:xfrm>
              <a:off x="2057392" y="171884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5" name="Freeform 956">
              <a:extLst>
                <a:ext uri="{FF2B5EF4-FFF2-40B4-BE49-F238E27FC236}">
                  <a16:creationId xmlns:a16="http://schemas.microsoft.com/office/drawing/2014/main" id="{28C4F4A9-4EF3-9C49-9F2D-0F1B52D022DB}"/>
                </a:ext>
              </a:extLst>
            </p:cNvPr>
            <p:cNvSpPr>
              <a:spLocks/>
            </p:cNvSpPr>
            <p:nvPr/>
          </p:nvSpPr>
          <p:spPr bwMode="auto">
            <a:xfrm>
              <a:off x="2060880" y="1718846"/>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6"/>
                  </a:lnTo>
                  <a:lnTo>
                    <a:pt x="0" y="3"/>
                  </a:lnTo>
                  <a:lnTo>
                    <a:pt x="0" y="0"/>
                  </a:lnTo>
                  <a:lnTo>
                    <a:pt x="3" y="0"/>
                  </a:lnTo>
                  <a:lnTo>
                    <a:pt x="23" y="0"/>
                  </a:lnTo>
                  <a:lnTo>
                    <a:pt x="26" y="0"/>
                  </a:lnTo>
                  <a:lnTo>
                    <a:pt x="26" y="3"/>
                  </a:lnTo>
                  <a:lnTo>
                    <a:pt x="26" y="6"/>
                  </a:lnTo>
                  <a:lnTo>
                    <a:pt x="2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6" name="Freeform 957">
              <a:extLst>
                <a:ext uri="{FF2B5EF4-FFF2-40B4-BE49-F238E27FC236}">
                  <a16:creationId xmlns:a16="http://schemas.microsoft.com/office/drawing/2014/main" id="{0C698CA1-1A61-EC4F-99EC-2D054140F0F4}"/>
                </a:ext>
              </a:extLst>
            </p:cNvPr>
            <p:cNvSpPr>
              <a:spLocks/>
            </p:cNvSpPr>
            <p:nvPr/>
          </p:nvSpPr>
          <p:spPr bwMode="auto">
            <a:xfrm>
              <a:off x="2082976" y="1718846"/>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7" name="Freeform 958">
              <a:extLst>
                <a:ext uri="{FF2B5EF4-FFF2-40B4-BE49-F238E27FC236}">
                  <a16:creationId xmlns:a16="http://schemas.microsoft.com/office/drawing/2014/main" id="{6C194A48-11BA-D047-A680-EEECEC97D139}"/>
                </a:ext>
              </a:extLst>
            </p:cNvPr>
            <p:cNvSpPr>
              <a:spLocks/>
            </p:cNvSpPr>
            <p:nvPr/>
          </p:nvSpPr>
          <p:spPr bwMode="auto">
            <a:xfrm>
              <a:off x="2101583" y="1702961"/>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4" y="22"/>
                  </a:lnTo>
                  <a:lnTo>
                    <a:pt x="0" y="22"/>
                  </a:lnTo>
                  <a:lnTo>
                    <a:pt x="0" y="19"/>
                  </a:lnTo>
                  <a:lnTo>
                    <a:pt x="0" y="3"/>
                  </a:lnTo>
                  <a:lnTo>
                    <a:pt x="0" y="0"/>
                  </a:lnTo>
                  <a:lnTo>
                    <a:pt x="4" y="0"/>
                  </a:lnTo>
                  <a:lnTo>
                    <a:pt x="7" y="0"/>
                  </a:lnTo>
                  <a:lnTo>
                    <a:pt x="10" y="3"/>
                  </a:lnTo>
                  <a:lnTo>
                    <a:pt x="10"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8" name="Freeform 959">
              <a:extLst>
                <a:ext uri="{FF2B5EF4-FFF2-40B4-BE49-F238E27FC236}">
                  <a16:creationId xmlns:a16="http://schemas.microsoft.com/office/drawing/2014/main" id="{473A0736-F577-134A-8AA2-9B72623ECFCE}"/>
                </a:ext>
              </a:extLst>
            </p:cNvPr>
            <p:cNvSpPr>
              <a:spLocks/>
            </p:cNvSpPr>
            <p:nvPr/>
          </p:nvSpPr>
          <p:spPr bwMode="auto">
            <a:xfrm>
              <a:off x="2101583" y="1702961"/>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9" name="Freeform 960">
              <a:extLst>
                <a:ext uri="{FF2B5EF4-FFF2-40B4-BE49-F238E27FC236}">
                  <a16:creationId xmlns:a16="http://schemas.microsoft.com/office/drawing/2014/main" id="{04345AC4-7655-2549-A072-71A6487CD298}"/>
                </a:ext>
              </a:extLst>
            </p:cNvPr>
            <p:cNvSpPr>
              <a:spLocks/>
            </p:cNvSpPr>
            <p:nvPr/>
          </p:nvSpPr>
          <p:spPr bwMode="auto">
            <a:xfrm>
              <a:off x="2121352" y="1687075"/>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0" name="Freeform 961">
              <a:extLst>
                <a:ext uri="{FF2B5EF4-FFF2-40B4-BE49-F238E27FC236}">
                  <a16:creationId xmlns:a16="http://schemas.microsoft.com/office/drawing/2014/main" id="{C63D198F-8AF4-1147-8084-C67F5C6FCF82}"/>
                </a:ext>
              </a:extLst>
            </p:cNvPr>
            <p:cNvSpPr>
              <a:spLocks/>
            </p:cNvSpPr>
            <p:nvPr/>
          </p:nvSpPr>
          <p:spPr bwMode="auto">
            <a:xfrm>
              <a:off x="2121352" y="1687075"/>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1" name="Freeform 962">
              <a:extLst>
                <a:ext uri="{FF2B5EF4-FFF2-40B4-BE49-F238E27FC236}">
                  <a16:creationId xmlns:a16="http://schemas.microsoft.com/office/drawing/2014/main" id="{89C34BD5-388B-E543-9A35-7BE7A36EE19D}"/>
                </a:ext>
              </a:extLst>
            </p:cNvPr>
            <p:cNvSpPr>
              <a:spLocks/>
            </p:cNvSpPr>
            <p:nvPr/>
          </p:nvSpPr>
          <p:spPr bwMode="auto">
            <a:xfrm>
              <a:off x="2135307" y="1687075"/>
              <a:ext cx="19770" cy="8936"/>
            </a:xfrm>
            <a:custGeom>
              <a:avLst/>
              <a:gdLst>
                <a:gd name="T0" fmla="*/ 2147483646 w 17"/>
                <a:gd name="T1" fmla="*/ 2147483646 h 9"/>
                <a:gd name="T2" fmla="*/ 0 w 17"/>
                <a:gd name="T3" fmla="*/ 2147483646 h 9"/>
                <a:gd name="T4" fmla="*/ 0 w 17"/>
                <a:gd name="T5" fmla="*/ 2147483646 h 9"/>
                <a:gd name="T6" fmla="*/ 0 w 17"/>
                <a:gd name="T7" fmla="*/ 2147483646 h 9"/>
                <a:gd name="T8" fmla="*/ 0 w 17"/>
                <a:gd name="T9" fmla="*/ 0 h 9"/>
                <a:gd name="T10" fmla="*/ 2147483646 w 17"/>
                <a:gd name="T11" fmla="*/ 0 h 9"/>
                <a:gd name="T12" fmla="*/ 2147483646 w 17"/>
                <a:gd name="T13" fmla="*/ 0 h 9"/>
                <a:gd name="T14" fmla="*/ 2147483646 w 17"/>
                <a:gd name="T15" fmla="*/ 0 h 9"/>
                <a:gd name="T16" fmla="*/ 2147483646 w 17"/>
                <a:gd name="T17" fmla="*/ 2147483646 h 9"/>
                <a:gd name="T18" fmla="*/ 2147483646 w 17"/>
                <a:gd name="T19" fmla="*/ 2147483646 h 9"/>
                <a:gd name="T20" fmla="*/ 2147483646 w 17"/>
                <a:gd name="T21" fmla="*/ 2147483646 h 9"/>
                <a:gd name="T22" fmla="*/ 2147483646 w 17"/>
                <a:gd name="T23" fmla="*/ 2147483646 h 9"/>
                <a:gd name="T24" fmla="*/ 2147483646 w 17"/>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9">
                  <a:moveTo>
                    <a:pt x="4" y="9"/>
                  </a:moveTo>
                  <a:lnTo>
                    <a:pt x="0" y="6"/>
                  </a:lnTo>
                  <a:lnTo>
                    <a:pt x="0" y="3"/>
                  </a:lnTo>
                  <a:lnTo>
                    <a:pt x="0" y="0"/>
                  </a:lnTo>
                  <a:lnTo>
                    <a:pt x="4" y="0"/>
                  </a:lnTo>
                  <a:lnTo>
                    <a:pt x="13" y="0"/>
                  </a:lnTo>
                  <a:lnTo>
                    <a:pt x="17" y="0"/>
                  </a:lnTo>
                  <a:lnTo>
                    <a:pt x="17" y="3"/>
                  </a:lnTo>
                  <a:lnTo>
                    <a:pt x="17" y="6"/>
                  </a:lnTo>
                  <a:lnTo>
                    <a:pt x="13"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2" name="Freeform 963">
              <a:extLst>
                <a:ext uri="{FF2B5EF4-FFF2-40B4-BE49-F238E27FC236}">
                  <a16:creationId xmlns:a16="http://schemas.microsoft.com/office/drawing/2014/main" id="{1A8C4864-5409-DD45-97C4-AF9A443A610F}"/>
                </a:ext>
              </a:extLst>
            </p:cNvPr>
            <p:cNvSpPr>
              <a:spLocks/>
            </p:cNvSpPr>
            <p:nvPr/>
          </p:nvSpPr>
          <p:spPr bwMode="auto">
            <a:xfrm>
              <a:off x="2146937" y="1687075"/>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3" y="0"/>
                  </a:lnTo>
                  <a:lnTo>
                    <a:pt x="26" y="0"/>
                  </a:lnTo>
                  <a:lnTo>
                    <a:pt x="26" y="3"/>
                  </a:lnTo>
                  <a:lnTo>
                    <a:pt x="26" y="6"/>
                  </a:lnTo>
                  <a:lnTo>
                    <a:pt x="23"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3" name="Freeform 964">
              <a:extLst>
                <a:ext uri="{FF2B5EF4-FFF2-40B4-BE49-F238E27FC236}">
                  <a16:creationId xmlns:a16="http://schemas.microsoft.com/office/drawing/2014/main" id="{F123532C-5B03-F54D-B9D3-3A06A793E3D6}"/>
                </a:ext>
              </a:extLst>
            </p:cNvPr>
            <p:cNvSpPr>
              <a:spLocks/>
            </p:cNvSpPr>
            <p:nvPr/>
          </p:nvSpPr>
          <p:spPr bwMode="auto">
            <a:xfrm>
              <a:off x="2169032" y="1687075"/>
              <a:ext cx="19770" cy="8936"/>
            </a:xfrm>
            <a:custGeom>
              <a:avLst/>
              <a:gdLst>
                <a:gd name="T0" fmla="*/ 2147483646 w 17"/>
                <a:gd name="T1" fmla="*/ 2147483646 h 9"/>
                <a:gd name="T2" fmla="*/ 0 w 17"/>
                <a:gd name="T3" fmla="*/ 2147483646 h 9"/>
                <a:gd name="T4" fmla="*/ 0 w 17"/>
                <a:gd name="T5" fmla="*/ 2147483646 h 9"/>
                <a:gd name="T6" fmla="*/ 0 w 17"/>
                <a:gd name="T7" fmla="*/ 2147483646 h 9"/>
                <a:gd name="T8" fmla="*/ 0 w 17"/>
                <a:gd name="T9" fmla="*/ 0 h 9"/>
                <a:gd name="T10" fmla="*/ 2147483646 w 17"/>
                <a:gd name="T11" fmla="*/ 0 h 9"/>
                <a:gd name="T12" fmla="*/ 2147483646 w 17"/>
                <a:gd name="T13" fmla="*/ 0 h 9"/>
                <a:gd name="T14" fmla="*/ 2147483646 w 17"/>
                <a:gd name="T15" fmla="*/ 0 h 9"/>
                <a:gd name="T16" fmla="*/ 2147483646 w 17"/>
                <a:gd name="T17" fmla="*/ 2147483646 h 9"/>
                <a:gd name="T18" fmla="*/ 2147483646 w 17"/>
                <a:gd name="T19" fmla="*/ 2147483646 h 9"/>
                <a:gd name="T20" fmla="*/ 2147483646 w 17"/>
                <a:gd name="T21" fmla="*/ 2147483646 h 9"/>
                <a:gd name="T22" fmla="*/ 2147483646 w 17"/>
                <a:gd name="T23" fmla="*/ 2147483646 h 9"/>
                <a:gd name="T24" fmla="*/ 2147483646 w 17"/>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9">
                  <a:moveTo>
                    <a:pt x="4" y="9"/>
                  </a:moveTo>
                  <a:lnTo>
                    <a:pt x="0" y="6"/>
                  </a:lnTo>
                  <a:lnTo>
                    <a:pt x="0" y="3"/>
                  </a:lnTo>
                  <a:lnTo>
                    <a:pt x="0" y="0"/>
                  </a:lnTo>
                  <a:lnTo>
                    <a:pt x="4" y="0"/>
                  </a:lnTo>
                  <a:lnTo>
                    <a:pt x="13" y="0"/>
                  </a:lnTo>
                  <a:lnTo>
                    <a:pt x="17" y="0"/>
                  </a:lnTo>
                  <a:lnTo>
                    <a:pt x="17" y="3"/>
                  </a:lnTo>
                  <a:lnTo>
                    <a:pt x="17" y="6"/>
                  </a:lnTo>
                  <a:lnTo>
                    <a:pt x="13"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4" name="Freeform 965">
              <a:extLst>
                <a:ext uri="{FF2B5EF4-FFF2-40B4-BE49-F238E27FC236}">
                  <a16:creationId xmlns:a16="http://schemas.microsoft.com/office/drawing/2014/main" id="{8037018A-4DCD-7649-9AC4-1C97089B1AFE}"/>
                </a:ext>
              </a:extLst>
            </p:cNvPr>
            <p:cNvSpPr>
              <a:spLocks/>
            </p:cNvSpPr>
            <p:nvPr/>
          </p:nvSpPr>
          <p:spPr bwMode="auto">
            <a:xfrm>
              <a:off x="2180662" y="168707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5" name="Freeform 966">
              <a:extLst>
                <a:ext uri="{FF2B5EF4-FFF2-40B4-BE49-F238E27FC236}">
                  <a16:creationId xmlns:a16="http://schemas.microsoft.com/office/drawing/2014/main" id="{56776E5B-4780-A34D-89B6-A31D83B55FF2}"/>
                </a:ext>
              </a:extLst>
            </p:cNvPr>
            <p:cNvSpPr>
              <a:spLocks/>
            </p:cNvSpPr>
            <p:nvPr/>
          </p:nvSpPr>
          <p:spPr bwMode="auto">
            <a:xfrm>
              <a:off x="2184150" y="1671190"/>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4" y="22"/>
                  </a:lnTo>
                  <a:lnTo>
                    <a:pt x="0" y="22"/>
                  </a:lnTo>
                  <a:lnTo>
                    <a:pt x="0" y="19"/>
                  </a:lnTo>
                  <a:lnTo>
                    <a:pt x="0" y="3"/>
                  </a:lnTo>
                  <a:lnTo>
                    <a:pt x="0" y="0"/>
                  </a:lnTo>
                  <a:lnTo>
                    <a:pt x="4" y="0"/>
                  </a:lnTo>
                  <a:lnTo>
                    <a:pt x="7" y="0"/>
                  </a:lnTo>
                  <a:lnTo>
                    <a:pt x="10" y="3"/>
                  </a:lnTo>
                  <a:lnTo>
                    <a:pt x="10"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6" name="Freeform 967">
              <a:extLst>
                <a:ext uri="{FF2B5EF4-FFF2-40B4-BE49-F238E27FC236}">
                  <a16:creationId xmlns:a16="http://schemas.microsoft.com/office/drawing/2014/main" id="{AA312CAF-7F60-564C-89D9-F2C6A5587E43}"/>
                </a:ext>
              </a:extLst>
            </p:cNvPr>
            <p:cNvSpPr>
              <a:spLocks/>
            </p:cNvSpPr>
            <p:nvPr/>
          </p:nvSpPr>
          <p:spPr bwMode="auto">
            <a:xfrm>
              <a:off x="2184150" y="1671190"/>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7" name="Freeform 968">
              <a:extLst>
                <a:ext uri="{FF2B5EF4-FFF2-40B4-BE49-F238E27FC236}">
                  <a16:creationId xmlns:a16="http://schemas.microsoft.com/office/drawing/2014/main" id="{022B8796-D5A5-1B46-A023-EACE00AD1F70}"/>
                </a:ext>
              </a:extLst>
            </p:cNvPr>
            <p:cNvSpPr>
              <a:spLocks/>
            </p:cNvSpPr>
            <p:nvPr/>
          </p:nvSpPr>
          <p:spPr bwMode="auto">
            <a:xfrm>
              <a:off x="2195779" y="1671190"/>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8" name="Freeform 969">
              <a:extLst>
                <a:ext uri="{FF2B5EF4-FFF2-40B4-BE49-F238E27FC236}">
                  <a16:creationId xmlns:a16="http://schemas.microsoft.com/office/drawing/2014/main" id="{2DCD57F7-E859-AF4D-B4B6-4BC9F0325C97}"/>
                </a:ext>
              </a:extLst>
            </p:cNvPr>
            <p:cNvSpPr>
              <a:spLocks/>
            </p:cNvSpPr>
            <p:nvPr/>
          </p:nvSpPr>
          <p:spPr bwMode="auto">
            <a:xfrm>
              <a:off x="2202757" y="1654312"/>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4"/>
                  </a:lnTo>
                  <a:lnTo>
                    <a:pt x="0" y="0"/>
                  </a:lnTo>
                  <a:lnTo>
                    <a:pt x="4" y="0"/>
                  </a:lnTo>
                  <a:lnTo>
                    <a:pt x="7" y="0"/>
                  </a:lnTo>
                  <a:lnTo>
                    <a:pt x="10" y="4"/>
                  </a:lnTo>
                  <a:lnTo>
                    <a:pt x="10" y="2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9" name="Freeform 970">
              <a:extLst>
                <a:ext uri="{FF2B5EF4-FFF2-40B4-BE49-F238E27FC236}">
                  <a16:creationId xmlns:a16="http://schemas.microsoft.com/office/drawing/2014/main" id="{C8A773A4-85F0-064E-A5BB-B1D6724A6F6F}"/>
                </a:ext>
              </a:extLst>
            </p:cNvPr>
            <p:cNvSpPr>
              <a:spLocks/>
            </p:cNvSpPr>
            <p:nvPr/>
          </p:nvSpPr>
          <p:spPr bwMode="auto">
            <a:xfrm>
              <a:off x="2202757" y="1654312"/>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4" y="10"/>
                  </a:moveTo>
                  <a:lnTo>
                    <a:pt x="0" y="7"/>
                  </a:lnTo>
                  <a:lnTo>
                    <a:pt x="0" y="4"/>
                  </a:lnTo>
                  <a:lnTo>
                    <a:pt x="0" y="0"/>
                  </a:lnTo>
                  <a:lnTo>
                    <a:pt x="4" y="0"/>
                  </a:lnTo>
                  <a:lnTo>
                    <a:pt x="33" y="0"/>
                  </a:lnTo>
                  <a:lnTo>
                    <a:pt x="36" y="0"/>
                  </a:lnTo>
                  <a:lnTo>
                    <a:pt x="36" y="4"/>
                  </a:lnTo>
                  <a:lnTo>
                    <a:pt x="36" y="7"/>
                  </a:lnTo>
                  <a:lnTo>
                    <a:pt x="33"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0" name="Freeform 971">
              <a:extLst>
                <a:ext uri="{FF2B5EF4-FFF2-40B4-BE49-F238E27FC236}">
                  <a16:creationId xmlns:a16="http://schemas.microsoft.com/office/drawing/2014/main" id="{CDD61E39-B63C-314A-B372-8E7AD7C61ABD}"/>
                </a:ext>
              </a:extLst>
            </p:cNvPr>
            <p:cNvSpPr>
              <a:spLocks/>
            </p:cNvSpPr>
            <p:nvPr/>
          </p:nvSpPr>
          <p:spPr bwMode="auto">
            <a:xfrm>
              <a:off x="2236482" y="1654312"/>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4"/>
                  </a:lnTo>
                  <a:lnTo>
                    <a:pt x="0" y="0"/>
                  </a:lnTo>
                  <a:lnTo>
                    <a:pt x="4" y="0"/>
                  </a:lnTo>
                  <a:lnTo>
                    <a:pt x="17" y="0"/>
                  </a:lnTo>
                  <a:lnTo>
                    <a:pt x="20" y="0"/>
                  </a:lnTo>
                  <a:lnTo>
                    <a:pt x="20" y="4"/>
                  </a:lnTo>
                  <a:lnTo>
                    <a:pt x="20" y="7"/>
                  </a:lnTo>
                  <a:lnTo>
                    <a:pt x="1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1" name="Freeform 972">
              <a:extLst>
                <a:ext uri="{FF2B5EF4-FFF2-40B4-BE49-F238E27FC236}">
                  <a16:creationId xmlns:a16="http://schemas.microsoft.com/office/drawing/2014/main" id="{E12EE2A0-4FF5-4744-A185-8ABC7C7407DF}"/>
                </a:ext>
              </a:extLst>
            </p:cNvPr>
            <p:cNvSpPr>
              <a:spLocks/>
            </p:cNvSpPr>
            <p:nvPr/>
          </p:nvSpPr>
          <p:spPr bwMode="auto">
            <a:xfrm>
              <a:off x="2251600" y="1654312"/>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4" y="10"/>
                  </a:moveTo>
                  <a:lnTo>
                    <a:pt x="0" y="7"/>
                  </a:lnTo>
                  <a:lnTo>
                    <a:pt x="0" y="4"/>
                  </a:lnTo>
                  <a:lnTo>
                    <a:pt x="0" y="0"/>
                  </a:lnTo>
                  <a:lnTo>
                    <a:pt x="4" y="0"/>
                  </a:lnTo>
                  <a:lnTo>
                    <a:pt x="23" y="0"/>
                  </a:lnTo>
                  <a:lnTo>
                    <a:pt x="26" y="0"/>
                  </a:lnTo>
                  <a:lnTo>
                    <a:pt x="26" y="4"/>
                  </a:lnTo>
                  <a:lnTo>
                    <a:pt x="26" y="7"/>
                  </a:lnTo>
                  <a:lnTo>
                    <a:pt x="23"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2" name="Freeform 973">
              <a:extLst>
                <a:ext uri="{FF2B5EF4-FFF2-40B4-BE49-F238E27FC236}">
                  <a16:creationId xmlns:a16="http://schemas.microsoft.com/office/drawing/2014/main" id="{85219E92-AD48-7B46-839E-92ABCBD662F2}"/>
                </a:ext>
              </a:extLst>
            </p:cNvPr>
            <p:cNvSpPr>
              <a:spLocks/>
            </p:cNvSpPr>
            <p:nvPr/>
          </p:nvSpPr>
          <p:spPr bwMode="auto">
            <a:xfrm>
              <a:off x="2274858" y="1654312"/>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4"/>
                  </a:lnTo>
                  <a:lnTo>
                    <a:pt x="0" y="0"/>
                  </a:lnTo>
                  <a:lnTo>
                    <a:pt x="3" y="0"/>
                  </a:lnTo>
                  <a:lnTo>
                    <a:pt x="25" y="0"/>
                  </a:lnTo>
                  <a:lnTo>
                    <a:pt x="29" y="0"/>
                  </a:lnTo>
                  <a:lnTo>
                    <a:pt x="29" y="4"/>
                  </a:lnTo>
                  <a:lnTo>
                    <a:pt x="29" y="7"/>
                  </a:lnTo>
                  <a:lnTo>
                    <a:pt x="2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3" name="Freeform 974">
              <a:extLst>
                <a:ext uri="{FF2B5EF4-FFF2-40B4-BE49-F238E27FC236}">
                  <a16:creationId xmlns:a16="http://schemas.microsoft.com/office/drawing/2014/main" id="{59A1BDAD-C9C4-7546-A221-FA2511801D0B}"/>
                </a:ext>
              </a:extLst>
            </p:cNvPr>
            <p:cNvSpPr>
              <a:spLocks/>
            </p:cNvSpPr>
            <p:nvPr/>
          </p:nvSpPr>
          <p:spPr bwMode="auto">
            <a:xfrm>
              <a:off x="2300442" y="1654312"/>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3" y="10"/>
                  </a:moveTo>
                  <a:lnTo>
                    <a:pt x="0" y="7"/>
                  </a:lnTo>
                  <a:lnTo>
                    <a:pt x="0" y="4"/>
                  </a:lnTo>
                  <a:lnTo>
                    <a:pt x="0" y="0"/>
                  </a:lnTo>
                  <a:lnTo>
                    <a:pt x="3" y="0"/>
                  </a:lnTo>
                  <a:lnTo>
                    <a:pt x="39" y="0"/>
                  </a:lnTo>
                  <a:lnTo>
                    <a:pt x="42" y="0"/>
                  </a:lnTo>
                  <a:lnTo>
                    <a:pt x="42" y="4"/>
                  </a:lnTo>
                  <a:lnTo>
                    <a:pt x="42" y="7"/>
                  </a:lnTo>
                  <a:lnTo>
                    <a:pt x="3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4" name="Freeform 975">
              <a:extLst>
                <a:ext uri="{FF2B5EF4-FFF2-40B4-BE49-F238E27FC236}">
                  <a16:creationId xmlns:a16="http://schemas.microsoft.com/office/drawing/2014/main" id="{EC33AC09-1B7A-DD4A-9D78-AD97290D48C9}"/>
                </a:ext>
              </a:extLst>
            </p:cNvPr>
            <p:cNvSpPr>
              <a:spLocks/>
            </p:cNvSpPr>
            <p:nvPr/>
          </p:nvSpPr>
          <p:spPr bwMode="auto">
            <a:xfrm>
              <a:off x="2342307" y="1654312"/>
              <a:ext cx="74427" cy="9928"/>
            </a:xfrm>
            <a:custGeom>
              <a:avLst/>
              <a:gdLst>
                <a:gd name="T0" fmla="*/ 2147483646 w 64"/>
                <a:gd name="T1" fmla="*/ 2147483646 h 10"/>
                <a:gd name="T2" fmla="*/ 0 w 64"/>
                <a:gd name="T3" fmla="*/ 2147483646 h 10"/>
                <a:gd name="T4" fmla="*/ 0 w 64"/>
                <a:gd name="T5" fmla="*/ 2147483646 h 10"/>
                <a:gd name="T6" fmla="*/ 0 w 64"/>
                <a:gd name="T7" fmla="*/ 2147483646 h 10"/>
                <a:gd name="T8" fmla="*/ 0 w 64"/>
                <a:gd name="T9" fmla="*/ 0 h 10"/>
                <a:gd name="T10" fmla="*/ 2147483646 w 64"/>
                <a:gd name="T11" fmla="*/ 0 h 10"/>
                <a:gd name="T12" fmla="*/ 2147483646 w 64"/>
                <a:gd name="T13" fmla="*/ 0 h 10"/>
                <a:gd name="T14" fmla="*/ 2147483646 w 64"/>
                <a:gd name="T15" fmla="*/ 0 h 10"/>
                <a:gd name="T16" fmla="*/ 2147483646 w 64"/>
                <a:gd name="T17" fmla="*/ 2147483646 h 10"/>
                <a:gd name="T18" fmla="*/ 2147483646 w 64"/>
                <a:gd name="T19" fmla="*/ 2147483646 h 10"/>
                <a:gd name="T20" fmla="*/ 2147483646 w 64"/>
                <a:gd name="T21" fmla="*/ 2147483646 h 10"/>
                <a:gd name="T22" fmla="*/ 2147483646 w 64"/>
                <a:gd name="T23" fmla="*/ 2147483646 h 10"/>
                <a:gd name="T24" fmla="*/ 2147483646 w 6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4" h="10">
                  <a:moveTo>
                    <a:pt x="3" y="10"/>
                  </a:moveTo>
                  <a:lnTo>
                    <a:pt x="0" y="7"/>
                  </a:lnTo>
                  <a:lnTo>
                    <a:pt x="0" y="4"/>
                  </a:lnTo>
                  <a:lnTo>
                    <a:pt x="0" y="0"/>
                  </a:lnTo>
                  <a:lnTo>
                    <a:pt x="3" y="0"/>
                  </a:lnTo>
                  <a:lnTo>
                    <a:pt x="61" y="0"/>
                  </a:lnTo>
                  <a:lnTo>
                    <a:pt x="64" y="0"/>
                  </a:lnTo>
                  <a:lnTo>
                    <a:pt x="64" y="4"/>
                  </a:lnTo>
                  <a:lnTo>
                    <a:pt x="64" y="7"/>
                  </a:lnTo>
                  <a:lnTo>
                    <a:pt x="61"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5" name="Freeform 976">
              <a:extLst>
                <a:ext uri="{FF2B5EF4-FFF2-40B4-BE49-F238E27FC236}">
                  <a16:creationId xmlns:a16="http://schemas.microsoft.com/office/drawing/2014/main" id="{D289F144-6210-4C40-8C56-C2A818DCEEBA}"/>
                </a:ext>
              </a:extLst>
            </p:cNvPr>
            <p:cNvSpPr>
              <a:spLocks/>
            </p:cNvSpPr>
            <p:nvPr/>
          </p:nvSpPr>
          <p:spPr bwMode="auto">
            <a:xfrm>
              <a:off x="2409757" y="1632469"/>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6" name="Freeform 977">
              <a:extLst>
                <a:ext uri="{FF2B5EF4-FFF2-40B4-BE49-F238E27FC236}">
                  <a16:creationId xmlns:a16="http://schemas.microsoft.com/office/drawing/2014/main" id="{79F52AD0-DAD3-E541-8637-B26F9E7CD791}"/>
                </a:ext>
              </a:extLst>
            </p:cNvPr>
            <p:cNvSpPr>
              <a:spLocks/>
            </p:cNvSpPr>
            <p:nvPr/>
          </p:nvSpPr>
          <p:spPr bwMode="auto">
            <a:xfrm>
              <a:off x="2409757" y="1632469"/>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7" name="Freeform 978">
              <a:extLst>
                <a:ext uri="{FF2B5EF4-FFF2-40B4-BE49-F238E27FC236}">
                  <a16:creationId xmlns:a16="http://schemas.microsoft.com/office/drawing/2014/main" id="{CFB1788E-E21A-794F-9D95-55CE88F7C2EB}"/>
                </a:ext>
              </a:extLst>
            </p:cNvPr>
            <p:cNvSpPr>
              <a:spLocks/>
            </p:cNvSpPr>
            <p:nvPr/>
          </p:nvSpPr>
          <p:spPr bwMode="auto">
            <a:xfrm>
              <a:off x="2420224" y="1613605"/>
              <a:ext cx="11629" cy="24821"/>
            </a:xfrm>
            <a:custGeom>
              <a:avLst/>
              <a:gdLst>
                <a:gd name="T0" fmla="*/ 2147483646 w 10"/>
                <a:gd name="T1" fmla="*/ 2147483646 h 25"/>
                <a:gd name="T2" fmla="*/ 2147483646 w 10"/>
                <a:gd name="T3" fmla="*/ 2147483646 h 25"/>
                <a:gd name="T4" fmla="*/ 2147483646 w 10"/>
                <a:gd name="T5" fmla="*/ 2147483646 h 25"/>
                <a:gd name="T6" fmla="*/ 2147483646 w 10"/>
                <a:gd name="T7" fmla="*/ 2147483646 h 25"/>
                <a:gd name="T8" fmla="*/ 0 w 10"/>
                <a:gd name="T9" fmla="*/ 2147483646 h 25"/>
                <a:gd name="T10" fmla="*/ 0 w 10"/>
                <a:gd name="T11" fmla="*/ 2147483646 h 25"/>
                <a:gd name="T12" fmla="*/ 0 w 10"/>
                <a:gd name="T13" fmla="*/ 2147483646 h 25"/>
                <a:gd name="T14" fmla="*/ 0 w 10"/>
                <a:gd name="T15" fmla="*/ 0 h 25"/>
                <a:gd name="T16" fmla="*/ 2147483646 w 10"/>
                <a:gd name="T17" fmla="*/ 0 h 25"/>
                <a:gd name="T18" fmla="*/ 2147483646 w 10"/>
                <a:gd name="T19" fmla="*/ 0 h 25"/>
                <a:gd name="T20" fmla="*/ 2147483646 w 10"/>
                <a:gd name="T21" fmla="*/ 0 h 25"/>
                <a:gd name="T22" fmla="*/ 2147483646 w 10"/>
                <a:gd name="T23" fmla="*/ 2147483646 h 25"/>
                <a:gd name="T24" fmla="*/ 2147483646 w 10"/>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5">
                  <a:moveTo>
                    <a:pt x="10" y="22"/>
                  </a:moveTo>
                  <a:lnTo>
                    <a:pt x="7" y="25"/>
                  </a:lnTo>
                  <a:lnTo>
                    <a:pt x="4" y="25"/>
                  </a:lnTo>
                  <a:lnTo>
                    <a:pt x="0" y="25"/>
                  </a:lnTo>
                  <a:lnTo>
                    <a:pt x="0" y="22"/>
                  </a:lnTo>
                  <a:lnTo>
                    <a:pt x="0" y="3"/>
                  </a:lnTo>
                  <a:lnTo>
                    <a:pt x="0" y="0"/>
                  </a:lnTo>
                  <a:lnTo>
                    <a:pt x="4" y="0"/>
                  </a:lnTo>
                  <a:lnTo>
                    <a:pt x="7" y="0"/>
                  </a:lnTo>
                  <a:lnTo>
                    <a:pt x="10" y="3"/>
                  </a:lnTo>
                  <a:lnTo>
                    <a:pt x="10" y="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8" name="Freeform 979">
              <a:extLst>
                <a:ext uri="{FF2B5EF4-FFF2-40B4-BE49-F238E27FC236}">
                  <a16:creationId xmlns:a16="http://schemas.microsoft.com/office/drawing/2014/main" id="{C72227CD-7DD7-E04E-8014-0164795FB746}"/>
                </a:ext>
              </a:extLst>
            </p:cNvPr>
            <p:cNvSpPr>
              <a:spLocks/>
            </p:cNvSpPr>
            <p:nvPr/>
          </p:nvSpPr>
          <p:spPr bwMode="auto">
            <a:xfrm>
              <a:off x="2420224" y="1613605"/>
              <a:ext cx="94197" cy="8936"/>
            </a:xfrm>
            <a:custGeom>
              <a:avLst/>
              <a:gdLst>
                <a:gd name="T0" fmla="*/ 2147483646 w 81"/>
                <a:gd name="T1" fmla="*/ 2147483646 h 9"/>
                <a:gd name="T2" fmla="*/ 0 w 81"/>
                <a:gd name="T3" fmla="*/ 2147483646 h 9"/>
                <a:gd name="T4" fmla="*/ 0 w 81"/>
                <a:gd name="T5" fmla="*/ 2147483646 h 9"/>
                <a:gd name="T6" fmla="*/ 0 w 81"/>
                <a:gd name="T7" fmla="*/ 2147483646 h 9"/>
                <a:gd name="T8" fmla="*/ 0 w 81"/>
                <a:gd name="T9" fmla="*/ 0 h 9"/>
                <a:gd name="T10" fmla="*/ 2147483646 w 81"/>
                <a:gd name="T11" fmla="*/ 0 h 9"/>
                <a:gd name="T12" fmla="*/ 2147483646 w 81"/>
                <a:gd name="T13" fmla="*/ 0 h 9"/>
                <a:gd name="T14" fmla="*/ 2147483646 w 81"/>
                <a:gd name="T15" fmla="*/ 0 h 9"/>
                <a:gd name="T16" fmla="*/ 2147483646 w 81"/>
                <a:gd name="T17" fmla="*/ 2147483646 h 9"/>
                <a:gd name="T18" fmla="*/ 2147483646 w 81"/>
                <a:gd name="T19" fmla="*/ 2147483646 h 9"/>
                <a:gd name="T20" fmla="*/ 2147483646 w 81"/>
                <a:gd name="T21" fmla="*/ 2147483646 h 9"/>
                <a:gd name="T22" fmla="*/ 2147483646 w 81"/>
                <a:gd name="T23" fmla="*/ 2147483646 h 9"/>
                <a:gd name="T24" fmla="*/ 2147483646 w 81"/>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1" h="9">
                  <a:moveTo>
                    <a:pt x="4" y="9"/>
                  </a:moveTo>
                  <a:lnTo>
                    <a:pt x="0" y="6"/>
                  </a:lnTo>
                  <a:lnTo>
                    <a:pt x="0" y="3"/>
                  </a:lnTo>
                  <a:lnTo>
                    <a:pt x="0" y="0"/>
                  </a:lnTo>
                  <a:lnTo>
                    <a:pt x="4" y="0"/>
                  </a:lnTo>
                  <a:lnTo>
                    <a:pt x="78" y="0"/>
                  </a:lnTo>
                  <a:lnTo>
                    <a:pt x="81" y="0"/>
                  </a:lnTo>
                  <a:lnTo>
                    <a:pt x="81" y="3"/>
                  </a:lnTo>
                  <a:lnTo>
                    <a:pt x="81" y="6"/>
                  </a:lnTo>
                  <a:lnTo>
                    <a:pt x="78"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9" name="Freeform 980">
              <a:extLst>
                <a:ext uri="{FF2B5EF4-FFF2-40B4-BE49-F238E27FC236}">
                  <a16:creationId xmlns:a16="http://schemas.microsoft.com/office/drawing/2014/main" id="{7804E3C4-0AB9-8346-A3BA-555C341A1D7E}"/>
                </a:ext>
              </a:extLst>
            </p:cNvPr>
            <p:cNvSpPr>
              <a:spLocks/>
            </p:cNvSpPr>
            <p:nvPr/>
          </p:nvSpPr>
          <p:spPr bwMode="auto">
            <a:xfrm>
              <a:off x="2507442" y="1613605"/>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2" y="0"/>
                  </a:lnTo>
                  <a:lnTo>
                    <a:pt x="16" y="0"/>
                  </a:lnTo>
                  <a:lnTo>
                    <a:pt x="16" y="3"/>
                  </a:lnTo>
                  <a:lnTo>
                    <a:pt x="16" y="6"/>
                  </a:lnTo>
                  <a:lnTo>
                    <a:pt x="1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0" name="Freeform 981">
              <a:extLst>
                <a:ext uri="{FF2B5EF4-FFF2-40B4-BE49-F238E27FC236}">
                  <a16:creationId xmlns:a16="http://schemas.microsoft.com/office/drawing/2014/main" id="{3151F3E0-5FEA-7C47-9A44-ABCB8102576F}"/>
                </a:ext>
              </a:extLst>
            </p:cNvPr>
            <p:cNvSpPr>
              <a:spLocks/>
            </p:cNvSpPr>
            <p:nvPr/>
          </p:nvSpPr>
          <p:spPr bwMode="auto">
            <a:xfrm>
              <a:off x="2517909" y="161360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1" name="Freeform 982">
              <a:extLst>
                <a:ext uri="{FF2B5EF4-FFF2-40B4-BE49-F238E27FC236}">
                  <a16:creationId xmlns:a16="http://schemas.microsoft.com/office/drawing/2014/main" id="{2B04715D-3EF9-B64E-B7F6-D8A7F8AE9114}"/>
                </a:ext>
              </a:extLst>
            </p:cNvPr>
            <p:cNvSpPr>
              <a:spLocks/>
            </p:cNvSpPr>
            <p:nvPr/>
          </p:nvSpPr>
          <p:spPr bwMode="auto">
            <a:xfrm>
              <a:off x="2521397" y="161360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2" name="Freeform 983">
              <a:extLst>
                <a:ext uri="{FF2B5EF4-FFF2-40B4-BE49-F238E27FC236}">
                  <a16:creationId xmlns:a16="http://schemas.microsoft.com/office/drawing/2014/main" id="{CB683EE6-06A1-824A-AEDA-EAC81805B812}"/>
                </a:ext>
              </a:extLst>
            </p:cNvPr>
            <p:cNvSpPr>
              <a:spLocks/>
            </p:cNvSpPr>
            <p:nvPr/>
          </p:nvSpPr>
          <p:spPr bwMode="auto">
            <a:xfrm>
              <a:off x="2526049" y="1590770"/>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3" name="Freeform 984">
              <a:extLst>
                <a:ext uri="{FF2B5EF4-FFF2-40B4-BE49-F238E27FC236}">
                  <a16:creationId xmlns:a16="http://schemas.microsoft.com/office/drawing/2014/main" id="{5D9E1B3C-B4CA-524A-847B-565405659DDB}"/>
                </a:ext>
              </a:extLst>
            </p:cNvPr>
            <p:cNvSpPr>
              <a:spLocks/>
            </p:cNvSpPr>
            <p:nvPr/>
          </p:nvSpPr>
          <p:spPr bwMode="auto">
            <a:xfrm>
              <a:off x="2526049" y="159077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4" name="Freeform 985">
              <a:extLst>
                <a:ext uri="{FF2B5EF4-FFF2-40B4-BE49-F238E27FC236}">
                  <a16:creationId xmlns:a16="http://schemas.microsoft.com/office/drawing/2014/main" id="{87ECF448-F08D-F046-9DDB-D75908B7FFFB}"/>
                </a:ext>
              </a:extLst>
            </p:cNvPr>
            <p:cNvSpPr>
              <a:spLocks/>
            </p:cNvSpPr>
            <p:nvPr/>
          </p:nvSpPr>
          <p:spPr bwMode="auto">
            <a:xfrm>
              <a:off x="2536516" y="1567934"/>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7" y="29"/>
                  </a:lnTo>
                  <a:lnTo>
                    <a:pt x="4" y="29"/>
                  </a:lnTo>
                  <a:lnTo>
                    <a:pt x="0" y="29"/>
                  </a:lnTo>
                  <a:lnTo>
                    <a:pt x="0" y="26"/>
                  </a:lnTo>
                  <a:lnTo>
                    <a:pt x="0" y="4"/>
                  </a:lnTo>
                  <a:lnTo>
                    <a:pt x="0" y="0"/>
                  </a:lnTo>
                  <a:lnTo>
                    <a:pt x="4" y="0"/>
                  </a:lnTo>
                  <a:lnTo>
                    <a:pt x="7" y="0"/>
                  </a:lnTo>
                  <a:lnTo>
                    <a:pt x="10" y="4"/>
                  </a:lnTo>
                  <a:lnTo>
                    <a:pt x="10"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5" name="Freeform 986">
              <a:extLst>
                <a:ext uri="{FF2B5EF4-FFF2-40B4-BE49-F238E27FC236}">
                  <a16:creationId xmlns:a16="http://schemas.microsoft.com/office/drawing/2014/main" id="{052E209C-2A47-4449-A016-7903A7832647}"/>
                </a:ext>
              </a:extLst>
            </p:cNvPr>
            <p:cNvSpPr>
              <a:spLocks/>
            </p:cNvSpPr>
            <p:nvPr/>
          </p:nvSpPr>
          <p:spPr bwMode="auto">
            <a:xfrm>
              <a:off x="2536516" y="1567934"/>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4" y="10"/>
                  </a:moveTo>
                  <a:lnTo>
                    <a:pt x="0" y="7"/>
                  </a:lnTo>
                  <a:lnTo>
                    <a:pt x="0" y="4"/>
                  </a:lnTo>
                  <a:lnTo>
                    <a:pt x="0" y="0"/>
                  </a:lnTo>
                  <a:lnTo>
                    <a:pt x="4" y="0"/>
                  </a:lnTo>
                  <a:lnTo>
                    <a:pt x="26" y="0"/>
                  </a:lnTo>
                  <a:lnTo>
                    <a:pt x="29" y="0"/>
                  </a:lnTo>
                  <a:lnTo>
                    <a:pt x="29" y="4"/>
                  </a:lnTo>
                  <a:lnTo>
                    <a:pt x="29" y="7"/>
                  </a:lnTo>
                  <a:lnTo>
                    <a:pt x="26"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6" name="Freeform 987">
              <a:extLst>
                <a:ext uri="{FF2B5EF4-FFF2-40B4-BE49-F238E27FC236}">
                  <a16:creationId xmlns:a16="http://schemas.microsoft.com/office/drawing/2014/main" id="{97DBDE75-E4DB-B144-AF63-6EA49A7BB4E3}"/>
                </a:ext>
              </a:extLst>
            </p:cNvPr>
            <p:cNvSpPr>
              <a:spLocks/>
            </p:cNvSpPr>
            <p:nvPr/>
          </p:nvSpPr>
          <p:spPr bwMode="auto">
            <a:xfrm>
              <a:off x="2563263" y="1567934"/>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7" name="Freeform 988">
              <a:extLst>
                <a:ext uri="{FF2B5EF4-FFF2-40B4-BE49-F238E27FC236}">
                  <a16:creationId xmlns:a16="http://schemas.microsoft.com/office/drawing/2014/main" id="{78C549B1-FDB6-4644-B5BF-8E9CB36F20B4}"/>
                </a:ext>
              </a:extLst>
            </p:cNvPr>
            <p:cNvSpPr>
              <a:spLocks/>
            </p:cNvSpPr>
            <p:nvPr/>
          </p:nvSpPr>
          <p:spPr bwMode="auto">
            <a:xfrm>
              <a:off x="2578381" y="1546092"/>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8" name="Freeform 989">
              <a:extLst>
                <a:ext uri="{FF2B5EF4-FFF2-40B4-BE49-F238E27FC236}">
                  <a16:creationId xmlns:a16="http://schemas.microsoft.com/office/drawing/2014/main" id="{3B4FBEE0-7136-6345-A55E-24497B4F71A7}"/>
                </a:ext>
              </a:extLst>
            </p:cNvPr>
            <p:cNvSpPr>
              <a:spLocks/>
            </p:cNvSpPr>
            <p:nvPr/>
          </p:nvSpPr>
          <p:spPr bwMode="auto">
            <a:xfrm>
              <a:off x="2578381" y="1546092"/>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2" y="0"/>
                  </a:lnTo>
                  <a:lnTo>
                    <a:pt x="26" y="0"/>
                  </a:lnTo>
                  <a:lnTo>
                    <a:pt x="26" y="3"/>
                  </a:lnTo>
                  <a:lnTo>
                    <a:pt x="26" y="6"/>
                  </a:lnTo>
                  <a:lnTo>
                    <a:pt x="2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9" name="Freeform 990">
              <a:extLst>
                <a:ext uri="{FF2B5EF4-FFF2-40B4-BE49-F238E27FC236}">
                  <a16:creationId xmlns:a16="http://schemas.microsoft.com/office/drawing/2014/main" id="{CC60EAE9-51CC-AC46-9FFF-BF4138ECF7E3}"/>
                </a:ext>
              </a:extLst>
            </p:cNvPr>
            <p:cNvSpPr>
              <a:spLocks/>
            </p:cNvSpPr>
            <p:nvPr/>
          </p:nvSpPr>
          <p:spPr bwMode="auto">
            <a:xfrm>
              <a:off x="2600476" y="154609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0" name="Freeform 991">
              <a:extLst>
                <a:ext uri="{FF2B5EF4-FFF2-40B4-BE49-F238E27FC236}">
                  <a16:creationId xmlns:a16="http://schemas.microsoft.com/office/drawing/2014/main" id="{1A4C76F6-DF0E-1A4E-8E60-24A036A593CA}"/>
                </a:ext>
              </a:extLst>
            </p:cNvPr>
            <p:cNvSpPr>
              <a:spLocks/>
            </p:cNvSpPr>
            <p:nvPr/>
          </p:nvSpPr>
          <p:spPr bwMode="auto">
            <a:xfrm>
              <a:off x="2612105" y="1523257"/>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1" name="Freeform 992">
              <a:extLst>
                <a:ext uri="{FF2B5EF4-FFF2-40B4-BE49-F238E27FC236}">
                  <a16:creationId xmlns:a16="http://schemas.microsoft.com/office/drawing/2014/main" id="{B89179C8-B051-9A47-9FA4-257C0510386A}"/>
                </a:ext>
              </a:extLst>
            </p:cNvPr>
            <p:cNvSpPr>
              <a:spLocks/>
            </p:cNvSpPr>
            <p:nvPr/>
          </p:nvSpPr>
          <p:spPr bwMode="auto">
            <a:xfrm>
              <a:off x="2612105" y="1523257"/>
              <a:ext cx="70939" cy="9928"/>
            </a:xfrm>
            <a:custGeom>
              <a:avLst/>
              <a:gdLst>
                <a:gd name="T0" fmla="*/ 2147483646 w 61"/>
                <a:gd name="T1" fmla="*/ 2147483646 h 10"/>
                <a:gd name="T2" fmla="*/ 0 w 61"/>
                <a:gd name="T3" fmla="*/ 2147483646 h 10"/>
                <a:gd name="T4" fmla="*/ 0 w 61"/>
                <a:gd name="T5" fmla="*/ 2147483646 h 10"/>
                <a:gd name="T6" fmla="*/ 0 w 61"/>
                <a:gd name="T7" fmla="*/ 2147483646 h 10"/>
                <a:gd name="T8" fmla="*/ 0 w 61"/>
                <a:gd name="T9" fmla="*/ 0 h 10"/>
                <a:gd name="T10" fmla="*/ 2147483646 w 61"/>
                <a:gd name="T11" fmla="*/ 0 h 10"/>
                <a:gd name="T12" fmla="*/ 2147483646 w 61"/>
                <a:gd name="T13" fmla="*/ 0 h 10"/>
                <a:gd name="T14" fmla="*/ 2147483646 w 61"/>
                <a:gd name="T15" fmla="*/ 0 h 10"/>
                <a:gd name="T16" fmla="*/ 2147483646 w 61"/>
                <a:gd name="T17" fmla="*/ 2147483646 h 10"/>
                <a:gd name="T18" fmla="*/ 2147483646 w 61"/>
                <a:gd name="T19" fmla="*/ 2147483646 h 10"/>
                <a:gd name="T20" fmla="*/ 2147483646 w 61"/>
                <a:gd name="T21" fmla="*/ 2147483646 h 10"/>
                <a:gd name="T22" fmla="*/ 2147483646 w 61"/>
                <a:gd name="T23" fmla="*/ 2147483646 h 10"/>
                <a:gd name="T24" fmla="*/ 2147483646 w 6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1" h="10">
                  <a:moveTo>
                    <a:pt x="3" y="10"/>
                  </a:moveTo>
                  <a:lnTo>
                    <a:pt x="0" y="7"/>
                  </a:lnTo>
                  <a:lnTo>
                    <a:pt x="0" y="3"/>
                  </a:lnTo>
                  <a:lnTo>
                    <a:pt x="0" y="0"/>
                  </a:lnTo>
                  <a:lnTo>
                    <a:pt x="3" y="0"/>
                  </a:lnTo>
                  <a:lnTo>
                    <a:pt x="58" y="0"/>
                  </a:lnTo>
                  <a:lnTo>
                    <a:pt x="61" y="0"/>
                  </a:lnTo>
                  <a:lnTo>
                    <a:pt x="61" y="3"/>
                  </a:lnTo>
                  <a:lnTo>
                    <a:pt x="61" y="7"/>
                  </a:lnTo>
                  <a:lnTo>
                    <a:pt x="58"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2" name="Freeform 993">
              <a:extLst>
                <a:ext uri="{FF2B5EF4-FFF2-40B4-BE49-F238E27FC236}">
                  <a16:creationId xmlns:a16="http://schemas.microsoft.com/office/drawing/2014/main" id="{980A316C-54AA-BE46-875A-F2B1A87CA621}"/>
                </a:ext>
              </a:extLst>
            </p:cNvPr>
            <p:cNvSpPr>
              <a:spLocks/>
            </p:cNvSpPr>
            <p:nvPr/>
          </p:nvSpPr>
          <p:spPr bwMode="auto">
            <a:xfrm>
              <a:off x="2676066" y="1523257"/>
              <a:ext cx="44191" cy="9928"/>
            </a:xfrm>
            <a:custGeom>
              <a:avLst/>
              <a:gdLst>
                <a:gd name="T0" fmla="*/ 2147483646 w 38"/>
                <a:gd name="T1" fmla="*/ 2147483646 h 10"/>
                <a:gd name="T2" fmla="*/ 0 w 38"/>
                <a:gd name="T3" fmla="*/ 2147483646 h 10"/>
                <a:gd name="T4" fmla="*/ 0 w 38"/>
                <a:gd name="T5" fmla="*/ 2147483646 h 10"/>
                <a:gd name="T6" fmla="*/ 0 w 38"/>
                <a:gd name="T7" fmla="*/ 2147483646 h 10"/>
                <a:gd name="T8" fmla="*/ 0 w 38"/>
                <a:gd name="T9" fmla="*/ 0 h 10"/>
                <a:gd name="T10" fmla="*/ 2147483646 w 38"/>
                <a:gd name="T11" fmla="*/ 0 h 10"/>
                <a:gd name="T12" fmla="*/ 2147483646 w 38"/>
                <a:gd name="T13" fmla="*/ 0 h 10"/>
                <a:gd name="T14" fmla="*/ 2147483646 w 38"/>
                <a:gd name="T15" fmla="*/ 0 h 10"/>
                <a:gd name="T16" fmla="*/ 2147483646 w 38"/>
                <a:gd name="T17" fmla="*/ 2147483646 h 10"/>
                <a:gd name="T18" fmla="*/ 2147483646 w 38"/>
                <a:gd name="T19" fmla="*/ 2147483646 h 10"/>
                <a:gd name="T20" fmla="*/ 2147483646 w 38"/>
                <a:gd name="T21" fmla="*/ 2147483646 h 10"/>
                <a:gd name="T22" fmla="*/ 2147483646 w 38"/>
                <a:gd name="T23" fmla="*/ 2147483646 h 10"/>
                <a:gd name="T24" fmla="*/ 2147483646 w 3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0">
                  <a:moveTo>
                    <a:pt x="3" y="10"/>
                  </a:moveTo>
                  <a:lnTo>
                    <a:pt x="0" y="7"/>
                  </a:lnTo>
                  <a:lnTo>
                    <a:pt x="0" y="3"/>
                  </a:lnTo>
                  <a:lnTo>
                    <a:pt x="0" y="0"/>
                  </a:lnTo>
                  <a:lnTo>
                    <a:pt x="3" y="0"/>
                  </a:lnTo>
                  <a:lnTo>
                    <a:pt x="35" y="0"/>
                  </a:lnTo>
                  <a:lnTo>
                    <a:pt x="38" y="0"/>
                  </a:lnTo>
                  <a:lnTo>
                    <a:pt x="38" y="3"/>
                  </a:lnTo>
                  <a:lnTo>
                    <a:pt x="38" y="7"/>
                  </a:lnTo>
                  <a:lnTo>
                    <a:pt x="3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3" name="Freeform 994">
              <a:extLst>
                <a:ext uri="{FF2B5EF4-FFF2-40B4-BE49-F238E27FC236}">
                  <a16:creationId xmlns:a16="http://schemas.microsoft.com/office/drawing/2014/main" id="{97896FC4-E322-3841-96B1-BC7C502993F0}"/>
                </a:ext>
              </a:extLst>
            </p:cNvPr>
            <p:cNvSpPr>
              <a:spLocks/>
            </p:cNvSpPr>
            <p:nvPr/>
          </p:nvSpPr>
          <p:spPr bwMode="auto">
            <a:xfrm>
              <a:off x="2713280" y="1523257"/>
              <a:ext cx="63961" cy="9928"/>
            </a:xfrm>
            <a:custGeom>
              <a:avLst/>
              <a:gdLst>
                <a:gd name="T0" fmla="*/ 2147483646 w 55"/>
                <a:gd name="T1" fmla="*/ 2147483646 h 10"/>
                <a:gd name="T2" fmla="*/ 0 w 55"/>
                <a:gd name="T3" fmla="*/ 2147483646 h 10"/>
                <a:gd name="T4" fmla="*/ 0 w 55"/>
                <a:gd name="T5" fmla="*/ 2147483646 h 10"/>
                <a:gd name="T6" fmla="*/ 0 w 55"/>
                <a:gd name="T7" fmla="*/ 2147483646 h 10"/>
                <a:gd name="T8" fmla="*/ 0 w 55"/>
                <a:gd name="T9" fmla="*/ 0 h 10"/>
                <a:gd name="T10" fmla="*/ 2147483646 w 55"/>
                <a:gd name="T11" fmla="*/ 0 h 10"/>
                <a:gd name="T12" fmla="*/ 2147483646 w 55"/>
                <a:gd name="T13" fmla="*/ 0 h 10"/>
                <a:gd name="T14" fmla="*/ 2147483646 w 55"/>
                <a:gd name="T15" fmla="*/ 0 h 10"/>
                <a:gd name="T16" fmla="*/ 2147483646 w 55"/>
                <a:gd name="T17" fmla="*/ 2147483646 h 10"/>
                <a:gd name="T18" fmla="*/ 2147483646 w 55"/>
                <a:gd name="T19" fmla="*/ 2147483646 h 10"/>
                <a:gd name="T20" fmla="*/ 2147483646 w 55"/>
                <a:gd name="T21" fmla="*/ 2147483646 h 10"/>
                <a:gd name="T22" fmla="*/ 2147483646 w 55"/>
                <a:gd name="T23" fmla="*/ 2147483646 h 10"/>
                <a:gd name="T24" fmla="*/ 2147483646 w 5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 h="10">
                  <a:moveTo>
                    <a:pt x="3" y="10"/>
                  </a:moveTo>
                  <a:lnTo>
                    <a:pt x="0" y="7"/>
                  </a:lnTo>
                  <a:lnTo>
                    <a:pt x="0" y="3"/>
                  </a:lnTo>
                  <a:lnTo>
                    <a:pt x="0" y="0"/>
                  </a:lnTo>
                  <a:lnTo>
                    <a:pt x="3" y="0"/>
                  </a:lnTo>
                  <a:lnTo>
                    <a:pt x="51" y="0"/>
                  </a:lnTo>
                  <a:lnTo>
                    <a:pt x="55" y="0"/>
                  </a:lnTo>
                  <a:lnTo>
                    <a:pt x="55" y="3"/>
                  </a:lnTo>
                  <a:lnTo>
                    <a:pt x="55" y="7"/>
                  </a:lnTo>
                  <a:lnTo>
                    <a:pt x="51"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4" name="Freeform 995">
              <a:extLst>
                <a:ext uri="{FF2B5EF4-FFF2-40B4-BE49-F238E27FC236}">
                  <a16:creationId xmlns:a16="http://schemas.microsoft.com/office/drawing/2014/main" id="{B5BA2C76-FAB1-8D4F-9C6C-9D7622112899}"/>
                </a:ext>
              </a:extLst>
            </p:cNvPr>
            <p:cNvSpPr>
              <a:spLocks/>
            </p:cNvSpPr>
            <p:nvPr/>
          </p:nvSpPr>
          <p:spPr bwMode="auto">
            <a:xfrm>
              <a:off x="2769100" y="1497443"/>
              <a:ext cx="11629" cy="32764"/>
            </a:xfrm>
            <a:custGeom>
              <a:avLst/>
              <a:gdLst>
                <a:gd name="T0" fmla="*/ 2147483646 w 10"/>
                <a:gd name="T1" fmla="*/ 2147483646 h 33"/>
                <a:gd name="T2" fmla="*/ 2147483646 w 10"/>
                <a:gd name="T3" fmla="*/ 2147483646 h 33"/>
                <a:gd name="T4" fmla="*/ 2147483646 w 10"/>
                <a:gd name="T5" fmla="*/ 2147483646 h 33"/>
                <a:gd name="T6" fmla="*/ 2147483646 w 10"/>
                <a:gd name="T7" fmla="*/ 2147483646 h 33"/>
                <a:gd name="T8" fmla="*/ 0 w 10"/>
                <a:gd name="T9" fmla="*/ 2147483646 h 33"/>
                <a:gd name="T10" fmla="*/ 0 w 10"/>
                <a:gd name="T11" fmla="*/ 2147483646 h 33"/>
                <a:gd name="T12" fmla="*/ 0 w 10"/>
                <a:gd name="T13" fmla="*/ 2147483646 h 33"/>
                <a:gd name="T14" fmla="*/ 0 w 10"/>
                <a:gd name="T15" fmla="*/ 0 h 33"/>
                <a:gd name="T16" fmla="*/ 2147483646 w 10"/>
                <a:gd name="T17" fmla="*/ 0 h 33"/>
                <a:gd name="T18" fmla="*/ 2147483646 w 10"/>
                <a:gd name="T19" fmla="*/ 0 h 33"/>
                <a:gd name="T20" fmla="*/ 2147483646 w 10"/>
                <a:gd name="T21" fmla="*/ 0 h 33"/>
                <a:gd name="T22" fmla="*/ 2147483646 w 10"/>
                <a:gd name="T23" fmla="*/ 2147483646 h 33"/>
                <a:gd name="T24" fmla="*/ 2147483646 w 10"/>
                <a:gd name="T25" fmla="*/ 2147483646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3">
                  <a:moveTo>
                    <a:pt x="10" y="29"/>
                  </a:moveTo>
                  <a:lnTo>
                    <a:pt x="7" y="33"/>
                  </a:lnTo>
                  <a:lnTo>
                    <a:pt x="3" y="33"/>
                  </a:lnTo>
                  <a:lnTo>
                    <a:pt x="0" y="33"/>
                  </a:lnTo>
                  <a:lnTo>
                    <a:pt x="0" y="29"/>
                  </a:lnTo>
                  <a:lnTo>
                    <a:pt x="0" y="4"/>
                  </a:lnTo>
                  <a:lnTo>
                    <a:pt x="0" y="0"/>
                  </a:lnTo>
                  <a:lnTo>
                    <a:pt x="3" y="0"/>
                  </a:lnTo>
                  <a:lnTo>
                    <a:pt x="7" y="0"/>
                  </a:lnTo>
                  <a:lnTo>
                    <a:pt x="10" y="4"/>
                  </a:lnTo>
                  <a:lnTo>
                    <a:pt x="10" y="2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5" name="Freeform 996">
              <a:extLst>
                <a:ext uri="{FF2B5EF4-FFF2-40B4-BE49-F238E27FC236}">
                  <a16:creationId xmlns:a16="http://schemas.microsoft.com/office/drawing/2014/main" id="{A7D30E04-4A7D-2D45-AB0D-BF87DF7AEE76}"/>
                </a:ext>
              </a:extLst>
            </p:cNvPr>
            <p:cNvSpPr>
              <a:spLocks/>
            </p:cNvSpPr>
            <p:nvPr/>
          </p:nvSpPr>
          <p:spPr bwMode="auto">
            <a:xfrm>
              <a:off x="2769100" y="1497443"/>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3" y="10"/>
                  </a:moveTo>
                  <a:lnTo>
                    <a:pt x="0" y="7"/>
                  </a:lnTo>
                  <a:lnTo>
                    <a:pt x="0" y="4"/>
                  </a:lnTo>
                  <a:lnTo>
                    <a:pt x="0" y="0"/>
                  </a:lnTo>
                  <a:lnTo>
                    <a:pt x="3" y="0"/>
                  </a:lnTo>
                  <a:lnTo>
                    <a:pt x="39" y="0"/>
                  </a:lnTo>
                  <a:lnTo>
                    <a:pt x="42" y="0"/>
                  </a:lnTo>
                  <a:lnTo>
                    <a:pt x="42" y="4"/>
                  </a:lnTo>
                  <a:lnTo>
                    <a:pt x="42" y="7"/>
                  </a:lnTo>
                  <a:lnTo>
                    <a:pt x="3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6" name="Freeform 997">
              <a:extLst>
                <a:ext uri="{FF2B5EF4-FFF2-40B4-BE49-F238E27FC236}">
                  <a16:creationId xmlns:a16="http://schemas.microsoft.com/office/drawing/2014/main" id="{41F5EB56-2701-CB43-9A34-63C11EF93AC2}"/>
                </a:ext>
              </a:extLst>
            </p:cNvPr>
            <p:cNvSpPr>
              <a:spLocks/>
            </p:cNvSpPr>
            <p:nvPr/>
          </p:nvSpPr>
          <p:spPr bwMode="auto">
            <a:xfrm>
              <a:off x="2810965" y="1497443"/>
              <a:ext cx="62798" cy="9928"/>
            </a:xfrm>
            <a:custGeom>
              <a:avLst/>
              <a:gdLst>
                <a:gd name="T0" fmla="*/ 2147483646 w 54"/>
                <a:gd name="T1" fmla="*/ 2147483646 h 10"/>
                <a:gd name="T2" fmla="*/ 0 w 54"/>
                <a:gd name="T3" fmla="*/ 2147483646 h 10"/>
                <a:gd name="T4" fmla="*/ 0 w 54"/>
                <a:gd name="T5" fmla="*/ 2147483646 h 10"/>
                <a:gd name="T6" fmla="*/ 0 w 54"/>
                <a:gd name="T7" fmla="*/ 2147483646 h 10"/>
                <a:gd name="T8" fmla="*/ 0 w 54"/>
                <a:gd name="T9" fmla="*/ 0 h 10"/>
                <a:gd name="T10" fmla="*/ 2147483646 w 54"/>
                <a:gd name="T11" fmla="*/ 0 h 10"/>
                <a:gd name="T12" fmla="*/ 2147483646 w 54"/>
                <a:gd name="T13" fmla="*/ 0 h 10"/>
                <a:gd name="T14" fmla="*/ 2147483646 w 54"/>
                <a:gd name="T15" fmla="*/ 0 h 10"/>
                <a:gd name="T16" fmla="*/ 2147483646 w 54"/>
                <a:gd name="T17" fmla="*/ 2147483646 h 10"/>
                <a:gd name="T18" fmla="*/ 2147483646 w 54"/>
                <a:gd name="T19" fmla="*/ 2147483646 h 10"/>
                <a:gd name="T20" fmla="*/ 2147483646 w 54"/>
                <a:gd name="T21" fmla="*/ 2147483646 h 10"/>
                <a:gd name="T22" fmla="*/ 2147483646 w 54"/>
                <a:gd name="T23" fmla="*/ 2147483646 h 10"/>
                <a:gd name="T24" fmla="*/ 2147483646 w 5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 h="10">
                  <a:moveTo>
                    <a:pt x="3" y="10"/>
                  </a:moveTo>
                  <a:lnTo>
                    <a:pt x="0" y="7"/>
                  </a:lnTo>
                  <a:lnTo>
                    <a:pt x="0" y="4"/>
                  </a:lnTo>
                  <a:lnTo>
                    <a:pt x="0" y="0"/>
                  </a:lnTo>
                  <a:lnTo>
                    <a:pt x="3" y="0"/>
                  </a:lnTo>
                  <a:lnTo>
                    <a:pt x="51" y="0"/>
                  </a:lnTo>
                  <a:lnTo>
                    <a:pt x="54" y="0"/>
                  </a:lnTo>
                  <a:lnTo>
                    <a:pt x="54" y="4"/>
                  </a:lnTo>
                  <a:lnTo>
                    <a:pt x="54" y="7"/>
                  </a:lnTo>
                  <a:lnTo>
                    <a:pt x="51"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7" name="Freeform 998">
              <a:extLst>
                <a:ext uri="{FF2B5EF4-FFF2-40B4-BE49-F238E27FC236}">
                  <a16:creationId xmlns:a16="http://schemas.microsoft.com/office/drawing/2014/main" id="{3EE60D0D-1B3B-CA4C-BC4B-F11F1CA301DC}"/>
                </a:ext>
              </a:extLst>
            </p:cNvPr>
            <p:cNvSpPr>
              <a:spLocks/>
            </p:cNvSpPr>
            <p:nvPr/>
          </p:nvSpPr>
          <p:spPr bwMode="auto">
            <a:xfrm>
              <a:off x="2866785" y="1497443"/>
              <a:ext cx="52332" cy="9928"/>
            </a:xfrm>
            <a:custGeom>
              <a:avLst/>
              <a:gdLst>
                <a:gd name="T0" fmla="*/ 2147483646 w 45"/>
                <a:gd name="T1" fmla="*/ 2147483646 h 10"/>
                <a:gd name="T2" fmla="*/ 0 w 45"/>
                <a:gd name="T3" fmla="*/ 2147483646 h 10"/>
                <a:gd name="T4" fmla="*/ 0 w 45"/>
                <a:gd name="T5" fmla="*/ 2147483646 h 10"/>
                <a:gd name="T6" fmla="*/ 0 w 45"/>
                <a:gd name="T7" fmla="*/ 2147483646 h 10"/>
                <a:gd name="T8" fmla="*/ 0 w 45"/>
                <a:gd name="T9" fmla="*/ 0 h 10"/>
                <a:gd name="T10" fmla="*/ 2147483646 w 45"/>
                <a:gd name="T11" fmla="*/ 0 h 10"/>
                <a:gd name="T12" fmla="*/ 2147483646 w 45"/>
                <a:gd name="T13" fmla="*/ 0 h 10"/>
                <a:gd name="T14" fmla="*/ 2147483646 w 45"/>
                <a:gd name="T15" fmla="*/ 0 h 10"/>
                <a:gd name="T16" fmla="*/ 2147483646 w 45"/>
                <a:gd name="T17" fmla="*/ 2147483646 h 10"/>
                <a:gd name="T18" fmla="*/ 2147483646 w 45"/>
                <a:gd name="T19" fmla="*/ 2147483646 h 10"/>
                <a:gd name="T20" fmla="*/ 2147483646 w 45"/>
                <a:gd name="T21" fmla="*/ 2147483646 h 10"/>
                <a:gd name="T22" fmla="*/ 2147483646 w 45"/>
                <a:gd name="T23" fmla="*/ 2147483646 h 10"/>
                <a:gd name="T24" fmla="*/ 2147483646 w 4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10">
                  <a:moveTo>
                    <a:pt x="3" y="10"/>
                  </a:moveTo>
                  <a:lnTo>
                    <a:pt x="0" y="7"/>
                  </a:lnTo>
                  <a:lnTo>
                    <a:pt x="0" y="4"/>
                  </a:lnTo>
                  <a:lnTo>
                    <a:pt x="0" y="0"/>
                  </a:lnTo>
                  <a:lnTo>
                    <a:pt x="3" y="0"/>
                  </a:lnTo>
                  <a:lnTo>
                    <a:pt x="42" y="0"/>
                  </a:lnTo>
                  <a:lnTo>
                    <a:pt x="45" y="0"/>
                  </a:lnTo>
                  <a:lnTo>
                    <a:pt x="45" y="4"/>
                  </a:lnTo>
                  <a:lnTo>
                    <a:pt x="45" y="7"/>
                  </a:lnTo>
                  <a:lnTo>
                    <a:pt x="4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8" name="Freeform 999">
              <a:extLst>
                <a:ext uri="{FF2B5EF4-FFF2-40B4-BE49-F238E27FC236}">
                  <a16:creationId xmlns:a16="http://schemas.microsoft.com/office/drawing/2014/main" id="{CA7E3B63-15BC-0C46-A637-0A03A1F566B7}"/>
                </a:ext>
              </a:extLst>
            </p:cNvPr>
            <p:cNvSpPr>
              <a:spLocks/>
            </p:cNvSpPr>
            <p:nvPr/>
          </p:nvSpPr>
          <p:spPr bwMode="auto">
            <a:xfrm>
              <a:off x="2912139" y="1497443"/>
              <a:ext cx="29073" cy="9928"/>
            </a:xfrm>
            <a:custGeom>
              <a:avLst/>
              <a:gdLst>
                <a:gd name="T0" fmla="*/ 2147483646 w 25"/>
                <a:gd name="T1" fmla="*/ 2147483646 h 10"/>
                <a:gd name="T2" fmla="*/ 0 w 25"/>
                <a:gd name="T3" fmla="*/ 2147483646 h 10"/>
                <a:gd name="T4" fmla="*/ 0 w 25"/>
                <a:gd name="T5" fmla="*/ 2147483646 h 10"/>
                <a:gd name="T6" fmla="*/ 0 w 25"/>
                <a:gd name="T7" fmla="*/ 2147483646 h 10"/>
                <a:gd name="T8" fmla="*/ 0 w 25"/>
                <a:gd name="T9" fmla="*/ 0 h 10"/>
                <a:gd name="T10" fmla="*/ 2147483646 w 25"/>
                <a:gd name="T11" fmla="*/ 0 h 10"/>
                <a:gd name="T12" fmla="*/ 2147483646 w 25"/>
                <a:gd name="T13" fmla="*/ 0 h 10"/>
                <a:gd name="T14" fmla="*/ 2147483646 w 25"/>
                <a:gd name="T15" fmla="*/ 0 h 10"/>
                <a:gd name="T16" fmla="*/ 2147483646 w 25"/>
                <a:gd name="T17" fmla="*/ 2147483646 h 10"/>
                <a:gd name="T18" fmla="*/ 2147483646 w 25"/>
                <a:gd name="T19" fmla="*/ 2147483646 h 10"/>
                <a:gd name="T20" fmla="*/ 2147483646 w 25"/>
                <a:gd name="T21" fmla="*/ 2147483646 h 10"/>
                <a:gd name="T22" fmla="*/ 2147483646 w 25"/>
                <a:gd name="T23" fmla="*/ 2147483646 h 10"/>
                <a:gd name="T24" fmla="*/ 2147483646 w 2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0">
                  <a:moveTo>
                    <a:pt x="3" y="10"/>
                  </a:moveTo>
                  <a:lnTo>
                    <a:pt x="0" y="7"/>
                  </a:lnTo>
                  <a:lnTo>
                    <a:pt x="0" y="4"/>
                  </a:lnTo>
                  <a:lnTo>
                    <a:pt x="0" y="0"/>
                  </a:lnTo>
                  <a:lnTo>
                    <a:pt x="3" y="0"/>
                  </a:lnTo>
                  <a:lnTo>
                    <a:pt x="22" y="0"/>
                  </a:lnTo>
                  <a:lnTo>
                    <a:pt x="25" y="0"/>
                  </a:lnTo>
                  <a:lnTo>
                    <a:pt x="25" y="4"/>
                  </a:lnTo>
                  <a:lnTo>
                    <a:pt x="25" y="7"/>
                  </a:lnTo>
                  <a:lnTo>
                    <a:pt x="2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9" name="Freeform 1000">
              <a:extLst>
                <a:ext uri="{FF2B5EF4-FFF2-40B4-BE49-F238E27FC236}">
                  <a16:creationId xmlns:a16="http://schemas.microsoft.com/office/drawing/2014/main" id="{5B6E829B-FC94-AA41-9133-7E775E6C7117}"/>
                </a:ext>
              </a:extLst>
            </p:cNvPr>
            <p:cNvSpPr>
              <a:spLocks/>
            </p:cNvSpPr>
            <p:nvPr/>
          </p:nvSpPr>
          <p:spPr bwMode="auto">
            <a:xfrm>
              <a:off x="2934235" y="149744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90" name="Freeform 1001">
              <a:extLst>
                <a:ext uri="{FF2B5EF4-FFF2-40B4-BE49-F238E27FC236}">
                  <a16:creationId xmlns:a16="http://schemas.microsoft.com/office/drawing/2014/main" id="{67F9350F-EA60-4947-99FD-1099D0F8E11D}"/>
                </a:ext>
              </a:extLst>
            </p:cNvPr>
            <p:cNvSpPr>
              <a:spLocks/>
            </p:cNvSpPr>
            <p:nvPr/>
          </p:nvSpPr>
          <p:spPr bwMode="auto">
            <a:xfrm>
              <a:off x="2937723" y="1465672"/>
              <a:ext cx="11629" cy="38721"/>
            </a:xfrm>
            <a:custGeom>
              <a:avLst/>
              <a:gdLst>
                <a:gd name="T0" fmla="*/ 2147483646 w 10"/>
                <a:gd name="T1" fmla="*/ 2147483646 h 39"/>
                <a:gd name="T2" fmla="*/ 2147483646 w 10"/>
                <a:gd name="T3" fmla="*/ 2147483646 h 39"/>
                <a:gd name="T4" fmla="*/ 2147483646 w 10"/>
                <a:gd name="T5" fmla="*/ 2147483646 h 39"/>
                <a:gd name="T6" fmla="*/ 2147483646 w 10"/>
                <a:gd name="T7" fmla="*/ 2147483646 h 39"/>
                <a:gd name="T8" fmla="*/ 0 w 10"/>
                <a:gd name="T9" fmla="*/ 2147483646 h 39"/>
                <a:gd name="T10" fmla="*/ 0 w 10"/>
                <a:gd name="T11" fmla="*/ 2147483646 h 39"/>
                <a:gd name="T12" fmla="*/ 0 w 10"/>
                <a:gd name="T13" fmla="*/ 2147483646 h 39"/>
                <a:gd name="T14" fmla="*/ 0 w 10"/>
                <a:gd name="T15" fmla="*/ 0 h 39"/>
                <a:gd name="T16" fmla="*/ 2147483646 w 10"/>
                <a:gd name="T17" fmla="*/ 0 h 39"/>
                <a:gd name="T18" fmla="*/ 2147483646 w 10"/>
                <a:gd name="T19" fmla="*/ 0 h 39"/>
                <a:gd name="T20" fmla="*/ 2147483646 w 10"/>
                <a:gd name="T21" fmla="*/ 0 h 39"/>
                <a:gd name="T22" fmla="*/ 2147483646 w 10"/>
                <a:gd name="T23" fmla="*/ 2147483646 h 39"/>
                <a:gd name="T24" fmla="*/ 2147483646 w 10"/>
                <a:gd name="T25" fmla="*/ 2147483646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9">
                  <a:moveTo>
                    <a:pt x="10" y="36"/>
                  </a:moveTo>
                  <a:lnTo>
                    <a:pt x="7" y="39"/>
                  </a:lnTo>
                  <a:lnTo>
                    <a:pt x="3" y="39"/>
                  </a:lnTo>
                  <a:lnTo>
                    <a:pt x="0" y="39"/>
                  </a:lnTo>
                  <a:lnTo>
                    <a:pt x="0" y="36"/>
                  </a:lnTo>
                  <a:lnTo>
                    <a:pt x="0" y="3"/>
                  </a:lnTo>
                  <a:lnTo>
                    <a:pt x="0" y="0"/>
                  </a:lnTo>
                  <a:lnTo>
                    <a:pt x="3" y="0"/>
                  </a:lnTo>
                  <a:lnTo>
                    <a:pt x="7" y="0"/>
                  </a:lnTo>
                  <a:lnTo>
                    <a:pt x="10" y="3"/>
                  </a:lnTo>
                  <a:lnTo>
                    <a:pt x="10" y="3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91" name="Freeform 1002">
              <a:extLst>
                <a:ext uri="{FF2B5EF4-FFF2-40B4-BE49-F238E27FC236}">
                  <a16:creationId xmlns:a16="http://schemas.microsoft.com/office/drawing/2014/main" id="{55211E89-73EA-AB4A-B91B-08E5B2BA0B34}"/>
                </a:ext>
              </a:extLst>
            </p:cNvPr>
            <p:cNvSpPr>
              <a:spLocks/>
            </p:cNvSpPr>
            <p:nvPr/>
          </p:nvSpPr>
          <p:spPr bwMode="auto">
            <a:xfrm>
              <a:off x="2937723" y="1465672"/>
              <a:ext cx="55820" cy="9928"/>
            </a:xfrm>
            <a:custGeom>
              <a:avLst/>
              <a:gdLst>
                <a:gd name="T0" fmla="*/ 2147483646 w 48"/>
                <a:gd name="T1" fmla="*/ 2147483646 h 10"/>
                <a:gd name="T2" fmla="*/ 0 w 48"/>
                <a:gd name="T3" fmla="*/ 2147483646 h 10"/>
                <a:gd name="T4" fmla="*/ 0 w 48"/>
                <a:gd name="T5" fmla="*/ 2147483646 h 10"/>
                <a:gd name="T6" fmla="*/ 0 w 48"/>
                <a:gd name="T7" fmla="*/ 2147483646 h 10"/>
                <a:gd name="T8" fmla="*/ 0 w 48"/>
                <a:gd name="T9" fmla="*/ 0 h 10"/>
                <a:gd name="T10" fmla="*/ 2147483646 w 48"/>
                <a:gd name="T11" fmla="*/ 0 h 10"/>
                <a:gd name="T12" fmla="*/ 2147483646 w 48"/>
                <a:gd name="T13" fmla="*/ 0 h 10"/>
                <a:gd name="T14" fmla="*/ 2147483646 w 48"/>
                <a:gd name="T15" fmla="*/ 0 h 10"/>
                <a:gd name="T16" fmla="*/ 2147483646 w 48"/>
                <a:gd name="T17" fmla="*/ 2147483646 h 10"/>
                <a:gd name="T18" fmla="*/ 2147483646 w 48"/>
                <a:gd name="T19" fmla="*/ 2147483646 h 10"/>
                <a:gd name="T20" fmla="*/ 2147483646 w 48"/>
                <a:gd name="T21" fmla="*/ 2147483646 h 10"/>
                <a:gd name="T22" fmla="*/ 2147483646 w 48"/>
                <a:gd name="T23" fmla="*/ 2147483646 h 10"/>
                <a:gd name="T24" fmla="*/ 2147483646 w 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0">
                  <a:moveTo>
                    <a:pt x="3" y="10"/>
                  </a:moveTo>
                  <a:lnTo>
                    <a:pt x="0" y="7"/>
                  </a:lnTo>
                  <a:lnTo>
                    <a:pt x="0" y="3"/>
                  </a:lnTo>
                  <a:lnTo>
                    <a:pt x="0" y="0"/>
                  </a:lnTo>
                  <a:lnTo>
                    <a:pt x="3" y="0"/>
                  </a:lnTo>
                  <a:lnTo>
                    <a:pt x="45" y="0"/>
                  </a:lnTo>
                  <a:lnTo>
                    <a:pt x="48" y="0"/>
                  </a:lnTo>
                  <a:lnTo>
                    <a:pt x="48" y="3"/>
                  </a:lnTo>
                  <a:lnTo>
                    <a:pt x="48" y="7"/>
                  </a:lnTo>
                  <a:lnTo>
                    <a:pt x="4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0" name="Freeform 1003">
              <a:extLst>
                <a:ext uri="{FF2B5EF4-FFF2-40B4-BE49-F238E27FC236}">
                  <a16:creationId xmlns:a16="http://schemas.microsoft.com/office/drawing/2014/main" id="{53D720A4-238A-1B4C-A511-CAFBB6D2F9EB}"/>
                </a:ext>
              </a:extLst>
            </p:cNvPr>
            <p:cNvSpPr>
              <a:spLocks/>
            </p:cNvSpPr>
            <p:nvPr/>
          </p:nvSpPr>
          <p:spPr bwMode="auto">
            <a:xfrm>
              <a:off x="2986566" y="1465672"/>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6" y="0"/>
                  </a:lnTo>
                  <a:lnTo>
                    <a:pt x="29" y="0"/>
                  </a:lnTo>
                  <a:lnTo>
                    <a:pt x="29" y="3"/>
                  </a:lnTo>
                  <a:lnTo>
                    <a:pt x="29" y="7"/>
                  </a:lnTo>
                  <a:lnTo>
                    <a:pt x="2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1" name="Freeform 1004">
              <a:extLst>
                <a:ext uri="{FF2B5EF4-FFF2-40B4-BE49-F238E27FC236}">
                  <a16:creationId xmlns:a16="http://schemas.microsoft.com/office/drawing/2014/main" id="{3711C42B-F6CA-2C4D-9D32-17D26EBABE02}"/>
                </a:ext>
              </a:extLst>
            </p:cNvPr>
            <p:cNvSpPr>
              <a:spLocks/>
            </p:cNvSpPr>
            <p:nvPr/>
          </p:nvSpPr>
          <p:spPr bwMode="auto">
            <a:xfrm>
              <a:off x="3013314" y="1465672"/>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2" y="0"/>
                  </a:lnTo>
                  <a:lnTo>
                    <a:pt x="16" y="0"/>
                  </a:lnTo>
                  <a:lnTo>
                    <a:pt x="16" y="3"/>
                  </a:lnTo>
                  <a:lnTo>
                    <a:pt x="16" y="7"/>
                  </a:lnTo>
                  <a:lnTo>
                    <a:pt x="1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2" name="Freeform 1005">
              <a:extLst>
                <a:ext uri="{FF2B5EF4-FFF2-40B4-BE49-F238E27FC236}">
                  <a16:creationId xmlns:a16="http://schemas.microsoft.com/office/drawing/2014/main" id="{BE7A81F2-14FC-5246-B3D8-0BF055C5B6F8}"/>
                </a:ext>
              </a:extLst>
            </p:cNvPr>
            <p:cNvSpPr>
              <a:spLocks/>
            </p:cNvSpPr>
            <p:nvPr/>
          </p:nvSpPr>
          <p:spPr bwMode="auto">
            <a:xfrm>
              <a:off x="3023779" y="1426951"/>
              <a:ext cx="11629" cy="45671"/>
            </a:xfrm>
            <a:custGeom>
              <a:avLst/>
              <a:gdLst>
                <a:gd name="T0" fmla="*/ 2147483646 w 10"/>
                <a:gd name="T1" fmla="*/ 2147483646 h 46"/>
                <a:gd name="T2" fmla="*/ 2147483646 w 10"/>
                <a:gd name="T3" fmla="*/ 2147483646 h 46"/>
                <a:gd name="T4" fmla="*/ 2147483646 w 10"/>
                <a:gd name="T5" fmla="*/ 2147483646 h 46"/>
                <a:gd name="T6" fmla="*/ 2147483646 w 10"/>
                <a:gd name="T7" fmla="*/ 2147483646 h 46"/>
                <a:gd name="T8" fmla="*/ 0 w 10"/>
                <a:gd name="T9" fmla="*/ 2147483646 h 46"/>
                <a:gd name="T10" fmla="*/ 0 w 10"/>
                <a:gd name="T11" fmla="*/ 2147483646 h 46"/>
                <a:gd name="T12" fmla="*/ 0 w 10"/>
                <a:gd name="T13" fmla="*/ 2147483646 h 46"/>
                <a:gd name="T14" fmla="*/ 0 w 10"/>
                <a:gd name="T15" fmla="*/ 0 h 46"/>
                <a:gd name="T16" fmla="*/ 2147483646 w 10"/>
                <a:gd name="T17" fmla="*/ 0 h 46"/>
                <a:gd name="T18" fmla="*/ 2147483646 w 10"/>
                <a:gd name="T19" fmla="*/ 0 h 46"/>
                <a:gd name="T20" fmla="*/ 2147483646 w 10"/>
                <a:gd name="T21" fmla="*/ 0 h 46"/>
                <a:gd name="T22" fmla="*/ 2147483646 w 10"/>
                <a:gd name="T23" fmla="*/ 2147483646 h 46"/>
                <a:gd name="T24" fmla="*/ 2147483646 w 10"/>
                <a:gd name="T25" fmla="*/ 21474836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46">
                  <a:moveTo>
                    <a:pt x="10" y="42"/>
                  </a:moveTo>
                  <a:lnTo>
                    <a:pt x="7" y="46"/>
                  </a:lnTo>
                  <a:lnTo>
                    <a:pt x="3" y="46"/>
                  </a:lnTo>
                  <a:lnTo>
                    <a:pt x="0" y="46"/>
                  </a:lnTo>
                  <a:lnTo>
                    <a:pt x="0" y="42"/>
                  </a:lnTo>
                  <a:lnTo>
                    <a:pt x="0" y="4"/>
                  </a:lnTo>
                  <a:lnTo>
                    <a:pt x="0" y="0"/>
                  </a:lnTo>
                  <a:lnTo>
                    <a:pt x="3" y="0"/>
                  </a:lnTo>
                  <a:lnTo>
                    <a:pt x="7" y="0"/>
                  </a:lnTo>
                  <a:lnTo>
                    <a:pt x="10" y="4"/>
                  </a:lnTo>
                  <a:lnTo>
                    <a:pt x="10" y="4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3" name="Freeform 1006">
              <a:extLst>
                <a:ext uri="{FF2B5EF4-FFF2-40B4-BE49-F238E27FC236}">
                  <a16:creationId xmlns:a16="http://schemas.microsoft.com/office/drawing/2014/main" id="{880FCADB-BA16-FE4A-ACCD-54DDF480D9A1}"/>
                </a:ext>
              </a:extLst>
            </p:cNvPr>
            <p:cNvSpPr>
              <a:spLocks/>
            </p:cNvSpPr>
            <p:nvPr/>
          </p:nvSpPr>
          <p:spPr bwMode="auto">
            <a:xfrm>
              <a:off x="3023779" y="1426951"/>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3" y="0"/>
                  </a:lnTo>
                  <a:lnTo>
                    <a:pt x="26" y="0"/>
                  </a:lnTo>
                  <a:lnTo>
                    <a:pt x="26" y="4"/>
                  </a:lnTo>
                  <a:lnTo>
                    <a:pt x="26" y="7"/>
                  </a:lnTo>
                  <a:lnTo>
                    <a:pt x="2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4" name="Freeform 1007">
              <a:extLst>
                <a:ext uri="{FF2B5EF4-FFF2-40B4-BE49-F238E27FC236}">
                  <a16:creationId xmlns:a16="http://schemas.microsoft.com/office/drawing/2014/main" id="{D7DD6C41-A5C2-E540-9177-0E895B938FFA}"/>
                </a:ext>
              </a:extLst>
            </p:cNvPr>
            <p:cNvSpPr>
              <a:spLocks/>
            </p:cNvSpPr>
            <p:nvPr/>
          </p:nvSpPr>
          <p:spPr bwMode="auto">
            <a:xfrm>
              <a:off x="3047038" y="1426951"/>
              <a:ext cx="104663" cy="9928"/>
            </a:xfrm>
            <a:custGeom>
              <a:avLst/>
              <a:gdLst>
                <a:gd name="T0" fmla="*/ 2147483646 w 90"/>
                <a:gd name="T1" fmla="*/ 2147483646 h 10"/>
                <a:gd name="T2" fmla="*/ 0 w 90"/>
                <a:gd name="T3" fmla="*/ 2147483646 h 10"/>
                <a:gd name="T4" fmla="*/ 0 w 90"/>
                <a:gd name="T5" fmla="*/ 2147483646 h 10"/>
                <a:gd name="T6" fmla="*/ 0 w 90"/>
                <a:gd name="T7" fmla="*/ 2147483646 h 10"/>
                <a:gd name="T8" fmla="*/ 0 w 90"/>
                <a:gd name="T9" fmla="*/ 0 h 10"/>
                <a:gd name="T10" fmla="*/ 2147483646 w 90"/>
                <a:gd name="T11" fmla="*/ 0 h 10"/>
                <a:gd name="T12" fmla="*/ 2147483646 w 90"/>
                <a:gd name="T13" fmla="*/ 0 h 10"/>
                <a:gd name="T14" fmla="*/ 2147483646 w 90"/>
                <a:gd name="T15" fmla="*/ 0 h 10"/>
                <a:gd name="T16" fmla="*/ 2147483646 w 90"/>
                <a:gd name="T17" fmla="*/ 2147483646 h 10"/>
                <a:gd name="T18" fmla="*/ 2147483646 w 90"/>
                <a:gd name="T19" fmla="*/ 2147483646 h 10"/>
                <a:gd name="T20" fmla="*/ 2147483646 w 90"/>
                <a:gd name="T21" fmla="*/ 2147483646 h 10"/>
                <a:gd name="T22" fmla="*/ 2147483646 w 90"/>
                <a:gd name="T23" fmla="*/ 2147483646 h 10"/>
                <a:gd name="T24" fmla="*/ 2147483646 w 9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
                  <a:moveTo>
                    <a:pt x="3" y="10"/>
                  </a:moveTo>
                  <a:lnTo>
                    <a:pt x="0" y="7"/>
                  </a:lnTo>
                  <a:lnTo>
                    <a:pt x="0" y="4"/>
                  </a:lnTo>
                  <a:lnTo>
                    <a:pt x="0" y="0"/>
                  </a:lnTo>
                  <a:lnTo>
                    <a:pt x="3" y="0"/>
                  </a:lnTo>
                  <a:lnTo>
                    <a:pt x="87" y="0"/>
                  </a:lnTo>
                  <a:lnTo>
                    <a:pt x="90" y="0"/>
                  </a:lnTo>
                  <a:lnTo>
                    <a:pt x="90" y="4"/>
                  </a:lnTo>
                  <a:lnTo>
                    <a:pt x="90" y="7"/>
                  </a:lnTo>
                  <a:lnTo>
                    <a:pt x="8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5" name="Freeform 1008">
              <a:extLst>
                <a:ext uri="{FF2B5EF4-FFF2-40B4-BE49-F238E27FC236}">
                  <a16:creationId xmlns:a16="http://schemas.microsoft.com/office/drawing/2014/main" id="{746A2413-65E5-6049-B6CF-5C53E9F71F68}"/>
                </a:ext>
              </a:extLst>
            </p:cNvPr>
            <p:cNvSpPr>
              <a:spLocks/>
            </p:cNvSpPr>
            <p:nvPr/>
          </p:nvSpPr>
          <p:spPr bwMode="auto">
            <a:xfrm>
              <a:off x="3143561" y="1426951"/>
              <a:ext cx="82568" cy="9928"/>
            </a:xfrm>
            <a:custGeom>
              <a:avLst/>
              <a:gdLst>
                <a:gd name="T0" fmla="*/ 2147483646 w 71"/>
                <a:gd name="T1" fmla="*/ 2147483646 h 10"/>
                <a:gd name="T2" fmla="*/ 0 w 71"/>
                <a:gd name="T3" fmla="*/ 2147483646 h 10"/>
                <a:gd name="T4" fmla="*/ 0 w 71"/>
                <a:gd name="T5" fmla="*/ 2147483646 h 10"/>
                <a:gd name="T6" fmla="*/ 0 w 71"/>
                <a:gd name="T7" fmla="*/ 2147483646 h 10"/>
                <a:gd name="T8" fmla="*/ 0 w 71"/>
                <a:gd name="T9" fmla="*/ 0 h 10"/>
                <a:gd name="T10" fmla="*/ 2147483646 w 71"/>
                <a:gd name="T11" fmla="*/ 0 h 10"/>
                <a:gd name="T12" fmla="*/ 2147483646 w 71"/>
                <a:gd name="T13" fmla="*/ 0 h 10"/>
                <a:gd name="T14" fmla="*/ 2147483646 w 71"/>
                <a:gd name="T15" fmla="*/ 0 h 10"/>
                <a:gd name="T16" fmla="*/ 2147483646 w 71"/>
                <a:gd name="T17" fmla="*/ 2147483646 h 10"/>
                <a:gd name="T18" fmla="*/ 2147483646 w 71"/>
                <a:gd name="T19" fmla="*/ 2147483646 h 10"/>
                <a:gd name="T20" fmla="*/ 2147483646 w 71"/>
                <a:gd name="T21" fmla="*/ 2147483646 h 10"/>
                <a:gd name="T22" fmla="*/ 2147483646 w 71"/>
                <a:gd name="T23" fmla="*/ 2147483646 h 10"/>
                <a:gd name="T24" fmla="*/ 2147483646 w 7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0">
                  <a:moveTo>
                    <a:pt x="4" y="10"/>
                  </a:moveTo>
                  <a:lnTo>
                    <a:pt x="0" y="7"/>
                  </a:lnTo>
                  <a:lnTo>
                    <a:pt x="0" y="4"/>
                  </a:lnTo>
                  <a:lnTo>
                    <a:pt x="0" y="0"/>
                  </a:lnTo>
                  <a:lnTo>
                    <a:pt x="4" y="0"/>
                  </a:lnTo>
                  <a:lnTo>
                    <a:pt x="68" y="0"/>
                  </a:lnTo>
                  <a:lnTo>
                    <a:pt x="71" y="0"/>
                  </a:lnTo>
                  <a:lnTo>
                    <a:pt x="71" y="4"/>
                  </a:lnTo>
                  <a:lnTo>
                    <a:pt x="71" y="7"/>
                  </a:lnTo>
                  <a:lnTo>
                    <a:pt x="68"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6" name="Freeform 1010">
              <a:extLst>
                <a:ext uri="{FF2B5EF4-FFF2-40B4-BE49-F238E27FC236}">
                  <a16:creationId xmlns:a16="http://schemas.microsoft.com/office/drawing/2014/main" id="{ADB9A8E5-DDB8-9249-872F-D30D221746DE}"/>
                </a:ext>
              </a:extLst>
            </p:cNvPr>
            <p:cNvSpPr>
              <a:spLocks/>
            </p:cNvSpPr>
            <p:nvPr/>
          </p:nvSpPr>
          <p:spPr bwMode="auto">
            <a:xfrm>
              <a:off x="3219150" y="1382272"/>
              <a:ext cx="10467" cy="51628"/>
            </a:xfrm>
            <a:custGeom>
              <a:avLst/>
              <a:gdLst>
                <a:gd name="T0" fmla="*/ 2147483646 w 9"/>
                <a:gd name="T1" fmla="*/ 2147483646 h 52"/>
                <a:gd name="T2" fmla="*/ 2147483646 w 9"/>
                <a:gd name="T3" fmla="*/ 2147483646 h 52"/>
                <a:gd name="T4" fmla="*/ 2147483646 w 9"/>
                <a:gd name="T5" fmla="*/ 2147483646 h 52"/>
                <a:gd name="T6" fmla="*/ 2147483646 w 9"/>
                <a:gd name="T7" fmla="*/ 2147483646 h 52"/>
                <a:gd name="T8" fmla="*/ 0 w 9"/>
                <a:gd name="T9" fmla="*/ 2147483646 h 52"/>
                <a:gd name="T10" fmla="*/ 0 w 9"/>
                <a:gd name="T11" fmla="*/ 2147483646 h 52"/>
                <a:gd name="T12" fmla="*/ 0 w 9"/>
                <a:gd name="T13" fmla="*/ 2147483646 h 52"/>
                <a:gd name="T14" fmla="*/ 0 w 9"/>
                <a:gd name="T15" fmla="*/ 0 h 52"/>
                <a:gd name="T16" fmla="*/ 2147483646 w 9"/>
                <a:gd name="T17" fmla="*/ 0 h 52"/>
                <a:gd name="T18" fmla="*/ 2147483646 w 9"/>
                <a:gd name="T19" fmla="*/ 0 h 52"/>
                <a:gd name="T20" fmla="*/ 2147483646 w 9"/>
                <a:gd name="T21" fmla="*/ 0 h 52"/>
                <a:gd name="T22" fmla="*/ 2147483646 w 9"/>
                <a:gd name="T23" fmla="*/ 2147483646 h 52"/>
                <a:gd name="T24" fmla="*/ 2147483646 w 9"/>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52">
                  <a:moveTo>
                    <a:pt x="9" y="49"/>
                  </a:moveTo>
                  <a:lnTo>
                    <a:pt x="6" y="52"/>
                  </a:lnTo>
                  <a:lnTo>
                    <a:pt x="3" y="52"/>
                  </a:lnTo>
                  <a:lnTo>
                    <a:pt x="0" y="52"/>
                  </a:lnTo>
                  <a:lnTo>
                    <a:pt x="0" y="49"/>
                  </a:lnTo>
                  <a:lnTo>
                    <a:pt x="0" y="3"/>
                  </a:lnTo>
                  <a:lnTo>
                    <a:pt x="0" y="0"/>
                  </a:lnTo>
                  <a:lnTo>
                    <a:pt x="3" y="0"/>
                  </a:lnTo>
                  <a:lnTo>
                    <a:pt x="6" y="0"/>
                  </a:lnTo>
                  <a:lnTo>
                    <a:pt x="9" y="3"/>
                  </a:lnTo>
                  <a:lnTo>
                    <a:pt x="9" y="4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7" name="Freeform 1011">
              <a:extLst>
                <a:ext uri="{FF2B5EF4-FFF2-40B4-BE49-F238E27FC236}">
                  <a16:creationId xmlns:a16="http://schemas.microsoft.com/office/drawing/2014/main" id="{A20842EF-07E8-CB4A-BB90-8B5DC98802A7}"/>
                </a:ext>
              </a:extLst>
            </p:cNvPr>
            <p:cNvSpPr>
              <a:spLocks/>
            </p:cNvSpPr>
            <p:nvPr/>
          </p:nvSpPr>
          <p:spPr bwMode="auto">
            <a:xfrm>
              <a:off x="3219150" y="1382272"/>
              <a:ext cx="67449" cy="9928"/>
            </a:xfrm>
            <a:custGeom>
              <a:avLst/>
              <a:gdLst>
                <a:gd name="T0" fmla="*/ 2147483646 w 58"/>
                <a:gd name="T1" fmla="*/ 2147483646 h 10"/>
                <a:gd name="T2" fmla="*/ 0 w 58"/>
                <a:gd name="T3" fmla="*/ 2147483646 h 10"/>
                <a:gd name="T4" fmla="*/ 0 w 58"/>
                <a:gd name="T5" fmla="*/ 2147483646 h 10"/>
                <a:gd name="T6" fmla="*/ 0 w 58"/>
                <a:gd name="T7" fmla="*/ 2147483646 h 10"/>
                <a:gd name="T8" fmla="*/ 0 w 58"/>
                <a:gd name="T9" fmla="*/ 0 h 10"/>
                <a:gd name="T10" fmla="*/ 2147483646 w 58"/>
                <a:gd name="T11" fmla="*/ 0 h 10"/>
                <a:gd name="T12" fmla="*/ 2147483646 w 58"/>
                <a:gd name="T13" fmla="*/ 0 h 10"/>
                <a:gd name="T14" fmla="*/ 2147483646 w 58"/>
                <a:gd name="T15" fmla="*/ 0 h 10"/>
                <a:gd name="T16" fmla="*/ 2147483646 w 58"/>
                <a:gd name="T17" fmla="*/ 2147483646 h 10"/>
                <a:gd name="T18" fmla="*/ 2147483646 w 58"/>
                <a:gd name="T19" fmla="*/ 2147483646 h 10"/>
                <a:gd name="T20" fmla="*/ 2147483646 w 58"/>
                <a:gd name="T21" fmla="*/ 2147483646 h 10"/>
                <a:gd name="T22" fmla="*/ 2147483646 w 58"/>
                <a:gd name="T23" fmla="*/ 2147483646 h 10"/>
                <a:gd name="T24" fmla="*/ 2147483646 w 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10">
                  <a:moveTo>
                    <a:pt x="3" y="10"/>
                  </a:moveTo>
                  <a:lnTo>
                    <a:pt x="0" y="7"/>
                  </a:lnTo>
                  <a:lnTo>
                    <a:pt x="0" y="3"/>
                  </a:lnTo>
                  <a:lnTo>
                    <a:pt x="0" y="0"/>
                  </a:lnTo>
                  <a:lnTo>
                    <a:pt x="3" y="0"/>
                  </a:lnTo>
                  <a:lnTo>
                    <a:pt x="55" y="0"/>
                  </a:lnTo>
                  <a:lnTo>
                    <a:pt x="58" y="0"/>
                  </a:lnTo>
                  <a:lnTo>
                    <a:pt x="58" y="3"/>
                  </a:lnTo>
                  <a:lnTo>
                    <a:pt x="58" y="7"/>
                  </a:lnTo>
                  <a:lnTo>
                    <a:pt x="5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8" name="Freeform 1012">
              <a:extLst>
                <a:ext uri="{FF2B5EF4-FFF2-40B4-BE49-F238E27FC236}">
                  <a16:creationId xmlns:a16="http://schemas.microsoft.com/office/drawing/2014/main" id="{476F32DB-E0B3-9F4E-97B7-67844090D464}"/>
                </a:ext>
              </a:extLst>
            </p:cNvPr>
            <p:cNvSpPr>
              <a:spLocks/>
            </p:cNvSpPr>
            <p:nvPr/>
          </p:nvSpPr>
          <p:spPr bwMode="auto">
            <a:xfrm>
              <a:off x="3278460" y="1382272"/>
              <a:ext cx="97685" cy="9928"/>
            </a:xfrm>
            <a:custGeom>
              <a:avLst/>
              <a:gdLst>
                <a:gd name="T0" fmla="*/ 2147483646 w 84"/>
                <a:gd name="T1" fmla="*/ 2147483646 h 10"/>
                <a:gd name="T2" fmla="*/ 0 w 84"/>
                <a:gd name="T3" fmla="*/ 2147483646 h 10"/>
                <a:gd name="T4" fmla="*/ 0 w 84"/>
                <a:gd name="T5" fmla="*/ 2147483646 h 10"/>
                <a:gd name="T6" fmla="*/ 0 w 84"/>
                <a:gd name="T7" fmla="*/ 2147483646 h 10"/>
                <a:gd name="T8" fmla="*/ 0 w 84"/>
                <a:gd name="T9" fmla="*/ 0 h 10"/>
                <a:gd name="T10" fmla="*/ 2147483646 w 84"/>
                <a:gd name="T11" fmla="*/ 0 h 10"/>
                <a:gd name="T12" fmla="*/ 2147483646 w 84"/>
                <a:gd name="T13" fmla="*/ 0 h 10"/>
                <a:gd name="T14" fmla="*/ 2147483646 w 84"/>
                <a:gd name="T15" fmla="*/ 0 h 10"/>
                <a:gd name="T16" fmla="*/ 2147483646 w 84"/>
                <a:gd name="T17" fmla="*/ 2147483646 h 10"/>
                <a:gd name="T18" fmla="*/ 2147483646 w 84"/>
                <a:gd name="T19" fmla="*/ 2147483646 h 10"/>
                <a:gd name="T20" fmla="*/ 2147483646 w 84"/>
                <a:gd name="T21" fmla="*/ 2147483646 h 10"/>
                <a:gd name="T22" fmla="*/ 2147483646 w 84"/>
                <a:gd name="T23" fmla="*/ 2147483646 h 10"/>
                <a:gd name="T24" fmla="*/ 2147483646 w 8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 h="10">
                  <a:moveTo>
                    <a:pt x="4" y="10"/>
                  </a:moveTo>
                  <a:lnTo>
                    <a:pt x="0" y="7"/>
                  </a:lnTo>
                  <a:lnTo>
                    <a:pt x="0" y="3"/>
                  </a:lnTo>
                  <a:lnTo>
                    <a:pt x="0" y="0"/>
                  </a:lnTo>
                  <a:lnTo>
                    <a:pt x="4" y="0"/>
                  </a:lnTo>
                  <a:lnTo>
                    <a:pt x="81" y="0"/>
                  </a:lnTo>
                  <a:lnTo>
                    <a:pt x="84" y="0"/>
                  </a:lnTo>
                  <a:lnTo>
                    <a:pt x="84" y="3"/>
                  </a:lnTo>
                  <a:lnTo>
                    <a:pt x="84" y="7"/>
                  </a:lnTo>
                  <a:lnTo>
                    <a:pt x="81"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9" name="Freeform 1013">
              <a:extLst>
                <a:ext uri="{FF2B5EF4-FFF2-40B4-BE49-F238E27FC236}">
                  <a16:creationId xmlns:a16="http://schemas.microsoft.com/office/drawing/2014/main" id="{28F086E2-AF98-E648-B1BD-5AFD47CFDE20}"/>
                </a:ext>
              </a:extLst>
            </p:cNvPr>
            <p:cNvSpPr>
              <a:spLocks/>
            </p:cNvSpPr>
            <p:nvPr/>
          </p:nvSpPr>
          <p:spPr bwMode="auto">
            <a:xfrm>
              <a:off x="3369168" y="1382272"/>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5" y="0"/>
                  </a:lnTo>
                  <a:lnTo>
                    <a:pt x="29" y="0"/>
                  </a:lnTo>
                  <a:lnTo>
                    <a:pt x="29" y="3"/>
                  </a:lnTo>
                  <a:lnTo>
                    <a:pt x="29" y="7"/>
                  </a:lnTo>
                  <a:lnTo>
                    <a:pt x="2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0" name="Freeform 1014">
              <a:extLst>
                <a:ext uri="{FF2B5EF4-FFF2-40B4-BE49-F238E27FC236}">
                  <a16:creationId xmlns:a16="http://schemas.microsoft.com/office/drawing/2014/main" id="{8971BF5E-DBF2-C948-A0F0-1E767AC0E02C}"/>
                </a:ext>
              </a:extLst>
            </p:cNvPr>
            <p:cNvSpPr>
              <a:spLocks/>
            </p:cNvSpPr>
            <p:nvPr/>
          </p:nvSpPr>
          <p:spPr bwMode="auto">
            <a:xfrm>
              <a:off x="3394752" y="1324687"/>
              <a:ext cx="11629" cy="64535"/>
            </a:xfrm>
            <a:custGeom>
              <a:avLst/>
              <a:gdLst>
                <a:gd name="T0" fmla="*/ 2147483646 w 10"/>
                <a:gd name="T1" fmla="*/ 2147483646 h 65"/>
                <a:gd name="T2" fmla="*/ 2147483646 w 10"/>
                <a:gd name="T3" fmla="*/ 2147483646 h 65"/>
                <a:gd name="T4" fmla="*/ 2147483646 w 10"/>
                <a:gd name="T5" fmla="*/ 2147483646 h 65"/>
                <a:gd name="T6" fmla="*/ 2147483646 w 10"/>
                <a:gd name="T7" fmla="*/ 2147483646 h 65"/>
                <a:gd name="T8" fmla="*/ 0 w 10"/>
                <a:gd name="T9" fmla="*/ 2147483646 h 65"/>
                <a:gd name="T10" fmla="*/ 0 w 10"/>
                <a:gd name="T11" fmla="*/ 2147483646 h 65"/>
                <a:gd name="T12" fmla="*/ 0 w 10"/>
                <a:gd name="T13" fmla="*/ 2147483646 h 65"/>
                <a:gd name="T14" fmla="*/ 0 w 10"/>
                <a:gd name="T15" fmla="*/ 0 h 65"/>
                <a:gd name="T16" fmla="*/ 2147483646 w 10"/>
                <a:gd name="T17" fmla="*/ 0 h 65"/>
                <a:gd name="T18" fmla="*/ 2147483646 w 10"/>
                <a:gd name="T19" fmla="*/ 0 h 65"/>
                <a:gd name="T20" fmla="*/ 2147483646 w 10"/>
                <a:gd name="T21" fmla="*/ 0 h 65"/>
                <a:gd name="T22" fmla="*/ 2147483646 w 10"/>
                <a:gd name="T23" fmla="*/ 2147483646 h 65"/>
                <a:gd name="T24" fmla="*/ 2147483646 w 10"/>
                <a:gd name="T25" fmla="*/ 2147483646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65">
                  <a:moveTo>
                    <a:pt x="10" y="61"/>
                  </a:moveTo>
                  <a:lnTo>
                    <a:pt x="7" y="65"/>
                  </a:lnTo>
                  <a:lnTo>
                    <a:pt x="3" y="65"/>
                  </a:lnTo>
                  <a:lnTo>
                    <a:pt x="0" y="65"/>
                  </a:lnTo>
                  <a:lnTo>
                    <a:pt x="0" y="61"/>
                  </a:lnTo>
                  <a:lnTo>
                    <a:pt x="0" y="3"/>
                  </a:lnTo>
                  <a:lnTo>
                    <a:pt x="0" y="0"/>
                  </a:lnTo>
                  <a:lnTo>
                    <a:pt x="3" y="0"/>
                  </a:lnTo>
                  <a:lnTo>
                    <a:pt x="7" y="0"/>
                  </a:lnTo>
                  <a:lnTo>
                    <a:pt x="10" y="3"/>
                  </a:lnTo>
                  <a:lnTo>
                    <a:pt x="10" y="6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1" name="Freeform 1015">
              <a:extLst>
                <a:ext uri="{FF2B5EF4-FFF2-40B4-BE49-F238E27FC236}">
                  <a16:creationId xmlns:a16="http://schemas.microsoft.com/office/drawing/2014/main" id="{E1E407C5-BF01-2343-84B3-43F19AEDA3BA}"/>
                </a:ext>
              </a:extLst>
            </p:cNvPr>
            <p:cNvSpPr>
              <a:spLocks/>
            </p:cNvSpPr>
            <p:nvPr/>
          </p:nvSpPr>
          <p:spPr bwMode="auto">
            <a:xfrm>
              <a:off x="3394752" y="1324687"/>
              <a:ext cx="131411" cy="9928"/>
            </a:xfrm>
            <a:custGeom>
              <a:avLst/>
              <a:gdLst>
                <a:gd name="T0" fmla="*/ 2147483646 w 113"/>
                <a:gd name="T1" fmla="*/ 2147483646 h 10"/>
                <a:gd name="T2" fmla="*/ 0 w 113"/>
                <a:gd name="T3" fmla="*/ 2147483646 h 10"/>
                <a:gd name="T4" fmla="*/ 0 w 113"/>
                <a:gd name="T5" fmla="*/ 2147483646 h 10"/>
                <a:gd name="T6" fmla="*/ 0 w 113"/>
                <a:gd name="T7" fmla="*/ 2147483646 h 10"/>
                <a:gd name="T8" fmla="*/ 0 w 113"/>
                <a:gd name="T9" fmla="*/ 0 h 10"/>
                <a:gd name="T10" fmla="*/ 2147483646 w 113"/>
                <a:gd name="T11" fmla="*/ 0 h 10"/>
                <a:gd name="T12" fmla="*/ 2147483646 w 113"/>
                <a:gd name="T13" fmla="*/ 0 h 10"/>
                <a:gd name="T14" fmla="*/ 2147483646 w 113"/>
                <a:gd name="T15" fmla="*/ 0 h 10"/>
                <a:gd name="T16" fmla="*/ 2147483646 w 113"/>
                <a:gd name="T17" fmla="*/ 2147483646 h 10"/>
                <a:gd name="T18" fmla="*/ 2147483646 w 113"/>
                <a:gd name="T19" fmla="*/ 2147483646 h 10"/>
                <a:gd name="T20" fmla="*/ 2147483646 w 113"/>
                <a:gd name="T21" fmla="*/ 2147483646 h 10"/>
                <a:gd name="T22" fmla="*/ 2147483646 w 113"/>
                <a:gd name="T23" fmla="*/ 2147483646 h 10"/>
                <a:gd name="T24" fmla="*/ 2147483646 w 1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3" h="10">
                  <a:moveTo>
                    <a:pt x="3" y="10"/>
                  </a:moveTo>
                  <a:lnTo>
                    <a:pt x="0" y="7"/>
                  </a:lnTo>
                  <a:lnTo>
                    <a:pt x="0" y="3"/>
                  </a:lnTo>
                  <a:lnTo>
                    <a:pt x="0" y="0"/>
                  </a:lnTo>
                  <a:lnTo>
                    <a:pt x="3" y="0"/>
                  </a:lnTo>
                  <a:lnTo>
                    <a:pt x="110" y="0"/>
                  </a:lnTo>
                  <a:lnTo>
                    <a:pt x="113" y="0"/>
                  </a:lnTo>
                  <a:lnTo>
                    <a:pt x="113" y="3"/>
                  </a:lnTo>
                  <a:lnTo>
                    <a:pt x="113" y="7"/>
                  </a:lnTo>
                  <a:lnTo>
                    <a:pt x="1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2" name="Freeform 1016">
              <a:extLst>
                <a:ext uri="{FF2B5EF4-FFF2-40B4-BE49-F238E27FC236}">
                  <a16:creationId xmlns:a16="http://schemas.microsoft.com/office/drawing/2014/main" id="{862BCFD0-F520-B545-8764-1BFC1D4D35D2}"/>
                </a:ext>
              </a:extLst>
            </p:cNvPr>
            <p:cNvSpPr>
              <a:spLocks/>
            </p:cNvSpPr>
            <p:nvPr/>
          </p:nvSpPr>
          <p:spPr bwMode="auto">
            <a:xfrm>
              <a:off x="3519184" y="1324687"/>
              <a:ext cx="183742" cy="9928"/>
            </a:xfrm>
            <a:custGeom>
              <a:avLst/>
              <a:gdLst>
                <a:gd name="T0" fmla="*/ 2147483646 w 158"/>
                <a:gd name="T1" fmla="*/ 2147483646 h 10"/>
                <a:gd name="T2" fmla="*/ 0 w 158"/>
                <a:gd name="T3" fmla="*/ 2147483646 h 10"/>
                <a:gd name="T4" fmla="*/ 0 w 158"/>
                <a:gd name="T5" fmla="*/ 2147483646 h 10"/>
                <a:gd name="T6" fmla="*/ 0 w 158"/>
                <a:gd name="T7" fmla="*/ 2147483646 h 10"/>
                <a:gd name="T8" fmla="*/ 0 w 158"/>
                <a:gd name="T9" fmla="*/ 0 h 10"/>
                <a:gd name="T10" fmla="*/ 2147483646 w 158"/>
                <a:gd name="T11" fmla="*/ 0 h 10"/>
                <a:gd name="T12" fmla="*/ 2147483646 w 158"/>
                <a:gd name="T13" fmla="*/ 0 h 10"/>
                <a:gd name="T14" fmla="*/ 2147483646 w 158"/>
                <a:gd name="T15" fmla="*/ 0 h 10"/>
                <a:gd name="T16" fmla="*/ 2147483646 w 158"/>
                <a:gd name="T17" fmla="*/ 2147483646 h 10"/>
                <a:gd name="T18" fmla="*/ 2147483646 w 158"/>
                <a:gd name="T19" fmla="*/ 2147483646 h 10"/>
                <a:gd name="T20" fmla="*/ 2147483646 w 158"/>
                <a:gd name="T21" fmla="*/ 2147483646 h 10"/>
                <a:gd name="T22" fmla="*/ 2147483646 w 158"/>
                <a:gd name="T23" fmla="*/ 2147483646 h 10"/>
                <a:gd name="T24" fmla="*/ 2147483646 w 1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8" h="10">
                  <a:moveTo>
                    <a:pt x="3" y="10"/>
                  </a:moveTo>
                  <a:lnTo>
                    <a:pt x="0" y="7"/>
                  </a:lnTo>
                  <a:lnTo>
                    <a:pt x="0" y="3"/>
                  </a:lnTo>
                  <a:lnTo>
                    <a:pt x="0" y="0"/>
                  </a:lnTo>
                  <a:lnTo>
                    <a:pt x="3" y="0"/>
                  </a:lnTo>
                  <a:lnTo>
                    <a:pt x="154" y="0"/>
                  </a:lnTo>
                  <a:lnTo>
                    <a:pt x="158" y="0"/>
                  </a:lnTo>
                  <a:lnTo>
                    <a:pt x="158" y="3"/>
                  </a:lnTo>
                  <a:lnTo>
                    <a:pt x="158" y="7"/>
                  </a:lnTo>
                  <a:lnTo>
                    <a:pt x="154"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3" name="Freeform 1017">
              <a:extLst>
                <a:ext uri="{FF2B5EF4-FFF2-40B4-BE49-F238E27FC236}">
                  <a16:creationId xmlns:a16="http://schemas.microsoft.com/office/drawing/2014/main" id="{7F385599-C7BD-5F41-BD6D-7612AC0C6675}"/>
                </a:ext>
              </a:extLst>
            </p:cNvPr>
            <p:cNvSpPr>
              <a:spLocks/>
            </p:cNvSpPr>
            <p:nvPr/>
          </p:nvSpPr>
          <p:spPr bwMode="auto">
            <a:xfrm>
              <a:off x="3694786" y="1324687"/>
              <a:ext cx="94197" cy="9928"/>
            </a:xfrm>
            <a:custGeom>
              <a:avLst/>
              <a:gdLst>
                <a:gd name="T0" fmla="*/ 2147483646 w 81"/>
                <a:gd name="T1" fmla="*/ 2147483646 h 10"/>
                <a:gd name="T2" fmla="*/ 0 w 81"/>
                <a:gd name="T3" fmla="*/ 2147483646 h 10"/>
                <a:gd name="T4" fmla="*/ 0 w 81"/>
                <a:gd name="T5" fmla="*/ 2147483646 h 10"/>
                <a:gd name="T6" fmla="*/ 0 w 81"/>
                <a:gd name="T7" fmla="*/ 2147483646 h 10"/>
                <a:gd name="T8" fmla="*/ 0 w 81"/>
                <a:gd name="T9" fmla="*/ 0 h 10"/>
                <a:gd name="T10" fmla="*/ 2147483646 w 81"/>
                <a:gd name="T11" fmla="*/ 0 h 10"/>
                <a:gd name="T12" fmla="*/ 2147483646 w 81"/>
                <a:gd name="T13" fmla="*/ 0 h 10"/>
                <a:gd name="T14" fmla="*/ 2147483646 w 81"/>
                <a:gd name="T15" fmla="*/ 0 h 10"/>
                <a:gd name="T16" fmla="*/ 2147483646 w 81"/>
                <a:gd name="T17" fmla="*/ 2147483646 h 10"/>
                <a:gd name="T18" fmla="*/ 2147483646 w 81"/>
                <a:gd name="T19" fmla="*/ 2147483646 h 10"/>
                <a:gd name="T20" fmla="*/ 2147483646 w 81"/>
                <a:gd name="T21" fmla="*/ 2147483646 h 10"/>
                <a:gd name="T22" fmla="*/ 2147483646 w 81"/>
                <a:gd name="T23" fmla="*/ 2147483646 h 10"/>
                <a:gd name="T24" fmla="*/ 2147483646 w 8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1" h="10">
                  <a:moveTo>
                    <a:pt x="3" y="10"/>
                  </a:moveTo>
                  <a:lnTo>
                    <a:pt x="0" y="7"/>
                  </a:lnTo>
                  <a:lnTo>
                    <a:pt x="0" y="3"/>
                  </a:lnTo>
                  <a:lnTo>
                    <a:pt x="0" y="0"/>
                  </a:lnTo>
                  <a:lnTo>
                    <a:pt x="3" y="0"/>
                  </a:lnTo>
                  <a:lnTo>
                    <a:pt x="77" y="0"/>
                  </a:lnTo>
                  <a:lnTo>
                    <a:pt x="81" y="0"/>
                  </a:lnTo>
                  <a:lnTo>
                    <a:pt x="81" y="3"/>
                  </a:lnTo>
                  <a:lnTo>
                    <a:pt x="81" y="7"/>
                  </a:lnTo>
                  <a:lnTo>
                    <a:pt x="7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4" name="Freeform 1018">
              <a:extLst>
                <a:ext uri="{FF2B5EF4-FFF2-40B4-BE49-F238E27FC236}">
                  <a16:creationId xmlns:a16="http://schemas.microsoft.com/office/drawing/2014/main" id="{867E1DD1-03BA-774E-9F21-E4667A4AA3DA}"/>
                </a:ext>
              </a:extLst>
            </p:cNvPr>
            <p:cNvSpPr>
              <a:spLocks/>
            </p:cNvSpPr>
            <p:nvPr/>
          </p:nvSpPr>
          <p:spPr bwMode="auto">
            <a:xfrm>
              <a:off x="3780842" y="1324687"/>
              <a:ext cx="109315" cy="9928"/>
            </a:xfrm>
            <a:custGeom>
              <a:avLst/>
              <a:gdLst>
                <a:gd name="T0" fmla="*/ 2147483646 w 94"/>
                <a:gd name="T1" fmla="*/ 2147483646 h 10"/>
                <a:gd name="T2" fmla="*/ 0 w 94"/>
                <a:gd name="T3" fmla="*/ 2147483646 h 10"/>
                <a:gd name="T4" fmla="*/ 0 w 94"/>
                <a:gd name="T5" fmla="*/ 2147483646 h 10"/>
                <a:gd name="T6" fmla="*/ 0 w 94"/>
                <a:gd name="T7" fmla="*/ 2147483646 h 10"/>
                <a:gd name="T8" fmla="*/ 0 w 94"/>
                <a:gd name="T9" fmla="*/ 0 h 10"/>
                <a:gd name="T10" fmla="*/ 2147483646 w 94"/>
                <a:gd name="T11" fmla="*/ 0 h 10"/>
                <a:gd name="T12" fmla="*/ 2147483646 w 94"/>
                <a:gd name="T13" fmla="*/ 0 h 10"/>
                <a:gd name="T14" fmla="*/ 2147483646 w 94"/>
                <a:gd name="T15" fmla="*/ 0 h 10"/>
                <a:gd name="T16" fmla="*/ 2147483646 w 94"/>
                <a:gd name="T17" fmla="*/ 2147483646 h 10"/>
                <a:gd name="T18" fmla="*/ 2147483646 w 94"/>
                <a:gd name="T19" fmla="*/ 2147483646 h 10"/>
                <a:gd name="T20" fmla="*/ 2147483646 w 94"/>
                <a:gd name="T21" fmla="*/ 2147483646 h 10"/>
                <a:gd name="T22" fmla="*/ 2147483646 w 94"/>
                <a:gd name="T23" fmla="*/ 2147483646 h 10"/>
                <a:gd name="T24" fmla="*/ 2147483646 w 9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4" h="10">
                  <a:moveTo>
                    <a:pt x="3" y="10"/>
                  </a:moveTo>
                  <a:lnTo>
                    <a:pt x="0" y="7"/>
                  </a:lnTo>
                  <a:lnTo>
                    <a:pt x="0" y="3"/>
                  </a:lnTo>
                  <a:lnTo>
                    <a:pt x="0" y="0"/>
                  </a:lnTo>
                  <a:lnTo>
                    <a:pt x="3" y="0"/>
                  </a:lnTo>
                  <a:lnTo>
                    <a:pt x="90" y="0"/>
                  </a:lnTo>
                  <a:lnTo>
                    <a:pt x="94" y="0"/>
                  </a:lnTo>
                  <a:lnTo>
                    <a:pt x="94" y="3"/>
                  </a:lnTo>
                  <a:lnTo>
                    <a:pt x="94" y="7"/>
                  </a:lnTo>
                  <a:lnTo>
                    <a:pt x="9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5" name="Freeform 1019">
              <a:extLst>
                <a:ext uri="{FF2B5EF4-FFF2-40B4-BE49-F238E27FC236}">
                  <a16:creationId xmlns:a16="http://schemas.microsoft.com/office/drawing/2014/main" id="{93D5E2E3-4996-9A46-8B0A-A98E52C0E01F}"/>
                </a:ext>
              </a:extLst>
            </p:cNvPr>
            <p:cNvSpPr>
              <a:spLocks/>
            </p:cNvSpPr>
            <p:nvPr/>
          </p:nvSpPr>
          <p:spPr bwMode="auto">
            <a:xfrm>
              <a:off x="3882016" y="1324687"/>
              <a:ext cx="138388" cy="9928"/>
            </a:xfrm>
            <a:custGeom>
              <a:avLst/>
              <a:gdLst>
                <a:gd name="T0" fmla="*/ 2147483646 w 119"/>
                <a:gd name="T1" fmla="*/ 2147483646 h 10"/>
                <a:gd name="T2" fmla="*/ 0 w 119"/>
                <a:gd name="T3" fmla="*/ 2147483646 h 10"/>
                <a:gd name="T4" fmla="*/ 0 w 119"/>
                <a:gd name="T5" fmla="*/ 2147483646 h 10"/>
                <a:gd name="T6" fmla="*/ 0 w 119"/>
                <a:gd name="T7" fmla="*/ 2147483646 h 10"/>
                <a:gd name="T8" fmla="*/ 0 w 119"/>
                <a:gd name="T9" fmla="*/ 0 h 10"/>
                <a:gd name="T10" fmla="*/ 2147483646 w 119"/>
                <a:gd name="T11" fmla="*/ 0 h 10"/>
                <a:gd name="T12" fmla="*/ 2147483646 w 119"/>
                <a:gd name="T13" fmla="*/ 0 h 10"/>
                <a:gd name="T14" fmla="*/ 2147483646 w 119"/>
                <a:gd name="T15" fmla="*/ 0 h 10"/>
                <a:gd name="T16" fmla="*/ 2147483646 w 119"/>
                <a:gd name="T17" fmla="*/ 2147483646 h 10"/>
                <a:gd name="T18" fmla="*/ 2147483646 w 119"/>
                <a:gd name="T19" fmla="*/ 2147483646 h 10"/>
                <a:gd name="T20" fmla="*/ 2147483646 w 119"/>
                <a:gd name="T21" fmla="*/ 2147483646 h 10"/>
                <a:gd name="T22" fmla="*/ 2147483646 w 119"/>
                <a:gd name="T23" fmla="*/ 2147483646 h 10"/>
                <a:gd name="T24" fmla="*/ 2147483646 w 1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9" h="10">
                  <a:moveTo>
                    <a:pt x="3" y="10"/>
                  </a:moveTo>
                  <a:lnTo>
                    <a:pt x="0" y="7"/>
                  </a:lnTo>
                  <a:lnTo>
                    <a:pt x="0" y="3"/>
                  </a:lnTo>
                  <a:lnTo>
                    <a:pt x="0" y="0"/>
                  </a:lnTo>
                  <a:lnTo>
                    <a:pt x="3" y="0"/>
                  </a:lnTo>
                  <a:lnTo>
                    <a:pt x="116" y="0"/>
                  </a:lnTo>
                  <a:lnTo>
                    <a:pt x="119" y="0"/>
                  </a:lnTo>
                  <a:lnTo>
                    <a:pt x="119" y="3"/>
                  </a:lnTo>
                  <a:lnTo>
                    <a:pt x="119" y="7"/>
                  </a:lnTo>
                  <a:lnTo>
                    <a:pt x="1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6" name="Freeform 1020">
              <a:extLst>
                <a:ext uri="{FF2B5EF4-FFF2-40B4-BE49-F238E27FC236}">
                  <a16:creationId xmlns:a16="http://schemas.microsoft.com/office/drawing/2014/main" id="{C7B2002A-E7CE-5C41-B1CA-F1F90B43FEC5}"/>
                </a:ext>
              </a:extLst>
            </p:cNvPr>
            <p:cNvSpPr>
              <a:spLocks/>
            </p:cNvSpPr>
            <p:nvPr/>
          </p:nvSpPr>
          <p:spPr bwMode="auto">
            <a:xfrm>
              <a:off x="4013426" y="1324687"/>
              <a:ext cx="97685" cy="9928"/>
            </a:xfrm>
            <a:custGeom>
              <a:avLst/>
              <a:gdLst>
                <a:gd name="T0" fmla="*/ 2147483646 w 84"/>
                <a:gd name="T1" fmla="*/ 2147483646 h 10"/>
                <a:gd name="T2" fmla="*/ 0 w 84"/>
                <a:gd name="T3" fmla="*/ 2147483646 h 10"/>
                <a:gd name="T4" fmla="*/ 0 w 84"/>
                <a:gd name="T5" fmla="*/ 2147483646 h 10"/>
                <a:gd name="T6" fmla="*/ 0 w 84"/>
                <a:gd name="T7" fmla="*/ 2147483646 h 10"/>
                <a:gd name="T8" fmla="*/ 0 w 84"/>
                <a:gd name="T9" fmla="*/ 0 h 10"/>
                <a:gd name="T10" fmla="*/ 2147483646 w 84"/>
                <a:gd name="T11" fmla="*/ 0 h 10"/>
                <a:gd name="T12" fmla="*/ 2147483646 w 84"/>
                <a:gd name="T13" fmla="*/ 0 h 10"/>
                <a:gd name="T14" fmla="*/ 2147483646 w 84"/>
                <a:gd name="T15" fmla="*/ 0 h 10"/>
                <a:gd name="T16" fmla="*/ 2147483646 w 84"/>
                <a:gd name="T17" fmla="*/ 2147483646 h 10"/>
                <a:gd name="T18" fmla="*/ 2147483646 w 84"/>
                <a:gd name="T19" fmla="*/ 2147483646 h 10"/>
                <a:gd name="T20" fmla="*/ 2147483646 w 84"/>
                <a:gd name="T21" fmla="*/ 2147483646 h 10"/>
                <a:gd name="T22" fmla="*/ 2147483646 w 84"/>
                <a:gd name="T23" fmla="*/ 2147483646 h 10"/>
                <a:gd name="T24" fmla="*/ 2147483646 w 8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 h="10">
                  <a:moveTo>
                    <a:pt x="3" y="10"/>
                  </a:moveTo>
                  <a:lnTo>
                    <a:pt x="0" y="7"/>
                  </a:lnTo>
                  <a:lnTo>
                    <a:pt x="0" y="3"/>
                  </a:lnTo>
                  <a:lnTo>
                    <a:pt x="0" y="0"/>
                  </a:lnTo>
                  <a:lnTo>
                    <a:pt x="3" y="0"/>
                  </a:lnTo>
                  <a:lnTo>
                    <a:pt x="81" y="0"/>
                  </a:lnTo>
                  <a:lnTo>
                    <a:pt x="84" y="0"/>
                  </a:lnTo>
                  <a:lnTo>
                    <a:pt x="84" y="3"/>
                  </a:lnTo>
                  <a:lnTo>
                    <a:pt x="84" y="7"/>
                  </a:lnTo>
                  <a:lnTo>
                    <a:pt x="81"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7" name="Freeform 1021">
              <a:extLst>
                <a:ext uri="{FF2B5EF4-FFF2-40B4-BE49-F238E27FC236}">
                  <a16:creationId xmlns:a16="http://schemas.microsoft.com/office/drawing/2014/main" id="{225FE6A5-9552-304F-BE44-0501E970FBB1}"/>
                </a:ext>
              </a:extLst>
            </p:cNvPr>
            <p:cNvSpPr>
              <a:spLocks/>
            </p:cNvSpPr>
            <p:nvPr/>
          </p:nvSpPr>
          <p:spPr bwMode="auto">
            <a:xfrm>
              <a:off x="4102971" y="1324687"/>
              <a:ext cx="520989" cy="9928"/>
            </a:xfrm>
            <a:custGeom>
              <a:avLst/>
              <a:gdLst>
                <a:gd name="T0" fmla="*/ 2147483646 w 448"/>
                <a:gd name="T1" fmla="*/ 2147483646 h 10"/>
                <a:gd name="T2" fmla="*/ 0 w 448"/>
                <a:gd name="T3" fmla="*/ 2147483646 h 10"/>
                <a:gd name="T4" fmla="*/ 0 w 448"/>
                <a:gd name="T5" fmla="*/ 2147483646 h 10"/>
                <a:gd name="T6" fmla="*/ 0 w 448"/>
                <a:gd name="T7" fmla="*/ 2147483646 h 10"/>
                <a:gd name="T8" fmla="*/ 0 w 448"/>
                <a:gd name="T9" fmla="*/ 0 h 10"/>
                <a:gd name="T10" fmla="*/ 2147483646 w 448"/>
                <a:gd name="T11" fmla="*/ 0 h 10"/>
                <a:gd name="T12" fmla="*/ 2147483646 w 448"/>
                <a:gd name="T13" fmla="*/ 0 h 10"/>
                <a:gd name="T14" fmla="*/ 2147483646 w 448"/>
                <a:gd name="T15" fmla="*/ 0 h 10"/>
                <a:gd name="T16" fmla="*/ 2147483646 w 448"/>
                <a:gd name="T17" fmla="*/ 2147483646 h 10"/>
                <a:gd name="T18" fmla="*/ 2147483646 w 448"/>
                <a:gd name="T19" fmla="*/ 2147483646 h 10"/>
                <a:gd name="T20" fmla="*/ 2147483646 w 448"/>
                <a:gd name="T21" fmla="*/ 2147483646 h 10"/>
                <a:gd name="T22" fmla="*/ 2147483646 w 448"/>
                <a:gd name="T23" fmla="*/ 2147483646 h 10"/>
                <a:gd name="T24" fmla="*/ 2147483646 w 4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8" h="10">
                  <a:moveTo>
                    <a:pt x="4" y="10"/>
                  </a:moveTo>
                  <a:lnTo>
                    <a:pt x="0" y="7"/>
                  </a:lnTo>
                  <a:lnTo>
                    <a:pt x="0" y="3"/>
                  </a:lnTo>
                  <a:lnTo>
                    <a:pt x="0" y="0"/>
                  </a:lnTo>
                  <a:lnTo>
                    <a:pt x="4" y="0"/>
                  </a:lnTo>
                  <a:lnTo>
                    <a:pt x="445" y="0"/>
                  </a:lnTo>
                  <a:lnTo>
                    <a:pt x="448" y="0"/>
                  </a:lnTo>
                  <a:lnTo>
                    <a:pt x="448" y="3"/>
                  </a:lnTo>
                  <a:lnTo>
                    <a:pt x="448" y="7"/>
                  </a:lnTo>
                  <a:lnTo>
                    <a:pt x="445"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8" name="Freeform 1022">
              <a:extLst>
                <a:ext uri="{FF2B5EF4-FFF2-40B4-BE49-F238E27FC236}">
                  <a16:creationId xmlns:a16="http://schemas.microsoft.com/office/drawing/2014/main" id="{BA7161AA-CF3C-A248-89AE-2E9E29DF1B03}"/>
                </a:ext>
              </a:extLst>
            </p:cNvPr>
            <p:cNvSpPr>
              <a:spLocks/>
            </p:cNvSpPr>
            <p:nvPr/>
          </p:nvSpPr>
          <p:spPr bwMode="auto">
            <a:xfrm>
              <a:off x="921217" y="2836788"/>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4" y="10"/>
                  </a:moveTo>
                  <a:lnTo>
                    <a:pt x="0" y="7"/>
                  </a:lnTo>
                  <a:lnTo>
                    <a:pt x="0" y="3"/>
                  </a:lnTo>
                  <a:lnTo>
                    <a:pt x="0" y="0"/>
                  </a:lnTo>
                  <a:lnTo>
                    <a:pt x="4" y="0"/>
                  </a:lnTo>
                  <a:lnTo>
                    <a:pt x="33" y="0"/>
                  </a:lnTo>
                  <a:lnTo>
                    <a:pt x="36" y="0"/>
                  </a:lnTo>
                  <a:lnTo>
                    <a:pt x="36" y="3"/>
                  </a:lnTo>
                  <a:lnTo>
                    <a:pt x="36" y="7"/>
                  </a:lnTo>
                  <a:lnTo>
                    <a:pt x="33"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9" name="Freeform 1023">
              <a:extLst>
                <a:ext uri="{FF2B5EF4-FFF2-40B4-BE49-F238E27FC236}">
                  <a16:creationId xmlns:a16="http://schemas.microsoft.com/office/drawing/2014/main" id="{EBB37335-9976-5047-9C08-C7CC202BF705}"/>
                </a:ext>
              </a:extLst>
            </p:cNvPr>
            <p:cNvSpPr>
              <a:spLocks/>
            </p:cNvSpPr>
            <p:nvPr/>
          </p:nvSpPr>
          <p:spPr bwMode="auto">
            <a:xfrm>
              <a:off x="954942" y="2823880"/>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4"/>
                  </a:lnTo>
                  <a:lnTo>
                    <a:pt x="0" y="0"/>
                  </a:lnTo>
                  <a:lnTo>
                    <a:pt x="4" y="0"/>
                  </a:lnTo>
                  <a:lnTo>
                    <a:pt x="7" y="0"/>
                  </a:lnTo>
                  <a:lnTo>
                    <a:pt x="10" y="4"/>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0" name="Freeform 1024">
              <a:extLst>
                <a:ext uri="{FF2B5EF4-FFF2-40B4-BE49-F238E27FC236}">
                  <a16:creationId xmlns:a16="http://schemas.microsoft.com/office/drawing/2014/main" id="{B0C8F957-3E45-6243-AE7E-E9E3EF61BCC5}"/>
                </a:ext>
              </a:extLst>
            </p:cNvPr>
            <p:cNvSpPr>
              <a:spLocks/>
            </p:cNvSpPr>
            <p:nvPr/>
          </p:nvSpPr>
          <p:spPr bwMode="auto">
            <a:xfrm>
              <a:off x="954942" y="2823880"/>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4" y="10"/>
                  </a:moveTo>
                  <a:lnTo>
                    <a:pt x="0" y="7"/>
                  </a:lnTo>
                  <a:lnTo>
                    <a:pt x="0" y="4"/>
                  </a:lnTo>
                  <a:lnTo>
                    <a:pt x="0" y="0"/>
                  </a:lnTo>
                  <a:lnTo>
                    <a:pt x="4" y="0"/>
                  </a:lnTo>
                  <a:lnTo>
                    <a:pt x="33" y="0"/>
                  </a:lnTo>
                  <a:lnTo>
                    <a:pt x="36" y="0"/>
                  </a:lnTo>
                  <a:lnTo>
                    <a:pt x="36" y="4"/>
                  </a:lnTo>
                  <a:lnTo>
                    <a:pt x="36" y="7"/>
                  </a:lnTo>
                  <a:lnTo>
                    <a:pt x="33"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1" name="Freeform 1025">
              <a:extLst>
                <a:ext uri="{FF2B5EF4-FFF2-40B4-BE49-F238E27FC236}">
                  <a16:creationId xmlns:a16="http://schemas.microsoft.com/office/drawing/2014/main" id="{4BF1944B-AE2F-F044-8C65-7D336257B473}"/>
                </a:ext>
              </a:extLst>
            </p:cNvPr>
            <p:cNvSpPr>
              <a:spLocks/>
            </p:cNvSpPr>
            <p:nvPr/>
          </p:nvSpPr>
          <p:spPr bwMode="auto">
            <a:xfrm>
              <a:off x="988667" y="2810974"/>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4" y="20"/>
                  </a:lnTo>
                  <a:lnTo>
                    <a:pt x="0" y="20"/>
                  </a:lnTo>
                  <a:lnTo>
                    <a:pt x="0" y="17"/>
                  </a:lnTo>
                  <a:lnTo>
                    <a:pt x="0" y="4"/>
                  </a:lnTo>
                  <a:lnTo>
                    <a:pt x="0" y="0"/>
                  </a:lnTo>
                  <a:lnTo>
                    <a:pt x="4" y="0"/>
                  </a:lnTo>
                  <a:lnTo>
                    <a:pt x="7"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2" name="Freeform 1026">
              <a:extLst>
                <a:ext uri="{FF2B5EF4-FFF2-40B4-BE49-F238E27FC236}">
                  <a16:creationId xmlns:a16="http://schemas.microsoft.com/office/drawing/2014/main" id="{5704134B-AB3D-D24F-868B-D0E15BBF1AED}"/>
                </a:ext>
              </a:extLst>
            </p:cNvPr>
            <p:cNvSpPr>
              <a:spLocks/>
            </p:cNvSpPr>
            <p:nvPr/>
          </p:nvSpPr>
          <p:spPr bwMode="auto">
            <a:xfrm>
              <a:off x="988667" y="2795088"/>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4"/>
                  </a:lnTo>
                  <a:lnTo>
                    <a:pt x="0" y="0"/>
                  </a:lnTo>
                  <a:lnTo>
                    <a:pt x="4"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3" name="Freeform 1027">
              <a:extLst>
                <a:ext uri="{FF2B5EF4-FFF2-40B4-BE49-F238E27FC236}">
                  <a16:creationId xmlns:a16="http://schemas.microsoft.com/office/drawing/2014/main" id="{B8D5C429-4FC3-E749-9C1C-D51C1466FECE}"/>
                </a:ext>
              </a:extLst>
            </p:cNvPr>
            <p:cNvSpPr>
              <a:spLocks/>
            </p:cNvSpPr>
            <p:nvPr/>
          </p:nvSpPr>
          <p:spPr bwMode="auto">
            <a:xfrm>
              <a:off x="988667" y="2782181"/>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4" y="20"/>
                  </a:lnTo>
                  <a:lnTo>
                    <a:pt x="0" y="20"/>
                  </a:lnTo>
                  <a:lnTo>
                    <a:pt x="0" y="17"/>
                  </a:lnTo>
                  <a:lnTo>
                    <a:pt x="0" y="4"/>
                  </a:lnTo>
                  <a:lnTo>
                    <a:pt x="0" y="0"/>
                  </a:lnTo>
                  <a:lnTo>
                    <a:pt x="4" y="0"/>
                  </a:lnTo>
                  <a:lnTo>
                    <a:pt x="7"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4" name="Freeform 1028">
              <a:extLst>
                <a:ext uri="{FF2B5EF4-FFF2-40B4-BE49-F238E27FC236}">
                  <a16:creationId xmlns:a16="http://schemas.microsoft.com/office/drawing/2014/main" id="{0851AA5E-7578-6E4F-997A-E826474C9A81}"/>
                </a:ext>
              </a:extLst>
            </p:cNvPr>
            <p:cNvSpPr>
              <a:spLocks/>
            </p:cNvSpPr>
            <p:nvPr/>
          </p:nvSpPr>
          <p:spPr bwMode="auto">
            <a:xfrm>
              <a:off x="988667" y="278218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5" name="Freeform 1029">
              <a:extLst>
                <a:ext uri="{FF2B5EF4-FFF2-40B4-BE49-F238E27FC236}">
                  <a16:creationId xmlns:a16="http://schemas.microsoft.com/office/drawing/2014/main" id="{561B92CC-5070-544E-A0BB-DFAAB0A27C4A}"/>
                </a:ext>
              </a:extLst>
            </p:cNvPr>
            <p:cNvSpPr>
              <a:spLocks/>
            </p:cNvSpPr>
            <p:nvPr/>
          </p:nvSpPr>
          <p:spPr bwMode="auto">
            <a:xfrm>
              <a:off x="993318" y="2769274"/>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6" name="Freeform 1030">
              <a:extLst>
                <a:ext uri="{FF2B5EF4-FFF2-40B4-BE49-F238E27FC236}">
                  <a16:creationId xmlns:a16="http://schemas.microsoft.com/office/drawing/2014/main" id="{A75D77E0-C99B-5547-8F9F-8C4D2002284E}"/>
                </a:ext>
              </a:extLst>
            </p:cNvPr>
            <p:cNvSpPr>
              <a:spLocks/>
            </p:cNvSpPr>
            <p:nvPr/>
          </p:nvSpPr>
          <p:spPr bwMode="auto">
            <a:xfrm>
              <a:off x="993318" y="2769274"/>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7" name="Freeform 1031">
              <a:extLst>
                <a:ext uri="{FF2B5EF4-FFF2-40B4-BE49-F238E27FC236}">
                  <a16:creationId xmlns:a16="http://schemas.microsoft.com/office/drawing/2014/main" id="{67B513D2-DED7-AA4C-9383-E1E1D6C84AF6}"/>
                </a:ext>
              </a:extLst>
            </p:cNvPr>
            <p:cNvSpPr>
              <a:spLocks/>
            </p:cNvSpPr>
            <p:nvPr/>
          </p:nvSpPr>
          <p:spPr bwMode="auto">
            <a:xfrm>
              <a:off x="996808" y="275736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8" name="Freeform 1032">
              <a:extLst>
                <a:ext uri="{FF2B5EF4-FFF2-40B4-BE49-F238E27FC236}">
                  <a16:creationId xmlns:a16="http://schemas.microsoft.com/office/drawing/2014/main" id="{7F3C9F94-B153-8A4C-AA32-CD74396AFE61}"/>
                </a:ext>
              </a:extLst>
            </p:cNvPr>
            <p:cNvSpPr>
              <a:spLocks/>
            </p:cNvSpPr>
            <p:nvPr/>
          </p:nvSpPr>
          <p:spPr bwMode="auto">
            <a:xfrm>
              <a:off x="996808" y="275736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9" name="Freeform 1033">
              <a:extLst>
                <a:ext uri="{FF2B5EF4-FFF2-40B4-BE49-F238E27FC236}">
                  <a16:creationId xmlns:a16="http://schemas.microsoft.com/office/drawing/2014/main" id="{657FA369-B85E-D443-8AA7-9DA455483E8E}"/>
                </a:ext>
              </a:extLst>
            </p:cNvPr>
            <p:cNvSpPr>
              <a:spLocks/>
            </p:cNvSpPr>
            <p:nvPr/>
          </p:nvSpPr>
          <p:spPr bwMode="auto">
            <a:xfrm>
              <a:off x="1000296" y="274445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0" name="Freeform 1034">
              <a:extLst>
                <a:ext uri="{FF2B5EF4-FFF2-40B4-BE49-F238E27FC236}">
                  <a16:creationId xmlns:a16="http://schemas.microsoft.com/office/drawing/2014/main" id="{7E9CB6CA-9E1A-B041-8B7D-AB1C454236BD}"/>
                </a:ext>
              </a:extLst>
            </p:cNvPr>
            <p:cNvSpPr>
              <a:spLocks/>
            </p:cNvSpPr>
            <p:nvPr/>
          </p:nvSpPr>
          <p:spPr bwMode="auto">
            <a:xfrm>
              <a:off x="1000296" y="274445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1" name="Freeform 1035">
              <a:extLst>
                <a:ext uri="{FF2B5EF4-FFF2-40B4-BE49-F238E27FC236}">
                  <a16:creationId xmlns:a16="http://schemas.microsoft.com/office/drawing/2014/main" id="{D6230D86-3B88-2C4A-AC72-CF4BD58ED891}"/>
                </a:ext>
              </a:extLst>
            </p:cNvPr>
            <p:cNvSpPr>
              <a:spLocks/>
            </p:cNvSpPr>
            <p:nvPr/>
          </p:nvSpPr>
          <p:spPr bwMode="auto">
            <a:xfrm>
              <a:off x="1003785" y="273154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2" name="Freeform 1036">
              <a:extLst>
                <a:ext uri="{FF2B5EF4-FFF2-40B4-BE49-F238E27FC236}">
                  <a16:creationId xmlns:a16="http://schemas.microsoft.com/office/drawing/2014/main" id="{23BCDD13-074C-8345-A5CA-47AB392BE8CA}"/>
                </a:ext>
              </a:extLst>
            </p:cNvPr>
            <p:cNvSpPr>
              <a:spLocks/>
            </p:cNvSpPr>
            <p:nvPr/>
          </p:nvSpPr>
          <p:spPr bwMode="auto">
            <a:xfrm>
              <a:off x="1003785" y="273154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3" name="Freeform 1037">
              <a:extLst>
                <a:ext uri="{FF2B5EF4-FFF2-40B4-BE49-F238E27FC236}">
                  <a16:creationId xmlns:a16="http://schemas.microsoft.com/office/drawing/2014/main" id="{E7A97AFE-CA79-0C41-A8F3-E24A4161CB53}"/>
                </a:ext>
              </a:extLst>
            </p:cNvPr>
            <p:cNvSpPr>
              <a:spLocks/>
            </p:cNvSpPr>
            <p:nvPr/>
          </p:nvSpPr>
          <p:spPr bwMode="auto">
            <a:xfrm>
              <a:off x="1007273" y="2718639"/>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4" name="Freeform 1038">
              <a:extLst>
                <a:ext uri="{FF2B5EF4-FFF2-40B4-BE49-F238E27FC236}">
                  <a16:creationId xmlns:a16="http://schemas.microsoft.com/office/drawing/2014/main" id="{F3B72B82-92F9-774B-8F24-C8A1337C7DB4}"/>
                </a:ext>
              </a:extLst>
            </p:cNvPr>
            <p:cNvSpPr>
              <a:spLocks/>
            </p:cNvSpPr>
            <p:nvPr/>
          </p:nvSpPr>
          <p:spPr bwMode="auto">
            <a:xfrm>
              <a:off x="1007273" y="271863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5" name="Freeform 1039">
              <a:extLst>
                <a:ext uri="{FF2B5EF4-FFF2-40B4-BE49-F238E27FC236}">
                  <a16:creationId xmlns:a16="http://schemas.microsoft.com/office/drawing/2014/main" id="{5E1035A3-AF2E-BC45-8274-65326531AEFB}"/>
                </a:ext>
              </a:extLst>
            </p:cNvPr>
            <p:cNvSpPr>
              <a:spLocks/>
            </p:cNvSpPr>
            <p:nvPr/>
          </p:nvSpPr>
          <p:spPr bwMode="auto">
            <a:xfrm>
              <a:off x="1011925" y="2705732"/>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6" name="Freeform 1040">
              <a:extLst>
                <a:ext uri="{FF2B5EF4-FFF2-40B4-BE49-F238E27FC236}">
                  <a16:creationId xmlns:a16="http://schemas.microsoft.com/office/drawing/2014/main" id="{BA809C00-43D1-2646-B5C9-E42BB656B882}"/>
                </a:ext>
              </a:extLst>
            </p:cNvPr>
            <p:cNvSpPr>
              <a:spLocks/>
            </p:cNvSpPr>
            <p:nvPr/>
          </p:nvSpPr>
          <p:spPr bwMode="auto">
            <a:xfrm>
              <a:off x="1011925" y="270573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7" name="Freeform 1041">
              <a:extLst>
                <a:ext uri="{FF2B5EF4-FFF2-40B4-BE49-F238E27FC236}">
                  <a16:creationId xmlns:a16="http://schemas.microsoft.com/office/drawing/2014/main" id="{57FBA4CE-843F-2E46-86D9-B719143549DA}"/>
                </a:ext>
              </a:extLst>
            </p:cNvPr>
            <p:cNvSpPr>
              <a:spLocks/>
            </p:cNvSpPr>
            <p:nvPr/>
          </p:nvSpPr>
          <p:spPr bwMode="auto">
            <a:xfrm>
              <a:off x="1015414" y="2692825"/>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8" name="Freeform 1042">
              <a:extLst>
                <a:ext uri="{FF2B5EF4-FFF2-40B4-BE49-F238E27FC236}">
                  <a16:creationId xmlns:a16="http://schemas.microsoft.com/office/drawing/2014/main" id="{F63D5441-57BC-2941-8D19-4C5208237643}"/>
                </a:ext>
              </a:extLst>
            </p:cNvPr>
            <p:cNvSpPr>
              <a:spLocks/>
            </p:cNvSpPr>
            <p:nvPr/>
          </p:nvSpPr>
          <p:spPr bwMode="auto">
            <a:xfrm>
              <a:off x="1015414" y="26928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9" name="Freeform 1043">
              <a:extLst>
                <a:ext uri="{FF2B5EF4-FFF2-40B4-BE49-F238E27FC236}">
                  <a16:creationId xmlns:a16="http://schemas.microsoft.com/office/drawing/2014/main" id="{8A047C78-47C4-AD4E-814E-57952F43EE6D}"/>
                </a:ext>
              </a:extLst>
            </p:cNvPr>
            <p:cNvSpPr>
              <a:spLocks/>
            </p:cNvSpPr>
            <p:nvPr/>
          </p:nvSpPr>
          <p:spPr bwMode="auto">
            <a:xfrm>
              <a:off x="1018903" y="2676940"/>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3" y="22"/>
                  </a:lnTo>
                  <a:lnTo>
                    <a:pt x="0" y="22"/>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0" name="Freeform 1044">
              <a:extLst>
                <a:ext uri="{FF2B5EF4-FFF2-40B4-BE49-F238E27FC236}">
                  <a16:creationId xmlns:a16="http://schemas.microsoft.com/office/drawing/2014/main" id="{F9FA353F-7ECF-5940-B9D9-A5EF07462C9E}"/>
                </a:ext>
              </a:extLst>
            </p:cNvPr>
            <p:cNvSpPr>
              <a:spLocks/>
            </p:cNvSpPr>
            <p:nvPr/>
          </p:nvSpPr>
          <p:spPr bwMode="auto">
            <a:xfrm>
              <a:off x="1018903" y="267694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1" name="Freeform 1045">
              <a:extLst>
                <a:ext uri="{FF2B5EF4-FFF2-40B4-BE49-F238E27FC236}">
                  <a16:creationId xmlns:a16="http://schemas.microsoft.com/office/drawing/2014/main" id="{A68E7924-515B-D144-AA18-F76044816C24}"/>
                </a:ext>
              </a:extLst>
            </p:cNvPr>
            <p:cNvSpPr>
              <a:spLocks/>
            </p:cNvSpPr>
            <p:nvPr/>
          </p:nvSpPr>
          <p:spPr bwMode="auto">
            <a:xfrm>
              <a:off x="1027044" y="2664033"/>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2" name="Freeform 1046">
              <a:extLst>
                <a:ext uri="{FF2B5EF4-FFF2-40B4-BE49-F238E27FC236}">
                  <a16:creationId xmlns:a16="http://schemas.microsoft.com/office/drawing/2014/main" id="{209BF43B-573E-2A47-B866-F53AA9DEBECA}"/>
                </a:ext>
              </a:extLst>
            </p:cNvPr>
            <p:cNvSpPr>
              <a:spLocks/>
            </p:cNvSpPr>
            <p:nvPr/>
          </p:nvSpPr>
          <p:spPr bwMode="auto">
            <a:xfrm>
              <a:off x="1027044" y="266403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2" y="0"/>
                  </a:lnTo>
                  <a:lnTo>
                    <a:pt x="16" y="0"/>
                  </a:lnTo>
                  <a:lnTo>
                    <a:pt x="16" y="3"/>
                  </a:lnTo>
                  <a:lnTo>
                    <a:pt x="16" y="6"/>
                  </a:lnTo>
                  <a:lnTo>
                    <a:pt x="1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3" name="Freeform 1047">
              <a:extLst>
                <a:ext uri="{FF2B5EF4-FFF2-40B4-BE49-F238E27FC236}">
                  <a16:creationId xmlns:a16="http://schemas.microsoft.com/office/drawing/2014/main" id="{E7C1E8D2-8929-0747-B066-E212DAD7C75E}"/>
                </a:ext>
              </a:extLst>
            </p:cNvPr>
            <p:cNvSpPr>
              <a:spLocks/>
            </p:cNvSpPr>
            <p:nvPr/>
          </p:nvSpPr>
          <p:spPr bwMode="auto">
            <a:xfrm>
              <a:off x="1037509" y="265112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4" name="Freeform 1048">
              <a:extLst>
                <a:ext uri="{FF2B5EF4-FFF2-40B4-BE49-F238E27FC236}">
                  <a16:creationId xmlns:a16="http://schemas.microsoft.com/office/drawing/2014/main" id="{BBFC7A11-0A75-4144-AC33-A34CBEEA1BF5}"/>
                </a:ext>
              </a:extLst>
            </p:cNvPr>
            <p:cNvSpPr>
              <a:spLocks/>
            </p:cNvSpPr>
            <p:nvPr/>
          </p:nvSpPr>
          <p:spPr bwMode="auto">
            <a:xfrm>
              <a:off x="1037509" y="2638219"/>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5" name="Freeform 1049">
              <a:extLst>
                <a:ext uri="{FF2B5EF4-FFF2-40B4-BE49-F238E27FC236}">
                  <a16:creationId xmlns:a16="http://schemas.microsoft.com/office/drawing/2014/main" id="{C9A123F6-2043-D040-95B7-29893889FFC2}"/>
                </a:ext>
              </a:extLst>
            </p:cNvPr>
            <p:cNvSpPr>
              <a:spLocks/>
            </p:cNvSpPr>
            <p:nvPr/>
          </p:nvSpPr>
          <p:spPr bwMode="auto">
            <a:xfrm>
              <a:off x="1037509" y="263821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6" name="Freeform 1050">
              <a:extLst>
                <a:ext uri="{FF2B5EF4-FFF2-40B4-BE49-F238E27FC236}">
                  <a16:creationId xmlns:a16="http://schemas.microsoft.com/office/drawing/2014/main" id="{6503BB6D-F269-B941-821C-944AD166EF72}"/>
                </a:ext>
              </a:extLst>
            </p:cNvPr>
            <p:cNvSpPr>
              <a:spLocks/>
            </p:cNvSpPr>
            <p:nvPr/>
          </p:nvSpPr>
          <p:spPr bwMode="auto">
            <a:xfrm>
              <a:off x="1040999" y="2625312"/>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7" name="Freeform 1051">
              <a:extLst>
                <a:ext uri="{FF2B5EF4-FFF2-40B4-BE49-F238E27FC236}">
                  <a16:creationId xmlns:a16="http://schemas.microsoft.com/office/drawing/2014/main" id="{A9B16C8F-4D9B-DD4D-9F59-C063B0ED0676}"/>
                </a:ext>
              </a:extLst>
            </p:cNvPr>
            <p:cNvSpPr>
              <a:spLocks/>
            </p:cNvSpPr>
            <p:nvPr/>
          </p:nvSpPr>
          <p:spPr bwMode="auto">
            <a:xfrm>
              <a:off x="1040999" y="262531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8" name="Freeform 1052">
              <a:extLst>
                <a:ext uri="{FF2B5EF4-FFF2-40B4-BE49-F238E27FC236}">
                  <a16:creationId xmlns:a16="http://schemas.microsoft.com/office/drawing/2014/main" id="{3CF2A38C-B0D3-E54F-8228-E0C951F22102}"/>
                </a:ext>
              </a:extLst>
            </p:cNvPr>
            <p:cNvSpPr>
              <a:spLocks/>
            </p:cNvSpPr>
            <p:nvPr/>
          </p:nvSpPr>
          <p:spPr bwMode="auto">
            <a:xfrm>
              <a:off x="1045650" y="2612405"/>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9" name="Freeform 1053">
              <a:extLst>
                <a:ext uri="{FF2B5EF4-FFF2-40B4-BE49-F238E27FC236}">
                  <a16:creationId xmlns:a16="http://schemas.microsoft.com/office/drawing/2014/main" id="{AC7E16CD-1E35-EE4C-95FB-E87AE213038D}"/>
                </a:ext>
              </a:extLst>
            </p:cNvPr>
            <p:cNvSpPr>
              <a:spLocks/>
            </p:cNvSpPr>
            <p:nvPr/>
          </p:nvSpPr>
          <p:spPr bwMode="auto">
            <a:xfrm>
              <a:off x="1045650" y="2612405"/>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0" name="Freeform 1054">
              <a:extLst>
                <a:ext uri="{FF2B5EF4-FFF2-40B4-BE49-F238E27FC236}">
                  <a16:creationId xmlns:a16="http://schemas.microsoft.com/office/drawing/2014/main" id="{124AD31A-3165-024D-9DB5-25887B770E2F}"/>
                </a:ext>
              </a:extLst>
            </p:cNvPr>
            <p:cNvSpPr>
              <a:spLocks/>
            </p:cNvSpPr>
            <p:nvPr/>
          </p:nvSpPr>
          <p:spPr bwMode="auto">
            <a:xfrm>
              <a:off x="1049139" y="2599498"/>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6" y="20"/>
                  </a:lnTo>
                  <a:lnTo>
                    <a:pt x="3" y="20"/>
                  </a:lnTo>
                  <a:lnTo>
                    <a:pt x="0" y="20"/>
                  </a:lnTo>
                  <a:lnTo>
                    <a:pt x="0" y="17"/>
                  </a:lnTo>
                  <a:lnTo>
                    <a:pt x="0" y="4"/>
                  </a:lnTo>
                  <a:lnTo>
                    <a:pt x="0" y="0"/>
                  </a:lnTo>
                  <a:lnTo>
                    <a:pt x="3" y="0"/>
                  </a:lnTo>
                  <a:lnTo>
                    <a:pt x="6"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1" name="Freeform 1055">
              <a:extLst>
                <a:ext uri="{FF2B5EF4-FFF2-40B4-BE49-F238E27FC236}">
                  <a16:creationId xmlns:a16="http://schemas.microsoft.com/office/drawing/2014/main" id="{B518286E-89FA-8E41-AAF1-2982E1E5E3BC}"/>
                </a:ext>
              </a:extLst>
            </p:cNvPr>
            <p:cNvSpPr>
              <a:spLocks/>
            </p:cNvSpPr>
            <p:nvPr/>
          </p:nvSpPr>
          <p:spPr bwMode="auto">
            <a:xfrm>
              <a:off x="1049139" y="2587584"/>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2" name="Freeform 1056">
              <a:extLst>
                <a:ext uri="{FF2B5EF4-FFF2-40B4-BE49-F238E27FC236}">
                  <a16:creationId xmlns:a16="http://schemas.microsoft.com/office/drawing/2014/main" id="{5E56F9C2-0D88-004A-A912-9B3987AD1282}"/>
                </a:ext>
              </a:extLst>
            </p:cNvPr>
            <p:cNvSpPr>
              <a:spLocks/>
            </p:cNvSpPr>
            <p:nvPr/>
          </p:nvSpPr>
          <p:spPr bwMode="auto">
            <a:xfrm>
              <a:off x="1049139" y="258758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3" name="Freeform 1057">
              <a:extLst>
                <a:ext uri="{FF2B5EF4-FFF2-40B4-BE49-F238E27FC236}">
                  <a16:creationId xmlns:a16="http://schemas.microsoft.com/office/drawing/2014/main" id="{67FDBCD9-257B-BD40-9F17-D6F731E85B8B}"/>
                </a:ext>
              </a:extLst>
            </p:cNvPr>
            <p:cNvSpPr>
              <a:spLocks/>
            </p:cNvSpPr>
            <p:nvPr/>
          </p:nvSpPr>
          <p:spPr bwMode="auto">
            <a:xfrm>
              <a:off x="1056116" y="2570706"/>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4"/>
                  </a:lnTo>
                  <a:lnTo>
                    <a:pt x="0" y="0"/>
                  </a:lnTo>
                  <a:lnTo>
                    <a:pt x="4"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4" name="Freeform 1058">
              <a:extLst>
                <a:ext uri="{FF2B5EF4-FFF2-40B4-BE49-F238E27FC236}">
                  <a16:creationId xmlns:a16="http://schemas.microsoft.com/office/drawing/2014/main" id="{D1AF5D7D-CBAC-BB40-A125-4C78A5DEC950}"/>
                </a:ext>
              </a:extLst>
            </p:cNvPr>
            <p:cNvSpPr>
              <a:spLocks/>
            </p:cNvSpPr>
            <p:nvPr/>
          </p:nvSpPr>
          <p:spPr bwMode="auto">
            <a:xfrm>
              <a:off x="1056116" y="257070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5" name="Freeform 1059">
              <a:extLst>
                <a:ext uri="{FF2B5EF4-FFF2-40B4-BE49-F238E27FC236}">
                  <a16:creationId xmlns:a16="http://schemas.microsoft.com/office/drawing/2014/main" id="{6A17E0AD-AC49-434F-A33A-AA891D00694A}"/>
                </a:ext>
              </a:extLst>
            </p:cNvPr>
            <p:cNvSpPr>
              <a:spLocks/>
            </p:cNvSpPr>
            <p:nvPr/>
          </p:nvSpPr>
          <p:spPr bwMode="auto">
            <a:xfrm>
              <a:off x="1060768" y="2557798"/>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6" name="Freeform 1060">
              <a:extLst>
                <a:ext uri="{FF2B5EF4-FFF2-40B4-BE49-F238E27FC236}">
                  <a16:creationId xmlns:a16="http://schemas.microsoft.com/office/drawing/2014/main" id="{BC61BD53-C670-A041-8560-E37E5AADC75A}"/>
                </a:ext>
              </a:extLst>
            </p:cNvPr>
            <p:cNvSpPr>
              <a:spLocks/>
            </p:cNvSpPr>
            <p:nvPr/>
          </p:nvSpPr>
          <p:spPr bwMode="auto">
            <a:xfrm>
              <a:off x="1060768" y="2557798"/>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2" y="0"/>
                  </a:lnTo>
                  <a:lnTo>
                    <a:pt x="16" y="0"/>
                  </a:lnTo>
                  <a:lnTo>
                    <a:pt x="16" y="4"/>
                  </a:lnTo>
                  <a:lnTo>
                    <a:pt x="16" y="7"/>
                  </a:lnTo>
                  <a:lnTo>
                    <a:pt x="1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7" name="Freeform 1061">
              <a:extLst>
                <a:ext uri="{FF2B5EF4-FFF2-40B4-BE49-F238E27FC236}">
                  <a16:creationId xmlns:a16="http://schemas.microsoft.com/office/drawing/2014/main" id="{A2D01C0A-DCFB-5C42-86CA-DA1E15EC630B}"/>
                </a:ext>
              </a:extLst>
            </p:cNvPr>
            <p:cNvSpPr>
              <a:spLocks/>
            </p:cNvSpPr>
            <p:nvPr/>
          </p:nvSpPr>
          <p:spPr bwMode="auto">
            <a:xfrm>
              <a:off x="1071235" y="2545884"/>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8" name="Freeform 1062">
              <a:extLst>
                <a:ext uri="{FF2B5EF4-FFF2-40B4-BE49-F238E27FC236}">
                  <a16:creationId xmlns:a16="http://schemas.microsoft.com/office/drawing/2014/main" id="{2CAF19A9-43F7-CB45-8DF4-120806208361}"/>
                </a:ext>
              </a:extLst>
            </p:cNvPr>
            <p:cNvSpPr>
              <a:spLocks/>
            </p:cNvSpPr>
            <p:nvPr/>
          </p:nvSpPr>
          <p:spPr bwMode="auto">
            <a:xfrm>
              <a:off x="1071235" y="2532978"/>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9" name="Freeform 1063">
              <a:extLst>
                <a:ext uri="{FF2B5EF4-FFF2-40B4-BE49-F238E27FC236}">
                  <a16:creationId xmlns:a16="http://schemas.microsoft.com/office/drawing/2014/main" id="{5E95F32F-DC76-E949-9B25-75F191887A8F}"/>
                </a:ext>
              </a:extLst>
            </p:cNvPr>
            <p:cNvSpPr>
              <a:spLocks/>
            </p:cNvSpPr>
            <p:nvPr/>
          </p:nvSpPr>
          <p:spPr bwMode="auto">
            <a:xfrm>
              <a:off x="1071235" y="253297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0" name="Freeform 1064">
              <a:extLst>
                <a:ext uri="{FF2B5EF4-FFF2-40B4-BE49-F238E27FC236}">
                  <a16:creationId xmlns:a16="http://schemas.microsoft.com/office/drawing/2014/main" id="{8B7D4C37-05BF-CC40-BFB5-FB81ECE3ABD3}"/>
                </a:ext>
              </a:extLst>
            </p:cNvPr>
            <p:cNvSpPr>
              <a:spLocks/>
            </p:cNvSpPr>
            <p:nvPr/>
          </p:nvSpPr>
          <p:spPr bwMode="auto">
            <a:xfrm>
              <a:off x="1079375" y="252007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1" name="Freeform 1065">
              <a:extLst>
                <a:ext uri="{FF2B5EF4-FFF2-40B4-BE49-F238E27FC236}">
                  <a16:creationId xmlns:a16="http://schemas.microsoft.com/office/drawing/2014/main" id="{4410C1F2-0822-EE48-9FEA-B4504D19EE60}"/>
                </a:ext>
              </a:extLst>
            </p:cNvPr>
            <p:cNvSpPr>
              <a:spLocks/>
            </p:cNvSpPr>
            <p:nvPr/>
          </p:nvSpPr>
          <p:spPr bwMode="auto">
            <a:xfrm>
              <a:off x="1079375" y="252007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2" name="Freeform 1066">
              <a:extLst>
                <a:ext uri="{FF2B5EF4-FFF2-40B4-BE49-F238E27FC236}">
                  <a16:creationId xmlns:a16="http://schemas.microsoft.com/office/drawing/2014/main" id="{9E878855-44A1-4242-A6E0-45D049F91BF8}"/>
                </a:ext>
              </a:extLst>
            </p:cNvPr>
            <p:cNvSpPr>
              <a:spLocks/>
            </p:cNvSpPr>
            <p:nvPr/>
          </p:nvSpPr>
          <p:spPr bwMode="auto">
            <a:xfrm>
              <a:off x="1082864" y="2507164"/>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3" name="Freeform 1067">
              <a:extLst>
                <a:ext uri="{FF2B5EF4-FFF2-40B4-BE49-F238E27FC236}">
                  <a16:creationId xmlns:a16="http://schemas.microsoft.com/office/drawing/2014/main" id="{5DB4721B-E632-1345-8EE1-8907A2E020F5}"/>
                </a:ext>
              </a:extLst>
            </p:cNvPr>
            <p:cNvSpPr>
              <a:spLocks/>
            </p:cNvSpPr>
            <p:nvPr/>
          </p:nvSpPr>
          <p:spPr bwMode="auto">
            <a:xfrm>
              <a:off x="1082864" y="249425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4" name="Freeform 1068">
              <a:extLst>
                <a:ext uri="{FF2B5EF4-FFF2-40B4-BE49-F238E27FC236}">
                  <a16:creationId xmlns:a16="http://schemas.microsoft.com/office/drawing/2014/main" id="{D0A72FB7-D11B-CD41-A784-409F5E147007}"/>
                </a:ext>
              </a:extLst>
            </p:cNvPr>
            <p:cNvSpPr>
              <a:spLocks/>
            </p:cNvSpPr>
            <p:nvPr/>
          </p:nvSpPr>
          <p:spPr bwMode="auto">
            <a:xfrm>
              <a:off x="1082864" y="24942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5" name="Freeform 1069">
              <a:extLst>
                <a:ext uri="{FF2B5EF4-FFF2-40B4-BE49-F238E27FC236}">
                  <a16:creationId xmlns:a16="http://schemas.microsoft.com/office/drawing/2014/main" id="{8AD960FD-9D84-9748-942B-A08136089389}"/>
                </a:ext>
              </a:extLst>
            </p:cNvPr>
            <p:cNvSpPr>
              <a:spLocks/>
            </p:cNvSpPr>
            <p:nvPr/>
          </p:nvSpPr>
          <p:spPr bwMode="auto">
            <a:xfrm>
              <a:off x="1086352" y="2481350"/>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6" name="Freeform 1070">
              <a:extLst>
                <a:ext uri="{FF2B5EF4-FFF2-40B4-BE49-F238E27FC236}">
                  <a16:creationId xmlns:a16="http://schemas.microsoft.com/office/drawing/2014/main" id="{3451EA32-D411-1C48-A16D-BF55A10B3DBE}"/>
                </a:ext>
              </a:extLst>
            </p:cNvPr>
            <p:cNvSpPr>
              <a:spLocks/>
            </p:cNvSpPr>
            <p:nvPr/>
          </p:nvSpPr>
          <p:spPr bwMode="auto">
            <a:xfrm>
              <a:off x="1086352" y="2465464"/>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3" y="22"/>
                  </a:lnTo>
                  <a:lnTo>
                    <a:pt x="0" y="22"/>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7" name="Freeform 1071">
              <a:extLst>
                <a:ext uri="{FF2B5EF4-FFF2-40B4-BE49-F238E27FC236}">
                  <a16:creationId xmlns:a16="http://schemas.microsoft.com/office/drawing/2014/main" id="{0348D94D-86CC-E54F-A72B-813CD68DE7B5}"/>
                </a:ext>
              </a:extLst>
            </p:cNvPr>
            <p:cNvSpPr>
              <a:spLocks/>
            </p:cNvSpPr>
            <p:nvPr/>
          </p:nvSpPr>
          <p:spPr bwMode="auto">
            <a:xfrm>
              <a:off x="1086352" y="246546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8" name="Freeform 1072">
              <a:extLst>
                <a:ext uri="{FF2B5EF4-FFF2-40B4-BE49-F238E27FC236}">
                  <a16:creationId xmlns:a16="http://schemas.microsoft.com/office/drawing/2014/main" id="{C2220063-5A33-0240-9380-42A61C664520}"/>
                </a:ext>
              </a:extLst>
            </p:cNvPr>
            <p:cNvSpPr>
              <a:spLocks/>
            </p:cNvSpPr>
            <p:nvPr/>
          </p:nvSpPr>
          <p:spPr bwMode="auto">
            <a:xfrm>
              <a:off x="1089841" y="245255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9" name="Freeform 1073">
              <a:extLst>
                <a:ext uri="{FF2B5EF4-FFF2-40B4-BE49-F238E27FC236}">
                  <a16:creationId xmlns:a16="http://schemas.microsoft.com/office/drawing/2014/main" id="{A8E10415-7C3B-F048-AC83-A6D7901C70B2}"/>
                </a:ext>
              </a:extLst>
            </p:cNvPr>
            <p:cNvSpPr>
              <a:spLocks/>
            </p:cNvSpPr>
            <p:nvPr/>
          </p:nvSpPr>
          <p:spPr bwMode="auto">
            <a:xfrm>
              <a:off x="1089841" y="24525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0" name="Freeform 1074">
              <a:extLst>
                <a:ext uri="{FF2B5EF4-FFF2-40B4-BE49-F238E27FC236}">
                  <a16:creationId xmlns:a16="http://schemas.microsoft.com/office/drawing/2014/main" id="{C4D87EF8-1D24-044A-B411-8435FA84D1ED}"/>
                </a:ext>
              </a:extLst>
            </p:cNvPr>
            <p:cNvSpPr>
              <a:spLocks/>
            </p:cNvSpPr>
            <p:nvPr/>
          </p:nvSpPr>
          <p:spPr bwMode="auto">
            <a:xfrm>
              <a:off x="1094493" y="243965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1" name="Freeform 1075">
              <a:extLst>
                <a:ext uri="{FF2B5EF4-FFF2-40B4-BE49-F238E27FC236}">
                  <a16:creationId xmlns:a16="http://schemas.microsoft.com/office/drawing/2014/main" id="{5599EF27-5288-3440-A25F-5053097A3990}"/>
                </a:ext>
              </a:extLst>
            </p:cNvPr>
            <p:cNvSpPr>
              <a:spLocks/>
            </p:cNvSpPr>
            <p:nvPr/>
          </p:nvSpPr>
          <p:spPr bwMode="auto">
            <a:xfrm>
              <a:off x="1094493" y="243965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2" y="0"/>
                  </a:lnTo>
                  <a:lnTo>
                    <a:pt x="16" y="0"/>
                  </a:lnTo>
                  <a:lnTo>
                    <a:pt x="16" y="3"/>
                  </a:lnTo>
                  <a:lnTo>
                    <a:pt x="16" y="7"/>
                  </a:lnTo>
                  <a:lnTo>
                    <a:pt x="1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2" name="Freeform 1076">
              <a:extLst>
                <a:ext uri="{FF2B5EF4-FFF2-40B4-BE49-F238E27FC236}">
                  <a16:creationId xmlns:a16="http://schemas.microsoft.com/office/drawing/2014/main" id="{F4F3E702-DE23-7747-84CF-435FE8F64492}"/>
                </a:ext>
              </a:extLst>
            </p:cNvPr>
            <p:cNvSpPr>
              <a:spLocks/>
            </p:cNvSpPr>
            <p:nvPr/>
          </p:nvSpPr>
          <p:spPr bwMode="auto">
            <a:xfrm>
              <a:off x="1104959" y="2426743"/>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3" name="Freeform 1077">
              <a:extLst>
                <a:ext uri="{FF2B5EF4-FFF2-40B4-BE49-F238E27FC236}">
                  <a16:creationId xmlns:a16="http://schemas.microsoft.com/office/drawing/2014/main" id="{4238F95A-317E-1F46-84C6-0BFEA83BB3DC}"/>
                </a:ext>
              </a:extLst>
            </p:cNvPr>
            <p:cNvSpPr>
              <a:spLocks/>
            </p:cNvSpPr>
            <p:nvPr/>
          </p:nvSpPr>
          <p:spPr bwMode="auto">
            <a:xfrm>
              <a:off x="1104959" y="2413837"/>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4"/>
                  </a:lnTo>
                  <a:lnTo>
                    <a:pt x="0" y="0"/>
                  </a:lnTo>
                  <a:lnTo>
                    <a:pt x="3" y="0"/>
                  </a:lnTo>
                  <a:lnTo>
                    <a:pt x="7" y="0"/>
                  </a:lnTo>
                  <a:lnTo>
                    <a:pt x="10" y="4"/>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4" name="Freeform 1078">
              <a:extLst>
                <a:ext uri="{FF2B5EF4-FFF2-40B4-BE49-F238E27FC236}">
                  <a16:creationId xmlns:a16="http://schemas.microsoft.com/office/drawing/2014/main" id="{395383C1-7AF1-9F40-BBB4-0C44F2B77D03}"/>
                </a:ext>
              </a:extLst>
            </p:cNvPr>
            <p:cNvSpPr>
              <a:spLocks/>
            </p:cNvSpPr>
            <p:nvPr/>
          </p:nvSpPr>
          <p:spPr bwMode="auto">
            <a:xfrm>
              <a:off x="1104959" y="241383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5" name="Freeform 1079">
              <a:extLst>
                <a:ext uri="{FF2B5EF4-FFF2-40B4-BE49-F238E27FC236}">
                  <a16:creationId xmlns:a16="http://schemas.microsoft.com/office/drawing/2014/main" id="{49D7D35E-77C7-7247-886E-28D436B85187}"/>
                </a:ext>
              </a:extLst>
            </p:cNvPr>
            <p:cNvSpPr>
              <a:spLocks/>
            </p:cNvSpPr>
            <p:nvPr/>
          </p:nvSpPr>
          <p:spPr bwMode="auto">
            <a:xfrm>
              <a:off x="1108448" y="2400929"/>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4" y="20"/>
                  </a:lnTo>
                  <a:lnTo>
                    <a:pt x="0" y="20"/>
                  </a:lnTo>
                  <a:lnTo>
                    <a:pt x="0" y="17"/>
                  </a:lnTo>
                  <a:lnTo>
                    <a:pt x="0" y="4"/>
                  </a:lnTo>
                  <a:lnTo>
                    <a:pt x="0" y="0"/>
                  </a:lnTo>
                  <a:lnTo>
                    <a:pt x="4" y="0"/>
                  </a:lnTo>
                  <a:lnTo>
                    <a:pt x="7"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6" name="Freeform 1080">
              <a:extLst>
                <a:ext uri="{FF2B5EF4-FFF2-40B4-BE49-F238E27FC236}">
                  <a16:creationId xmlns:a16="http://schemas.microsoft.com/office/drawing/2014/main" id="{CAD6BD91-58B3-3C4C-86DA-93BF3C4C0D16}"/>
                </a:ext>
              </a:extLst>
            </p:cNvPr>
            <p:cNvSpPr>
              <a:spLocks/>
            </p:cNvSpPr>
            <p:nvPr/>
          </p:nvSpPr>
          <p:spPr bwMode="auto">
            <a:xfrm>
              <a:off x="1108448" y="240092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7" name="Freeform 1081">
              <a:extLst>
                <a:ext uri="{FF2B5EF4-FFF2-40B4-BE49-F238E27FC236}">
                  <a16:creationId xmlns:a16="http://schemas.microsoft.com/office/drawing/2014/main" id="{69DF10A7-5F3B-784D-8DE2-2F76DE983960}"/>
                </a:ext>
              </a:extLst>
            </p:cNvPr>
            <p:cNvSpPr>
              <a:spLocks/>
            </p:cNvSpPr>
            <p:nvPr/>
          </p:nvSpPr>
          <p:spPr bwMode="auto">
            <a:xfrm>
              <a:off x="1113100" y="2388023"/>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8" name="Freeform 1082">
              <a:extLst>
                <a:ext uri="{FF2B5EF4-FFF2-40B4-BE49-F238E27FC236}">
                  <a16:creationId xmlns:a16="http://schemas.microsoft.com/office/drawing/2014/main" id="{70BB8118-A754-5E41-B997-676D65B8A958}"/>
                </a:ext>
              </a:extLst>
            </p:cNvPr>
            <p:cNvSpPr>
              <a:spLocks/>
            </p:cNvSpPr>
            <p:nvPr/>
          </p:nvSpPr>
          <p:spPr bwMode="auto">
            <a:xfrm>
              <a:off x="1113100" y="2388023"/>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4"/>
                  </a:lnTo>
                  <a:lnTo>
                    <a:pt x="0" y="0"/>
                  </a:lnTo>
                  <a:lnTo>
                    <a:pt x="3" y="0"/>
                  </a:lnTo>
                  <a:lnTo>
                    <a:pt x="19" y="0"/>
                  </a:lnTo>
                  <a:lnTo>
                    <a:pt x="22" y="0"/>
                  </a:lnTo>
                  <a:lnTo>
                    <a:pt x="22" y="4"/>
                  </a:lnTo>
                  <a:lnTo>
                    <a:pt x="22" y="7"/>
                  </a:lnTo>
                  <a:lnTo>
                    <a:pt x="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9" name="Freeform 1083">
              <a:extLst>
                <a:ext uri="{FF2B5EF4-FFF2-40B4-BE49-F238E27FC236}">
                  <a16:creationId xmlns:a16="http://schemas.microsoft.com/office/drawing/2014/main" id="{54C9F90F-99E8-C241-A817-B0BF8DACDB24}"/>
                </a:ext>
              </a:extLst>
            </p:cNvPr>
            <p:cNvSpPr>
              <a:spLocks/>
            </p:cNvSpPr>
            <p:nvPr/>
          </p:nvSpPr>
          <p:spPr bwMode="auto">
            <a:xfrm>
              <a:off x="1131706" y="2376109"/>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0" name="Freeform 1084">
              <a:extLst>
                <a:ext uri="{FF2B5EF4-FFF2-40B4-BE49-F238E27FC236}">
                  <a16:creationId xmlns:a16="http://schemas.microsoft.com/office/drawing/2014/main" id="{2FA64287-D163-4940-9136-8A51664EF85A}"/>
                </a:ext>
              </a:extLst>
            </p:cNvPr>
            <p:cNvSpPr>
              <a:spLocks/>
            </p:cNvSpPr>
            <p:nvPr/>
          </p:nvSpPr>
          <p:spPr bwMode="auto">
            <a:xfrm>
              <a:off x="1131706" y="2359230"/>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1" name="Freeform 1085">
              <a:extLst>
                <a:ext uri="{FF2B5EF4-FFF2-40B4-BE49-F238E27FC236}">
                  <a16:creationId xmlns:a16="http://schemas.microsoft.com/office/drawing/2014/main" id="{0CA23E07-9B19-9946-8177-A7F322D28C54}"/>
                </a:ext>
              </a:extLst>
            </p:cNvPr>
            <p:cNvSpPr>
              <a:spLocks/>
            </p:cNvSpPr>
            <p:nvPr/>
          </p:nvSpPr>
          <p:spPr bwMode="auto">
            <a:xfrm>
              <a:off x="1131706" y="235923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2" name="Freeform 1086">
              <a:extLst>
                <a:ext uri="{FF2B5EF4-FFF2-40B4-BE49-F238E27FC236}">
                  <a16:creationId xmlns:a16="http://schemas.microsoft.com/office/drawing/2014/main" id="{303781D8-FA65-9D41-87C1-98C3C496875E}"/>
                </a:ext>
              </a:extLst>
            </p:cNvPr>
            <p:cNvSpPr>
              <a:spLocks/>
            </p:cNvSpPr>
            <p:nvPr/>
          </p:nvSpPr>
          <p:spPr bwMode="auto">
            <a:xfrm>
              <a:off x="1135195" y="234731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3" name="Freeform 1087">
              <a:extLst>
                <a:ext uri="{FF2B5EF4-FFF2-40B4-BE49-F238E27FC236}">
                  <a16:creationId xmlns:a16="http://schemas.microsoft.com/office/drawing/2014/main" id="{2F7968ED-D40F-5544-B587-D5CB28E16EBE}"/>
                </a:ext>
              </a:extLst>
            </p:cNvPr>
            <p:cNvSpPr>
              <a:spLocks/>
            </p:cNvSpPr>
            <p:nvPr/>
          </p:nvSpPr>
          <p:spPr bwMode="auto">
            <a:xfrm>
              <a:off x="1135195" y="2334409"/>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4" name="Freeform 1088">
              <a:extLst>
                <a:ext uri="{FF2B5EF4-FFF2-40B4-BE49-F238E27FC236}">
                  <a16:creationId xmlns:a16="http://schemas.microsoft.com/office/drawing/2014/main" id="{88F98D77-8F70-1249-8872-08A7750530AE}"/>
                </a:ext>
              </a:extLst>
            </p:cNvPr>
            <p:cNvSpPr>
              <a:spLocks/>
            </p:cNvSpPr>
            <p:nvPr/>
          </p:nvSpPr>
          <p:spPr bwMode="auto">
            <a:xfrm>
              <a:off x="1135195" y="2334409"/>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5" name="Freeform 1089">
              <a:extLst>
                <a:ext uri="{FF2B5EF4-FFF2-40B4-BE49-F238E27FC236}">
                  <a16:creationId xmlns:a16="http://schemas.microsoft.com/office/drawing/2014/main" id="{B668FA8D-8BAD-E744-AC6E-D0EC39CD4C2F}"/>
                </a:ext>
              </a:extLst>
            </p:cNvPr>
            <p:cNvSpPr>
              <a:spLocks/>
            </p:cNvSpPr>
            <p:nvPr/>
          </p:nvSpPr>
          <p:spPr bwMode="auto">
            <a:xfrm>
              <a:off x="1138684" y="2321502"/>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6" name="Freeform 1090">
              <a:extLst>
                <a:ext uri="{FF2B5EF4-FFF2-40B4-BE49-F238E27FC236}">
                  <a16:creationId xmlns:a16="http://schemas.microsoft.com/office/drawing/2014/main" id="{EA19AF82-EC58-E649-A31D-D64BA105011C}"/>
                </a:ext>
              </a:extLst>
            </p:cNvPr>
            <p:cNvSpPr>
              <a:spLocks/>
            </p:cNvSpPr>
            <p:nvPr/>
          </p:nvSpPr>
          <p:spPr bwMode="auto">
            <a:xfrm>
              <a:off x="1138684" y="2321502"/>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7" name="Freeform 1091">
              <a:extLst>
                <a:ext uri="{FF2B5EF4-FFF2-40B4-BE49-F238E27FC236}">
                  <a16:creationId xmlns:a16="http://schemas.microsoft.com/office/drawing/2014/main" id="{C6C16237-C648-004A-8BC9-73E09F5E3AE7}"/>
                </a:ext>
              </a:extLst>
            </p:cNvPr>
            <p:cNvSpPr>
              <a:spLocks/>
            </p:cNvSpPr>
            <p:nvPr/>
          </p:nvSpPr>
          <p:spPr bwMode="auto">
            <a:xfrm>
              <a:off x="1146824" y="2308595"/>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8" name="Freeform 1092">
              <a:extLst>
                <a:ext uri="{FF2B5EF4-FFF2-40B4-BE49-F238E27FC236}">
                  <a16:creationId xmlns:a16="http://schemas.microsoft.com/office/drawing/2014/main" id="{C04751FC-02B9-324A-BC90-152ABE708C8A}"/>
                </a:ext>
              </a:extLst>
            </p:cNvPr>
            <p:cNvSpPr>
              <a:spLocks/>
            </p:cNvSpPr>
            <p:nvPr/>
          </p:nvSpPr>
          <p:spPr bwMode="auto">
            <a:xfrm>
              <a:off x="1146824" y="2308595"/>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9" name="Freeform 1093">
              <a:extLst>
                <a:ext uri="{FF2B5EF4-FFF2-40B4-BE49-F238E27FC236}">
                  <a16:creationId xmlns:a16="http://schemas.microsoft.com/office/drawing/2014/main" id="{237A0C49-42DD-2A49-B9B1-22B22A753AC6}"/>
                </a:ext>
              </a:extLst>
            </p:cNvPr>
            <p:cNvSpPr>
              <a:spLocks/>
            </p:cNvSpPr>
            <p:nvPr/>
          </p:nvSpPr>
          <p:spPr bwMode="auto">
            <a:xfrm>
              <a:off x="1157291" y="2295688"/>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0" name="Freeform 1094">
              <a:extLst>
                <a:ext uri="{FF2B5EF4-FFF2-40B4-BE49-F238E27FC236}">
                  <a16:creationId xmlns:a16="http://schemas.microsoft.com/office/drawing/2014/main" id="{4584BBDF-B2A9-8E41-9ECB-573C6AA6A791}"/>
                </a:ext>
              </a:extLst>
            </p:cNvPr>
            <p:cNvSpPr>
              <a:spLocks/>
            </p:cNvSpPr>
            <p:nvPr/>
          </p:nvSpPr>
          <p:spPr bwMode="auto">
            <a:xfrm>
              <a:off x="1157291" y="2282781"/>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1" name="Freeform 1095">
              <a:extLst>
                <a:ext uri="{FF2B5EF4-FFF2-40B4-BE49-F238E27FC236}">
                  <a16:creationId xmlns:a16="http://schemas.microsoft.com/office/drawing/2014/main" id="{18F52496-75BC-604D-AA85-F3ECC3EAE423}"/>
                </a:ext>
              </a:extLst>
            </p:cNvPr>
            <p:cNvSpPr>
              <a:spLocks/>
            </p:cNvSpPr>
            <p:nvPr/>
          </p:nvSpPr>
          <p:spPr bwMode="auto">
            <a:xfrm>
              <a:off x="1157291" y="228278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2" name="Freeform 1096">
              <a:extLst>
                <a:ext uri="{FF2B5EF4-FFF2-40B4-BE49-F238E27FC236}">
                  <a16:creationId xmlns:a16="http://schemas.microsoft.com/office/drawing/2014/main" id="{FF7C37BF-2BF0-D441-B642-B0B20858021D}"/>
                </a:ext>
              </a:extLst>
            </p:cNvPr>
            <p:cNvSpPr>
              <a:spLocks/>
            </p:cNvSpPr>
            <p:nvPr/>
          </p:nvSpPr>
          <p:spPr bwMode="auto">
            <a:xfrm>
              <a:off x="1161942" y="2266896"/>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3" name="Freeform 1097">
              <a:extLst>
                <a:ext uri="{FF2B5EF4-FFF2-40B4-BE49-F238E27FC236}">
                  <a16:creationId xmlns:a16="http://schemas.microsoft.com/office/drawing/2014/main" id="{97A4CAE0-EE93-304B-8A33-148E8B6416F0}"/>
                </a:ext>
              </a:extLst>
            </p:cNvPr>
            <p:cNvSpPr>
              <a:spLocks/>
            </p:cNvSpPr>
            <p:nvPr/>
          </p:nvSpPr>
          <p:spPr bwMode="auto">
            <a:xfrm>
              <a:off x="1161942" y="2253989"/>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4" name="Freeform 1098">
              <a:extLst>
                <a:ext uri="{FF2B5EF4-FFF2-40B4-BE49-F238E27FC236}">
                  <a16:creationId xmlns:a16="http://schemas.microsoft.com/office/drawing/2014/main" id="{A97A7781-12A3-2942-B17E-7D4300A2F5F1}"/>
                </a:ext>
              </a:extLst>
            </p:cNvPr>
            <p:cNvSpPr>
              <a:spLocks/>
            </p:cNvSpPr>
            <p:nvPr/>
          </p:nvSpPr>
          <p:spPr bwMode="auto">
            <a:xfrm>
              <a:off x="1161942" y="2241082"/>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5" name="Freeform 1099">
              <a:extLst>
                <a:ext uri="{FF2B5EF4-FFF2-40B4-BE49-F238E27FC236}">
                  <a16:creationId xmlns:a16="http://schemas.microsoft.com/office/drawing/2014/main" id="{1130DCAB-C83C-4E44-A6EA-CECE67547EE9}"/>
                </a:ext>
              </a:extLst>
            </p:cNvPr>
            <p:cNvSpPr>
              <a:spLocks/>
            </p:cNvSpPr>
            <p:nvPr/>
          </p:nvSpPr>
          <p:spPr bwMode="auto">
            <a:xfrm>
              <a:off x="1161942" y="224108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6" name="Freeform 1100">
              <a:extLst>
                <a:ext uri="{FF2B5EF4-FFF2-40B4-BE49-F238E27FC236}">
                  <a16:creationId xmlns:a16="http://schemas.microsoft.com/office/drawing/2014/main" id="{9558ED80-EA1B-F44A-8F6A-F11205CF7CFE}"/>
                </a:ext>
              </a:extLst>
            </p:cNvPr>
            <p:cNvSpPr>
              <a:spLocks/>
            </p:cNvSpPr>
            <p:nvPr/>
          </p:nvSpPr>
          <p:spPr bwMode="auto">
            <a:xfrm>
              <a:off x="1165431" y="2228175"/>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7" name="Freeform 1101">
              <a:extLst>
                <a:ext uri="{FF2B5EF4-FFF2-40B4-BE49-F238E27FC236}">
                  <a16:creationId xmlns:a16="http://schemas.microsoft.com/office/drawing/2014/main" id="{AB1878A5-8CA9-B044-9476-FF9555F4C164}"/>
                </a:ext>
              </a:extLst>
            </p:cNvPr>
            <p:cNvSpPr>
              <a:spLocks/>
            </p:cNvSpPr>
            <p:nvPr/>
          </p:nvSpPr>
          <p:spPr bwMode="auto">
            <a:xfrm>
              <a:off x="1165431" y="2228175"/>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8" name="Freeform 1102">
              <a:extLst>
                <a:ext uri="{FF2B5EF4-FFF2-40B4-BE49-F238E27FC236}">
                  <a16:creationId xmlns:a16="http://schemas.microsoft.com/office/drawing/2014/main" id="{FBB4A3E7-195C-3846-ABAD-73F56840DD57}"/>
                </a:ext>
              </a:extLst>
            </p:cNvPr>
            <p:cNvSpPr>
              <a:spLocks/>
            </p:cNvSpPr>
            <p:nvPr/>
          </p:nvSpPr>
          <p:spPr bwMode="auto">
            <a:xfrm>
              <a:off x="1175897" y="2215268"/>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9" name="Freeform 1103">
              <a:extLst>
                <a:ext uri="{FF2B5EF4-FFF2-40B4-BE49-F238E27FC236}">
                  <a16:creationId xmlns:a16="http://schemas.microsoft.com/office/drawing/2014/main" id="{A2C7C0BB-4A59-5247-9369-18977473C03F}"/>
                </a:ext>
              </a:extLst>
            </p:cNvPr>
            <p:cNvSpPr>
              <a:spLocks/>
            </p:cNvSpPr>
            <p:nvPr/>
          </p:nvSpPr>
          <p:spPr bwMode="auto">
            <a:xfrm>
              <a:off x="1175897" y="221526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0" name="Freeform 1104">
              <a:extLst>
                <a:ext uri="{FF2B5EF4-FFF2-40B4-BE49-F238E27FC236}">
                  <a16:creationId xmlns:a16="http://schemas.microsoft.com/office/drawing/2014/main" id="{BAE98F2B-C554-AC40-82EB-5ED1DCBB09B6}"/>
                </a:ext>
              </a:extLst>
            </p:cNvPr>
            <p:cNvSpPr>
              <a:spLocks/>
            </p:cNvSpPr>
            <p:nvPr/>
          </p:nvSpPr>
          <p:spPr bwMode="auto">
            <a:xfrm>
              <a:off x="1180549" y="2202361"/>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1" name="Freeform 1105">
              <a:extLst>
                <a:ext uri="{FF2B5EF4-FFF2-40B4-BE49-F238E27FC236}">
                  <a16:creationId xmlns:a16="http://schemas.microsoft.com/office/drawing/2014/main" id="{D5DCEC4E-65C1-D24A-BF87-94274F467D5F}"/>
                </a:ext>
              </a:extLst>
            </p:cNvPr>
            <p:cNvSpPr>
              <a:spLocks/>
            </p:cNvSpPr>
            <p:nvPr/>
          </p:nvSpPr>
          <p:spPr bwMode="auto">
            <a:xfrm>
              <a:off x="1180549" y="2202361"/>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2" name="Freeform 1106">
              <a:extLst>
                <a:ext uri="{FF2B5EF4-FFF2-40B4-BE49-F238E27FC236}">
                  <a16:creationId xmlns:a16="http://schemas.microsoft.com/office/drawing/2014/main" id="{7336F940-3D3F-2B42-9CC4-4B77C7EF85F4}"/>
                </a:ext>
              </a:extLst>
            </p:cNvPr>
            <p:cNvSpPr>
              <a:spLocks/>
            </p:cNvSpPr>
            <p:nvPr/>
          </p:nvSpPr>
          <p:spPr bwMode="auto">
            <a:xfrm>
              <a:off x="1191015" y="2186475"/>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3"/>
                  </a:lnTo>
                  <a:lnTo>
                    <a:pt x="0" y="0"/>
                  </a:lnTo>
                  <a:lnTo>
                    <a:pt x="4" y="0"/>
                  </a:lnTo>
                  <a:lnTo>
                    <a:pt x="7" y="0"/>
                  </a:lnTo>
                  <a:lnTo>
                    <a:pt x="10" y="3"/>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3" name="Freeform 1107">
              <a:extLst>
                <a:ext uri="{FF2B5EF4-FFF2-40B4-BE49-F238E27FC236}">
                  <a16:creationId xmlns:a16="http://schemas.microsoft.com/office/drawing/2014/main" id="{FFCB7F8C-D5D1-0744-83E9-25A4252017AB}"/>
                </a:ext>
              </a:extLst>
            </p:cNvPr>
            <p:cNvSpPr>
              <a:spLocks/>
            </p:cNvSpPr>
            <p:nvPr/>
          </p:nvSpPr>
          <p:spPr bwMode="auto">
            <a:xfrm>
              <a:off x="1191015" y="2173569"/>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4" name="Freeform 1108">
              <a:extLst>
                <a:ext uri="{FF2B5EF4-FFF2-40B4-BE49-F238E27FC236}">
                  <a16:creationId xmlns:a16="http://schemas.microsoft.com/office/drawing/2014/main" id="{B53B8D71-6CA4-1D43-A610-23EC4C8220F7}"/>
                </a:ext>
              </a:extLst>
            </p:cNvPr>
            <p:cNvSpPr>
              <a:spLocks/>
            </p:cNvSpPr>
            <p:nvPr/>
          </p:nvSpPr>
          <p:spPr bwMode="auto">
            <a:xfrm>
              <a:off x="1191015" y="2160661"/>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4"/>
                  </a:lnTo>
                  <a:lnTo>
                    <a:pt x="0" y="0"/>
                  </a:lnTo>
                  <a:lnTo>
                    <a:pt x="4" y="0"/>
                  </a:lnTo>
                  <a:lnTo>
                    <a:pt x="7" y="0"/>
                  </a:lnTo>
                  <a:lnTo>
                    <a:pt x="10" y="4"/>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5" name="Freeform 1109">
              <a:extLst>
                <a:ext uri="{FF2B5EF4-FFF2-40B4-BE49-F238E27FC236}">
                  <a16:creationId xmlns:a16="http://schemas.microsoft.com/office/drawing/2014/main" id="{6AD85170-FD45-FD44-BAA4-02F69926AADF}"/>
                </a:ext>
              </a:extLst>
            </p:cNvPr>
            <p:cNvSpPr>
              <a:spLocks/>
            </p:cNvSpPr>
            <p:nvPr/>
          </p:nvSpPr>
          <p:spPr bwMode="auto">
            <a:xfrm>
              <a:off x="1191015" y="216066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6" name="Freeform 1110">
              <a:extLst>
                <a:ext uri="{FF2B5EF4-FFF2-40B4-BE49-F238E27FC236}">
                  <a16:creationId xmlns:a16="http://schemas.microsoft.com/office/drawing/2014/main" id="{68AB1DD2-E38C-B944-B027-537B456E2247}"/>
                </a:ext>
              </a:extLst>
            </p:cNvPr>
            <p:cNvSpPr>
              <a:spLocks/>
            </p:cNvSpPr>
            <p:nvPr/>
          </p:nvSpPr>
          <p:spPr bwMode="auto">
            <a:xfrm>
              <a:off x="1195667" y="2147755"/>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7" name="Freeform 1111">
              <a:extLst>
                <a:ext uri="{FF2B5EF4-FFF2-40B4-BE49-F238E27FC236}">
                  <a16:creationId xmlns:a16="http://schemas.microsoft.com/office/drawing/2014/main" id="{7E751365-2C57-5948-8397-A935958F674A}"/>
                </a:ext>
              </a:extLst>
            </p:cNvPr>
            <p:cNvSpPr>
              <a:spLocks/>
            </p:cNvSpPr>
            <p:nvPr/>
          </p:nvSpPr>
          <p:spPr bwMode="auto">
            <a:xfrm>
              <a:off x="1195667" y="2131869"/>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8" name="Freeform 1112">
              <a:extLst>
                <a:ext uri="{FF2B5EF4-FFF2-40B4-BE49-F238E27FC236}">
                  <a16:creationId xmlns:a16="http://schemas.microsoft.com/office/drawing/2014/main" id="{E8CE1D29-48D5-FD4D-9A36-77249CCBF78A}"/>
                </a:ext>
              </a:extLst>
            </p:cNvPr>
            <p:cNvSpPr>
              <a:spLocks/>
            </p:cNvSpPr>
            <p:nvPr/>
          </p:nvSpPr>
          <p:spPr bwMode="auto">
            <a:xfrm>
              <a:off x="1195667" y="213186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9" name="Freeform 1113">
              <a:extLst>
                <a:ext uri="{FF2B5EF4-FFF2-40B4-BE49-F238E27FC236}">
                  <a16:creationId xmlns:a16="http://schemas.microsoft.com/office/drawing/2014/main" id="{435A6A89-18AD-A446-9257-886FA9E3F287}"/>
                </a:ext>
              </a:extLst>
            </p:cNvPr>
            <p:cNvSpPr>
              <a:spLocks/>
            </p:cNvSpPr>
            <p:nvPr/>
          </p:nvSpPr>
          <p:spPr bwMode="auto">
            <a:xfrm>
              <a:off x="1199156" y="2118962"/>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0" name="Freeform 1114">
              <a:extLst>
                <a:ext uri="{FF2B5EF4-FFF2-40B4-BE49-F238E27FC236}">
                  <a16:creationId xmlns:a16="http://schemas.microsoft.com/office/drawing/2014/main" id="{1F28A7C1-B19F-3F49-A937-876D994F9D5F}"/>
                </a:ext>
              </a:extLst>
            </p:cNvPr>
            <p:cNvSpPr>
              <a:spLocks/>
            </p:cNvSpPr>
            <p:nvPr/>
          </p:nvSpPr>
          <p:spPr bwMode="auto">
            <a:xfrm>
              <a:off x="1199156" y="2118962"/>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4"/>
                  </a:lnTo>
                  <a:lnTo>
                    <a:pt x="0" y="0"/>
                  </a:lnTo>
                  <a:lnTo>
                    <a:pt x="3" y="0"/>
                  </a:lnTo>
                  <a:lnTo>
                    <a:pt x="19" y="0"/>
                  </a:lnTo>
                  <a:lnTo>
                    <a:pt x="22" y="0"/>
                  </a:lnTo>
                  <a:lnTo>
                    <a:pt x="22" y="4"/>
                  </a:lnTo>
                  <a:lnTo>
                    <a:pt x="22" y="7"/>
                  </a:lnTo>
                  <a:lnTo>
                    <a:pt x="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1" name="Freeform 1115">
              <a:extLst>
                <a:ext uri="{FF2B5EF4-FFF2-40B4-BE49-F238E27FC236}">
                  <a16:creationId xmlns:a16="http://schemas.microsoft.com/office/drawing/2014/main" id="{DF476D2F-8F14-6A42-B850-42BB8FF7B9B8}"/>
                </a:ext>
              </a:extLst>
            </p:cNvPr>
            <p:cNvSpPr>
              <a:spLocks/>
            </p:cNvSpPr>
            <p:nvPr/>
          </p:nvSpPr>
          <p:spPr bwMode="auto">
            <a:xfrm>
              <a:off x="1217763" y="211896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2" name="Freeform 1116">
              <a:extLst>
                <a:ext uri="{FF2B5EF4-FFF2-40B4-BE49-F238E27FC236}">
                  <a16:creationId xmlns:a16="http://schemas.microsoft.com/office/drawing/2014/main" id="{59E7CC44-611D-6F49-993B-0465E0CC8EF5}"/>
                </a:ext>
              </a:extLst>
            </p:cNvPr>
            <p:cNvSpPr>
              <a:spLocks/>
            </p:cNvSpPr>
            <p:nvPr/>
          </p:nvSpPr>
          <p:spPr bwMode="auto">
            <a:xfrm>
              <a:off x="1221251" y="2106055"/>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3" y="20"/>
                  </a:lnTo>
                  <a:lnTo>
                    <a:pt x="0" y="20"/>
                  </a:lnTo>
                  <a:lnTo>
                    <a:pt x="0" y="17"/>
                  </a:lnTo>
                  <a:lnTo>
                    <a:pt x="0" y="4"/>
                  </a:lnTo>
                  <a:lnTo>
                    <a:pt x="0" y="0"/>
                  </a:lnTo>
                  <a:lnTo>
                    <a:pt x="3" y="0"/>
                  </a:lnTo>
                  <a:lnTo>
                    <a:pt x="7"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3" name="Freeform 1117">
              <a:extLst>
                <a:ext uri="{FF2B5EF4-FFF2-40B4-BE49-F238E27FC236}">
                  <a16:creationId xmlns:a16="http://schemas.microsoft.com/office/drawing/2014/main" id="{B0D1F5D0-6C78-A047-868F-BB1F4B8C4950}"/>
                </a:ext>
              </a:extLst>
            </p:cNvPr>
            <p:cNvSpPr>
              <a:spLocks/>
            </p:cNvSpPr>
            <p:nvPr/>
          </p:nvSpPr>
          <p:spPr bwMode="auto">
            <a:xfrm>
              <a:off x="1221251" y="210605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4" name="Freeform 1118">
              <a:extLst>
                <a:ext uri="{FF2B5EF4-FFF2-40B4-BE49-F238E27FC236}">
                  <a16:creationId xmlns:a16="http://schemas.microsoft.com/office/drawing/2014/main" id="{2E52BAEE-A7E8-314B-B416-FE106A10313C}"/>
                </a:ext>
              </a:extLst>
            </p:cNvPr>
            <p:cNvSpPr>
              <a:spLocks/>
            </p:cNvSpPr>
            <p:nvPr/>
          </p:nvSpPr>
          <p:spPr bwMode="auto">
            <a:xfrm>
              <a:off x="1224740" y="2094141"/>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5" name="Freeform 1119">
              <a:extLst>
                <a:ext uri="{FF2B5EF4-FFF2-40B4-BE49-F238E27FC236}">
                  <a16:creationId xmlns:a16="http://schemas.microsoft.com/office/drawing/2014/main" id="{E597B93B-879C-F44C-BB6A-87EDDF24DE07}"/>
                </a:ext>
              </a:extLst>
            </p:cNvPr>
            <p:cNvSpPr>
              <a:spLocks/>
            </p:cNvSpPr>
            <p:nvPr/>
          </p:nvSpPr>
          <p:spPr bwMode="auto">
            <a:xfrm>
              <a:off x="1224740" y="209414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6" name="Freeform 1120">
              <a:extLst>
                <a:ext uri="{FF2B5EF4-FFF2-40B4-BE49-F238E27FC236}">
                  <a16:creationId xmlns:a16="http://schemas.microsoft.com/office/drawing/2014/main" id="{FF8E4DD5-071D-E44A-98CE-E8208BE393A0}"/>
                </a:ext>
              </a:extLst>
            </p:cNvPr>
            <p:cNvSpPr>
              <a:spLocks/>
            </p:cNvSpPr>
            <p:nvPr/>
          </p:nvSpPr>
          <p:spPr bwMode="auto">
            <a:xfrm>
              <a:off x="1229392" y="2077262"/>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7" name="Freeform 1121">
              <a:extLst>
                <a:ext uri="{FF2B5EF4-FFF2-40B4-BE49-F238E27FC236}">
                  <a16:creationId xmlns:a16="http://schemas.microsoft.com/office/drawing/2014/main" id="{3CAB6DB0-2E2B-7E49-B255-EC314BDAF71E}"/>
                </a:ext>
              </a:extLst>
            </p:cNvPr>
            <p:cNvSpPr>
              <a:spLocks/>
            </p:cNvSpPr>
            <p:nvPr/>
          </p:nvSpPr>
          <p:spPr bwMode="auto">
            <a:xfrm>
              <a:off x="1229392" y="2077262"/>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4"/>
                  </a:lnTo>
                  <a:lnTo>
                    <a:pt x="0" y="0"/>
                  </a:lnTo>
                  <a:lnTo>
                    <a:pt x="3" y="0"/>
                  </a:lnTo>
                  <a:lnTo>
                    <a:pt x="9" y="0"/>
                  </a:lnTo>
                  <a:lnTo>
                    <a:pt x="12" y="0"/>
                  </a:lnTo>
                  <a:lnTo>
                    <a:pt x="12" y="4"/>
                  </a:lnTo>
                  <a:lnTo>
                    <a:pt x="12" y="7"/>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8" name="Freeform 1122">
              <a:extLst>
                <a:ext uri="{FF2B5EF4-FFF2-40B4-BE49-F238E27FC236}">
                  <a16:creationId xmlns:a16="http://schemas.microsoft.com/office/drawing/2014/main" id="{90D434E6-287D-774A-92EF-3286A0EB22D3}"/>
                </a:ext>
              </a:extLst>
            </p:cNvPr>
            <p:cNvSpPr>
              <a:spLocks/>
            </p:cNvSpPr>
            <p:nvPr/>
          </p:nvSpPr>
          <p:spPr bwMode="auto">
            <a:xfrm>
              <a:off x="1236369" y="2052442"/>
              <a:ext cx="11629" cy="31771"/>
            </a:xfrm>
            <a:custGeom>
              <a:avLst/>
              <a:gdLst>
                <a:gd name="T0" fmla="*/ 2147483646 w 10"/>
                <a:gd name="T1" fmla="*/ 2147483646 h 32"/>
                <a:gd name="T2" fmla="*/ 2147483646 w 10"/>
                <a:gd name="T3" fmla="*/ 2147483646 h 32"/>
                <a:gd name="T4" fmla="*/ 2147483646 w 10"/>
                <a:gd name="T5" fmla="*/ 2147483646 h 32"/>
                <a:gd name="T6" fmla="*/ 2147483646 w 10"/>
                <a:gd name="T7" fmla="*/ 2147483646 h 32"/>
                <a:gd name="T8" fmla="*/ 0 w 10"/>
                <a:gd name="T9" fmla="*/ 2147483646 h 32"/>
                <a:gd name="T10" fmla="*/ 0 w 10"/>
                <a:gd name="T11" fmla="*/ 2147483646 h 32"/>
                <a:gd name="T12" fmla="*/ 0 w 10"/>
                <a:gd name="T13" fmla="*/ 2147483646 h 32"/>
                <a:gd name="T14" fmla="*/ 0 w 10"/>
                <a:gd name="T15" fmla="*/ 0 h 32"/>
                <a:gd name="T16" fmla="*/ 2147483646 w 10"/>
                <a:gd name="T17" fmla="*/ 0 h 32"/>
                <a:gd name="T18" fmla="*/ 2147483646 w 10"/>
                <a:gd name="T19" fmla="*/ 0 h 32"/>
                <a:gd name="T20" fmla="*/ 2147483646 w 10"/>
                <a:gd name="T21" fmla="*/ 0 h 32"/>
                <a:gd name="T22" fmla="*/ 2147483646 w 10"/>
                <a:gd name="T23" fmla="*/ 2147483646 h 32"/>
                <a:gd name="T24" fmla="*/ 2147483646 w 10"/>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2">
                  <a:moveTo>
                    <a:pt x="10" y="29"/>
                  </a:moveTo>
                  <a:lnTo>
                    <a:pt x="6" y="32"/>
                  </a:lnTo>
                  <a:lnTo>
                    <a:pt x="3" y="32"/>
                  </a:lnTo>
                  <a:lnTo>
                    <a:pt x="0" y="32"/>
                  </a:lnTo>
                  <a:lnTo>
                    <a:pt x="0" y="29"/>
                  </a:lnTo>
                  <a:lnTo>
                    <a:pt x="0" y="3"/>
                  </a:lnTo>
                  <a:lnTo>
                    <a:pt x="0" y="0"/>
                  </a:lnTo>
                  <a:lnTo>
                    <a:pt x="3" y="0"/>
                  </a:lnTo>
                  <a:lnTo>
                    <a:pt x="6" y="0"/>
                  </a:lnTo>
                  <a:lnTo>
                    <a:pt x="10" y="3"/>
                  </a:lnTo>
                  <a:lnTo>
                    <a:pt x="10" y="2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9" name="Freeform 1123">
              <a:extLst>
                <a:ext uri="{FF2B5EF4-FFF2-40B4-BE49-F238E27FC236}">
                  <a16:creationId xmlns:a16="http://schemas.microsoft.com/office/drawing/2014/main" id="{F4465EBB-F4BC-0A4F-AC12-F3654AC05F16}"/>
                </a:ext>
              </a:extLst>
            </p:cNvPr>
            <p:cNvSpPr>
              <a:spLocks/>
            </p:cNvSpPr>
            <p:nvPr/>
          </p:nvSpPr>
          <p:spPr bwMode="auto">
            <a:xfrm>
              <a:off x="1236369" y="205244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0" name="Freeform 1124">
              <a:extLst>
                <a:ext uri="{FF2B5EF4-FFF2-40B4-BE49-F238E27FC236}">
                  <a16:creationId xmlns:a16="http://schemas.microsoft.com/office/drawing/2014/main" id="{40E4134B-1486-D740-8A42-8095C2584DB2}"/>
                </a:ext>
              </a:extLst>
            </p:cNvPr>
            <p:cNvSpPr>
              <a:spLocks/>
            </p:cNvSpPr>
            <p:nvPr/>
          </p:nvSpPr>
          <p:spPr bwMode="auto">
            <a:xfrm>
              <a:off x="1239858" y="2036556"/>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3" y="22"/>
                  </a:lnTo>
                  <a:lnTo>
                    <a:pt x="0" y="22"/>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1" name="Freeform 1125">
              <a:extLst>
                <a:ext uri="{FF2B5EF4-FFF2-40B4-BE49-F238E27FC236}">
                  <a16:creationId xmlns:a16="http://schemas.microsoft.com/office/drawing/2014/main" id="{354EC588-9E84-AF4C-AE06-A5A37E8F1194}"/>
                </a:ext>
              </a:extLst>
            </p:cNvPr>
            <p:cNvSpPr>
              <a:spLocks/>
            </p:cNvSpPr>
            <p:nvPr/>
          </p:nvSpPr>
          <p:spPr bwMode="auto">
            <a:xfrm>
              <a:off x="1239858" y="203655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2" name="Freeform 1126">
              <a:extLst>
                <a:ext uri="{FF2B5EF4-FFF2-40B4-BE49-F238E27FC236}">
                  <a16:creationId xmlns:a16="http://schemas.microsoft.com/office/drawing/2014/main" id="{9D1E381F-F428-634E-9DB7-567858D925BF}"/>
                </a:ext>
              </a:extLst>
            </p:cNvPr>
            <p:cNvSpPr>
              <a:spLocks/>
            </p:cNvSpPr>
            <p:nvPr/>
          </p:nvSpPr>
          <p:spPr bwMode="auto">
            <a:xfrm>
              <a:off x="1243347" y="2036556"/>
              <a:ext cx="38377" cy="8936"/>
            </a:xfrm>
            <a:custGeom>
              <a:avLst/>
              <a:gdLst>
                <a:gd name="T0" fmla="*/ 2147483646 w 33"/>
                <a:gd name="T1" fmla="*/ 2147483646 h 9"/>
                <a:gd name="T2" fmla="*/ 0 w 33"/>
                <a:gd name="T3" fmla="*/ 2147483646 h 9"/>
                <a:gd name="T4" fmla="*/ 0 w 33"/>
                <a:gd name="T5" fmla="*/ 2147483646 h 9"/>
                <a:gd name="T6" fmla="*/ 0 w 33"/>
                <a:gd name="T7" fmla="*/ 2147483646 h 9"/>
                <a:gd name="T8" fmla="*/ 0 w 33"/>
                <a:gd name="T9" fmla="*/ 0 h 9"/>
                <a:gd name="T10" fmla="*/ 2147483646 w 33"/>
                <a:gd name="T11" fmla="*/ 0 h 9"/>
                <a:gd name="T12" fmla="*/ 2147483646 w 33"/>
                <a:gd name="T13" fmla="*/ 0 h 9"/>
                <a:gd name="T14" fmla="*/ 2147483646 w 33"/>
                <a:gd name="T15" fmla="*/ 0 h 9"/>
                <a:gd name="T16" fmla="*/ 2147483646 w 33"/>
                <a:gd name="T17" fmla="*/ 2147483646 h 9"/>
                <a:gd name="T18" fmla="*/ 2147483646 w 33"/>
                <a:gd name="T19" fmla="*/ 2147483646 h 9"/>
                <a:gd name="T20" fmla="*/ 2147483646 w 33"/>
                <a:gd name="T21" fmla="*/ 2147483646 h 9"/>
                <a:gd name="T22" fmla="*/ 2147483646 w 33"/>
                <a:gd name="T23" fmla="*/ 2147483646 h 9"/>
                <a:gd name="T24" fmla="*/ 2147483646 w 3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9">
                  <a:moveTo>
                    <a:pt x="4" y="9"/>
                  </a:moveTo>
                  <a:lnTo>
                    <a:pt x="0" y="6"/>
                  </a:lnTo>
                  <a:lnTo>
                    <a:pt x="0" y="3"/>
                  </a:lnTo>
                  <a:lnTo>
                    <a:pt x="0" y="0"/>
                  </a:lnTo>
                  <a:lnTo>
                    <a:pt x="4" y="0"/>
                  </a:lnTo>
                  <a:lnTo>
                    <a:pt x="29" y="0"/>
                  </a:lnTo>
                  <a:lnTo>
                    <a:pt x="33" y="0"/>
                  </a:lnTo>
                  <a:lnTo>
                    <a:pt x="33" y="3"/>
                  </a:lnTo>
                  <a:lnTo>
                    <a:pt x="33" y="6"/>
                  </a:lnTo>
                  <a:lnTo>
                    <a:pt x="29"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3" name="Freeform 1127">
              <a:extLst>
                <a:ext uri="{FF2B5EF4-FFF2-40B4-BE49-F238E27FC236}">
                  <a16:creationId xmlns:a16="http://schemas.microsoft.com/office/drawing/2014/main" id="{F639BF19-2EDE-F94F-8662-204D3A87BD13}"/>
                </a:ext>
              </a:extLst>
            </p:cNvPr>
            <p:cNvSpPr>
              <a:spLocks/>
            </p:cNvSpPr>
            <p:nvPr/>
          </p:nvSpPr>
          <p:spPr bwMode="auto">
            <a:xfrm>
              <a:off x="1273583" y="2023649"/>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4" name="Freeform 1128">
              <a:extLst>
                <a:ext uri="{FF2B5EF4-FFF2-40B4-BE49-F238E27FC236}">
                  <a16:creationId xmlns:a16="http://schemas.microsoft.com/office/drawing/2014/main" id="{DAD104AF-2208-344C-878A-9474800D542A}"/>
                </a:ext>
              </a:extLst>
            </p:cNvPr>
            <p:cNvSpPr>
              <a:spLocks/>
            </p:cNvSpPr>
            <p:nvPr/>
          </p:nvSpPr>
          <p:spPr bwMode="auto">
            <a:xfrm>
              <a:off x="1273583" y="2023649"/>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5" name="Freeform 1129">
              <a:extLst>
                <a:ext uri="{FF2B5EF4-FFF2-40B4-BE49-F238E27FC236}">
                  <a16:creationId xmlns:a16="http://schemas.microsoft.com/office/drawing/2014/main" id="{A0AD1DEA-8A83-2D4E-A9A0-823F1A25E6F5}"/>
                </a:ext>
              </a:extLst>
            </p:cNvPr>
            <p:cNvSpPr>
              <a:spLocks/>
            </p:cNvSpPr>
            <p:nvPr/>
          </p:nvSpPr>
          <p:spPr bwMode="auto">
            <a:xfrm>
              <a:off x="1281723" y="2006771"/>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6" name="Freeform 1130">
              <a:extLst>
                <a:ext uri="{FF2B5EF4-FFF2-40B4-BE49-F238E27FC236}">
                  <a16:creationId xmlns:a16="http://schemas.microsoft.com/office/drawing/2014/main" id="{0B1DF6CA-28B4-EC4C-94E8-8814BF0E0B61}"/>
                </a:ext>
              </a:extLst>
            </p:cNvPr>
            <p:cNvSpPr>
              <a:spLocks/>
            </p:cNvSpPr>
            <p:nvPr/>
          </p:nvSpPr>
          <p:spPr bwMode="auto">
            <a:xfrm>
              <a:off x="1281723" y="200677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7" name="Freeform 1131">
              <a:extLst>
                <a:ext uri="{FF2B5EF4-FFF2-40B4-BE49-F238E27FC236}">
                  <a16:creationId xmlns:a16="http://schemas.microsoft.com/office/drawing/2014/main" id="{164328FD-4FB4-8847-9C21-6E45D9DDBBBA}"/>
                </a:ext>
              </a:extLst>
            </p:cNvPr>
            <p:cNvSpPr>
              <a:spLocks/>
            </p:cNvSpPr>
            <p:nvPr/>
          </p:nvSpPr>
          <p:spPr bwMode="auto">
            <a:xfrm>
              <a:off x="1288701" y="199485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8" name="Freeform 1132">
              <a:extLst>
                <a:ext uri="{FF2B5EF4-FFF2-40B4-BE49-F238E27FC236}">
                  <a16:creationId xmlns:a16="http://schemas.microsoft.com/office/drawing/2014/main" id="{D6DE454A-5D97-4E4B-AC14-39BAD291B3AE}"/>
                </a:ext>
              </a:extLst>
            </p:cNvPr>
            <p:cNvSpPr>
              <a:spLocks/>
            </p:cNvSpPr>
            <p:nvPr/>
          </p:nvSpPr>
          <p:spPr bwMode="auto">
            <a:xfrm>
              <a:off x="1288701" y="199485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9" name="Freeform 1133">
              <a:extLst>
                <a:ext uri="{FF2B5EF4-FFF2-40B4-BE49-F238E27FC236}">
                  <a16:creationId xmlns:a16="http://schemas.microsoft.com/office/drawing/2014/main" id="{E4749F0C-3AC7-2B4E-9F2C-EF7581ECE9B5}"/>
                </a:ext>
              </a:extLst>
            </p:cNvPr>
            <p:cNvSpPr>
              <a:spLocks/>
            </p:cNvSpPr>
            <p:nvPr/>
          </p:nvSpPr>
          <p:spPr bwMode="auto">
            <a:xfrm>
              <a:off x="1300330" y="198195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0" name="Freeform 1134">
              <a:extLst>
                <a:ext uri="{FF2B5EF4-FFF2-40B4-BE49-F238E27FC236}">
                  <a16:creationId xmlns:a16="http://schemas.microsoft.com/office/drawing/2014/main" id="{DAE6E093-6CF8-594A-93A0-CA2E96DE043E}"/>
                </a:ext>
              </a:extLst>
            </p:cNvPr>
            <p:cNvSpPr>
              <a:spLocks/>
            </p:cNvSpPr>
            <p:nvPr/>
          </p:nvSpPr>
          <p:spPr bwMode="auto">
            <a:xfrm>
              <a:off x="1300330" y="198195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1" name="Freeform 1135">
              <a:extLst>
                <a:ext uri="{FF2B5EF4-FFF2-40B4-BE49-F238E27FC236}">
                  <a16:creationId xmlns:a16="http://schemas.microsoft.com/office/drawing/2014/main" id="{AE8A8116-18D3-ED40-A331-35B1F4984C05}"/>
                </a:ext>
              </a:extLst>
            </p:cNvPr>
            <p:cNvSpPr>
              <a:spLocks/>
            </p:cNvSpPr>
            <p:nvPr/>
          </p:nvSpPr>
          <p:spPr bwMode="auto">
            <a:xfrm>
              <a:off x="1303819" y="1966064"/>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2" name="Freeform 1136">
              <a:extLst>
                <a:ext uri="{FF2B5EF4-FFF2-40B4-BE49-F238E27FC236}">
                  <a16:creationId xmlns:a16="http://schemas.microsoft.com/office/drawing/2014/main" id="{983DB3FB-E479-C24B-AFC5-AF5B4E5C3DF4}"/>
                </a:ext>
              </a:extLst>
            </p:cNvPr>
            <p:cNvSpPr>
              <a:spLocks/>
            </p:cNvSpPr>
            <p:nvPr/>
          </p:nvSpPr>
          <p:spPr bwMode="auto">
            <a:xfrm>
              <a:off x="1303819" y="196606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3" name="Freeform 1137">
              <a:extLst>
                <a:ext uri="{FF2B5EF4-FFF2-40B4-BE49-F238E27FC236}">
                  <a16:creationId xmlns:a16="http://schemas.microsoft.com/office/drawing/2014/main" id="{3F4A3790-7E8A-C244-A15E-6FEEE9DE52FE}"/>
                </a:ext>
              </a:extLst>
            </p:cNvPr>
            <p:cNvSpPr>
              <a:spLocks/>
            </p:cNvSpPr>
            <p:nvPr/>
          </p:nvSpPr>
          <p:spPr bwMode="auto">
            <a:xfrm>
              <a:off x="1307307" y="195315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4" name="Freeform 1138">
              <a:extLst>
                <a:ext uri="{FF2B5EF4-FFF2-40B4-BE49-F238E27FC236}">
                  <a16:creationId xmlns:a16="http://schemas.microsoft.com/office/drawing/2014/main" id="{224B0A86-9EB4-B94A-A45F-B7EE8B37858B}"/>
                </a:ext>
              </a:extLst>
            </p:cNvPr>
            <p:cNvSpPr>
              <a:spLocks/>
            </p:cNvSpPr>
            <p:nvPr/>
          </p:nvSpPr>
          <p:spPr bwMode="auto">
            <a:xfrm>
              <a:off x="1307307" y="195315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5" name="Freeform 1139">
              <a:extLst>
                <a:ext uri="{FF2B5EF4-FFF2-40B4-BE49-F238E27FC236}">
                  <a16:creationId xmlns:a16="http://schemas.microsoft.com/office/drawing/2014/main" id="{65E2599E-B03F-1E46-B8D0-C9D63962A938}"/>
                </a:ext>
              </a:extLst>
            </p:cNvPr>
            <p:cNvSpPr>
              <a:spLocks/>
            </p:cNvSpPr>
            <p:nvPr/>
          </p:nvSpPr>
          <p:spPr bwMode="auto">
            <a:xfrm>
              <a:off x="1318936" y="1936279"/>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6" y="23"/>
                  </a:lnTo>
                  <a:lnTo>
                    <a:pt x="3" y="23"/>
                  </a:lnTo>
                  <a:lnTo>
                    <a:pt x="0" y="23"/>
                  </a:lnTo>
                  <a:lnTo>
                    <a:pt x="0" y="20"/>
                  </a:lnTo>
                  <a:lnTo>
                    <a:pt x="0" y="4"/>
                  </a:lnTo>
                  <a:lnTo>
                    <a:pt x="0" y="0"/>
                  </a:lnTo>
                  <a:lnTo>
                    <a:pt x="3" y="0"/>
                  </a:lnTo>
                  <a:lnTo>
                    <a:pt x="6"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6" name="Freeform 1140">
              <a:extLst>
                <a:ext uri="{FF2B5EF4-FFF2-40B4-BE49-F238E27FC236}">
                  <a16:creationId xmlns:a16="http://schemas.microsoft.com/office/drawing/2014/main" id="{BB799AC2-4CCB-6148-ACEA-D9811F1CED5A}"/>
                </a:ext>
              </a:extLst>
            </p:cNvPr>
            <p:cNvSpPr>
              <a:spLocks/>
            </p:cNvSpPr>
            <p:nvPr/>
          </p:nvSpPr>
          <p:spPr bwMode="auto">
            <a:xfrm>
              <a:off x="1318936" y="1924365"/>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7" name="Freeform 1141">
              <a:extLst>
                <a:ext uri="{FF2B5EF4-FFF2-40B4-BE49-F238E27FC236}">
                  <a16:creationId xmlns:a16="http://schemas.microsoft.com/office/drawing/2014/main" id="{B1B29988-F95D-9540-BC51-312E377BC131}"/>
                </a:ext>
              </a:extLst>
            </p:cNvPr>
            <p:cNvSpPr>
              <a:spLocks/>
            </p:cNvSpPr>
            <p:nvPr/>
          </p:nvSpPr>
          <p:spPr bwMode="auto">
            <a:xfrm>
              <a:off x="1318936" y="192436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8" name="Freeform 1142">
              <a:extLst>
                <a:ext uri="{FF2B5EF4-FFF2-40B4-BE49-F238E27FC236}">
                  <a16:creationId xmlns:a16="http://schemas.microsoft.com/office/drawing/2014/main" id="{B4DC5C63-F520-514B-984A-802588A1A02D}"/>
                </a:ext>
              </a:extLst>
            </p:cNvPr>
            <p:cNvSpPr>
              <a:spLocks/>
            </p:cNvSpPr>
            <p:nvPr/>
          </p:nvSpPr>
          <p:spPr bwMode="auto">
            <a:xfrm>
              <a:off x="1322426" y="1907487"/>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3" y="23"/>
                  </a:lnTo>
                  <a:lnTo>
                    <a:pt x="0" y="23"/>
                  </a:lnTo>
                  <a:lnTo>
                    <a:pt x="0" y="20"/>
                  </a:lnTo>
                  <a:lnTo>
                    <a:pt x="0" y="4"/>
                  </a:lnTo>
                  <a:lnTo>
                    <a:pt x="0" y="0"/>
                  </a:lnTo>
                  <a:lnTo>
                    <a:pt x="3"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9" name="Freeform 1143">
              <a:extLst>
                <a:ext uri="{FF2B5EF4-FFF2-40B4-BE49-F238E27FC236}">
                  <a16:creationId xmlns:a16="http://schemas.microsoft.com/office/drawing/2014/main" id="{BA6F369C-C658-EF4F-A9F9-AEC2A412353A}"/>
                </a:ext>
              </a:extLst>
            </p:cNvPr>
            <p:cNvSpPr>
              <a:spLocks/>
            </p:cNvSpPr>
            <p:nvPr/>
          </p:nvSpPr>
          <p:spPr bwMode="auto">
            <a:xfrm>
              <a:off x="1322426" y="1907487"/>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0" name="Freeform 1144">
              <a:extLst>
                <a:ext uri="{FF2B5EF4-FFF2-40B4-BE49-F238E27FC236}">
                  <a16:creationId xmlns:a16="http://schemas.microsoft.com/office/drawing/2014/main" id="{6528DCBC-B395-734C-9BBA-2E1929BEF38A}"/>
                </a:ext>
              </a:extLst>
            </p:cNvPr>
            <p:cNvSpPr>
              <a:spLocks/>
            </p:cNvSpPr>
            <p:nvPr/>
          </p:nvSpPr>
          <p:spPr bwMode="auto">
            <a:xfrm>
              <a:off x="1337543" y="1895572"/>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1" name="Freeform 1145">
              <a:extLst>
                <a:ext uri="{FF2B5EF4-FFF2-40B4-BE49-F238E27FC236}">
                  <a16:creationId xmlns:a16="http://schemas.microsoft.com/office/drawing/2014/main" id="{90C89ED9-13AD-0D41-973A-1D6A87200742}"/>
                </a:ext>
              </a:extLst>
            </p:cNvPr>
            <p:cNvSpPr>
              <a:spLocks/>
            </p:cNvSpPr>
            <p:nvPr/>
          </p:nvSpPr>
          <p:spPr bwMode="auto">
            <a:xfrm>
              <a:off x="1337543" y="1895572"/>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3" y="0"/>
                  </a:lnTo>
                  <a:lnTo>
                    <a:pt x="26" y="0"/>
                  </a:lnTo>
                  <a:lnTo>
                    <a:pt x="26" y="3"/>
                  </a:lnTo>
                  <a:lnTo>
                    <a:pt x="26" y="6"/>
                  </a:lnTo>
                  <a:lnTo>
                    <a:pt x="2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2" name="Freeform 1146">
              <a:extLst>
                <a:ext uri="{FF2B5EF4-FFF2-40B4-BE49-F238E27FC236}">
                  <a16:creationId xmlns:a16="http://schemas.microsoft.com/office/drawing/2014/main" id="{3B17B422-0B9D-5247-BFB0-51D932A633E3}"/>
                </a:ext>
              </a:extLst>
            </p:cNvPr>
            <p:cNvSpPr>
              <a:spLocks/>
            </p:cNvSpPr>
            <p:nvPr/>
          </p:nvSpPr>
          <p:spPr bwMode="auto">
            <a:xfrm>
              <a:off x="1359639" y="1882665"/>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3" name="Freeform 1147">
              <a:extLst>
                <a:ext uri="{FF2B5EF4-FFF2-40B4-BE49-F238E27FC236}">
                  <a16:creationId xmlns:a16="http://schemas.microsoft.com/office/drawing/2014/main" id="{653D45E6-132C-324A-AD33-C0CEF08F6C8B}"/>
                </a:ext>
              </a:extLst>
            </p:cNvPr>
            <p:cNvSpPr>
              <a:spLocks/>
            </p:cNvSpPr>
            <p:nvPr/>
          </p:nvSpPr>
          <p:spPr bwMode="auto">
            <a:xfrm>
              <a:off x="1359639" y="188266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4" name="Freeform 1148">
              <a:extLst>
                <a:ext uri="{FF2B5EF4-FFF2-40B4-BE49-F238E27FC236}">
                  <a16:creationId xmlns:a16="http://schemas.microsoft.com/office/drawing/2014/main" id="{DAD4EC76-8B52-BB4D-92D9-B19D8E6D91DF}"/>
                </a:ext>
              </a:extLst>
            </p:cNvPr>
            <p:cNvSpPr>
              <a:spLocks/>
            </p:cNvSpPr>
            <p:nvPr/>
          </p:nvSpPr>
          <p:spPr bwMode="auto">
            <a:xfrm>
              <a:off x="1364291" y="1882665"/>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5" name="Freeform 1149">
              <a:extLst>
                <a:ext uri="{FF2B5EF4-FFF2-40B4-BE49-F238E27FC236}">
                  <a16:creationId xmlns:a16="http://schemas.microsoft.com/office/drawing/2014/main" id="{E32B2CAB-4CCE-EE47-944A-5392D788EB6C}"/>
                </a:ext>
              </a:extLst>
            </p:cNvPr>
            <p:cNvSpPr>
              <a:spLocks/>
            </p:cNvSpPr>
            <p:nvPr/>
          </p:nvSpPr>
          <p:spPr bwMode="auto">
            <a:xfrm>
              <a:off x="1367779" y="1865787"/>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6" name="Freeform 1150">
              <a:extLst>
                <a:ext uri="{FF2B5EF4-FFF2-40B4-BE49-F238E27FC236}">
                  <a16:creationId xmlns:a16="http://schemas.microsoft.com/office/drawing/2014/main" id="{40EFCA7F-E3FD-D840-A807-D1CB52C690E7}"/>
                </a:ext>
              </a:extLst>
            </p:cNvPr>
            <p:cNvSpPr>
              <a:spLocks/>
            </p:cNvSpPr>
            <p:nvPr/>
          </p:nvSpPr>
          <p:spPr bwMode="auto">
            <a:xfrm>
              <a:off x="1367779" y="186578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7" name="Freeform 1151">
              <a:extLst>
                <a:ext uri="{FF2B5EF4-FFF2-40B4-BE49-F238E27FC236}">
                  <a16:creationId xmlns:a16="http://schemas.microsoft.com/office/drawing/2014/main" id="{330263C3-41ED-2346-AE90-F3862D915767}"/>
                </a:ext>
              </a:extLst>
            </p:cNvPr>
            <p:cNvSpPr>
              <a:spLocks/>
            </p:cNvSpPr>
            <p:nvPr/>
          </p:nvSpPr>
          <p:spPr bwMode="auto">
            <a:xfrm>
              <a:off x="1371268" y="185387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8" name="Freeform 1152">
              <a:extLst>
                <a:ext uri="{FF2B5EF4-FFF2-40B4-BE49-F238E27FC236}">
                  <a16:creationId xmlns:a16="http://schemas.microsoft.com/office/drawing/2014/main" id="{0868F9A8-1047-614D-913F-FD5CAC467B0F}"/>
                </a:ext>
              </a:extLst>
            </p:cNvPr>
            <p:cNvSpPr>
              <a:spLocks/>
            </p:cNvSpPr>
            <p:nvPr/>
          </p:nvSpPr>
          <p:spPr bwMode="auto">
            <a:xfrm>
              <a:off x="1371268" y="185387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9" name="Freeform 1153">
              <a:extLst>
                <a:ext uri="{FF2B5EF4-FFF2-40B4-BE49-F238E27FC236}">
                  <a16:creationId xmlns:a16="http://schemas.microsoft.com/office/drawing/2014/main" id="{37D7DC78-AC94-904F-87EF-506D0446A248}"/>
                </a:ext>
              </a:extLst>
            </p:cNvPr>
            <p:cNvSpPr>
              <a:spLocks/>
            </p:cNvSpPr>
            <p:nvPr/>
          </p:nvSpPr>
          <p:spPr bwMode="auto">
            <a:xfrm>
              <a:off x="1374757" y="1836994"/>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3" y="23"/>
                  </a:lnTo>
                  <a:lnTo>
                    <a:pt x="0" y="23"/>
                  </a:lnTo>
                  <a:lnTo>
                    <a:pt x="0" y="20"/>
                  </a:lnTo>
                  <a:lnTo>
                    <a:pt x="0" y="4"/>
                  </a:lnTo>
                  <a:lnTo>
                    <a:pt x="0" y="0"/>
                  </a:lnTo>
                  <a:lnTo>
                    <a:pt x="3"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0" name="Freeform 1154">
              <a:extLst>
                <a:ext uri="{FF2B5EF4-FFF2-40B4-BE49-F238E27FC236}">
                  <a16:creationId xmlns:a16="http://schemas.microsoft.com/office/drawing/2014/main" id="{AE03EDE3-5BDF-4C4E-96EC-5D8177414E18}"/>
                </a:ext>
              </a:extLst>
            </p:cNvPr>
            <p:cNvSpPr>
              <a:spLocks/>
            </p:cNvSpPr>
            <p:nvPr/>
          </p:nvSpPr>
          <p:spPr bwMode="auto">
            <a:xfrm>
              <a:off x="1374757" y="183699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1" name="Freeform 1155">
              <a:extLst>
                <a:ext uri="{FF2B5EF4-FFF2-40B4-BE49-F238E27FC236}">
                  <a16:creationId xmlns:a16="http://schemas.microsoft.com/office/drawing/2014/main" id="{A949E3EA-5FBF-AF4E-BC10-0F00C03AD182}"/>
                </a:ext>
              </a:extLst>
            </p:cNvPr>
            <p:cNvSpPr>
              <a:spLocks/>
            </p:cNvSpPr>
            <p:nvPr/>
          </p:nvSpPr>
          <p:spPr bwMode="auto">
            <a:xfrm>
              <a:off x="1378246" y="1821109"/>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4"/>
                  </a:lnTo>
                  <a:lnTo>
                    <a:pt x="0" y="0"/>
                  </a:lnTo>
                  <a:lnTo>
                    <a:pt x="4"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2" name="Freeform 1156">
              <a:extLst>
                <a:ext uri="{FF2B5EF4-FFF2-40B4-BE49-F238E27FC236}">
                  <a16:creationId xmlns:a16="http://schemas.microsoft.com/office/drawing/2014/main" id="{8F95655B-3DF4-B240-900C-E114D05A7DCC}"/>
                </a:ext>
              </a:extLst>
            </p:cNvPr>
            <p:cNvSpPr>
              <a:spLocks/>
            </p:cNvSpPr>
            <p:nvPr/>
          </p:nvSpPr>
          <p:spPr bwMode="auto">
            <a:xfrm>
              <a:off x="1378246" y="182110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3" name="Freeform 1157">
              <a:extLst>
                <a:ext uri="{FF2B5EF4-FFF2-40B4-BE49-F238E27FC236}">
                  <a16:creationId xmlns:a16="http://schemas.microsoft.com/office/drawing/2014/main" id="{7953D7EB-A6DD-6A4C-9B58-F9DB70E41CE6}"/>
                </a:ext>
              </a:extLst>
            </p:cNvPr>
            <p:cNvSpPr>
              <a:spLocks/>
            </p:cNvSpPr>
            <p:nvPr/>
          </p:nvSpPr>
          <p:spPr bwMode="auto">
            <a:xfrm>
              <a:off x="1382898" y="1808202"/>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4" name="Freeform 1158">
              <a:extLst>
                <a:ext uri="{FF2B5EF4-FFF2-40B4-BE49-F238E27FC236}">
                  <a16:creationId xmlns:a16="http://schemas.microsoft.com/office/drawing/2014/main" id="{CC9F8E42-7868-D54C-AA9B-2DA8E27DEB6E}"/>
                </a:ext>
              </a:extLst>
            </p:cNvPr>
            <p:cNvSpPr>
              <a:spLocks/>
            </p:cNvSpPr>
            <p:nvPr/>
          </p:nvSpPr>
          <p:spPr bwMode="auto">
            <a:xfrm>
              <a:off x="1382898" y="1808202"/>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5" name="Freeform 1159">
              <a:extLst>
                <a:ext uri="{FF2B5EF4-FFF2-40B4-BE49-F238E27FC236}">
                  <a16:creationId xmlns:a16="http://schemas.microsoft.com/office/drawing/2014/main" id="{FD78077E-11F5-3E48-883A-CD5DCDD97292}"/>
                </a:ext>
              </a:extLst>
            </p:cNvPr>
            <p:cNvSpPr>
              <a:spLocks/>
            </p:cNvSpPr>
            <p:nvPr/>
          </p:nvSpPr>
          <p:spPr bwMode="auto">
            <a:xfrm>
              <a:off x="1398015" y="1792317"/>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3"/>
                  </a:lnTo>
                  <a:lnTo>
                    <a:pt x="0" y="0"/>
                  </a:lnTo>
                  <a:lnTo>
                    <a:pt x="3" y="0"/>
                  </a:lnTo>
                  <a:lnTo>
                    <a:pt x="6" y="0"/>
                  </a:lnTo>
                  <a:lnTo>
                    <a:pt x="9" y="3"/>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6" name="Freeform 1160">
              <a:extLst>
                <a:ext uri="{FF2B5EF4-FFF2-40B4-BE49-F238E27FC236}">
                  <a16:creationId xmlns:a16="http://schemas.microsoft.com/office/drawing/2014/main" id="{8128AF3F-357F-944C-B7A5-8E085A3B5D25}"/>
                </a:ext>
              </a:extLst>
            </p:cNvPr>
            <p:cNvSpPr>
              <a:spLocks/>
            </p:cNvSpPr>
            <p:nvPr/>
          </p:nvSpPr>
          <p:spPr bwMode="auto">
            <a:xfrm>
              <a:off x="1398015" y="179231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7" name="Freeform 1161">
              <a:extLst>
                <a:ext uri="{FF2B5EF4-FFF2-40B4-BE49-F238E27FC236}">
                  <a16:creationId xmlns:a16="http://schemas.microsoft.com/office/drawing/2014/main" id="{61C346E0-5274-9D49-899B-D759BCD21766}"/>
                </a:ext>
              </a:extLst>
            </p:cNvPr>
            <p:cNvSpPr>
              <a:spLocks/>
            </p:cNvSpPr>
            <p:nvPr/>
          </p:nvSpPr>
          <p:spPr bwMode="auto">
            <a:xfrm>
              <a:off x="1401504" y="1779410"/>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8" name="Freeform 1162">
              <a:extLst>
                <a:ext uri="{FF2B5EF4-FFF2-40B4-BE49-F238E27FC236}">
                  <a16:creationId xmlns:a16="http://schemas.microsoft.com/office/drawing/2014/main" id="{8438880C-B768-EF43-9567-C8AB20CB96DD}"/>
                </a:ext>
              </a:extLst>
            </p:cNvPr>
            <p:cNvSpPr>
              <a:spLocks/>
            </p:cNvSpPr>
            <p:nvPr/>
          </p:nvSpPr>
          <p:spPr bwMode="auto">
            <a:xfrm>
              <a:off x="1401504" y="177941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9" name="Freeform 1163">
              <a:extLst>
                <a:ext uri="{FF2B5EF4-FFF2-40B4-BE49-F238E27FC236}">
                  <a16:creationId xmlns:a16="http://schemas.microsoft.com/office/drawing/2014/main" id="{819C0F1B-6157-B949-A3E6-E5A79DA28404}"/>
                </a:ext>
              </a:extLst>
            </p:cNvPr>
            <p:cNvSpPr>
              <a:spLocks/>
            </p:cNvSpPr>
            <p:nvPr/>
          </p:nvSpPr>
          <p:spPr bwMode="auto">
            <a:xfrm>
              <a:off x="1404993" y="1763524"/>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6" y="23"/>
                  </a:lnTo>
                  <a:lnTo>
                    <a:pt x="3" y="23"/>
                  </a:lnTo>
                  <a:lnTo>
                    <a:pt x="0" y="23"/>
                  </a:lnTo>
                  <a:lnTo>
                    <a:pt x="0" y="20"/>
                  </a:lnTo>
                  <a:lnTo>
                    <a:pt x="0" y="3"/>
                  </a:lnTo>
                  <a:lnTo>
                    <a:pt x="0" y="0"/>
                  </a:lnTo>
                  <a:lnTo>
                    <a:pt x="3" y="0"/>
                  </a:lnTo>
                  <a:lnTo>
                    <a:pt x="6" y="0"/>
                  </a:lnTo>
                  <a:lnTo>
                    <a:pt x="10" y="3"/>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0" name="Freeform 1164">
              <a:extLst>
                <a:ext uri="{FF2B5EF4-FFF2-40B4-BE49-F238E27FC236}">
                  <a16:creationId xmlns:a16="http://schemas.microsoft.com/office/drawing/2014/main" id="{0162C82A-F45B-3940-8B59-CC76FD3FC6E1}"/>
                </a:ext>
              </a:extLst>
            </p:cNvPr>
            <p:cNvSpPr>
              <a:spLocks/>
            </p:cNvSpPr>
            <p:nvPr/>
          </p:nvSpPr>
          <p:spPr bwMode="auto">
            <a:xfrm>
              <a:off x="1404993" y="176352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1" name="Freeform 1165">
              <a:extLst>
                <a:ext uri="{FF2B5EF4-FFF2-40B4-BE49-F238E27FC236}">
                  <a16:creationId xmlns:a16="http://schemas.microsoft.com/office/drawing/2014/main" id="{B68E356C-1737-AD40-BA45-5DC09245C170}"/>
                </a:ext>
              </a:extLst>
            </p:cNvPr>
            <p:cNvSpPr>
              <a:spLocks/>
            </p:cNvSpPr>
            <p:nvPr/>
          </p:nvSpPr>
          <p:spPr bwMode="auto">
            <a:xfrm>
              <a:off x="1408482" y="1750617"/>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4"/>
                  </a:lnTo>
                  <a:lnTo>
                    <a:pt x="0" y="0"/>
                  </a:lnTo>
                  <a:lnTo>
                    <a:pt x="3" y="0"/>
                  </a:lnTo>
                  <a:lnTo>
                    <a:pt x="7" y="0"/>
                  </a:lnTo>
                  <a:lnTo>
                    <a:pt x="10" y="4"/>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2" name="Freeform 1166">
              <a:extLst>
                <a:ext uri="{FF2B5EF4-FFF2-40B4-BE49-F238E27FC236}">
                  <a16:creationId xmlns:a16="http://schemas.microsoft.com/office/drawing/2014/main" id="{958591B1-8F2C-6441-9B91-A9B68B02EB50}"/>
                </a:ext>
              </a:extLst>
            </p:cNvPr>
            <p:cNvSpPr>
              <a:spLocks/>
            </p:cNvSpPr>
            <p:nvPr/>
          </p:nvSpPr>
          <p:spPr bwMode="auto">
            <a:xfrm>
              <a:off x="1408482" y="175061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3" name="Freeform 1167">
              <a:extLst>
                <a:ext uri="{FF2B5EF4-FFF2-40B4-BE49-F238E27FC236}">
                  <a16:creationId xmlns:a16="http://schemas.microsoft.com/office/drawing/2014/main" id="{8AEFEB38-840D-7249-A7F0-317874F01383}"/>
                </a:ext>
              </a:extLst>
            </p:cNvPr>
            <p:cNvSpPr>
              <a:spLocks/>
            </p:cNvSpPr>
            <p:nvPr/>
          </p:nvSpPr>
          <p:spPr bwMode="auto">
            <a:xfrm>
              <a:off x="1420111" y="1734732"/>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6" y="23"/>
                  </a:lnTo>
                  <a:lnTo>
                    <a:pt x="3" y="23"/>
                  </a:lnTo>
                  <a:lnTo>
                    <a:pt x="0" y="23"/>
                  </a:lnTo>
                  <a:lnTo>
                    <a:pt x="0" y="20"/>
                  </a:lnTo>
                  <a:lnTo>
                    <a:pt x="0" y="3"/>
                  </a:lnTo>
                  <a:lnTo>
                    <a:pt x="0" y="0"/>
                  </a:lnTo>
                  <a:lnTo>
                    <a:pt x="3" y="0"/>
                  </a:lnTo>
                  <a:lnTo>
                    <a:pt x="6" y="0"/>
                  </a:lnTo>
                  <a:lnTo>
                    <a:pt x="10" y="3"/>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4" name="Freeform 1168">
              <a:extLst>
                <a:ext uri="{FF2B5EF4-FFF2-40B4-BE49-F238E27FC236}">
                  <a16:creationId xmlns:a16="http://schemas.microsoft.com/office/drawing/2014/main" id="{4E754DF3-5986-AF47-B486-D6ADFD72171E}"/>
                </a:ext>
              </a:extLst>
            </p:cNvPr>
            <p:cNvSpPr>
              <a:spLocks/>
            </p:cNvSpPr>
            <p:nvPr/>
          </p:nvSpPr>
          <p:spPr bwMode="auto">
            <a:xfrm>
              <a:off x="1420111" y="1734732"/>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5" name="Freeform 1169">
              <a:extLst>
                <a:ext uri="{FF2B5EF4-FFF2-40B4-BE49-F238E27FC236}">
                  <a16:creationId xmlns:a16="http://schemas.microsoft.com/office/drawing/2014/main" id="{4F9BD275-0A7A-704A-98DA-19A28DCBD233}"/>
                </a:ext>
              </a:extLst>
            </p:cNvPr>
            <p:cNvSpPr>
              <a:spLocks/>
            </p:cNvSpPr>
            <p:nvPr/>
          </p:nvSpPr>
          <p:spPr bwMode="auto">
            <a:xfrm>
              <a:off x="1435229" y="1721825"/>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6" name="Freeform 1170">
              <a:extLst>
                <a:ext uri="{FF2B5EF4-FFF2-40B4-BE49-F238E27FC236}">
                  <a16:creationId xmlns:a16="http://schemas.microsoft.com/office/drawing/2014/main" id="{ED070E58-05DB-D74B-A5F0-436763237B90}"/>
                </a:ext>
              </a:extLst>
            </p:cNvPr>
            <p:cNvSpPr>
              <a:spLocks/>
            </p:cNvSpPr>
            <p:nvPr/>
          </p:nvSpPr>
          <p:spPr bwMode="auto">
            <a:xfrm>
              <a:off x="1435229" y="172182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7" name="Freeform 1171">
              <a:extLst>
                <a:ext uri="{FF2B5EF4-FFF2-40B4-BE49-F238E27FC236}">
                  <a16:creationId xmlns:a16="http://schemas.microsoft.com/office/drawing/2014/main" id="{948D5497-CB29-364D-AFCE-B3397CF68417}"/>
                </a:ext>
              </a:extLst>
            </p:cNvPr>
            <p:cNvSpPr>
              <a:spLocks/>
            </p:cNvSpPr>
            <p:nvPr/>
          </p:nvSpPr>
          <p:spPr bwMode="auto">
            <a:xfrm>
              <a:off x="1442206" y="1705939"/>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7" y="23"/>
                  </a:lnTo>
                  <a:lnTo>
                    <a:pt x="3" y="23"/>
                  </a:lnTo>
                  <a:lnTo>
                    <a:pt x="0" y="23"/>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8" name="Freeform 1172">
              <a:extLst>
                <a:ext uri="{FF2B5EF4-FFF2-40B4-BE49-F238E27FC236}">
                  <a16:creationId xmlns:a16="http://schemas.microsoft.com/office/drawing/2014/main" id="{02BB7C83-BF2B-4D47-B61E-F3EE13187329}"/>
                </a:ext>
              </a:extLst>
            </p:cNvPr>
            <p:cNvSpPr>
              <a:spLocks/>
            </p:cNvSpPr>
            <p:nvPr/>
          </p:nvSpPr>
          <p:spPr bwMode="auto">
            <a:xfrm>
              <a:off x="1442206" y="1705939"/>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3" y="10"/>
                  </a:moveTo>
                  <a:lnTo>
                    <a:pt x="0" y="7"/>
                  </a:lnTo>
                  <a:lnTo>
                    <a:pt x="0" y="3"/>
                  </a:lnTo>
                  <a:lnTo>
                    <a:pt x="0" y="0"/>
                  </a:lnTo>
                  <a:lnTo>
                    <a:pt x="3" y="0"/>
                  </a:lnTo>
                  <a:lnTo>
                    <a:pt x="20" y="0"/>
                  </a:lnTo>
                  <a:lnTo>
                    <a:pt x="23" y="0"/>
                  </a:lnTo>
                  <a:lnTo>
                    <a:pt x="23" y="3"/>
                  </a:lnTo>
                  <a:lnTo>
                    <a:pt x="23" y="7"/>
                  </a:lnTo>
                  <a:lnTo>
                    <a:pt x="20"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9" name="Freeform 1173">
              <a:extLst>
                <a:ext uri="{FF2B5EF4-FFF2-40B4-BE49-F238E27FC236}">
                  <a16:creationId xmlns:a16="http://schemas.microsoft.com/office/drawing/2014/main" id="{F5DAB74F-4B5E-7B46-9290-6B7198F2B452}"/>
                </a:ext>
              </a:extLst>
            </p:cNvPr>
            <p:cNvSpPr>
              <a:spLocks/>
            </p:cNvSpPr>
            <p:nvPr/>
          </p:nvSpPr>
          <p:spPr bwMode="auto">
            <a:xfrm>
              <a:off x="1460813" y="1693033"/>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0" name="Freeform 1174">
              <a:extLst>
                <a:ext uri="{FF2B5EF4-FFF2-40B4-BE49-F238E27FC236}">
                  <a16:creationId xmlns:a16="http://schemas.microsoft.com/office/drawing/2014/main" id="{15652385-E184-2346-A40A-E0F410723648}"/>
                </a:ext>
              </a:extLst>
            </p:cNvPr>
            <p:cNvSpPr>
              <a:spLocks/>
            </p:cNvSpPr>
            <p:nvPr/>
          </p:nvSpPr>
          <p:spPr bwMode="auto">
            <a:xfrm>
              <a:off x="1460813" y="169303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7"/>
                  </a:lnTo>
                  <a:lnTo>
                    <a:pt x="0" y="3"/>
                  </a:lnTo>
                  <a:lnTo>
                    <a:pt x="0" y="0"/>
                  </a:lnTo>
                  <a:lnTo>
                    <a:pt x="4" y="0"/>
                  </a:lnTo>
                  <a:lnTo>
                    <a:pt x="13" y="0"/>
                  </a:lnTo>
                  <a:lnTo>
                    <a:pt x="16" y="0"/>
                  </a:lnTo>
                  <a:lnTo>
                    <a:pt x="16" y="3"/>
                  </a:lnTo>
                  <a:lnTo>
                    <a:pt x="16" y="7"/>
                  </a:lnTo>
                  <a:lnTo>
                    <a:pt x="13"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1" name="Freeform 1175">
              <a:extLst>
                <a:ext uri="{FF2B5EF4-FFF2-40B4-BE49-F238E27FC236}">
                  <a16:creationId xmlns:a16="http://schemas.microsoft.com/office/drawing/2014/main" id="{FF1EEC6F-53D8-5D4E-BC4D-F966586700BB}"/>
                </a:ext>
              </a:extLst>
            </p:cNvPr>
            <p:cNvSpPr>
              <a:spLocks/>
            </p:cNvSpPr>
            <p:nvPr/>
          </p:nvSpPr>
          <p:spPr bwMode="auto">
            <a:xfrm>
              <a:off x="1472442" y="1677147"/>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6" y="23"/>
                  </a:lnTo>
                  <a:lnTo>
                    <a:pt x="3" y="23"/>
                  </a:lnTo>
                  <a:lnTo>
                    <a:pt x="0" y="23"/>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2" name="Freeform 1176">
              <a:extLst>
                <a:ext uri="{FF2B5EF4-FFF2-40B4-BE49-F238E27FC236}">
                  <a16:creationId xmlns:a16="http://schemas.microsoft.com/office/drawing/2014/main" id="{FC17716C-7267-9148-968C-A9B8E04D206E}"/>
                </a:ext>
              </a:extLst>
            </p:cNvPr>
            <p:cNvSpPr>
              <a:spLocks/>
            </p:cNvSpPr>
            <p:nvPr/>
          </p:nvSpPr>
          <p:spPr bwMode="auto">
            <a:xfrm>
              <a:off x="1472442" y="16771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3" name="Freeform 1177">
              <a:extLst>
                <a:ext uri="{FF2B5EF4-FFF2-40B4-BE49-F238E27FC236}">
                  <a16:creationId xmlns:a16="http://schemas.microsoft.com/office/drawing/2014/main" id="{5F951B0F-5BBD-1744-8868-B8A70E9275F1}"/>
                </a:ext>
              </a:extLst>
            </p:cNvPr>
            <p:cNvSpPr>
              <a:spLocks/>
            </p:cNvSpPr>
            <p:nvPr/>
          </p:nvSpPr>
          <p:spPr bwMode="auto">
            <a:xfrm>
              <a:off x="1479420" y="1661262"/>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7" y="23"/>
                  </a:lnTo>
                  <a:lnTo>
                    <a:pt x="4" y="23"/>
                  </a:lnTo>
                  <a:lnTo>
                    <a:pt x="0" y="23"/>
                  </a:lnTo>
                  <a:lnTo>
                    <a:pt x="0" y="19"/>
                  </a:lnTo>
                  <a:lnTo>
                    <a:pt x="0" y="3"/>
                  </a:lnTo>
                  <a:lnTo>
                    <a:pt x="0" y="0"/>
                  </a:lnTo>
                  <a:lnTo>
                    <a:pt x="4"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4" name="Freeform 1178">
              <a:extLst>
                <a:ext uri="{FF2B5EF4-FFF2-40B4-BE49-F238E27FC236}">
                  <a16:creationId xmlns:a16="http://schemas.microsoft.com/office/drawing/2014/main" id="{7FCC132B-E613-0742-A80D-B2858FB19C89}"/>
                </a:ext>
              </a:extLst>
            </p:cNvPr>
            <p:cNvSpPr>
              <a:spLocks/>
            </p:cNvSpPr>
            <p:nvPr/>
          </p:nvSpPr>
          <p:spPr bwMode="auto">
            <a:xfrm>
              <a:off x="1479420" y="166126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5" name="Freeform 1179">
              <a:extLst>
                <a:ext uri="{FF2B5EF4-FFF2-40B4-BE49-F238E27FC236}">
                  <a16:creationId xmlns:a16="http://schemas.microsoft.com/office/drawing/2014/main" id="{3536995A-B521-FC4B-960F-FA7528BF49ED}"/>
                </a:ext>
              </a:extLst>
            </p:cNvPr>
            <p:cNvSpPr>
              <a:spLocks/>
            </p:cNvSpPr>
            <p:nvPr/>
          </p:nvSpPr>
          <p:spPr bwMode="auto">
            <a:xfrm>
              <a:off x="1484071" y="1648354"/>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6" name="Freeform 1180">
              <a:extLst>
                <a:ext uri="{FF2B5EF4-FFF2-40B4-BE49-F238E27FC236}">
                  <a16:creationId xmlns:a16="http://schemas.microsoft.com/office/drawing/2014/main" id="{0FE3EB0E-D82E-F74E-AF32-E096E31BDFA7}"/>
                </a:ext>
              </a:extLst>
            </p:cNvPr>
            <p:cNvSpPr>
              <a:spLocks/>
            </p:cNvSpPr>
            <p:nvPr/>
          </p:nvSpPr>
          <p:spPr bwMode="auto">
            <a:xfrm>
              <a:off x="1484071" y="164835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7" name="Freeform 1181">
              <a:extLst>
                <a:ext uri="{FF2B5EF4-FFF2-40B4-BE49-F238E27FC236}">
                  <a16:creationId xmlns:a16="http://schemas.microsoft.com/office/drawing/2014/main" id="{F2D55EE3-5B03-724E-A26F-46DE5F479972}"/>
                </a:ext>
              </a:extLst>
            </p:cNvPr>
            <p:cNvSpPr>
              <a:spLocks/>
            </p:cNvSpPr>
            <p:nvPr/>
          </p:nvSpPr>
          <p:spPr bwMode="auto">
            <a:xfrm>
              <a:off x="1491049" y="164835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8" name="Freeform 1182">
              <a:extLst>
                <a:ext uri="{FF2B5EF4-FFF2-40B4-BE49-F238E27FC236}">
                  <a16:creationId xmlns:a16="http://schemas.microsoft.com/office/drawing/2014/main" id="{A812AD6E-7C76-414C-9CA1-2D8056131BC3}"/>
                </a:ext>
              </a:extLst>
            </p:cNvPr>
            <p:cNvSpPr>
              <a:spLocks/>
            </p:cNvSpPr>
            <p:nvPr/>
          </p:nvSpPr>
          <p:spPr bwMode="auto">
            <a:xfrm>
              <a:off x="1502678" y="1632469"/>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9" name="Freeform 1183">
              <a:extLst>
                <a:ext uri="{FF2B5EF4-FFF2-40B4-BE49-F238E27FC236}">
                  <a16:creationId xmlns:a16="http://schemas.microsoft.com/office/drawing/2014/main" id="{4BD86AC2-E45D-F546-ACDE-241EAD07A7BB}"/>
                </a:ext>
              </a:extLst>
            </p:cNvPr>
            <p:cNvSpPr>
              <a:spLocks/>
            </p:cNvSpPr>
            <p:nvPr/>
          </p:nvSpPr>
          <p:spPr bwMode="auto">
            <a:xfrm>
              <a:off x="1502678" y="163246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0" name="Freeform 1184">
              <a:extLst>
                <a:ext uri="{FF2B5EF4-FFF2-40B4-BE49-F238E27FC236}">
                  <a16:creationId xmlns:a16="http://schemas.microsoft.com/office/drawing/2014/main" id="{C7292362-4646-DD48-BF0E-367D0300C7AB}"/>
                </a:ext>
              </a:extLst>
            </p:cNvPr>
            <p:cNvSpPr>
              <a:spLocks/>
            </p:cNvSpPr>
            <p:nvPr/>
          </p:nvSpPr>
          <p:spPr bwMode="auto">
            <a:xfrm>
              <a:off x="1506167" y="1616583"/>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3" y="22"/>
                  </a:lnTo>
                  <a:lnTo>
                    <a:pt x="0" y="22"/>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1" name="Freeform 1185">
              <a:extLst>
                <a:ext uri="{FF2B5EF4-FFF2-40B4-BE49-F238E27FC236}">
                  <a16:creationId xmlns:a16="http://schemas.microsoft.com/office/drawing/2014/main" id="{8975756D-DFAC-7C4A-B2E7-B87227A8EC20}"/>
                </a:ext>
              </a:extLst>
            </p:cNvPr>
            <p:cNvSpPr>
              <a:spLocks/>
            </p:cNvSpPr>
            <p:nvPr/>
          </p:nvSpPr>
          <p:spPr bwMode="auto">
            <a:xfrm>
              <a:off x="1506167" y="1616583"/>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2" name="Freeform 1186">
              <a:extLst>
                <a:ext uri="{FF2B5EF4-FFF2-40B4-BE49-F238E27FC236}">
                  <a16:creationId xmlns:a16="http://schemas.microsoft.com/office/drawing/2014/main" id="{7EE16B4C-1F75-0348-8FAF-F0B8D43E0C57}"/>
                </a:ext>
              </a:extLst>
            </p:cNvPr>
            <p:cNvSpPr>
              <a:spLocks/>
            </p:cNvSpPr>
            <p:nvPr/>
          </p:nvSpPr>
          <p:spPr bwMode="auto">
            <a:xfrm>
              <a:off x="1521285" y="1600698"/>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3" name="Freeform 1187">
              <a:extLst>
                <a:ext uri="{FF2B5EF4-FFF2-40B4-BE49-F238E27FC236}">
                  <a16:creationId xmlns:a16="http://schemas.microsoft.com/office/drawing/2014/main" id="{1A4C8F0E-227D-B84A-B2FB-74A612F78F8F}"/>
                </a:ext>
              </a:extLst>
            </p:cNvPr>
            <p:cNvSpPr>
              <a:spLocks/>
            </p:cNvSpPr>
            <p:nvPr/>
          </p:nvSpPr>
          <p:spPr bwMode="auto">
            <a:xfrm>
              <a:off x="1521285" y="160069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4" name="Freeform 1188">
              <a:extLst>
                <a:ext uri="{FF2B5EF4-FFF2-40B4-BE49-F238E27FC236}">
                  <a16:creationId xmlns:a16="http://schemas.microsoft.com/office/drawing/2014/main" id="{3BD14008-9FF5-5644-A4C4-9DBC8EC95C36}"/>
                </a:ext>
              </a:extLst>
            </p:cNvPr>
            <p:cNvSpPr>
              <a:spLocks/>
            </p:cNvSpPr>
            <p:nvPr/>
          </p:nvSpPr>
          <p:spPr bwMode="auto">
            <a:xfrm>
              <a:off x="1528262" y="160069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5" name="Freeform 1189">
              <a:extLst>
                <a:ext uri="{FF2B5EF4-FFF2-40B4-BE49-F238E27FC236}">
                  <a16:creationId xmlns:a16="http://schemas.microsoft.com/office/drawing/2014/main" id="{044D89B3-CE86-E94A-A9D4-B77AE8850CB7}"/>
                </a:ext>
              </a:extLst>
            </p:cNvPr>
            <p:cNvSpPr>
              <a:spLocks/>
            </p:cNvSpPr>
            <p:nvPr/>
          </p:nvSpPr>
          <p:spPr bwMode="auto">
            <a:xfrm>
              <a:off x="1536403" y="1584812"/>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6" name="Freeform 1190">
              <a:extLst>
                <a:ext uri="{FF2B5EF4-FFF2-40B4-BE49-F238E27FC236}">
                  <a16:creationId xmlns:a16="http://schemas.microsoft.com/office/drawing/2014/main" id="{866F9733-D4D6-834E-B8F4-022B42F74BED}"/>
                </a:ext>
              </a:extLst>
            </p:cNvPr>
            <p:cNvSpPr>
              <a:spLocks/>
            </p:cNvSpPr>
            <p:nvPr/>
          </p:nvSpPr>
          <p:spPr bwMode="auto">
            <a:xfrm>
              <a:off x="1536403" y="1584812"/>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2" y="0"/>
                  </a:lnTo>
                  <a:lnTo>
                    <a:pt x="26" y="0"/>
                  </a:lnTo>
                  <a:lnTo>
                    <a:pt x="26" y="3"/>
                  </a:lnTo>
                  <a:lnTo>
                    <a:pt x="26" y="6"/>
                  </a:lnTo>
                  <a:lnTo>
                    <a:pt x="22"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7" name="Freeform 1191">
              <a:extLst>
                <a:ext uri="{FF2B5EF4-FFF2-40B4-BE49-F238E27FC236}">
                  <a16:creationId xmlns:a16="http://schemas.microsoft.com/office/drawing/2014/main" id="{E820C39D-2C37-3043-B4EA-9ACDC012D4A3}"/>
                </a:ext>
              </a:extLst>
            </p:cNvPr>
            <p:cNvSpPr>
              <a:spLocks/>
            </p:cNvSpPr>
            <p:nvPr/>
          </p:nvSpPr>
          <p:spPr bwMode="auto">
            <a:xfrm>
              <a:off x="1558498" y="1567934"/>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3" y="23"/>
                  </a:lnTo>
                  <a:lnTo>
                    <a:pt x="0" y="23"/>
                  </a:lnTo>
                  <a:lnTo>
                    <a:pt x="0" y="20"/>
                  </a:lnTo>
                  <a:lnTo>
                    <a:pt x="0" y="4"/>
                  </a:lnTo>
                  <a:lnTo>
                    <a:pt x="0" y="0"/>
                  </a:lnTo>
                  <a:lnTo>
                    <a:pt x="3"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8" name="Freeform 1192">
              <a:extLst>
                <a:ext uri="{FF2B5EF4-FFF2-40B4-BE49-F238E27FC236}">
                  <a16:creationId xmlns:a16="http://schemas.microsoft.com/office/drawing/2014/main" id="{43C48123-860C-844B-AF89-498CD968C4C1}"/>
                </a:ext>
              </a:extLst>
            </p:cNvPr>
            <p:cNvSpPr>
              <a:spLocks/>
            </p:cNvSpPr>
            <p:nvPr/>
          </p:nvSpPr>
          <p:spPr bwMode="auto">
            <a:xfrm>
              <a:off x="1558498" y="1567934"/>
              <a:ext cx="52332" cy="9928"/>
            </a:xfrm>
            <a:custGeom>
              <a:avLst/>
              <a:gdLst>
                <a:gd name="T0" fmla="*/ 2147483646 w 45"/>
                <a:gd name="T1" fmla="*/ 2147483646 h 10"/>
                <a:gd name="T2" fmla="*/ 0 w 45"/>
                <a:gd name="T3" fmla="*/ 2147483646 h 10"/>
                <a:gd name="T4" fmla="*/ 0 w 45"/>
                <a:gd name="T5" fmla="*/ 2147483646 h 10"/>
                <a:gd name="T6" fmla="*/ 0 w 45"/>
                <a:gd name="T7" fmla="*/ 2147483646 h 10"/>
                <a:gd name="T8" fmla="*/ 0 w 45"/>
                <a:gd name="T9" fmla="*/ 0 h 10"/>
                <a:gd name="T10" fmla="*/ 2147483646 w 45"/>
                <a:gd name="T11" fmla="*/ 0 h 10"/>
                <a:gd name="T12" fmla="*/ 2147483646 w 45"/>
                <a:gd name="T13" fmla="*/ 0 h 10"/>
                <a:gd name="T14" fmla="*/ 2147483646 w 45"/>
                <a:gd name="T15" fmla="*/ 0 h 10"/>
                <a:gd name="T16" fmla="*/ 2147483646 w 45"/>
                <a:gd name="T17" fmla="*/ 2147483646 h 10"/>
                <a:gd name="T18" fmla="*/ 2147483646 w 45"/>
                <a:gd name="T19" fmla="*/ 2147483646 h 10"/>
                <a:gd name="T20" fmla="*/ 2147483646 w 45"/>
                <a:gd name="T21" fmla="*/ 2147483646 h 10"/>
                <a:gd name="T22" fmla="*/ 2147483646 w 45"/>
                <a:gd name="T23" fmla="*/ 2147483646 h 10"/>
                <a:gd name="T24" fmla="*/ 2147483646 w 4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10">
                  <a:moveTo>
                    <a:pt x="3" y="10"/>
                  </a:moveTo>
                  <a:lnTo>
                    <a:pt x="0" y="7"/>
                  </a:lnTo>
                  <a:lnTo>
                    <a:pt x="0" y="4"/>
                  </a:lnTo>
                  <a:lnTo>
                    <a:pt x="0" y="0"/>
                  </a:lnTo>
                  <a:lnTo>
                    <a:pt x="3" y="0"/>
                  </a:lnTo>
                  <a:lnTo>
                    <a:pt x="42" y="0"/>
                  </a:lnTo>
                  <a:lnTo>
                    <a:pt x="45" y="0"/>
                  </a:lnTo>
                  <a:lnTo>
                    <a:pt x="45" y="4"/>
                  </a:lnTo>
                  <a:lnTo>
                    <a:pt x="45" y="7"/>
                  </a:lnTo>
                  <a:lnTo>
                    <a:pt x="4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9" name="Freeform 1193">
              <a:extLst>
                <a:ext uri="{FF2B5EF4-FFF2-40B4-BE49-F238E27FC236}">
                  <a16:creationId xmlns:a16="http://schemas.microsoft.com/office/drawing/2014/main" id="{FA1E17F8-EAEC-B64A-A54A-2FA742C6E83B}"/>
                </a:ext>
              </a:extLst>
            </p:cNvPr>
            <p:cNvSpPr>
              <a:spLocks/>
            </p:cNvSpPr>
            <p:nvPr/>
          </p:nvSpPr>
          <p:spPr bwMode="auto">
            <a:xfrm>
              <a:off x="1603853" y="1552049"/>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6" y="23"/>
                  </a:lnTo>
                  <a:lnTo>
                    <a:pt x="3" y="23"/>
                  </a:lnTo>
                  <a:lnTo>
                    <a:pt x="0" y="23"/>
                  </a:lnTo>
                  <a:lnTo>
                    <a:pt x="0" y="20"/>
                  </a:lnTo>
                  <a:lnTo>
                    <a:pt x="0" y="3"/>
                  </a:lnTo>
                  <a:lnTo>
                    <a:pt x="0" y="0"/>
                  </a:lnTo>
                  <a:lnTo>
                    <a:pt x="3" y="0"/>
                  </a:lnTo>
                  <a:lnTo>
                    <a:pt x="6" y="0"/>
                  </a:lnTo>
                  <a:lnTo>
                    <a:pt x="10" y="3"/>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0" name="Freeform 1194">
              <a:extLst>
                <a:ext uri="{FF2B5EF4-FFF2-40B4-BE49-F238E27FC236}">
                  <a16:creationId xmlns:a16="http://schemas.microsoft.com/office/drawing/2014/main" id="{030FD7B3-A7B1-1345-9B4F-A1B46EE8F58C}"/>
                </a:ext>
              </a:extLst>
            </p:cNvPr>
            <p:cNvSpPr>
              <a:spLocks/>
            </p:cNvSpPr>
            <p:nvPr/>
          </p:nvSpPr>
          <p:spPr bwMode="auto">
            <a:xfrm>
              <a:off x="1603853" y="1552049"/>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1" name="Freeform 1195">
              <a:extLst>
                <a:ext uri="{FF2B5EF4-FFF2-40B4-BE49-F238E27FC236}">
                  <a16:creationId xmlns:a16="http://schemas.microsoft.com/office/drawing/2014/main" id="{87086CA7-DF4A-9042-B2CE-745CB670C693}"/>
                </a:ext>
              </a:extLst>
            </p:cNvPr>
            <p:cNvSpPr>
              <a:spLocks/>
            </p:cNvSpPr>
            <p:nvPr/>
          </p:nvSpPr>
          <p:spPr bwMode="auto">
            <a:xfrm>
              <a:off x="1625948" y="15520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2" name="Freeform 1196">
              <a:extLst>
                <a:ext uri="{FF2B5EF4-FFF2-40B4-BE49-F238E27FC236}">
                  <a16:creationId xmlns:a16="http://schemas.microsoft.com/office/drawing/2014/main" id="{ACB5D54D-ED3B-EF4F-A598-34271CAAEB09}"/>
                </a:ext>
              </a:extLst>
            </p:cNvPr>
            <p:cNvSpPr>
              <a:spLocks/>
            </p:cNvSpPr>
            <p:nvPr/>
          </p:nvSpPr>
          <p:spPr bwMode="auto">
            <a:xfrm>
              <a:off x="1634089" y="1552049"/>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3"/>
                  </a:lnTo>
                  <a:lnTo>
                    <a:pt x="0" y="0"/>
                  </a:lnTo>
                  <a:lnTo>
                    <a:pt x="3" y="0"/>
                  </a:lnTo>
                  <a:lnTo>
                    <a:pt x="19" y="0"/>
                  </a:lnTo>
                  <a:lnTo>
                    <a:pt x="22" y="0"/>
                  </a:lnTo>
                  <a:lnTo>
                    <a:pt x="22" y="3"/>
                  </a:lnTo>
                  <a:lnTo>
                    <a:pt x="22" y="7"/>
                  </a:lnTo>
                  <a:lnTo>
                    <a:pt x="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3" name="Freeform 1197">
              <a:extLst>
                <a:ext uri="{FF2B5EF4-FFF2-40B4-BE49-F238E27FC236}">
                  <a16:creationId xmlns:a16="http://schemas.microsoft.com/office/drawing/2014/main" id="{925EE829-024A-5841-84E4-09F82D0243F2}"/>
                </a:ext>
              </a:extLst>
            </p:cNvPr>
            <p:cNvSpPr>
              <a:spLocks/>
            </p:cNvSpPr>
            <p:nvPr/>
          </p:nvSpPr>
          <p:spPr bwMode="auto">
            <a:xfrm>
              <a:off x="1652695" y="1552049"/>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4" name="Freeform 1198">
              <a:extLst>
                <a:ext uri="{FF2B5EF4-FFF2-40B4-BE49-F238E27FC236}">
                  <a16:creationId xmlns:a16="http://schemas.microsoft.com/office/drawing/2014/main" id="{09AC0682-EC5D-AF4E-AA17-8B0224F09980}"/>
                </a:ext>
              </a:extLst>
            </p:cNvPr>
            <p:cNvSpPr>
              <a:spLocks/>
            </p:cNvSpPr>
            <p:nvPr/>
          </p:nvSpPr>
          <p:spPr bwMode="auto">
            <a:xfrm>
              <a:off x="1663161" y="1533184"/>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2"/>
                  </a:moveTo>
                  <a:lnTo>
                    <a:pt x="7" y="26"/>
                  </a:lnTo>
                  <a:lnTo>
                    <a:pt x="4" y="26"/>
                  </a:lnTo>
                  <a:lnTo>
                    <a:pt x="0" y="26"/>
                  </a:lnTo>
                  <a:lnTo>
                    <a:pt x="0" y="22"/>
                  </a:lnTo>
                  <a:lnTo>
                    <a:pt x="0" y="3"/>
                  </a:lnTo>
                  <a:lnTo>
                    <a:pt x="0" y="0"/>
                  </a:lnTo>
                  <a:lnTo>
                    <a:pt x="4" y="0"/>
                  </a:lnTo>
                  <a:lnTo>
                    <a:pt x="7" y="0"/>
                  </a:lnTo>
                  <a:lnTo>
                    <a:pt x="10" y="3"/>
                  </a:lnTo>
                  <a:lnTo>
                    <a:pt x="10" y="2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5" name="Freeform 1199">
              <a:extLst>
                <a:ext uri="{FF2B5EF4-FFF2-40B4-BE49-F238E27FC236}">
                  <a16:creationId xmlns:a16="http://schemas.microsoft.com/office/drawing/2014/main" id="{790D501F-1E1A-EF44-B756-CD39969012A9}"/>
                </a:ext>
              </a:extLst>
            </p:cNvPr>
            <p:cNvSpPr>
              <a:spLocks/>
            </p:cNvSpPr>
            <p:nvPr/>
          </p:nvSpPr>
          <p:spPr bwMode="auto">
            <a:xfrm>
              <a:off x="1663161" y="1533184"/>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4" y="10"/>
                  </a:moveTo>
                  <a:lnTo>
                    <a:pt x="0" y="6"/>
                  </a:lnTo>
                  <a:lnTo>
                    <a:pt x="0" y="3"/>
                  </a:lnTo>
                  <a:lnTo>
                    <a:pt x="0" y="0"/>
                  </a:lnTo>
                  <a:lnTo>
                    <a:pt x="4" y="0"/>
                  </a:lnTo>
                  <a:lnTo>
                    <a:pt x="26" y="0"/>
                  </a:lnTo>
                  <a:lnTo>
                    <a:pt x="29" y="0"/>
                  </a:lnTo>
                  <a:lnTo>
                    <a:pt x="29" y="3"/>
                  </a:lnTo>
                  <a:lnTo>
                    <a:pt x="29" y="6"/>
                  </a:lnTo>
                  <a:lnTo>
                    <a:pt x="26"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6" name="Freeform 1200">
              <a:extLst>
                <a:ext uri="{FF2B5EF4-FFF2-40B4-BE49-F238E27FC236}">
                  <a16:creationId xmlns:a16="http://schemas.microsoft.com/office/drawing/2014/main" id="{005F7554-EBC3-E347-A4BE-9D2A6600581D}"/>
                </a:ext>
              </a:extLst>
            </p:cNvPr>
            <p:cNvSpPr>
              <a:spLocks/>
            </p:cNvSpPr>
            <p:nvPr/>
          </p:nvSpPr>
          <p:spPr bwMode="auto">
            <a:xfrm>
              <a:off x="1689909" y="153318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7" name="Freeform 1201">
              <a:extLst>
                <a:ext uri="{FF2B5EF4-FFF2-40B4-BE49-F238E27FC236}">
                  <a16:creationId xmlns:a16="http://schemas.microsoft.com/office/drawing/2014/main" id="{9592DD93-586A-CB48-991C-77FDEF031434}"/>
                </a:ext>
              </a:extLst>
            </p:cNvPr>
            <p:cNvSpPr>
              <a:spLocks/>
            </p:cNvSpPr>
            <p:nvPr/>
          </p:nvSpPr>
          <p:spPr bwMode="auto">
            <a:xfrm>
              <a:off x="1693397" y="153318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8" name="Freeform 1202">
              <a:extLst>
                <a:ext uri="{FF2B5EF4-FFF2-40B4-BE49-F238E27FC236}">
                  <a16:creationId xmlns:a16="http://schemas.microsoft.com/office/drawing/2014/main" id="{471731EF-B286-9D47-819D-031550E56D9A}"/>
                </a:ext>
              </a:extLst>
            </p:cNvPr>
            <p:cNvSpPr>
              <a:spLocks/>
            </p:cNvSpPr>
            <p:nvPr/>
          </p:nvSpPr>
          <p:spPr bwMode="auto">
            <a:xfrm>
              <a:off x="1696886" y="1514321"/>
              <a:ext cx="11629" cy="24821"/>
            </a:xfrm>
            <a:custGeom>
              <a:avLst/>
              <a:gdLst>
                <a:gd name="T0" fmla="*/ 2147483646 w 10"/>
                <a:gd name="T1" fmla="*/ 2147483646 h 25"/>
                <a:gd name="T2" fmla="*/ 2147483646 w 10"/>
                <a:gd name="T3" fmla="*/ 2147483646 h 25"/>
                <a:gd name="T4" fmla="*/ 2147483646 w 10"/>
                <a:gd name="T5" fmla="*/ 2147483646 h 25"/>
                <a:gd name="T6" fmla="*/ 2147483646 w 10"/>
                <a:gd name="T7" fmla="*/ 2147483646 h 25"/>
                <a:gd name="T8" fmla="*/ 0 w 10"/>
                <a:gd name="T9" fmla="*/ 2147483646 h 25"/>
                <a:gd name="T10" fmla="*/ 0 w 10"/>
                <a:gd name="T11" fmla="*/ 2147483646 h 25"/>
                <a:gd name="T12" fmla="*/ 0 w 10"/>
                <a:gd name="T13" fmla="*/ 2147483646 h 25"/>
                <a:gd name="T14" fmla="*/ 0 w 10"/>
                <a:gd name="T15" fmla="*/ 0 h 25"/>
                <a:gd name="T16" fmla="*/ 2147483646 w 10"/>
                <a:gd name="T17" fmla="*/ 0 h 25"/>
                <a:gd name="T18" fmla="*/ 2147483646 w 10"/>
                <a:gd name="T19" fmla="*/ 0 h 25"/>
                <a:gd name="T20" fmla="*/ 2147483646 w 10"/>
                <a:gd name="T21" fmla="*/ 0 h 25"/>
                <a:gd name="T22" fmla="*/ 2147483646 w 10"/>
                <a:gd name="T23" fmla="*/ 2147483646 h 25"/>
                <a:gd name="T24" fmla="*/ 2147483646 w 10"/>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5">
                  <a:moveTo>
                    <a:pt x="10" y="22"/>
                  </a:moveTo>
                  <a:lnTo>
                    <a:pt x="7" y="25"/>
                  </a:lnTo>
                  <a:lnTo>
                    <a:pt x="4" y="25"/>
                  </a:lnTo>
                  <a:lnTo>
                    <a:pt x="0" y="25"/>
                  </a:lnTo>
                  <a:lnTo>
                    <a:pt x="0" y="22"/>
                  </a:lnTo>
                  <a:lnTo>
                    <a:pt x="0" y="3"/>
                  </a:lnTo>
                  <a:lnTo>
                    <a:pt x="0" y="0"/>
                  </a:lnTo>
                  <a:lnTo>
                    <a:pt x="4" y="0"/>
                  </a:lnTo>
                  <a:lnTo>
                    <a:pt x="7" y="0"/>
                  </a:lnTo>
                  <a:lnTo>
                    <a:pt x="10" y="3"/>
                  </a:lnTo>
                  <a:lnTo>
                    <a:pt x="10" y="2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9" name="Freeform 1203">
              <a:extLst>
                <a:ext uri="{FF2B5EF4-FFF2-40B4-BE49-F238E27FC236}">
                  <a16:creationId xmlns:a16="http://schemas.microsoft.com/office/drawing/2014/main" id="{12D81B45-786E-2848-9669-B694A3C3F582}"/>
                </a:ext>
              </a:extLst>
            </p:cNvPr>
            <p:cNvSpPr>
              <a:spLocks/>
            </p:cNvSpPr>
            <p:nvPr/>
          </p:nvSpPr>
          <p:spPr bwMode="auto">
            <a:xfrm>
              <a:off x="1696886" y="151432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0" name="Freeform 1204">
              <a:extLst>
                <a:ext uri="{FF2B5EF4-FFF2-40B4-BE49-F238E27FC236}">
                  <a16:creationId xmlns:a16="http://schemas.microsoft.com/office/drawing/2014/main" id="{945D317D-1EEA-EE41-A28F-654D53C00053}"/>
                </a:ext>
              </a:extLst>
            </p:cNvPr>
            <p:cNvSpPr>
              <a:spLocks/>
            </p:cNvSpPr>
            <p:nvPr/>
          </p:nvSpPr>
          <p:spPr bwMode="auto">
            <a:xfrm>
              <a:off x="1701538" y="1494464"/>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3"/>
                  </a:lnTo>
                  <a:lnTo>
                    <a:pt x="0" y="0"/>
                  </a:lnTo>
                  <a:lnTo>
                    <a:pt x="3" y="0"/>
                  </a:lnTo>
                  <a:lnTo>
                    <a:pt x="6" y="0"/>
                  </a:lnTo>
                  <a:lnTo>
                    <a:pt x="9" y="3"/>
                  </a:lnTo>
                  <a:lnTo>
                    <a:pt x="9" y="23"/>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1" name="Freeform 1205">
              <a:extLst>
                <a:ext uri="{FF2B5EF4-FFF2-40B4-BE49-F238E27FC236}">
                  <a16:creationId xmlns:a16="http://schemas.microsoft.com/office/drawing/2014/main" id="{3D771D79-98AD-EA4F-BCEA-B7FDED6131E1}"/>
                </a:ext>
              </a:extLst>
            </p:cNvPr>
            <p:cNvSpPr>
              <a:spLocks/>
            </p:cNvSpPr>
            <p:nvPr/>
          </p:nvSpPr>
          <p:spPr bwMode="auto">
            <a:xfrm>
              <a:off x="1701538" y="1494464"/>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2" name="Freeform 1206">
              <a:extLst>
                <a:ext uri="{FF2B5EF4-FFF2-40B4-BE49-F238E27FC236}">
                  <a16:creationId xmlns:a16="http://schemas.microsoft.com/office/drawing/2014/main" id="{CCB8AC4A-98ED-EA4B-8215-50C8E9AEDE5B}"/>
                </a:ext>
              </a:extLst>
            </p:cNvPr>
            <p:cNvSpPr>
              <a:spLocks/>
            </p:cNvSpPr>
            <p:nvPr/>
          </p:nvSpPr>
          <p:spPr bwMode="auto">
            <a:xfrm>
              <a:off x="1705026" y="1478578"/>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6" y="23"/>
                  </a:lnTo>
                  <a:lnTo>
                    <a:pt x="3" y="23"/>
                  </a:lnTo>
                  <a:lnTo>
                    <a:pt x="0" y="23"/>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3" name="Freeform 1207">
              <a:extLst>
                <a:ext uri="{FF2B5EF4-FFF2-40B4-BE49-F238E27FC236}">
                  <a16:creationId xmlns:a16="http://schemas.microsoft.com/office/drawing/2014/main" id="{36105891-D12F-6F47-9671-61479C1D68D3}"/>
                </a:ext>
              </a:extLst>
            </p:cNvPr>
            <p:cNvSpPr>
              <a:spLocks/>
            </p:cNvSpPr>
            <p:nvPr/>
          </p:nvSpPr>
          <p:spPr bwMode="auto">
            <a:xfrm>
              <a:off x="1705026" y="1478578"/>
              <a:ext cx="79079" cy="9928"/>
            </a:xfrm>
            <a:custGeom>
              <a:avLst/>
              <a:gdLst>
                <a:gd name="T0" fmla="*/ 2147483646 w 68"/>
                <a:gd name="T1" fmla="*/ 2147483646 h 10"/>
                <a:gd name="T2" fmla="*/ 0 w 68"/>
                <a:gd name="T3" fmla="*/ 2147483646 h 10"/>
                <a:gd name="T4" fmla="*/ 0 w 68"/>
                <a:gd name="T5" fmla="*/ 2147483646 h 10"/>
                <a:gd name="T6" fmla="*/ 0 w 68"/>
                <a:gd name="T7" fmla="*/ 2147483646 h 10"/>
                <a:gd name="T8" fmla="*/ 0 w 68"/>
                <a:gd name="T9" fmla="*/ 0 h 10"/>
                <a:gd name="T10" fmla="*/ 2147483646 w 68"/>
                <a:gd name="T11" fmla="*/ 0 h 10"/>
                <a:gd name="T12" fmla="*/ 2147483646 w 68"/>
                <a:gd name="T13" fmla="*/ 0 h 10"/>
                <a:gd name="T14" fmla="*/ 2147483646 w 68"/>
                <a:gd name="T15" fmla="*/ 0 h 10"/>
                <a:gd name="T16" fmla="*/ 2147483646 w 68"/>
                <a:gd name="T17" fmla="*/ 2147483646 h 10"/>
                <a:gd name="T18" fmla="*/ 2147483646 w 68"/>
                <a:gd name="T19" fmla="*/ 2147483646 h 10"/>
                <a:gd name="T20" fmla="*/ 2147483646 w 68"/>
                <a:gd name="T21" fmla="*/ 2147483646 h 10"/>
                <a:gd name="T22" fmla="*/ 2147483646 w 68"/>
                <a:gd name="T23" fmla="*/ 2147483646 h 10"/>
                <a:gd name="T24" fmla="*/ 2147483646 w 6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8" h="10">
                  <a:moveTo>
                    <a:pt x="3" y="10"/>
                  </a:moveTo>
                  <a:lnTo>
                    <a:pt x="0" y="6"/>
                  </a:lnTo>
                  <a:lnTo>
                    <a:pt x="0" y="3"/>
                  </a:lnTo>
                  <a:lnTo>
                    <a:pt x="0" y="0"/>
                  </a:lnTo>
                  <a:lnTo>
                    <a:pt x="3" y="0"/>
                  </a:lnTo>
                  <a:lnTo>
                    <a:pt x="64" y="0"/>
                  </a:lnTo>
                  <a:lnTo>
                    <a:pt x="68" y="0"/>
                  </a:lnTo>
                  <a:lnTo>
                    <a:pt x="68" y="3"/>
                  </a:lnTo>
                  <a:lnTo>
                    <a:pt x="68" y="6"/>
                  </a:lnTo>
                  <a:lnTo>
                    <a:pt x="6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4" name="Freeform 1208">
              <a:extLst>
                <a:ext uri="{FF2B5EF4-FFF2-40B4-BE49-F238E27FC236}">
                  <a16:creationId xmlns:a16="http://schemas.microsoft.com/office/drawing/2014/main" id="{49CC1317-6037-CB49-872F-163ED9DF14CB}"/>
                </a:ext>
              </a:extLst>
            </p:cNvPr>
            <p:cNvSpPr>
              <a:spLocks/>
            </p:cNvSpPr>
            <p:nvPr/>
          </p:nvSpPr>
          <p:spPr bwMode="auto">
            <a:xfrm>
              <a:off x="1775965" y="1459714"/>
              <a:ext cx="11629" cy="24821"/>
            </a:xfrm>
            <a:custGeom>
              <a:avLst/>
              <a:gdLst>
                <a:gd name="T0" fmla="*/ 2147483646 w 10"/>
                <a:gd name="T1" fmla="*/ 2147483646 h 25"/>
                <a:gd name="T2" fmla="*/ 2147483646 w 10"/>
                <a:gd name="T3" fmla="*/ 2147483646 h 25"/>
                <a:gd name="T4" fmla="*/ 2147483646 w 10"/>
                <a:gd name="T5" fmla="*/ 2147483646 h 25"/>
                <a:gd name="T6" fmla="*/ 2147483646 w 10"/>
                <a:gd name="T7" fmla="*/ 2147483646 h 25"/>
                <a:gd name="T8" fmla="*/ 0 w 10"/>
                <a:gd name="T9" fmla="*/ 2147483646 h 25"/>
                <a:gd name="T10" fmla="*/ 0 w 10"/>
                <a:gd name="T11" fmla="*/ 2147483646 h 25"/>
                <a:gd name="T12" fmla="*/ 0 w 10"/>
                <a:gd name="T13" fmla="*/ 2147483646 h 25"/>
                <a:gd name="T14" fmla="*/ 0 w 10"/>
                <a:gd name="T15" fmla="*/ 0 h 25"/>
                <a:gd name="T16" fmla="*/ 2147483646 w 10"/>
                <a:gd name="T17" fmla="*/ 0 h 25"/>
                <a:gd name="T18" fmla="*/ 2147483646 w 10"/>
                <a:gd name="T19" fmla="*/ 0 h 25"/>
                <a:gd name="T20" fmla="*/ 2147483646 w 10"/>
                <a:gd name="T21" fmla="*/ 0 h 25"/>
                <a:gd name="T22" fmla="*/ 2147483646 w 10"/>
                <a:gd name="T23" fmla="*/ 2147483646 h 25"/>
                <a:gd name="T24" fmla="*/ 2147483646 w 10"/>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5">
                  <a:moveTo>
                    <a:pt x="10" y="22"/>
                  </a:moveTo>
                  <a:lnTo>
                    <a:pt x="7" y="25"/>
                  </a:lnTo>
                  <a:lnTo>
                    <a:pt x="3" y="25"/>
                  </a:lnTo>
                  <a:lnTo>
                    <a:pt x="0" y="25"/>
                  </a:lnTo>
                  <a:lnTo>
                    <a:pt x="0" y="22"/>
                  </a:lnTo>
                  <a:lnTo>
                    <a:pt x="0" y="3"/>
                  </a:lnTo>
                  <a:lnTo>
                    <a:pt x="0" y="0"/>
                  </a:lnTo>
                  <a:lnTo>
                    <a:pt x="3" y="0"/>
                  </a:lnTo>
                  <a:lnTo>
                    <a:pt x="7" y="0"/>
                  </a:lnTo>
                  <a:lnTo>
                    <a:pt x="10" y="3"/>
                  </a:lnTo>
                  <a:lnTo>
                    <a:pt x="10" y="2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5" name="Freeform 1209">
              <a:extLst>
                <a:ext uri="{FF2B5EF4-FFF2-40B4-BE49-F238E27FC236}">
                  <a16:creationId xmlns:a16="http://schemas.microsoft.com/office/drawing/2014/main" id="{0E2D433D-A7DA-C54E-BF50-CD07CA47A7CA}"/>
                </a:ext>
              </a:extLst>
            </p:cNvPr>
            <p:cNvSpPr>
              <a:spLocks/>
            </p:cNvSpPr>
            <p:nvPr/>
          </p:nvSpPr>
          <p:spPr bwMode="auto">
            <a:xfrm>
              <a:off x="1775965" y="145971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6" name="Freeform 1211">
              <a:extLst>
                <a:ext uri="{FF2B5EF4-FFF2-40B4-BE49-F238E27FC236}">
                  <a16:creationId xmlns:a16="http://schemas.microsoft.com/office/drawing/2014/main" id="{952C8F72-9B67-174B-AAB9-ADADD5E8C340}"/>
                </a:ext>
              </a:extLst>
            </p:cNvPr>
            <p:cNvSpPr>
              <a:spLocks/>
            </p:cNvSpPr>
            <p:nvPr/>
          </p:nvSpPr>
          <p:spPr bwMode="auto">
            <a:xfrm>
              <a:off x="1784105" y="1439857"/>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4"/>
                  </a:lnTo>
                  <a:lnTo>
                    <a:pt x="0" y="0"/>
                  </a:lnTo>
                  <a:lnTo>
                    <a:pt x="3" y="0"/>
                  </a:lnTo>
                  <a:lnTo>
                    <a:pt x="6" y="0"/>
                  </a:lnTo>
                  <a:lnTo>
                    <a:pt x="9" y="4"/>
                  </a:lnTo>
                  <a:lnTo>
                    <a:pt x="9" y="23"/>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7" name="Freeform 1212">
              <a:extLst>
                <a:ext uri="{FF2B5EF4-FFF2-40B4-BE49-F238E27FC236}">
                  <a16:creationId xmlns:a16="http://schemas.microsoft.com/office/drawing/2014/main" id="{E2FB356A-B065-2341-B73F-13C7C7A5180E}"/>
                </a:ext>
              </a:extLst>
            </p:cNvPr>
            <p:cNvSpPr>
              <a:spLocks/>
            </p:cNvSpPr>
            <p:nvPr/>
          </p:nvSpPr>
          <p:spPr bwMode="auto">
            <a:xfrm>
              <a:off x="1784105" y="143985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8" name="Freeform 1213">
              <a:extLst>
                <a:ext uri="{FF2B5EF4-FFF2-40B4-BE49-F238E27FC236}">
                  <a16:creationId xmlns:a16="http://schemas.microsoft.com/office/drawing/2014/main" id="{4EFCF961-503D-5E47-8828-C32C80E8847C}"/>
                </a:ext>
              </a:extLst>
            </p:cNvPr>
            <p:cNvSpPr>
              <a:spLocks/>
            </p:cNvSpPr>
            <p:nvPr/>
          </p:nvSpPr>
          <p:spPr bwMode="auto">
            <a:xfrm>
              <a:off x="1787594" y="1420994"/>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3"/>
                  </a:lnTo>
                  <a:lnTo>
                    <a:pt x="0" y="0"/>
                  </a:lnTo>
                  <a:lnTo>
                    <a:pt x="3" y="0"/>
                  </a:lnTo>
                  <a:lnTo>
                    <a:pt x="6" y="0"/>
                  </a:lnTo>
                  <a:lnTo>
                    <a:pt x="9" y="3"/>
                  </a:lnTo>
                  <a:lnTo>
                    <a:pt x="9" y="23"/>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9" name="Freeform 1214">
              <a:extLst>
                <a:ext uri="{FF2B5EF4-FFF2-40B4-BE49-F238E27FC236}">
                  <a16:creationId xmlns:a16="http://schemas.microsoft.com/office/drawing/2014/main" id="{DA519DC6-2C2D-2B41-814F-E2A222D95B7E}"/>
                </a:ext>
              </a:extLst>
            </p:cNvPr>
            <p:cNvSpPr>
              <a:spLocks/>
            </p:cNvSpPr>
            <p:nvPr/>
          </p:nvSpPr>
          <p:spPr bwMode="auto">
            <a:xfrm>
              <a:off x="1787594" y="142099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0" name="Freeform 1215">
              <a:extLst>
                <a:ext uri="{FF2B5EF4-FFF2-40B4-BE49-F238E27FC236}">
                  <a16:creationId xmlns:a16="http://schemas.microsoft.com/office/drawing/2014/main" id="{653FDE30-5E90-AC4B-8A08-2196FB7F70AE}"/>
                </a:ext>
              </a:extLst>
            </p:cNvPr>
            <p:cNvSpPr>
              <a:spLocks/>
            </p:cNvSpPr>
            <p:nvPr/>
          </p:nvSpPr>
          <p:spPr bwMode="auto">
            <a:xfrm>
              <a:off x="1794572" y="142099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1" name="Freeform 1216">
              <a:extLst>
                <a:ext uri="{FF2B5EF4-FFF2-40B4-BE49-F238E27FC236}">
                  <a16:creationId xmlns:a16="http://schemas.microsoft.com/office/drawing/2014/main" id="{91F81387-87EF-D44F-B0B8-DB688C0BFE4D}"/>
                </a:ext>
              </a:extLst>
            </p:cNvPr>
            <p:cNvSpPr>
              <a:spLocks/>
            </p:cNvSpPr>
            <p:nvPr/>
          </p:nvSpPr>
          <p:spPr bwMode="auto">
            <a:xfrm>
              <a:off x="1806201" y="142099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2" name="Freeform 1217">
              <a:extLst>
                <a:ext uri="{FF2B5EF4-FFF2-40B4-BE49-F238E27FC236}">
                  <a16:creationId xmlns:a16="http://schemas.microsoft.com/office/drawing/2014/main" id="{193B8749-4A22-9C44-8252-B3A1159184DB}"/>
                </a:ext>
              </a:extLst>
            </p:cNvPr>
            <p:cNvSpPr>
              <a:spLocks/>
            </p:cNvSpPr>
            <p:nvPr/>
          </p:nvSpPr>
          <p:spPr bwMode="auto">
            <a:xfrm>
              <a:off x="1817830" y="1402129"/>
              <a:ext cx="10467" cy="24821"/>
            </a:xfrm>
            <a:custGeom>
              <a:avLst/>
              <a:gdLst>
                <a:gd name="T0" fmla="*/ 2147483646 w 9"/>
                <a:gd name="T1" fmla="*/ 2147483646 h 25"/>
                <a:gd name="T2" fmla="*/ 2147483646 w 9"/>
                <a:gd name="T3" fmla="*/ 2147483646 h 25"/>
                <a:gd name="T4" fmla="*/ 2147483646 w 9"/>
                <a:gd name="T5" fmla="*/ 2147483646 h 25"/>
                <a:gd name="T6" fmla="*/ 2147483646 w 9"/>
                <a:gd name="T7" fmla="*/ 2147483646 h 25"/>
                <a:gd name="T8" fmla="*/ 0 w 9"/>
                <a:gd name="T9" fmla="*/ 2147483646 h 25"/>
                <a:gd name="T10" fmla="*/ 0 w 9"/>
                <a:gd name="T11" fmla="*/ 2147483646 h 25"/>
                <a:gd name="T12" fmla="*/ 0 w 9"/>
                <a:gd name="T13" fmla="*/ 2147483646 h 25"/>
                <a:gd name="T14" fmla="*/ 0 w 9"/>
                <a:gd name="T15" fmla="*/ 0 h 25"/>
                <a:gd name="T16" fmla="*/ 2147483646 w 9"/>
                <a:gd name="T17" fmla="*/ 0 h 25"/>
                <a:gd name="T18" fmla="*/ 2147483646 w 9"/>
                <a:gd name="T19" fmla="*/ 0 h 25"/>
                <a:gd name="T20" fmla="*/ 2147483646 w 9"/>
                <a:gd name="T21" fmla="*/ 0 h 25"/>
                <a:gd name="T22" fmla="*/ 2147483646 w 9"/>
                <a:gd name="T23" fmla="*/ 2147483646 h 25"/>
                <a:gd name="T24" fmla="*/ 2147483646 w 9"/>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5">
                  <a:moveTo>
                    <a:pt x="9" y="22"/>
                  </a:moveTo>
                  <a:lnTo>
                    <a:pt x="6" y="25"/>
                  </a:lnTo>
                  <a:lnTo>
                    <a:pt x="3" y="25"/>
                  </a:lnTo>
                  <a:lnTo>
                    <a:pt x="0" y="25"/>
                  </a:lnTo>
                  <a:lnTo>
                    <a:pt x="0" y="22"/>
                  </a:lnTo>
                  <a:lnTo>
                    <a:pt x="0" y="3"/>
                  </a:lnTo>
                  <a:lnTo>
                    <a:pt x="0" y="0"/>
                  </a:lnTo>
                  <a:lnTo>
                    <a:pt x="3" y="0"/>
                  </a:lnTo>
                  <a:lnTo>
                    <a:pt x="6" y="0"/>
                  </a:lnTo>
                  <a:lnTo>
                    <a:pt x="9" y="3"/>
                  </a:lnTo>
                  <a:lnTo>
                    <a:pt x="9" y="2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3" name="Freeform 1218">
              <a:extLst>
                <a:ext uri="{FF2B5EF4-FFF2-40B4-BE49-F238E27FC236}">
                  <a16:creationId xmlns:a16="http://schemas.microsoft.com/office/drawing/2014/main" id="{75D46A38-CB18-FB4C-9100-22CAF7B11AB5}"/>
                </a:ext>
              </a:extLst>
            </p:cNvPr>
            <p:cNvSpPr>
              <a:spLocks/>
            </p:cNvSpPr>
            <p:nvPr/>
          </p:nvSpPr>
          <p:spPr bwMode="auto">
            <a:xfrm>
              <a:off x="1817830" y="1379294"/>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4" name="Freeform 1219">
              <a:extLst>
                <a:ext uri="{FF2B5EF4-FFF2-40B4-BE49-F238E27FC236}">
                  <a16:creationId xmlns:a16="http://schemas.microsoft.com/office/drawing/2014/main" id="{61312EF3-647C-F545-8B94-D23A11C61078}"/>
                </a:ext>
              </a:extLst>
            </p:cNvPr>
            <p:cNvSpPr>
              <a:spLocks/>
            </p:cNvSpPr>
            <p:nvPr/>
          </p:nvSpPr>
          <p:spPr bwMode="auto">
            <a:xfrm>
              <a:off x="1817830" y="1379294"/>
              <a:ext cx="29073" cy="9928"/>
            </a:xfrm>
            <a:custGeom>
              <a:avLst/>
              <a:gdLst>
                <a:gd name="T0" fmla="*/ 2147483646 w 25"/>
                <a:gd name="T1" fmla="*/ 2147483646 h 10"/>
                <a:gd name="T2" fmla="*/ 0 w 25"/>
                <a:gd name="T3" fmla="*/ 2147483646 h 10"/>
                <a:gd name="T4" fmla="*/ 0 w 25"/>
                <a:gd name="T5" fmla="*/ 2147483646 h 10"/>
                <a:gd name="T6" fmla="*/ 0 w 25"/>
                <a:gd name="T7" fmla="*/ 2147483646 h 10"/>
                <a:gd name="T8" fmla="*/ 0 w 25"/>
                <a:gd name="T9" fmla="*/ 0 h 10"/>
                <a:gd name="T10" fmla="*/ 2147483646 w 25"/>
                <a:gd name="T11" fmla="*/ 0 h 10"/>
                <a:gd name="T12" fmla="*/ 2147483646 w 25"/>
                <a:gd name="T13" fmla="*/ 0 h 10"/>
                <a:gd name="T14" fmla="*/ 2147483646 w 25"/>
                <a:gd name="T15" fmla="*/ 0 h 10"/>
                <a:gd name="T16" fmla="*/ 2147483646 w 25"/>
                <a:gd name="T17" fmla="*/ 2147483646 h 10"/>
                <a:gd name="T18" fmla="*/ 2147483646 w 25"/>
                <a:gd name="T19" fmla="*/ 2147483646 h 10"/>
                <a:gd name="T20" fmla="*/ 2147483646 w 25"/>
                <a:gd name="T21" fmla="*/ 2147483646 h 10"/>
                <a:gd name="T22" fmla="*/ 2147483646 w 25"/>
                <a:gd name="T23" fmla="*/ 2147483646 h 10"/>
                <a:gd name="T24" fmla="*/ 2147483646 w 2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0">
                  <a:moveTo>
                    <a:pt x="3" y="10"/>
                  </a:moveTo>
                  <a:lnTo>
                    <a:pt x="0" y="6"/>
                  </a:lnTo>
                  <a:lnTo>
                    <a:pt x="0" y="3"/>
                  </a:lnTo>
                  <a:lnTo>
                    <a:pt x="0" y="0"/>
                  </a:lnTo>
                  <a:lnTo>
                    <a:pt x="3" y="0"/>
                  </a:lnTo>
                  <a:lnTo>
                    <a:pt x="22" y="0"/>
                  </a:lnTo>
                  <a:lnTo>
                    <a:pt x="25" y="0"/>
                  </a:lnTo>
                  <a:lnTo>
                    <a:pt x="25" y="3"/>
                  </a:lnTo>
                  <a:lnTo>
                    <a:pt x="25" y="6"/>
                  </a:lnTo>
                  <a:lnTo>
                    <a:pt x="2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5" name="Freeform 1220">
              <a:extLst>
                <a:ext uri="{FF2B5EF4-FFF2-40B4-BE49-F238E27FC236}">
                  <a16:creationId xmlns:a16="http://schemas.microsoft.com/office/drawing/2014/main" id="{0251DFC3-04E6-874B-B0F3-E9420CC48209}"/>
                </a:ext>
              </a:extLst>
            </p:cNvPr>
            <p:cNvSpPr>
              <a:spLocks/>
            </p:cNvSpPr>
            <p:nvPr/>
          </p:nvSpPr>
          <p:spPr bwMode="auto">
            <a:xfrm>
              <a:off x="1839925" y="1379294"/>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6" name="Freeform 1221">
              <a:extLst>
                <a:ext uri="{FF2B5EF4-FFF2-40B4-BE49-F238E27FC236}">
                  <a16:creationId xmlns:a16="http://schemas.microsoft.com/office/drawing/2014/main" id="{4C56615F-65EB-D34F-A489-F6CE9083FF70}"/>
                </a:ext>
              </a:extLst>
            </p:cNvPr>
            <p:cNvSpPr>
              <a:spLocks/>
            </p:cNvSpPr>
            <p:nvPr/>
          </p:nvSpPr>
          <p:spPr bwMode="auto">
            <a:xfrm>
              <a:off x="1858532" y="1379294"/>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7" name="Freeform 1222">
              <a:extLst>
                <a:ext uri="{FF2B5EF4-FFF2-40B4-BE49-F238E27FC236}">
                  <a16:creationId xmlns:a16="http://schemas.microsoft.com/office/drawing/2014/main" id="{F4041808-DACE-134E-AD42-692208D32359}"/>
                </a:ext>
              </a:extLst>
            </p:cNvPr>
            <p:cNvSpPr>
              <a:spLocks/>
            </p:cNvSpPr>
            <p:nvPr/>
          </p:nvSpPr>
          <p:spPr bwMode="auto">
            <a:xfrm>
              <a:off x="1873650" y="1356458"/>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6" y="29"/>
                  </a:lnTo>
                  <a:lnTo>
                    <a:pt x="3" y="29"/>
                  </a:lnTo>
                  <a:lnTo>
                    <a:pt x="0" y="29"/>
                  </a:lnTo>
                  <a:lnTo>
                    <a:pt x="0" y="26"/>
                  </a:lnTo>
                  <a:lnTo>
                    <a:pt x="0" y="4"/>
                  </a:lnTo>
                  <a:lnTo>
                    <a:pt x="0" y="0"/>
                  </a:lnTo>
                  <a:lnTo>
                    <a:pt x="3" y="0"/>
                  </a:lnTo>
                  <a:lnTo>
                    <a:pt x="6" y="0"/>
                  </a:lnTo>
                  <a:lnTo>
                    <a:pt x="10" y="4"/>
                  </a:lnTo>
                  <a:lnTo>
                    <a:pt x="10" y="2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8" name="Freeform 1223">
              <a:extLst>
                <a:ext uri="{FF2B5EF4-FFF2-40B4-BE49-F238E27FC236}">
                  <a16:creationId xmlns:a16="http://schemas.microsoft.com/office/drawing/2014/main" id="{CF6D95DE-B6D4-FC41-B5EE-D604A0EC5A2D}"/>
                </a:ext>
              </a:extLst>
            </p:cNvPr>
            <p:cNvSpPr>
              <a:spLocks/>
            </p:cNvSpPr>
            <p:nvPr/>
          </p:nvSpPr>
          <p:spPr bwMode="auto">
            <a:xfrm>
              <a:off x="1873650" y="1356458"/>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9" name="Freeform 1224">
              <a:extLst>
                <a:ext uri="{FF2B5EF4-FFF2-40B4-BE49-F238E27FC236}">
                  <a16:creationId xmlns:a16="http://schemas.microsoft.com/office/drawing/2014/main" id="{3A3E396E-9CA7-C544-B48A-A1C3E50E989D}"/>
                </a:ext>
              </a:extLst>
            </p:cNvPr>
            <p:cNvSpPr>
              <a:spLocks/>
            </p:cNvSpPr>
            <p:nvPr/>
          </p:nvSpPr>
          <p:spPr bwMode="auto">
            <a:xfrm>
              <a:off x="1888768" y="1356458"/>
              <a:ext cx="44191" cy="9928"/>
            </a:xfrm>
            <a:custGeom>
              <a:avLst/>
              <a:gdLst>
                <a:gd name="T0" fmla="*/ 2147483646 w 38"/>
                <a:gd name="T1" fmla="*/ 2147483646 h 10"/>
                <a:gd name="T2" fmla="*/ 0 w 38"/>
                <a:gd name="T3" fmla="*/ 2147483646 h 10"/>
                <a:gd name="T4" fmla="*/ 0 w 38"/>
                <a:gd name="T5" fmla="*/ 2147483646 h 10"/>
                <a:gd name="T6" fmla="*/ 0 w 38"/>
                <a:gd name="T7" fmla="*/ 2147483646 h 10"/>
                <a:gd name="T8" fmla="*/ 0 w 38"/>
                <a:gd name="T9" fmla="*/ 0 h 10"/>
                <a:gd name="T10" fmla="*/ 2147483646 w 38"/>
                <a:gd name="T11" fmla="*/ 0 h 10"/>
                <a:gd name="T12" fmla="*/ 2147483646 w 38"/>
                <a:gd name="T13" fmla="*/ 0 h 10"/>
                <a:gd name="T14" fmla="*/ 2147483646 w 38"/>
                <a:gd name="T15" fmla="*/ 0 h 10"/>
                <a:gd name="T16" fmla="*/ 2147483646 w 38"/>
                <a:gd name="T17" fmla="*/ 2147483646 h 10"/>
                <a:gd name="T18" fmla="*/ 2147483646 w 38"/>
                <a:gd name="T19" fmla="*/ 2147483646 h 10"/>
                <a:gd name="T20" fmla="*/ 2147483646 w 38"/>
                <a:gd name="T21" fmla="*/ 2147483646 h 10"/>
                <a:gd name="T22" fmla="*/ 2147483646 w 38"/>
                <a:gd name="T23" fmla="*/ 2147483646 h 10"/>
                <a:gd name="T24" fmla="*/ 2147483646 w 3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0">
                  <a:moveTo>
                    <a:pt x="3" y="10"/>
                  </a:moveTo>
                  <a:lnTo>
                    <a:pt x="0" y="7"/>
                  </a:lnTo>
                  <a:lnTo>
                    <a:pt x="0" y="4"/>
                  </a:lnTo>
                  <a:lnTo>
                    <a:pt x="0" y="0"/>
                  </a:lnTo>
                  <a:lnTo>
                    <a:pt x="3" y="0"/>
                  </a:lnTo>
                  <a:lnTo>
                    <a:pt x="35" y="0"/>
                  </a:lnTo>
                  <a:lnTo>
                    <a:pt x="38" y="0"/>
                  </a:lnTo>
                  <a:lnTo>
                    <a:pt x="38" y="4"/>
                  </a:lnTo>
                  <a:lnTo>
                    <a:pt x="38" y="7"/>
                  </a:lnTo>
                  <a:lnTo>
                    <a:pt x="35"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0" name="Freeform 1225">
              <a:extLst>
                <a:ext uri="{FF2B5EF4-FFF2-40B4-BE49-F238E27FC236}">
                  <a16:creationId xmlns:a16="http://schemas.microsoft.com/office/drawing/2014/main" id="{78FAB35C-8147-4846-B901-0661C3FA2DB3}"/>
                </a:ext>
              </a:extLst>
            </p:cNvPr>
            <p:cNvSpPr>
              <a:spLocks/>
            </p:cNvSpPr>
            <p:nvPr/>
          </p:nvSpPr>
          <p:spPr bwMode="auto">
            <a:xfrm>
              <a:off x="1925982" y="1334616"/>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6" y="29"/>
                  </a:lnTo>
                  <a:lnTo>
                    <a:pt x="3" y="29"/>
                  </a:lnTo>
                  <a:lnTo>
                    <a:pt x="0" y="29"/>
                  </a:lnTo>
                  <a:lnTo>
                    <a:pt x="0" y="26"/>
                  </a:lnTo>
                  <a:lnTo>
                    <a:pt x="0" y="3"/>
                  </a:lnTo>
                  <a:lnTo>
                    <a:pt x="0" y="0"/>
                  </a:lnTo>
                  <a:lnTo>
                    <a:pt x="3" y="0"/>
                  </a:lnTo>
                  <a:lnTo>
                    <a:pt x="6" y="0"/>
                  </a:lnTo>
                  <a:lnTo>
                    <a:pt x="10" y="3"/>
                  </a:lnTo>
                  <a:lnTo>
                    <a:pt x="10" y="2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1" name="Freeform 1226">
              <a:extLst>
                <a:ext uri="{FF2B5EF4-FFF2-40B4-BE49-F238E27FC236}">
                  <a16:creationId xmlns:a16="http://schemas.microsoft.com/office/drawing/2014/main" id="{FE5E143E-25C0-AD4D-BE51-7D68EF9E7980}"/>
                </a:ext>
              </a:extLst>
            </p:cNvPr>
            <p:cNvSpPr>
              <a:spLocks/>
            </p:cNvSpPr>
            <p:nvPr/>
          </p:nvSpPr>
          <p:spPr bwMode="auto">
            <a:xfrm>
              <a:off x="1925982" y="1334616"/>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2" name="Freeform 1227">
              <a:extLst>
                <a:ext uri="{FF2B5EF4-FFF2-40B4-BE49-F238E27FC236}">
                  <a16:creationId xmlns:a16="http://schemas.microsoft.com/office/drawing/2014/main" id="{4D03B9D6-DCBE-8B43-866C-263B159C82A6}"/>
                </a:ext>
              </a:extLst>
            </p:cNvPr>
            <p:cNvSpPr>
              <a:spLocks/>
            </p:cNvSpPr>
            <p:nvPr/>
          </p:nvSpPr>
          <p:spPr bwMode="auto">
            <a:xfrm>
              <a:off x="1937611" y="1311781"/>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3" name="Freeform 1228">
              <a:extLst>
                <a:ext uri="{FF2B5EF4-FFF2-40B4-BE49-F238E27FC236}">
                  <a16:creationId xmlns:a16="http://schemas.microsoft.com/office/drawing/2014/main" id="{925CD651-894C-8B47-9404-A52547D5B66A}"/>
                </a:ext>
              </a:extLst>
            </p:cNvPr>
            <p:cNvSpPr>
              <a:spLocks/>
            </p:cNvSpPr>
            <p:nvPr/>
          </p:nvSpPr>
          <p:spPr bwMode="auto">
            <a:xfrm>
              <a:off x="1937611" y="131178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4" name="Freeform 1229">
              <a:extLst>
                <a:ext uri="{FF2B5EF4-FFF2-40B4-BE49-F238E27FC236}">
                  <a16:creationId xmlns:a16="http://schemas.microsoft.com/office/drawing/2014/main" id="{EDD51011-B3AE-B046-9F21-174052B5D8D1}"/>
                </a:ext>
              </a:extLst>
            </p:cNvPr>
            <p:cNvSpPr>
              <a:spLocks/>
            </p:cNvSpPr>
            <p:nvPr/>
          </p:nvSpPr>
          <p:spPr bwMode="auto">
            <a:xfrm>
              <a:off x="1944588" y="1311781"/>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6" y="0"/>
                  </a:lnTo>
                  <a:lnTo>
                    <a:pt x="29" y="0"/>
                  </a:lnTo>
                  <a:lnTo>
                    <a:pt x="29" y="3"/>
                  </a:lnTo>
                  <a:lnTo>
                    <a:pt x="29" y="7"/>
                  </a:lnTo>
                  <a:lnTo>
                    <a:pt x="2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5" name="Freeform 1230">
              <a:extLst>
                <a:ext uri="{FF2B5EF4-FFF2-40B4-BE49-F238E27FC236}">
                  <a16:creationId xmlns:a16="http://schemas.microsoft.com/office/drawing/2014/main" id="{6C90A363-8A89-4E48-8303-32BF205DEB12}"/>
                </a:ext>
              </a:extLst>
            </p:cNvPr>
            <p:cNvSpPr>
              <a:spLocks/>
            </p:cNvSpPr>
            <p:nvPr/>
          </p:nvSpPr>
          <p:spPr bwMode="auto">
            <a:xfrm>
              <a:off x="1971336" y="1285967"/>
              <a:ext cx="10467" cy="32764"/>
            </a:xfrm>
            <a:custGeom>
              <a:avLst/>
              <a:gdLst>
                <a:gd name="T0" fmla="*/ 2147483646 w 9"/>
                <a:gd name="T1" fmla="*/ 2147483646 h 33"/>
                <a:gd name="T2" fmla="*/ 2147483646 w 9"/>
                <a:gd name="T3" fmla="*/ 2147483646 h 33"/>
                <a:gd name="T4" fmla="*/ 2147483646 w 9"/>
                <a:gd name="T5" fmla="*/ 2147483646 h 33"/>
                <a:gd name="T6" fmla="*/ 2147483646 w 9"/>
                <a:gd name="T7" fmla="*/ 2147483646 h 33"/>
                <a:gd name="T8" fmla="*/ 0 w 9"/>
                <a:gd name="T9" fmla="*/ 2147483646 h 33"/>
                <a:gd name="T10" fmla="*/ 0 w 9"/>
                <a:gd name="T11" fmla="*/ 2147483646 h 33"/>
                <a:gd name="T12" fmla="*/ 0 w 9"/>
                <a:gd name="T13" fmla="*/ 2147483646 h 33"/>
                <a:gd name="T14" fmla="*/ 0 w 9"/>
                <a:gd name="T15" fmla="*/ 0 h 33"/>
                <a:gd name="T16" fmla="*/ 2147483646 w 9"/>
                <a:gd name="T17" fmla="*/ 0 h 33"/>
                <a:gd name="T18" fmla="*/ 2147483646 w 9"/>
                <a:gd name="T19" fmla="*/ 0 h 33"/>
                <a:gd name="T20" fmla="*/ 2147483646 w 9"/>
                <a:gd name="T21" fmla="*/ 0 h 33"/>
                <a:gd name="T22" fmla="*/ 2147483646 w 9"/>
                <a:gd name="T23" fmla="*/ 2147483646 h 33"/>
                <a:gd name="T24" fmla="*/ 2147483646 w 9"/>
                <a:gd name="T25" fmla="*/ 2147483646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33">
                  <a:moveTo>
                    <a:pt x="9" y="29"/>
                  </a:moveTo>
                  <a:lnTo>
                    <a:pt x="6" y="33"/>
                  </a:lnTo>
                  <a:lnTo>
                    <a:pt x="3" y="33"/>
                  </a:lnTo>
                  <a:lnTo>
                    <a:pt x="0" y="33"/>
                  </a:lnTo>
                  <a:lnTo>
                    <a:pt x="0" y="29"/>
                  </a:lnTo>
                  <a:lnTo>
                    <a:pt x="0" y="4"/>
                  </a:lnTo>
                  <a:lnTo>
                    <a:pt x="0" y="0"/>
                  </a:lnTo>
                  <a:lnTo>
                    <a:pt x="3" y="0"/>
                  </a:lnTo>
                  <a:lnTo>
                    <a:pt x="6" y="0"/>
                  </a:lnTo>
                  <a:lnTo>
                    <a:pt x="9" y="4"/>
                  </a:lnTo>
                  <a:lnTo>
                    <a:pt x="9" y="2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6" name="Freeform 1231">
              <a:extLst>
                <a:ext uri="{FF2B5EF4-FFF2-40B4-BE49-F238E27FC236}">
                  <a16:creationId xmlns:a16="http://schemas.microsoft.com/office/drawing/2014/main" id="{7B1898C1-A95C-5D48-A956-50F382A671DB}"/>
                </a:ext>
              </a:extLst>
            </p:cNvPr>
            <p:cNvSpPr>
              <a:spLocks/>
            </p:cNvSpPr>
            <p:nvPr/>
          </p:nvSpPr>
          <p:spPr bwMode="auto">
            <a:xfrm>
              <a:off x="1971336" y="1285967"/>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7" name="Freeform 1232">
              <a:extLst>
                <a:ext uri="{FF2B5EF4-FFF2-40B4-BE49-F238E27FC236}">
                  <a16:creationId xmlns:a16="http://schemas.microsoft.com/office/drawing/2014/main" id="{AB7BA5DC-697C-864D-B68F-7261ACE4DC46}"/>
                </a:ext>
              </a:extLst>
            </p:cNvPr>
            <p:cNvSpPr>
              <a:spLocks/>
            </p:cNvSpPr>
            <p:nvPr/>
          </p:nvSpPr>
          <p:spPr bwMode="auto">
            <a:xfrm>
              <a:off x="1986453" y="1285967"/>
              <a:ext cx="67449" cy="9928"/>
            </a:xfrm>
            <a:custGeom>
              <a:avLst/>
              <a:gdLst>
                <a:gd name="T0" fmla="*/ 2147483646 w 58"/>
                <a:gd name="T1" fmla="*/ 2147483646 h 10"/>
                <a:gd name="T2" fmla="*/ 0 w 58"/>
                <a:gd name="T3" fmla="*/ 2147483646 h 10"/>
                <a:gd name="T4" fmla="*/ 0 w 58"/>
                <a:gd name="T5" fmla="*/ 2147483646 h 10"/>
                <a:gd name="T6" fmla="*/ 0 w 58"/>
                <a:gd name="T7" fmla="*/ 2147483646 h 10"/>
                <a:gd name="T8" fmla="*/ 0 w 58"/>
                <a:gd name="T9" fmla="*/ 0 h 10"/>
                <a:gd name="T10" fmla="*/ 2147483646 w 58"/>
                <a:gd name="T11" fmla="*/ 0 h 10"/>
                <a:gd name="T12" fmla="*/ 2147483646 w 58"/>
                <a:gd name="T13" fmla="*/ 0 h 10"/>
                <a:gd name="T14" fmla="*/ 2147483646 w 58"/>
                <a:gd name="T15" fmla="*/ 0 h 10"/>
                <a:gd name="T16" fmla="*/ 2147483646 w 58"/>
                <a:gd name="T17" fmla="*/ 2147483646 h 10"/>
                <a:gd name="T18" fmla="*/ 2147483646 w 58"/>
                <a:gd name="T19" fmla="*/ 2147483646 h 10"/>
                <a:gd name="T20" fmla="*/ 2147483646 w 58"/>
                <a:gd name="T21" fmla="*/ 2147483646 h 10"/>
                <a:gd name="T22" fmla="*/ 2147483646 w 58"/>
                <a:gd name="T23" fmla="*/ 2147483646 h 10"/>
                <a:gd name="T24" fmla="*/ 2147483646 w 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10">
                  <a:moveTo>
                    <a:pt x="3" y="10"/>
                  </a:moveTo>
                  <a:lnTo>
                    <a:pt x="0" y="7"/>
                  </a:lnTo>
                  <a:lnTo>
                    <a:pt x="0" y="4"/>
                  </a:lnTo>
                  <a:lnTo>
                    <a:pt x="0" y="0"/>
                  </a:lnTo>
                  <a:lnTo>
                    <a:pt x="3" y="0"/>
                  </a:lnTo>
                  <a:lnTo>
                    <a:pt x="54" y="0"/>
                  </a:lnTo>
                  <a:lnTo>
                    <a:pt x="58" y="0"/>
                  </a:lnTo>
                  <a:lnTo>
                    <a:pt x="58" y="4"/>
                  </a:lnTo>
                  <a:lnTo>
                    <a:pt x="58" y="7"/>
                  </a:lnTo>
                  <a:lnTo>
                    <a:pt x="5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8" name="Freeform 1233">
              <a:extLst>
                <a:ext uri="{FF2B5EF4-FFF2-40B4-BE49-F238E27FC236}">
                  <a16:creationId xmlns:a16="http://schemas.microsoft.com/office/drawing/2014/main" id="{E8D7FD9C-AB06-6847-8715-8EBC86C732AF}"/>
                </a:ext>
              </a:extLst>
            </p:cNvPr>
            <p:cNvSpPr>
              <a:spLocks/>
            </p:cNvSpPr>
            <p:nvPr/>
          </p:nvSpPr>
          <p:spPr bwMode="auto">
            <a:xfrm>
              <a:off x="2045763" y="1285967"/>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4"/>
                  </a:lnTo>
                  <a:lnTo>
                    <a:pt x="0" y="0"/>
                  </a:lnTo>
                  <a:lnTo>
                    <a:pt x="3" y="0"/>
                  </a:lnTo>
                  <a:lnTo>
                    <a:pt x="26" y="0"/>
                  </a:lnTo>
                  <a:lnTo>
                    <a:pt x="29" y="0"/>
                  </a:lnTo>
                  <a:lnTo>
                    <a:pt x="29" y="4"/>
                  </a:lnTo>
                  <a:lnTo>
                    <a:pt x="29" y="7"/>
                  </a:lnTo>
                  <a:lnTo>
                    <a:pt x="2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9" name="Freeform 1234">
              <a:extLst>
                <a:ext uri="{FF2B5EF4-FFF2-40B4-BE49-F238E27FC236}">
                  <a16:creationId xmlns:a16="http://schemas.microsoft.com/office/drawing/2014/main" id="{C6E8F3DF-4CE5-024F-9720-ED4018B87743}"/>
                </a:ext>
              </a:extLst>
            </p:cNvPr>
            <p:cNvSpPr>
              <a:spLocks/>
            </p:cNvSpPr>
            <p:nvPr/>
          </p:nvSpPr>
          <p:spPr bwMode="auto">
            <a:xfrm>
              <a:off x="2072510" y="1285967"/>
              <a:ext cx="67449" cy="9928"/>
            </a:xfrm>
            <a:custGeom>
              <a:avLst/>
              <a:gdLst>
                <a:gd name="T0" fmla="*/ 2147483646 w 58"/>
                <a:gd name="T1" fmla="*/ 2147483646 h 10"/>
                <a:gd name="T2" fmla="*/ 0 w 58"/>
                <a:gd name="T3" fmla="*/ 2147483646 h 10"/>
                <a:gd name="T4" fmla="*/ 0 w 58"/>
                <a:gd name="T5" fmla="*/ 2147483646 h 10"/>
                <a:gd name="T6" fmla="*/ 0 w 58"/>
                <a:gd name="T7" fmla="*/ 2147483646 h 10"/>
                <a:gd name="T8" fmla="*/ 0 w 58"/>
                <a:gd name="T9" fmla="*/ 0 h 10"/>
                <a:gd name="T10" fmla="*/ 2147483646 w 58"/>
                <a:gd name="T11" fmla="*/ 0 h 10"/>
                <a:gd name="T12" fmla="*/ 2147483646 w 58"/>
                <a:gd name="T13" fmla="*/ 0 h 10"/>
                <a:gd name="T14" fmla="*/ 2147483646 w 58"/>
                <a:gd name="T15" fmla="*/ 0 h 10"/>
                <a:gd name="T16" fmla="*/ 2147483646 w 58"/>
                <a:gd name="T17" fmla="*/ 2147483646 h 10"/>
                <a:gd name="T18" fmla="*/ 2147483646 w 58"/>
                <a:gd name="T19" fmla="*/ 2147483646 h 10"/>
                <a:gd name="T20" fmla="*/ 2147483646 w 58"/>
                <a:gd name="T21" fmla="*/ 2147483646 h 10"/>
                <a:gd name="T22" fmla="*/ 2147483646 w 58"/>
                <a:gd name="T23" fmla="*/ 2147483646 h 10"/>
                <a:gd name="T24" fmla="*/ 2147483646 w 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10">
                  <a:moveTo>
                    <a:pt x="3" y="10"/>
                  </a:moveTo>
                  <a:lnTo>
                    <a:pt x="0" y="7"/>
                  </a:lnTo>
                  <a:lnTo>
                    <a:pt x="0" y="4"/>
                  </a:lnTo>
                  <a:lnTo>
                    <a:pt x="0" y="0"/>
                  </a:lnTo>
                  <a:lnTo>
                    <a:pt x="3" y="0"/>
                  </a:lnTo>
                  <a:lnTo>
                    <a:pt x="54" y="0"/>
                  </a:lnTo>
                  <a:lnTo>
                    <a:pt x="58" y="0"/>
                  </a:lnTo>
                  <a:lnTo>
                    <a:pt x="58" y="4"/>
                  </a:lnTo>
                  <a:lnTo>
                    <a:pt x="58" y="7"/>
                  </a:lnTo>
                  <a:lnTo>
                    <a:pt x="5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0" name="Freeform 1235">
              <a:extLst>
                <a:ext uri="{FF2B5EF4-FFF2-40B4-BE49-F238E27FC236}">
                  <a16:creationId xmlns:a16="http://schemas.microsoft.com/office/drawing/2014/main" id="{7AE7E084-3DB1-5D48-B0D8-E23A75D2CA1C}"/>
                </a:ext>
              </a:extLst>
            </p:cNvPr>
            <p:cNvSpPr>
              <a:spLocks/>
            </p:cNvSpPr>
            <p:nvPr/>
          </p:nvSpPr>
          <p:spPr bwMode="auto">
            <a:xfrm>
              <a:off x="2131819" y="1254196"/>
              <a:ext cx="11629" cy="38721"/>
            </a:xfrm>
            <a:custGeom>
              <a:avLst/>
              <a:gdLst>
                <a:gd name="T0" fmla="*/ 2147483646 w 10"/>
                <a:gd name="T1" fmla="*/ 2147483646 h 39"/>
                <a:gd name="T2" fmla="*/ 2147483646 w 10"/>
                <a:gd name="T3" fmla="*/ 2147483646 h 39"/>
                <a:gd name="T4" fmla="*/ 2147483646 w 10"/>
                <a:gd name="T5" fmla="*/ 2147483646 h 39"/>
                <a:gd name="T6" fmla="*/ 2147483646 w 10"/>
                <a:gd name="T7" fmla="*/ 2147483646 h 39"/>
                <a:gd name="T8" fmla="*/ 0 w 10"/>
                <a:gd name="T9" fmla="*/ 2147483646 h 39"/>
                <a:gd name="T10" fmla="*/ 0 w 10"/>
                <a:gd name="T11" fmla="*/ 2147483646 h 39"/>
                <a:gd name="T12" fmla="*/ 0 w 10"/>
                <a:gd name="T13" fmla="*/ 2147483646 h 39"/>
                <a:gd name="T14" fmla="*/ 0 w 10"/>
                <a:gd name="T15" fmla="*/ 0 h 39"/>
                <a:gd name="T16" fmla="*/ 2147483646 w 10"/>
                <a:gd name="T17" fmla="*/ 0 h 39"/>
                <a:gd name="T18" fmla="*/ 2147483646 w 10"/>
                <a:gd name="T19" fmla="*/ 0 h 39"/>
                <a:gd name="T20" fmla="*/ 2147483646 w 10"/>
                <a:gd name="T21" fmla="*/ 0 h 39"/>
                <a:gd name="T22" fmla="*/ 2147483646 w 10"/>
                <a:gd name="T23" fmla="*/ 2147483646 h 39"/>
                <a:gd name="T24" fmla="*/ 2147483646 w 10"/>
                <a:gd name="T25" fmla="*/ 2147483646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9">
                  <a:moveTo>
                    <a:pt x="10" y="36"/>
                  </a:moveTo>
                  <a:lnTo>
                    <a:pt x="7" y="39"/>
                  </a:lnTo>
                  <a:lnTo>
                    <a:pt x="3" y="39"/>
                  </a:lnTo>
                  <a:lnTo>
                    <a:pt x="0" y="39"/>
                  </a:lnTo>
                  <a:lnTo>
                    <a:pt x="0" y="36"/>
                  </a:lnTo>
                  <a:lnTo>
                    <a:pt x="0" y="3"/>
                  </a:lnTo>
                  <a:lnTo>
                    <a:pt x="0" y="0"/>
                  </a:lnTo>
                  <a:lnTo>
                    <a:pt x="3" y="0"/>
                  </a:lnTo>
                  <a:lnTo>
                    <a:pt x="7" y="0"/>
                  </a:lnTo>
                  <a:lnTo>
                    <a:pt x="10" y="3"/>
                  </a:lnTo>
                  <a:lnTo>
                    <a:pt x="10" y="3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1" name="Freeform 1236">
              <a:extLst>
                <a:ext uri="{FF2B5EF4-FFF2-40B4-BE49-F238E27FC236}">
                  <a16:creationId xmlns:a16="http://schemas.microsoft.com/office/drawing/2014/main" id="{80290E11-7648-9040-9F19-EE6642261019}"/>
                </a:ext>
              </a:extLst>
            </p:cNvPr>
            <p:cNvSpPr>
              <a:spLocks/>
            </p:cNvSpPr>
            <p:nvPr/>
          </p:nvSpPr>
          <p:spPr bwMode="auto">
            <a:xfrm>
              <a:off x="2131819" y="1254196"/>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3" y="10"/>
                  </a:moveTo>
                  <a:lnTo>
                    <a:pt x="0" y="7"/>
                  </a:lnTo>
                  <a:lnTo>
                    <a:pt x="0" y="3"/>
                  </a:lnTo>
                  <a:lnTo>
                    <a:pt x="0" y="0"/>
                  </a:lnTo>
                  <a:lnTo>
                    <a:pt x="3" y="0"/>
                  </a:lnTo>
                  <a:lnTo>
                    <a:pt x="39" y="0"/>
                  </a:lnTo>
                  <a:lnTo>
                    <a:pt x="42" y="0"/>
                  </a:lnTo>
                  <a:lnTo>
                    <a:pt x="42" y="3"/>
                  </a:lnTo>
                  <a:lnTo>
                    <a:pt x="42" y="7"/>
                  </a:lnTo>
                  <a:lnTo>
                    <a:pt x="3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2" name="Freeform 1237">
              <a:extLst>
                <a:ext uri="{FF2B5EF4-FFF2-40B4-BE49-F238E27FC236}">
                  <a16:creationId xmlns:a16="http://schemas.microsoft.com/office/drawing/2014/main" id="{10A80FAA-94EC-CF47-8577-918E8FB30827}"/>
                </a:ext>
              </a:extLst>
            </p:cNvPr>
            <p:cNvSpPr>
              <a:spLocks/>
            </p:cNvSpPr>
            <p:nvPr/>
          </p:nvSpPr>
          <p:spPr bwMode="auto">
            <a:xfrm>
              <a:off x="2173684" y="1254196"/>
              <a:ext cx="77916" cy="9928"/>
            </a:xfrm>
            <a:custGeom>
              <a:avLst/>
              <a:gdLst>
                <a:gd name="T0" fmla="*/ 2147483646 w 67"/>
                <a:gd name="T1" fmla="*/ 2147483646 h 10"/>
                <a:gd name="T2" fmla="*/ 0 w 67"/>
                <a:gd name="T3" fmla="*/ 2147483646 h 10"/>
                <a:gd name="T4" fmla="*/ 0 w 67"/>
                <a:gd name="T5" fmla="*/ 2147483646 h 10"/>
                <a:gd name="T6" fmla="*/ 0 w 67"/>
                <a:gd name="T7" fmla="*/ 2147483646 h 10"/>
                <a:gd name="T8" fmla="*/ 0 w 67"/>
                <a:gd name="T9" fmla="*/ 0 h 10"/>
                <a:gd name="T10" fmla="*/ 2147483646 w 67"/>
                <a:gd name="T11" fmla="*/ 0 h 10"/>
                <a:gd name="T12" fmla="*/ 2147483646 w 67"/>
                <a:gd name="T13" fmla="*/ 0 h 10"/>
                <a:gd name="T14" fmla="*/ 2147483646 w 67"/>
                <a:gd name="T15" fmla="*/ 0 h 10"/>
                <a:gd name="T16" fmla="*/ 2147483646 w 67"/>
                <a:gd name="T17" fmla="*/ 2147483646 h 10"/>
                <a:gd name="T18" fmla="*/ 2147483646 w 67"/>
                <a:gd name="T19" fmla="*/ 2147483646 h 10"/>
                <a:gd name="T20" fmla="*/ 2147483646 w 67"/>
                <a:gd name="T21" fmla="*/ 2147483646 h 10"/>
                <a:gd name="T22" fmla="*/ 2147483646 w 67"/>
                <a:gd name="T23" fmla="*/ 2147483646 h 10"/>
                <a:gd name="T24" fmla="*/ 2147483646 w 6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7" h="10">
                  <a:moveTo>
                    <a:pt x="3" y="10"/>
                  </a:moveTo>
                  <a:lnTo>
                    <a:pt x="0" y="7"/>
                  </a:lnTo>
                  <a:lnTo>
                    <a:pt x="0" y="3"/>
                  </a:lnTo>
                  <a:lnTo>
                    <a:pt x="0" y="0"/>
                  </a:lnTo>
                  <a:lnTo>
                    <a:pt x="3" y="0"/>
                  </a:lnTo>
                  <a:lnTo>
                    <a:pt x="64" y="0"/>
                  </a:lnTo>
                  <a:lnTo>
                    <a:pt x="67" y="0"/>
                  </a:lnTo>
                  <a:lnTo>
                    <a:pt x="67" y="3"/>
                  </a:lnTo>
                  <a:lnTo>
                    <a:pt x="67" y="7"/>
                  </a:lnTo>
                  <a:lnTo>
                    <a:pt x="6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3" name="Freeform 1238">
              <a:extLst>
                <a:ext uri="{FF2B5EF4-FFF2-40B4-BE49-F238E27FC236}">
                  <a16:creationId xmlns:a16="http://schemas.microsoft.com/office/drawing/2014/main" id="{383204AC-B4C5-3E4F-8EC7-79EA9F9E3BAF}"/>
                </a:ext>
              </a:extLst>
            </p:cNvPr>
            <p:cNvSpPr>
              <a:spLocks/>
            </p:cNvSpPr>
            <p:nvPr/>
          </p:nvSpPr>
          <p:spPr bwMode="auto">
            <a:xfrm>
              <a:off x="2244622" y="1254196"/>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4" name="Freeform 1239">
              <a:extLst>
                <a:ext uri="{FF2B5EF4-FFF2-40B4-BE49-F238E27FC236}">
                  <a16:creationId xmlns:a16="http://schemas.microsoft.com/office/drawing/2014/main" id="{E4AD0ECA-FDB2-5841-AF7D-6FD9B2FE3B55}"/>
                </a:ext>
              </a:extLst>
            </p:cNvPr>
            <p:cNvSpPr>
              <a:spLocks/>
            </p:cNvSpPr>
            <p:nvPr/>
          </p:nvSpPr>
          <p:spPr bwMode="auto">
            <a:xfrm>
              <a:off x="2259740" y="1254196"/>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5" name="Freeform 1240">
              <a:extLst>
                <a:ext uri="{FF2B5EF4-FFF2-40B4-BE49-F238E27FC236}">
                  <a16:creationId xmlns:a16="http://schemas.microsoft.com/office/drawing/2014/main" id="{26E27D25-1070-2C43-9153-AAB437E87359}"/>
                </a:ext>
              </a:extLst>
            </p:cNvPr>
            <p:cNvSpPr>
              <a:spLocks/>
            </p:cNvSpPr>
            <p:nvPr/>
          </p:nvSpPr>
          <p:spPr bwMode="auto">
            <a:xfrm>
              <a:off x="2281836" y="1209518"/>
              <a:ext cx="11629" cy="51628"/>
            </a:xfrm>
            <a:custGeom>
              <a:avLst/>
              <a:gdLst>
                <a:gd name="T0" fmla="*/ 2147483646 w 10"/>
                <a:gd name="T1" fmla="*/ 2147483646 h 52"/>
                <a:gd name="T2" fmla="*/ 2147483646 w 10"/>
                <a:gd name="T3" fmla="*/ 2147483646 h 52"/>
                <a:gd name="T4" fmla="*/ 2147483646 w 10"/>
                <a:gd name="T5" fmla="*/ 2147483646 h 52"/>
                <a:gd name="T6" fmla="*/ 2147483646 w 10"/>
                <a:gd name="T7" fmla="*/ 2147483646 h 52"/>
                <a:gd name="T8" fmla="*/ 0 w 10"/>
                <a:gd name="T9" fmla="*/ 2147483646 h 52"/>
                <a:gd name="T10" fmla="*/ 0 w 10"/>
                <a:gd name="T11" fmla="*/ 2147483646 h 52"/>
                <a:gd name="T12" fmla="*/ 0 w 10"/>
                <a:gd name="T13" fmla="*/ 2147483646 h 52"/>
                <a:gd name="T14" fmla="*/ 0 w 10"/>
                <a:gd name="T15" fmla="*/ 0 h 52"/>
                <a:gd name="T16" fmla="*/ 2147483646 w 10"/>
                <a:gd name="T17" fmla="*/ 0 h 52"/>
                <a:gd name="T18" fmla="*/ 2147483646 w 10"/>
                <a:gd name="T19" fmla="*/ 0 h 52"/>
                <a:gd name="T20" fmla="*/ 2147483646 w 10"/>
                <a:gd name="T21" fmla="*/ 0 h 52"/>
                <a:gd name="T22" fmla="*/ 2147483646 w 10"/>
                <a:gd name="T23" fmla="*/ 2147483646 h 52"/>
                <a:gd name="T24" fmla="*/ 2147483646 w 10"/>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52">
                  <a:moveTo>
                    <a:pt x="10" y="48"/>
                  </a:moveTo>
                  <a:lnTo>
                    <a:pt x="7" y="52"/>
                  </a:lnTo>
                  <a:lnTo>
                    <a:pt x="3" y="52"/>
                  </a:lnTo>
                  <a:lnTo>
                    <a:pt x="0" y="52"/>
                  </a:lnTo>
                  <a:lnTo>
                    <a:pt x="0" y="48"/>
                  </a:lnTo>
                  <a:lnTo>
                    <a:pt x="0" y="3"/>
                  </a:lnTo>
                  <a:lnTo>
                    <a:pt x="0" y="0"/>
                  </a:lnTo>
                  <a:lnTo>
                    <a:pt x="3" y="0"/>
                  </a:lnTo>
                  <a:lnTo>
                    <a:pt x="7" y="0"/>
                  </a:lnTo>
                  <a:lnTo>
                    <a:pt x="10" y="3"/>
                  </a:lnTo>
                  <a:lnTo>
                    <a:pt x="10" y="48"/>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6" name="Freeform 1241">
              <a:extLst>
                <a:ext uri="{FF2B5EF4-FFF2-40B4-BE49-F238E27FC236}">
                  <a16:creationId xmlns:a16="http://schemas.microsoft.com/office/drawing/2014/main" id="{20887C77-1FAE-3D44-9E25-B5798975C93E}"/>
                </a:ext>
              </a:extLst>
            </p:cNvPr>
            <p:cNvSpPr>
              <a:spLocks/>
            </p:cNvSpPr>
            <p:nvPr/>
          </p:nvSpPr>
          <p:spPr bwMode="auto">
            <a:xfrm>
              <a:off x="2281836" y="1209518"/>
              <a:ext cx="143040" cy="9928"/>
            </a:xfrm>
            <a:custGeom>
              <a:avLst/>
              <a:gdLst>
                <a:gd name="T0" fmla="*/ 2147483646 w 123"/>
                <a:gd name="T1" fmla="*/ 2147483646 h 10"/>
                <a:gd name="T2" fmla="*/ 0 w 123"/>
                <a:gd name="T3" fmla="*/ 2147483646 h 10"/>
                <a:gd name="T4" fmla="*/ 0 w 123"/>
                <a:gd name="T5" fmla="*/ 2147483646 h 10"/>
                <a:gd name="T6" fmla="*/ 0 w 123"/>
                <a:gd name="T7" fmla="*/ 2147483646 h 10"/>
                <a:gd name="T8" fmla="*/ 0 w 123"/>
                <a:gd name="T9" fmla="*/ 0 h 10"/>
                <a:gd name="T10" fmla="*/ 2147483646 w 123"/>
                <a:gd name="T11" fmla="*/ 0 h 10"/>
                <a:gd name="T12" fmla="*/ 2147483646 w 123"/>
                <a:gd name="T13" fmla="*/ 0 h 10"/>
                <a:gd name="T14" fmla="*/ 2147483646 w 123"/>
                <a:gd name="T15" fmla="*/ 0 h 10"/>
                <a:gd name="T16" fmla="*/ 2147483646 w 123"/>
                <a:gd name="T17" fmla="*/ 2147483646 h 10"/>
                <a:gd name="T18" fmla="*/ 2147483646 w 123"/>
                <a:gd name="T19" fmla="*/ 2147483646 h 10"/>
                <a:gd name="T20" fmla="*/ 2147483646 w 123"/>
                <a:gd name="T21" fmla="*/ 2147483646 h 10"/>
                <a:gd name="T22" fmla="*/ 2147483646 w 123"/>
                <a:gd name="T23" fmla="*/ 2147483646 h 10"/>
                <a:gd name="T24" fmla="*/ 2147483646 w 1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3" h="10">
                  <a:moveTo>
                    <a:pt x="3" y="10"/>
                  </a:moveTo>
                  <a:lnTo>
                    <a:pt x="0" y="6"/>
                  </a:lnTo>
                  <a:lnTo>
                    <a:pt x="0" y="3"/>
                  </a:lnTo>
                  <a:lnTo>
                    <a:pt x="0" y="0"/>
                  </a:lnTo>
                  <a:lnTo>
                    <a:pt x="3" y="0"/>
                  </a:lnTo>
                  <a:lnTo>
                    <a:pt x="119" y="0"/>
                  </a:lnTo>
                  <a:lnTo>
                    <a:pt x="123" y="0"/>
                  </a:lnTo>
                  <a:lnTo>
                    <a:pt x="123" y="3"/>
                  </a:lnTo>
                  <a:lnTo>
                    <a:pt x="123" y="6"/>
                  </a:lnTo>
                  <a:lnTo>
                    <a:pt x="1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7" name="Freeform 1242">
              <a:extLst>
                <a:ext uri="{FF2B5EF4-FFF2-40B4-BE49-F238E27FC236}">
                  <a16:creationId xmlns:a16="http://schemas.microsoft.com/office/drawing/2014/main" id="{6CDA30B6-0770-384C-9625-9C6F27C8B8AB}"/>
                </a:ext>
              </a:extLst>
            </p:cNvPr>
            <p:cNvSpPr>
              <a:spLocks/>
            </p:cNvSpPr>
            <p:nvPr/>
          </p:nvSpPr>
          <p:spPr bwMode="auto">
            <a:xfrm>
              <a:off x="2416734" y="1161861"/>
              <a:ext cx="11629" cy="53614"/>
            </a:xfrm>
            <a:custGeom>
              <a:avLst/>
              <a:gdLst>
                <a:gd name="T0" fmla="*/ 2147483646 w 10"/>
                <a:gd name="T1" fmla="*/ 2147483646 h 54"/>
                <a:gd name="T2" fmla="*/ 2147483646 w 10"/>
                <a:gd name="T3" fmla="*/ 2147483646 h 54"/>
                <a:gd name="T4" fmla="*/ 2147483646 w 10"/>
                <a:gd name="T5" fmla="*/ 2147483646 h 54"/>
                <a:gd name="T6" fmla="*/ 2147483646 w 10"/>
                <a:gd name="T7" fmla="*/ 2147483646 h 54"/>
                <a:gd name="T8" fmla="*/ 0 w 10"/>
                <a:gd name="T9" fmla="*/ 2147483646 h 54"/>
                <a:gd name="T10" fmla="*/ 0 w 10"/>
                <a:gd name="T11" fmla="*/ 2147483646 h 54"/>
                <a:gd name="T12" fmla="*/ 0 w 10"/>
                <a:gd name="T13" fmla="*/ 2147483646 h 54"/>
                <a:gd name="T14" fmla="*/ 0 w 10"/>
                <a:gd name="T15" fmla="*/ 0 h 54"/>
                <a:gd name="T16" fmla="*/ 2147483646 w 10"/>
                <a:gd name="T17" fmla="*/ 0 h 54"/>
                <a:gd name="T18" fmla="*/ 2147483646 w 10"/>
                <a:gd name="T19" fmla="*/ 0 h 54"/>
                <a:gd name="T20" fmla="*/ 2147483646 w 10"/>
                <a:gd name="T21" fmla="*/ 0 h 54"/>
                <a:gd name="T22" fmla="*/ 2147483646 w 10"/>
                <a:gd name="T23" fmla="*/ 2147483646 h 54"/>
                <a:gd name="T24" fmla="*/ 2147483646 w 10"/>
                <a:gd name="T25" fmla="*/ 2147483646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54">
                  <a:moveTo>
                    <a:pt x="10" y="51"/>
                  </a:moveTo>
                  <a:lnTo>
                    <a:pt x="7" y="54"/>
                  </a:lnTo>
                  <a:lnTo>
                    <a:pt x="3" y="54"/>
                  </a:lnTo>
                  <a:lnTo>
                    <a:pt x="0" y="54"/>
                  </a:lnTo>
                  <a:lnTo>
                    <a:pt x="0" y="51"/>
                  </a:lnTo>
                  <a:lnTo>
                    <a:pt x="0" y="3"/>
                  </a:lnTo>
                  <a:lnTo>
                    <a:pt x="0" y="0"/>
                  </a:lnTo>
                  <a:lnTo>
                    <a:pt x="3" y="0"/>
                  </a:lnTo>
                  <a:lnTo>
                    <a:pt x="7" y="0"/>
                  </a:lnTo>
                  <a:lnTo>
                    <a:pt x="10" y="3"/>
                  </a:lnTo>
                  <a:lnTo>
                    <a:pt x="10" y="51"/>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8" name="Freeform 1243">
              <a:extLst>
                <a:ext uri="{FF2B5EF4-FFF2-40B4-BE49-F238E27FC236}">
                  <a16:creationId xmlns:a16="http://schemas.microsoft.com/office/drawing/2014/main" id="{8B067957-1E53-C848-B540-114227DB0E9B}"/>
                </a:ext>
              </a:extLst>
            </p:cNvPr>
            <p:cNvSpPr>
              <a:spLocks/>
            </p:cNvSpPr>
            <p:nvPr/>
          </p:nvSpPr>
          <p:spPr bwMode="auto">
            <a:xfrm>
              <a:off x="2416734" y="1161861"/>
              <a:ext cx="104663" cy="8936"/>
            </a:xfrm>
            <a:custGeom>
              <a:avLst/>
              <a:gdLst>
                <a:gd name="T0" fmla="*/ 2147483646 w 90"/>
                <a:gd name="T1" fmla="*/ 2147483646 h 9"/>
                <a:gd name="T2" fmla="*/ 0 w 90"/>
                <a:gd name="T3" fmla="*/ 2147483646 h 9"/>
                <a:gd name="T4" fmla="*/ 0 w 90"/>
                <a:gd name="T5" fmla="*/ 2147483646 h 9"/>
                <a:gd name="T6" fmla="*/ 0 w 90"/>
                <a:gd name="T7" fmla="*/ 2147483646 h 9"/>
                <a:gd name="T8" fmla="*/ 0 w 90"/>
                <a:gd name="T9" fmla="*/ 0 h 9"/>
                <a:gd name="T10" fmla="*/ 2147483646 w 90"/>
                <a:gd name="T11" fmla="*/ 0 h 9"/>
                <a:gd name="T12" fmla="*/ 2147483646 w 90"/>
                <a:gd name="T13" fmla="*/ 0 h 9"/>
                <a:gd name="T14" fmla="*/ 2147483646 w 90"/>
                <a:gd name="T15" fmla="*/ 0 h 9"/>
                <a:gd name="T16" fmla="*/ 2147483646 w 90"/>
                <a:gd name="T17" fmla="*/ 2147483646 h 9"/>
                <a:gd name="T18" fmla="*/ 2147483646 w 90"/>
                <a:gd name="T19" fmla="*/ 2147483646 h 9"/>
                <a:gd name="T20" fmla="*/ 2147483646 w 90"/>
                <a:gd name="T21" fmla="*/ 2147483646 h 9"/>
                <a:gd name="T22" fmla="*/ 2147483646 w 90"/>
                <a:gd name="T23" fmla="*/ 2147483646 h 9"/>
                <a:gd name="T24" fmla="*/ 2147483646 w 9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9">
                  <a:moveTo>
                    <a:pt x="3" y="9"/>
                  </a:moveTo>
                  <a:lnTo>
                    <a:pt x="0" y="6"/>
                  </a:lnTo>
                  <a:lnTo>
                    <a:pt x="0" y="3"/>
                  </a:lnTo>
                  <a:lnTo>
                    <a:pt x="0" y="0"/>
                  </a:lnTo>
                  <a:lnTo>
                    <a:pt x="3" y="0"/>
                  </a:lnTo>
                  <a:lnTo>
                    <a:pt x="87" y="0"/>
                  </a:lnTo>
                  <a:lnTo>
                    <a:pt x="90" y="0"/>
                  </a:lnTo>
                  <a:lnTo>
                    <a:pt x="90" y="3"/>
                  </a:lnTo>
                  <a:lnTo>
                    <a:pt x="90" y="6"/>
                  </a:lnTo>
                  <a:lnTo>
                    <a:pt x="87"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9" name="Freeform 1244">
              <a:extLst>
                <a:ext uri="{FF2B5EF4-FFF2-40B4-BE49-F238E27FC236}">
                  <a16:creationId xmlns:a16="http://schemas.microsoft.com/office/drawing/2014/main" id="{072294DC-5517-0A4F-8B6C-DD3526AA9265}"/>
                </a:ext>
              </a:extLst>
            </p:cNvPr>
            <p:cNvSpPr>
              <a:spLocks/>
            </p:cNvSpPr>
            <p:nvPr/>
          </p:nvSpPr>
          <p:spPr bwMode="auto">
            <a:xfrm>
              <a:off x="2514420" y="1103284"/>
              <a:ext cx="11629" cy="64535"/>
            </a:xfrm>
            <a:custGeom>
              <a:avLst/>
              <a:gdLst>
                <a:gd name="T0" fmla="*/ 2147483646 w 10"/>
                <a:gd name="T1" fmla="*/ 2147483646 h 65"/>
                <a:gd name="T2" fmla="*/ 2147483646 w 10"/>
                <a:gd name="T3" fmla="*/ 2147483646 h 65"/>
                <a:gd name="T4" fmla="*/ 2147483646 w 10"/>
                <a:gd name="T5" fmla="*/ 2147483646 h 65"/>
                <a:gd name="T6" fmla="*/ 2147483646 w 10"/>
                <a:gd name="T7" fmla="*/ 2147483646 h 65"/>
                <a:gd name="T8" fmla="*/ 0 w 10"/>
                <a:gd name="T9" fmla="*/ 2147483646 h 65"/>
                <a:gd name="T10" fmla="*/ 0 w 10"/>
                <a:gd name="T11" fmla="*/ 2147483646 h 65"/>
                <a:gd name="T12" fmla="*/ 0 w 10"/>
                <a:gd name="T13" fmla="*/ 2147483646 h 65"/>
                <a:gd name="T14" fmla="*/ 0 w 10"/>
                <a:gd name="T15" fmla="*/ 0 h 65"/>
                <a:gd name="T16" fmla="*/ 2147483646 w 10"/>
                <a:gd name="T17" fmla="*/ 0 h 65"/>
                <a:gd name="T18" fmla="*/ 2147483646 w 10"/>
                <a:gd name="T19" fmla="*/ 0 h 65"/>
                <a:gd name="T20" fmla="*/ 2147483646 w 10"/>
                <a:gd name="T21" fmla="*/ 0 h 65"/>
                <a:gd name="T22" fmla="*/ 2147483646 w 10"/>
                <a:gd name="T23" fmla="*/ 2147483646 h 65"/>
                <a:gd name="T24" fmla="*/ 2147483646 w 10"/>
                <a:gd name="T25" fmla="*/ 2147483646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65">
                  <a:moveTo>
                    <a:pt x="10" y="62"/>
                  </a:moveTo>
                  <a:lnTo>
                    <a:pt x="6" y="65"/>
                  </a:lnTo>
                  <a:lnTo>
                    <a:pt x="3" y="65"/>
                  </a:lnTo>
                  <a:lnTo>
                    <a:pt x="0" y="65"/>
                  </a:lnTo>
                  <a:lnTo>
                    <a:pt x="0" y="62"/>
                  </a:lnTo>
                  <a:lnTo>
                    <a:pt x="0" y="4"/>
                  </a:lnTo>
                  <a:lnTo>
                    <a:pt x="0" y="0"/>
                  </a:lnTo>
                  <a:lnTo>
                    <a:pt x="3" y="0"/>
                  </a:lnTo>
                  <a:lnTo>
                    <a:pt x="6" y="0"/>
                  </a:lnTo>
                  <a:lnTo>
                    <a:pt x="10" y="4"/>
                  </a:lnTo>
                  <a:lnTo>
                    <a:pt x="10" y="6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0" name="Freeform 1245">
              <a:extLst>
                <a:ext uri="{FF2B5EF4-FFF2-40B4-BE49-F238E27FC236}">
                  <a16:creationId xmlns:a16="http://schemas.microsoft.com/office/drawing/2014/main" id="{7EE2F462-BD58-4B4D-A304-F3A06B146B54}"/>
                </a:ext>
              </a:extLst>
            </p:cNvPr>
            <p:cNvSpPr>
              <a:spLocks/>
            </p:cNvSpPr>
            <p:nvPr/>
          </p:nvSpPr>
          <p:spPr bwMode="auto">
            <a:xfrm>
              <a:off x="2514420" y="1103284"/>
              <a:ext cx="40703" cy="9928"/>
            </a:xfrm>
            <a:custGeom>
              <a:avLst/>
              <a:gdLst>
                <a:gd name="T0" fmla="*/ 2147483646 w 35"/>
                <a:gd name="T1" fmla="*/ 2147483646 h 10"/>
                <a:gd name="T2" fmla="*/ 0 w 35"/>
                <a:gd name="T3" fmla="*/ 2147483646 h 10"/>
                <a:gd name="T4" fmla="*/ 0 w 35"/>
                <a:gd name="T5" fmla="*/ 2147483646 h 10"/>
                <a:gd name="T6" fmla="*/ 0 w 35"/>
                <a:gd name="T7" fmla="*/ 2147483646 h 10"/>
                <a:gd name="T8" fmla="*/ 0 w 35"/>
                <a:gd name="T9" fmla="*/ 0 h 10"/>
                <a:gd name="T10" fmla="*/ 2147483646 w 35"/>
                <a:gd name="T11" fmla="*/ 0 h 10"/>
                <a:gd name="T12" fmla="*/ 2147483646 w 35"/>
                <a:gd name="T13" fmla="*/ 0 h 10"/>
                <a:gd name="T14" fmla="*/ 2147483646 w 35"/>
                <a:gd name="T15" fmla="*/ 0 h 10"/>
                <a:gd name="T16" fmla="*/ 2147483646 w 35"/>
                <a:gd name="T17" fmla="*/ 2147483646 h 10"/>
                <a:gd name="T18" fmla="*/ 2147483646 w 35"/>
                <a:gd name="T19" fmla="*/ 2147483646 h 10"/>
                <a:gd name="T20" fmla="*/ 2147483646 w 35"/>
                <a:gd name="T21" fmla="*/ 2147483646 h 10"/>
                <a:gd name="T22" fmla="*/ 2147483646 w 35"/>
                <a:gd name="T23" fmla="*/ 2147483646 h 10"/>
                <a:gd name="T24" fmla="*/ 2147483646 w 3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10">
                  <a:moveTo>
                    <a:pt x="3" y="10"/>
                  </a:moveTo>
                  <a:lnTo>
                    <a:pt x="0" y="7"/>
                  </a:lnTo>
                  <a:lnTo>
                    <a:pt x="0" y="4"/>
                  </a:lnTo>
                  <a:lnTo>
                    <a:pt x="0" y="0"/>
                  </a:lnTo>
                  <a:lnTo>
                    <a:pt x="3" y="0"/>
                  </a:lnTo>
                  <a:lnTo>
                    <a:pt x="32" y="0"/>
                  </a:lnTo>
                  <a:lnTo>
                    <a:pt x="35" y="0"/>
                  </a:lnTo>
                  <a:lnTo>
                    <a:pt x="35" y="4"/>
                  </a:lnTo>
                  <a:lnTo>
                    <a:pt x="35" y="7"/>
                  </a:lnTo>
                  <a:lnTo>
                    <a:pt x="3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1" name="Freeform 1246">
              <a:extLst>
                <a:ext uri="{FF2B5EF4-FFF2-40B4-BE49-F238E27FC236}">
                  <a16:creationId xmlns:a16="http://schemas.microsoft.com/office/drawing/2014/main" id="{1F459DFA-A032-9A42-AA38-E9D62BC71720}"/>
                </a:ext>
              </a:extLst>
            </p:cNvPr>
            <p:cNvSpPr>
              <a:spLocks/>
            </p:cNvSpPr>
            <p:nvPr/>
          </p:nvSpPr>
          <p:spPr bwMode="auto">
            <a:xfrm>
              <a:off x="2548145" y="1103284"/>
              <a:ext cx="205837" cy="9928"/>
            </a:xfrm>
            <a:custGeom>
              <a:avLst/>
              <a:gdLst>
                <a:gd name="T0" fmla="*/ 2147483646 w 177"/>
                <a:gd name="T1" fmla="*/ 2147483646 h 10"/>
                <a:gd name="T2" fmla="*/ 0 w 177"/>
                <a:gd name="T3" fmla="*/ 2147483646 h 10"/>
                <a:gd name="T4" fmla="*/ 0 w 177"/>
                <a:gd name="T5" fmla="*/ 2147483646 h 10"/>
                <a:gd name="T6" fmla="*/ 0 w 177"/>
                <a:gd name="T7" fmla="*/ 2147483646 h 10"/>
                <a:gd name="T8" fmla="*/ 0 w 177"/>
                <a:gd name="T9" fmla="*/ 0 h 10"/>
                <a:gd name="T10" fmla="*/ 2147483646 w 177"/>
                <a:gd name="T11" fmla="*/ 0 h 10"/>
                <a:gd name="T12" fmla="*/ 2147483646 w 177"/>
                <a:gd name="T13" fmla="*/ 0 h 10"/>
                <a:gd name="T14" fmla="*/ 2147483646 w 177"/>
                <a:gd name="T15" fmla="*/ 0 h 10"/>
                <a:gd name="T16" fmla="*/ 2147483646 w 177"/>
                <a:gd name="T17" fmla="*/ 2147483646 h 10"/>
                <a:gd name="T18" fmla="*/ 2147483646 w 177"/>
                <a:gd name="T19" fmla="*/ 2147483646 h 10"/>
                <a:gd name="T20" fmla="*/ 2147483646 w 177"/>
                <a:gd name="T21" fmla="*/ 2147483646 h 10"/>
                <a:gd name="T22" fmla="*/ 2147483646 w 177"/>
                <a:gd name="T23" fmla="*/ 2147483646 h 10"/>
                <a:gd name="T24" fmla="*/ 2147483646 w 17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7" h="10">
                  <a:moveTo>
                    <a:pt x="3" y="10"/>
                  </a:moveTo>
                  <a:lnTo>
                    <a:pt x="0" y="7"/>
                  </a:lnTo>
                  <a:lnTo>
                    <a:pt x="0" y="4"/>
                  </a:lnTo>
                  <a:lnTo>
                    <a:pt x="0" y="0"/>
                  </a:lnTo>
                  <a:lnTo>
                    <a:pt x="3" y="0"/>
                  </a:lnTo>
                  <a:lnTo>
                    <a:pt x="174" y="0"/>
                  </a:lnTo>
                  <a:lnTo>
                    <a:pt x="177" y="0"/>
                  </a:lnTo>
                  <a:lnTo>
                    <a:pt x="177" y="4"/>
                  </a:lnTo>
                  <a:lnTo>
                    <a:pt x="177" y="7"/>
                  </a:lnTo>
                  <a:lnTo>
                    <a:pt x="17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2" name="Freeform 1247">
              <a:extLst>
                <a:ext uri="{FF2B5EF4-FFF2-40B4-BE49-F238E27FC236}">
                  <a16:creationId xmlns:a16="http://schemas.microsoft.com/office/drawing/2014/main" id="{E1534206-3FB4-2040-A718-2BE59A3D12BF}"/>
                </a:ext>
              </a:extLst>
            </p:cNvPr>
            <p:cNvSpPr>
              <a:spLocks/>
            </p:cNvSpPr>
            <p:nvPr/>
          </p:nvSpPr>
          <p:spPr bwMode="auto">
            <a:xfrm>
              <a:off x="2747004" y="110328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3" name="Freeform 1248">
              <a:extLst>
                <a:ext uri="{FF2B5EF4-FFF2-40B4-BE49-F238E27FC236}">
                  <a16:creationId xmlns:a16="http://schemas.microsoft.com/office/drawing/2014/main" id="{27029CE3-2CCA-4647-9899-72D9DF06E95A}"/>
                </a:ext>
              </a:extLst>
            </p:cNvPr>
            <p:cNvSpPr>
              <a:spLocks/>
            </p:cNvSpPr>
            <p:nvPr/>
          </p:nvSpPr>
          <p:spPr bwMode="auto">
            <a:xfrm>
              <a:off x="2757471" y="933507"/>
              <a:ext cx="11629" cy="176726"/>
            </a:xfrm>
            <a:custGeom>
              <a:avLst/>
              <a:gdLst>
                <a:gd name="T0" fmla="*/ 2147483646 w 10"/>
                <a:gd name="T1" fmla="*/ 2147483646 h 178"/>
                <a:gd name="T2" fmla="*/ 2147483646 w 10"/>
                <a:gd name="T3" fmla="*/ 2147483646 h 178"/>
                <a:gd name="T4" fmla="*/ 2147483646 w 10"/>
                <a:gd name="T5" fmla="*/ 2147483646 h 178"/>
                <a:gd name="T6" fmla="*/ 2147483646 w 10"/>
                <a:gd name="T7" fmla="*/ 2147483646 h 178"/>
                <a:gd name="T8" fmla="*/ 0 w 10"/>
                <a:gd name="T9" fmla="*/ 2147483646 h 178"/>
                <a:gd name="T10" fmla="*/ 0 w 10"/>
                <a:gd name="T11" fmla="*/ 2147483646 h 178"/>
                <a:gd name="T12" fmla="*/ 0 w 10"/>
                <a:gd name="T13" fmla="*/ 2147483646 h 178"/>
                <a:gd name="T14" fmla="*/ 0 w 10"/>
                <a:gd name="T15" fmla="*/ 0 h 178"/>
                <a:gd name="T16" fmla="*/ 2147483646 w 10"/>
                <a:gd name="T17" fmla="*/ 0 h 178"/>
                <a:gd name="T18" fmla="*/ 2147483646 w 10"/>
                <a:gd name="T19" fmla="*/ 0 h 178"/>
                <a:gd name="T20" fmla="*/ 2147483646 w 10"/>
                <a:gd name="T21" fmla="*/ 0 h 178"/>
                <a:gd name="T22" fmla="*/ 2147483646 w 10"/>
                <a:gd name="T23" fmla="*/ 2147483646 h 178"/>
                <a:gd name="T24" fmla="*/ 2147483646 w 10"/>
                <a:gd name="T25" fmla="*/ 2147483646 h 1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8">
                  <a:moveTo>
                    <a:pt x="10" y="175"/>
                  </a:moveTo>
                  <a:lnTo>
                    <a:pt x="7" y="178"/>
                  </a:lnTo>
                  <a:lnTo>
                    <a:pt x="4" y="178"/>
                  </a:lnTo>
                  <a:lnTo>
                    <a:pt x="0" y="178"/>
                  </a:lnTo>
                  <a:lnTo>
                    <a:pt x="0" y="175"/>
                  </a:lnTo>
                  <a:lnTo>
                    <a:pt x="0" y="4"/>
                  </a:lnTo>
                  <a:lnTo>
                    <a:pt x="0" y="0"/>
                  </a:lnTo>
                  <a:lnTo>
                    <a:pt x="4" y="0"/>
                  </a:lnTo>
                  <a:lnTo>
                    <a:pt x="7" y="0"/>
                  </a:lnTo>
                  <a:lnTo>
                    <a:pt x="10" y="4"/>
                  </a:lnTo>
                  <a:lnTo>
                    <a:pt x="10" y="175"/>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4" name="Freeform 1249">
              <a:extLst>
                <a:ext uri="{FF2B5EF4-FFF2-40B4-BE49-F238E27FC236}">
                  <a16:creationId xmlns:a16="http://schemas.microsoft.com/office/drawing/2014/main" id="{6E35388A-68B7-5B4C-AF5F-5F7FA9E3EF5E}"/>
                </a:ext>
              </a:extLst>
            </p:cNvPr>
            <p:cNvSpPr>
              <a:spLocks/>
            </p:cNvSpPr>
            <p:nvPr/>
          </p:nvSpPr>
          <p:spPr bwMode="auto">
            <a:xfrm>
              <a:off x="696774" y="914644"/>
              <a:ext cx="5238962" cy="1947958"/>
            </a:xfrm>
            <a:custGeom>
              <a:avLst/>
              <a:gdLst>
                <a:gd name="T0" fmla="*/ 0 w 4505"/>
                <a:gd name="T1" fmla="*/ 2147483646 h 1962"/>
                <a:gd name="T2" fmla="*/ 0 w 4505"/>
                <a:gd name="T3" fmla="*/ 0 h 1962"/>
                <a:gd name="T4" fmla="*/ 2147483646 w 4505"/>
                <a:gd name="T5" fmla="*/ 0 h 1962"/>
                <a:gd name="T6" fmla="*/ 2147483646 w 4505"/>
                <a:gd name="T7" fmla="*/ 2147483646 h 1962"/>
                <a:gd name="T8" fmla="*/ 0 w 4505"/>
                <a:gd name="T9" fmla="*/ 2147483646 h 1962"/>
                <a:gd name="T10" fmla="*/ 0 w 4505"/>
                <a:gd name="T11" fmla="*/ 2147483646 h 19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505" h="1962">
                  <a:moveTo>
                    <a:pt x="0" y="1959"/>
                  </a:moveTo>
                  <a:lnTo>
                    <a:pt x="0" y="0"/>
                  </a:lnTo>
                  <a:lnTo>
                    <a:pt x="4505" y="0"/>
                  </a:lnTo>
                  <a:lnTo>
                    <a:pt x="4505" y="1959"/>
                  </a:lnTo>
                  <a:lnTo>
                    <a:pt x="0" y="1959"/>
                  </a:lnTo>
                  <a:lnTo>
                    <a:pt x="0" y="1962"/>
                  </a:lnTo>
                </a:path>
              </a:pathLst>
            </a:custGeom>
            <a:noFill/>
            <a:ln w="4763">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233" name="TextBox 1232">
              <a:extLst>
                <a:ext uri="{FF2B5EF4-FFF2-40B4-BE49-F238E27FC236}">
                  <a16:creationId xmlns:a16="http://schemas.microsoft.com/office/drawing/2014/main" id="{B51EC016-C7AF-B64D-BC22-619D3C9660D5}"/>
                </a:ext>
              </a:extLst>
            </p:cNvPr>
            <p:cNvSpPr txBox="1"/>
            <p:nvPr/>
          </p:nvSpPr>
          <p:spPr bwMode="auto">
            <a:xfrm>
              <a:off x="2855896" y="927633"/>
              <a:ext cx="902811" cy="207749"/>
            </a:xfrm>
            <a:prstGeom prst="rect">
              <a:avLst/>
            </a:prstGeom>
            <a:noFill/>
          </p:spPr>
          <p:txBody>
            <a:bodyPr wrap="none">
              <a:spAutoFit/>
            </a:bodyPr>
            <a:lstStyle/>
            <a:p>
              <a:pPr defTabSz="457189" eaLnBrk="0" fontAlgn="base" hangingPunct="0">
                <a:spcBef>
                  <a:spcPct val="0"/>
                </a:spcBef>
                <a:spcAft>
                  <a:spcPct val="0"/>
                </a:spcAft>
                <a:defRPr/>
              </a:pPr>
              <a:r>
                <a:rPr lang="en-US" sz="750" b="1">
                  <a:solidFill>
                    <a:prstClr val="black"/>
                  </a:solidFill>
                  <a:latin typeface="Arial" panose="020B0604020202020204" pitchFamily="34" charset="0"/>
                  <a:cs typeface="Arial" panose="020B0604020202020204" pitchFamily="34" charset="0"/>
                </a:rPr>
                <a:t>High-risk group</a:t>
              </a:r>
            </a:p>
          </p:txBody>
        </p:sp>
        <p:sp>
          <p:nvSpPr>
            <p:cNvPr id="1234" name="TextBox 1233">
              <a:extLst>
                <a:ext uri="{FF2B5EF4-FFF2-40B4-BE49-F238E27FC236}">
                  <a16:creationId xmlns:a16="http://schemas.microsoft.com/office/drawing/2014/main" id="{DC1AE381-610E-2B40-BA3C-D0201841CA3C}"/>
                </a:ext>
              </a:extLst>
            </p:cNvPr>
            <p:cNvSpPr txBox="1"/>
            <p:nvPr/>
          </p:nvSpPr>
          <p:spPr bwMode="auto">
            <a:xfrm>
              <a:off x="4728914" y="1227866"/>
              <a:ext cx="1252538" cy="207749"/>
            </a:xfrm>
            <a:prstGeom prst="rect">
              <a:avLst/>
            </a:prstGeom>
            <a:noFill/>
          </p:spPr>
          <p:txBody>
            <a:bodyPr>
              <a:spAutoFit/>
            </a:bodyPr>
            <a:lstStyle/>
            <a:p>
              <a:pPr defTabSz="457189" eaLnBrk="0" fontAlgn="base" hangingPunct="0">
                <a:spcBef>
                  <a:spcPct val="0"/>
                </a:spcBef>
                <a:spcAft>
                  <a:spcPct val="0"/>
                </a:spcAft>
                <a:defRPr/>
              </a:pPr>
              <a:r>
                <a:rPr lang="en-US" sz="750" b="1">
                  <a:solidFill>
                    <a:prstClr val="black"/>
                  </a:solidFill>
                  <a:latin typeface="Arial" panose="020B0604020202020204" pitchFamily="34" charset="0"/>
                  <a:cs typeface="Arial" panose="020B0604020202020204" pitchFamily="34" charset="0"/>
                </a:rPr>
                <a:t>Intermediate-risk group</a:t>
              </a:r>
            </a:p>
          </p:txBody>
        </p:sp>
        <p:sp>
          <p:nvSpPr>
            <p:cNvPr id="1235" name="TextBox 1234">
              <a:extLst>
                <a:ext uri="{FF2B5EF4-FFF2-40B4-BE49-F238E27FC236}">
                  <a16:creationId xmlns:a16="http://schemas.microsoft.com/office/drawing/2014/main" id="{60C354BE-3BBC-6C4D-BCCF-4178B12BFBE3}"/>
                </a:ext>
              </a:extLst>
            </p:cNvPr>
            <p:cNvSpPr txBox="1"/>
            <p:nvPr/>
          </p:nvSpPr>
          <p:spPr bwMode="auto">
            <a:xfrm>
              <a:off x="4466815" y="1930588"/>
              <a:ext cx="881973" cy="207749"/>
            </a:xfrm>
            <a:prstGeom prst="rect">
              <a:avLst/>
            </a:prstGeom>
            <a:noFill/>
          </p:spPr>
          <p:txBody>
            <a:bodyPr wrap="none">
              <a:spAutoFit/>
            </a:bodyPr>
            <a:lstStyle/>
            <a:p>
              <a:pPr defTabSz="457189" eaLnBrk="0" fontAlgn="base" hangingPunct="0">
                <a:spcBef>
                  <a:spcPct val="0"/>
                </a:spcBef>
                <a:spcAft>
                  <a:spcPct val="0"/>
                </a:spcAft>
                <a:defRPr/>
              </a:pPr>
              <a:r>
                <a:rPr lang="en-US" sz="750" b="1">
                  <a:solidFill>
                    <a:prstClr val="black"/>
                  </a:solidFill>
                  <a:latin typeface="Arial" panose="020B0604020202020204" pitchFamily="34" charset="0"/>
                  <a:cs typeface="Arial" panose="020B0604020202020204" pitchFamily="34" charset="0"/>
                </a:rPr>
                <a:t>Low-risk group</a:t>
              </a:r>
            </a:p>
          </p:txBody>
        </p:sp>
        <p:sp>
          <p:nvSpPr>
            <p:cNvPr id="1236" name="TextBox 1235">
              <a:extLst>
                <a:ext uri="{FF2B5EF4-FFF2-40B4-BE49-F238E27FC236}">
                  <a16:creationId xmlns:a16="http://schemas.microsoft.com/office/drawing/2014/main" id="{FDE1249F-9435-8940-81D7-B7F22911113E}"/>
                </a:ext>
              </a:extLst>
            </p:cNvPr>
            <p:cNvSpPr txBox="1"/>
            <p:nvPr/>
          </p:nvSpPr>
          <p:spPr bwMode="auto">
            <a:xfrm>
              <a:off x="4347183" y="1443517"/>
              <a:ext cx="1329550" cy="323165"/>
            </a:xfrm>
            <a:prstGeom prst="rect">
              <a:avLst/>
            </a:prstGeom>
            <a:noFill/>
          </p:spPr>
          <p:txBody>
            <a:bodyPr wrap="square">
              <a:spAutoFit/>
            </a:bodyPr>
            <a:lstStyle/>
            <a:p>
              <a:pPr defTabSz="457189" eaLnBrk="0" fontAlgn="base" hangingPunct="0">
                <a:spcBef>
                  <a:spcPct val="0"/>
                </a:spcBef>
                <a:spcAft>
                  <a:spcPct val="0"/>
                </a:spcAft>
                <a:defRPr/>
              </a:pPr>
              <a:r>
                <a:rPr lang="en-US" sz="750" b="1">
                  <a:solidFill>
                    <a:prstClr val="black"/>
                  </a:solidFill>
                  <a:latin typeface="Arial" panose="020B0604020202020204" pitchFamily="34" charset="0"/>
                  <a:cs typeface="Arial" panose="020B0604020202020204" pitchFamily="34" charset="0"/>
                </a:rPr>
                <a:t>Low- to intermediate-risk group</a:t>
              </a:r>
            </a:p>
          </p:txBody>
        </p:sp>
      </p:grpSp>
      <p:sp>
        <p:nvSpPr>
          <p:cNvPr id="84010" name="Content Placeholder 11">
            <a:extLst>
              <a:ext uri="{FF2B5EF4-FFF2-40B4-BE49-F238E27FC236}">
                <a16:creationId xmlns:a16="http://schemas.microsoft.com/office/drawing/2014/main" id="{A06204D4-EA96-614F-867B-1D3290E22060}"/>
              </a:ext>
            </a:extLst>
          </p:cNvPr>
          <p:cNvSpPr txBox="1">
            <a:spLocks noChangeArrowheads="1"/>
          </p:cNvSpPr>
          <p:nvPr/>
        </p:nvSpPr>
        <p:spPr bwMode="auto">
          <a:xfrm>
            <a:off x="6179806" y="956305"/>
            <a:ext cx="2848947" cy="190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34290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defTabSz="914378" fontAlgn="base">
              <a:spcBef>
                <a:spcPts val="1000"/>
              </a:spcBef>
              <a:spcAft>
                <a:spcPct val="0"/>
              </a:spcAft>
              <a:buNone/>
              <a:defRPr/>
            </a:pPr>
            <a:r>
              <a:rPr lang="en-CA" altLang="es-ES" sz="1600">
                <a:solidFill>
                  <a:prstClr val="black"/>
                </a:solidFill>
                <a:latin typeface="Arial" panose="020B0604020202020204" pitchFamily="34" charset="0"/>
                <a:cs typeface="Arial" panose="020B0604020202020204" pitchFamily="34" charset="0"/>
              </a:rPr>
              <a:t>Characteristics included in the model</a:t>
            </a:r>
          </a:p>
          <a:p>
            <a:pPr marL="342892" lvl="1" defTabSz="914378" fontAlgn="base">
              <a:spcBef>
                <a:spcPts val="500"/>
              </a:spcBef>
              <a:spcAft>
                <a:spcPct val="0"/>
              </a:spcAft>
              <a:buNone/>
              <a:defRPr/>
            </a:pPr>
            <a:endParaRPr lang="en-CA" altLang="es-ES" sz="1200" b="1">
              <a:solidFill>
                <a:srgbClr val="C00000"/>
              </a:solidFill>
              <a:latin typeface="Arial" panose="020B0604020202020204" pitchFamily="34" charset="0"/>
              <a:cs typeface="Arial" panose="020B0604020202020204" pitchFamily="34" charset="0"/>
            </a:endParaRPr>
          </a:p>
          <a:p>
            <a:pPr marL="230183" lvl="1" indent="-230183" defTabSz="914378" fontAlgn="base">
              <a:spcBef>
                <a:spcPts val="500"/>
              </a:spcBef>
              <a:spcAft>
                <a:spcPct val="0"/>
              </a:spcAft>
              <a:defRPr/>
            </a:pPr>
            <a:r>
              <a:rPr lang="en-CA" altLang="es-ES" sz="1600" b="1">
                <a:solidFill>
                  <a:srgbClr val="000000"/>
                </a:solidFill>
                <a:latin typeface="Arial" panose="020B0604020202020204" pitchFamily="34" charset="0"/>
                <a:cs typeface="Arial" panose="020B0604020202020204" pitchFamily="34" charset="0"/>
              </a:rPr>
              <a:t>Serum M-spike: &gt;2 g/dL</a:t>
            </a:r>
          </a:p>
          <a:p>
            <a:pPr marL="230183" lvl="1" indent="-230183" defTabSz="914378" fontAlgn="base">
              <a:spcBef>
                <a:spcPts val="500"/>
              </a:spcBef>
              <a:spcAft>
                <a:spcPct val="0"/>
              </a:spcAft>
              <a:defRPr/>
            </a:pPr>
            <a:r>
              <a:rPr lang="en-CA" altLang="es-ES" sz="1600" b="1">
                <a:solidFill>
                  <a:srgbClr val="000000"/>
                </a:solidFill>
                <a:latin typeface="Arial" panose="020B0604020202020204" pitchFamily="34" charset="0"/>
                <a:cs typeface="Arial" panose="020B0604020202020204" pitchFamily="34" charset="0"/>
              </a:rPr>
              <a:t>FLC ratio: &gt;20</a:t>
            </a:r>
          </a:p>
          <a:p>
            <a:pPr marL="230183" lvl="1" indent="-230183" defTabSz="914378" fontAlgn="base">
              <a:spcBef>
                <a:spcPts val="500"/>
              </a:spcBef>
              <a:spcAft>
                <a:spcPct val="0"/>
              </a:spcAft>
              <a:defRPr/>
            </a:pPr>
            <a:r>
              <a:rPr lang="en-CA" altLang="es-ES" sz="1600" b="1">
                <a:solidFill>
                  <a:srgbClr val="000000"/>
                </a:solidFill>
                <a:latin typeface="Arial" panose="020B0604020202020204" pitchFamily="34" charset="0"/>
                <a:cs typeface="Arial" panose="020B0604020202020204" pitchFamily="34" charset="0"/>
              </a:rPr>
              <a:t>BMPC: &gt;20%</a:t>
            </a:r>
            <a:endParaRPr lang="en-CA" altLang="es-ES" sz="1200" b="1">
              <a:solidFill>
                <a:srgbClr val="000000"/>
              </a:solidFill>
              <a:latin typeface="Arial" panose="020B0604020202020204" pitchFamily="34" charset="0"/>
              <a:cs typeface="Arial" panose="020B0604020202020204" pitchFamily="34" charset="0"/>
            </a:endParaRPr>
          </a:p>
          <a:p>
            <a:pPr marL="342892" lvl="1" defTabSz="914378" fontAlgn="base">
              <a:spcBef>
                <a:spcPts val="500"/>
              </a:spcBef>
              <a:spcAft>
                <a:spcPct val="0"/>
              </a:spcAft>
              <a:buNone/>
              <a:defRPr/>
            </a:pPr>
            <a:r>
              <a:rPr lang="en-CA" altLang="es-ES" sz="1400" b="1">
                <a:solidFill>
                  <a:srgbClr val="C00000"/>
                </a:solidFill>
                <a:latin typeface="Arial" panose="020B0604020202020204" pitchFamily="34" charset="0"/>
                <a:cs typeface="Arial" panose="020B0604020202020204" pitchFamily="34" charset="0"/>
              </a:rPr>
              <a:t>Presence of any of the CA</a:t>
            </a:r>
            <a:endParaRPr lang="en-CA" altLang="es-ES" sz="1100" b="1">
              <a:solidFill>
                <a:srgbClr val="C00000"/>
              </a:solidFill>
              <a:latin typeface="Arial" panose="020B0604020202020204" pitchFamily="34" charset="0"/>
              <a:cs typeface="Arial" panose="020B0604020202020204" pitchFamily="34" charset="0"/>
            </a:endParaRPr>
          </a:p>
        </p:txBody>
      </p:sp>
      <p:sp>
        <p:nvSpPr>
          <p:cNvPr id="1238" name="CuadroTexto 1">
            <a:extLst>
              <a:ext uri="{FF2B5EF4-FFF2-40B4-BE49-F238E27FC236}">
                <a16:creationId xmlns:a16="http://schemas.microsoft.com/office/drawing/2014/main" id="{1C3311BC-BDF0-4A5C-A6F7-88CECE7E72E9}"/>
              </a:ext>
            </a:extLst>
          </p:cNvPr>
          <p:cNvSpPr txBox="1">
            <a:spLocks noChangeArrowheads="1"/>
          </p:cNvSpPr>
          <p:nvPr/>
        </p:nvSpPr>
        <p:spPr bwMode="auto">
          <a:xfrm>
            <a:off x="6270569" y="4916713"/>
            <a:ext cx="28745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r" defTabSz="457189" eaLnBrk="0" fontAlgn="base" hangingPunct="0">
              <a:spcBef>
                <a:spcPct val="0"/>
              </a:spcBef>
              <a:spcAft>
                <a:spcPct val="0"/>
              </a:spcAft>
              <a:defRPr/>
            </a:pPr>
            <a:r>
              <a:rPr lang="es-ES" altLang="es-ES" sz="1000">
                <a:solidFill>
                  <a:prstClr val="black"/>
                </a:solidFill>
              </a:rPr>
              <a:t>San Miguel J, et al. ASCO 2019. Abstract 8000.</a:t>
            </a:r>
          </a:p>
        </p:txBody>
      </p:sp>
    </p:spTree>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C0851-1421-D248-A232-85D261C8DC02}"/>
              </a:ext>
            </a:extLst>
          </p:cNvPr>
          <p:cNvSpPr>
            <a:spLocks noGrp="1"/>
          </p:cNvSpPr>
          <p:nvPr>
            <p:ph type="ctrTitle"/>
          </p:nvPr>
        </p:nvSpPr>
        <p:spPr>
          <a:xfrm>
            <a:off x="1" y="-10737"/>
            <a:ext cx="9143999" cy="741144"/>
          </a:xfrm>
        </p:spPr>
        <p:txBody>
          <a:bodyPr anchor="ctr">
            <a:normAutofit fontScale="90000"/>
          </a:bodyPr>
          <a:lstStyle/>
          <a:p>
            <a:pPr algn="ctr"/>
            <a:r>
              <a:rPr lang="en-US" sz="2400" b="1" noProof="0">
                <a:solidFill>
                  <a:schemeClr val="accent1"/>
                </a:solidFill>
                <a:latin typeface="Arial" panose="020B0604020202020204" pitchFamily="34" charset="0"/>
                <a:cs typeface="Arial" panose="020B0604020202020204" pitchFamily="34" charset="0"/>
              </a:rPr>
              <a:t>Would </a:t>
            </a:r>
            <a:r>
              <a:rPr lang="en-US" sz="2400" b="1" noProof="0">
                <a:solidFill>
                  <a:srgbClr val="4472C4"/>
                </a:solidFill>
                <a:latin typeface="Arial" panose="020B0604020202020204" pitchFamily="34" charset="0"/>
                <a:cs typeface="Arial" panose="020B0604020202020204" pitchFamily="34" charset="0"/>
              </a:rPr>
              <a:t>You Treat </a:t>
            </a:r>
            <a:r>
              <a:rPr lang="en-US" sz="2400" b="1" noProof="0">
                <a:solidFill>
                  <a:schemeClr val="accent1"/>
                </a:solidFill>
                <a:latin typeface="Arial" panose="020B0604020202020204" pitchFamily="34" charset="0"/>
                <a:cs typeface="Arial" panose="020B0604020202020204" pitchFamily="34" charset="0"/>
              </a:rPr>
              <a:t>Stage I–II Breast Cancer or Wait for Metastasis?</a:t>
            </a:r>
          </a:p>
        </p:txBody>
      </p:sp>
      <p:grpSp>
        <p:nvGrpSpPr>
          <p:cNvPr id="6" name="Group 2">
            <a:extLst>
              <a:ext uri="{FF2B5EF4-FFF2-40B4-BE49-F238E27FC236}">
                <a16:creationId xmlns:a16="http://schemas.microsoft.com/office/drawing/2014/main" id="{CF931E2D-8AE7-F647-A5BE-75ABA7D48620}"/>
              </a:ext>
            </a:extLst>
          </p:cNvPr>
          <p:cNvGrpSpPr/>
          <p:nvPr/>
        </p:nvGrpSpPr>
        <p:grpSpPr>
          <a:xfrm>
            <a:off x="1170253" y="745537"/>
            <a:ext cx="6806255" cy="575084"/>
            <a:chOff x="0" y="0"/>
            <a:chExt cx="8535785" cy="1022370"/>
          </a:xfrm>
        </p:grpSpPr>
        <p:sp>
          <p:nvSpPr>
            <p:cNvPr id="8" name="Content Placeholder 2">
              <a:extLst>
                <a:ext uri="{FF2B5EF4-FFF2-40B4-BE49-F238E27FC236}">
                  <a16:creationId xmlns:a16="http://schemas.microsoft.com/office/drawing/2014/main" id="{94FA5427-C8AB-BF42-8C18-FF1913B152F4}"/>
                </a:ext>
              </a:extLst>
            </p:cNvPr>
            <p:cNvSpPr txBox="1"/>
            <p:nvPr/>
          </p:nvSpPr>
          <p:spPr>
            <a:xfrm>
              <a:off x="1978216" y="287354"/>
              <a:ext cx="3385759" cy="35382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717" tIns="25717" rIns="25717" bIns="25717" numCol="1" anchor="t">
              <a:spAutoFit/>
            </a:bodyPr>
            <a:lstStyle>
              <a:lvl1pPr algn="ctr">
                <a:spcBef>
                  <a:spcPts val="400"/>
                </a:spcBef>
                <a:defRPr sz="1700">
                  <a:latin typeface="Arial"/>
                  <a:ea typeface="Arial"/>
                  <a:cs typeface="Arial"/>
                  <a:sym typeface="Arial"/>
                </a:defRPr>
              </a:lvl1pPr>
            </a:lstStyle>
            <a:p>
              <a:pPr defTabSz="685800">
                <a:spcBef>
                  <a:spcPts val="300"/>
                </a:spcBef>
              </a:pPr>
              <a:r>
                <a:rPr sz="956">
                  <a:solidFill>
                    <a:prstClr val="black"/>
                  </a:solidFill>
                </a:rPr>
                <a:t>Pre-Neoplasia</a:t>
              </a:r>
            </a:p>
          </p:txBody>
        </p:sp>
        <p:sp>
          <p:nvSpPr>
            <p:cNvPr id="9" name="Right Arrow 39">
              <a:extLst>
                <a:ext uri="{FF2B5EF4-FFF2-40B4-BE49-F238E27FC236}">
                  <a16:creationId xmlns:a16="http://schemas.microsoft.com/office/drawing/2014/main" id="{35C622E1-D3F0-7742-9936-44CD29ADAE55}"/>
                </a:ext>
              </a:extLst>
            </p:cNvPr>
            <p:cNvSpPr/>
            <p:nvPr/>
          </p:nvSpPr>
          <p:spPr>
            <a:xfrm>
              <a:off x="2512769" y="534433"/>
              <a:ext cx="2674770" cy="487937"/>
            </a:xfrm>
            <a:prstGeom prst="rightArrow">
              <a:avLst>
                <a:gd name="adj1" fmla="val 50000"/>
                <a:gd name="adj2" fmla="val 50000"/>
              </a:avLst>
            </a:prstGeom>
            <a:gradFill flip="none" rotWithShape="1">
              <a:gsLst>
                <a:gs pos="48000">
                  <a:schemeClr val="accent4"/>
                </a:gs>
                <a:gs pos="98000">
                  <a:srgbClr val="FFFD78"/>
                </a:gs>
              </a:gsLst>
              <a:path path="circle">
                <a:fillToRect l="62278" t="119636" r="37721" b="-19636"/>
              </a:path>
            </a:gradFill>
            <a:ln w="12700" cap="flat">
              <a:noFill/>
              <a:miter lim="400000"/>
              <a:tailEnd type="triangle" w="med" len="med"/>
            </a:ln>
            <a:effectLst/>
          </p:spPr>
          <p:txBody>
            <a:bodyPr wrap="square" lIns="25717" tIns="25717" rIns="25717" bIns="25717" numCol="1" anchor="t">
              <a:noAutofit/>
            </a:bodyPr>
            <a:lstStyle/>
            <a:p>
              <a:pPr algn="ctr" defTabSz="685800">
                <a:defRPr sz="2000">
                  <a:solidFill>
                    <a:srgbClr val="FFFFFF"/>
                  </a:solidFill>
                  <a:latin typeface="Arial"/>
                  <a:ea typeface="Arial"/>
                  <a:cs typeface="Arial"/>
                  <a:sym typeface="Arial"/>
                </a:defRPr>
              </a:pPr>
              <a:endParaRPr sz="1125">
                <a:solidFill>
                  <a:srgbClr val="FFFFFF"/>
                </a:solidFill>
                <a:latin typeface="Arial"/>
                <a:cs typeface="Arial"/>
                <a:sym typeface="Arial"/>
              </a:endParaRPr>
            </a:p>
          </p:txBody>
        </p:sp>
        <p:sp>
          <p:nvSpPr>
            <p:cNvPr id="10" name="Content Placeholder 2">
              <a:extLst>
                <a:ext uri="{FF2B5EF4-FFF2-40B4-BE49-F238E27FC236}">
                  <a16:creationId xmlns:a16="http://schemas.microsoft.com/office/drawing/2014/main" id="{36CE4D56-9C15-9C47-B34E-E63D9EE954BA}"/>
                </a:ext>
              </a:extLst>
            </p:cNvPr>
            <p:cNvSpPr txBox="1"/>
            <p:nvPr/>
          </p:nvSpPr>
          <p:spPr>
            <a:xfrm>
              <a:off x="0" y="0"/>
              <a:ext cx="2447733" cy="66091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717" tIns="25717" rIns="25717" bIns="25717" numCol="1" anchor="t">
              <a:spAutoFit/>
            </a:bodyPr>
            <a:lstStyle/>
            <a:p>
              <a:pPr algn="ctr" defTabSz="685800">
                <a:spcBef>
                  <a:spcPts val="394"/>
                </a:spcBef>
                <a:defRPr sz="1700">
                  <a:latin typeface="Arial"/>
                  <a:ea typeface="Arial"/>
                  <a:cs typeface="Arial"/>
                  <a:sym typeface="Arial"/>
                </a:defRPr>
              </a:pPr>
              <a:endParaRPr sz="956">
                <a:solidFill>
                  <a:prstClr val="black"/>
                </a:solidFill>
                <a:latin typeface="Arial"/>
                <a:cs typeface="Arial"/>
                <a:sym typeface="Arial"/>
              </a:endParaRPr>
            </a:p>
            <a:p>
              <a:pPr algn="ctr" defTabSz="685800">
                <a:spcBef>
                  <a:spcPts val="225"/>
                </a:spcBef>
                <a:defRPr sz="1700">
                  <a:latin typeface="Arial"/>
                  <a:ea typeface="Arial"/>
                  <a:cs typeface="Arial"/>
                  <a:sym typeface="Arial"/>
                </a:defRPr>
              </a:pPr>
              <a:r>
                <a:rPr sz="956">
                  <a:solidFill>
                    <a:prstClr val="black"/>
                  </a:solidFill>
                  <a:latin typeface="Arial"/>
                  <a:cs typeface="Arial"/>
                  <a:sym typeface="Arial"/>
                </a:rPr>
                <a:t>Normal</a:t>
              </a:r>
            </a:p>
          </p:txBody>
        </p:sp>
        <p:sp>
          <p:nvSpPr>
            <p:cNvPr id="11" name="Content Placeholder 2">
              <a:extLst>
                <a:ext uri="{FF2B5EF4-FFF2-40B4-BE49-F238E27FC236}">
                  <a16:creationId xmlns:a16="http://schemas.microsoft.com/office/drawing/2014/main" id="{00E017A9-3C1F-D242-B1E8-FBC904B002B6}"/>
                </a:ext>
              </a:extLst>
            </p:cNvPr>
            <p:cNvSpPr txBox="1"/>
            <p:nvPr/>
          </p:nvSpPr>
          <p:spPr>
            <a:xfrm>
              <a:off x="5264095" y="292119"/>
              <a:ext cx="3045842" cy="35382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717" tIns="25717" rIns="25717" bIns="25717" numCol="1" anchor="t">
              <a:spAutoFit/>
            </a:bodyPr>
            <a:lstStyle>
              <a:lvl1pPr algn="ctr">
                <a:spcBef>
                  <a:spcPts val="400"/>
                </a:spcBef>
                <a:defRPr sz="1700">
                  <a:latin typeface="Arial"/>
                  <a:ea typeface="Arial"/>
                  <a:cs typeface="Arial"/>
                  <a:sym typeface="Arial"/>
                </a:defRPr>
              </a:lvl1pPr>
            </a:lstStyle>
            <a:p>
              <a:pPr defTabSz="685800">
                <a:spcBef>
                  <a:spcPts val="300"/>
                </a:spcBef>
              </a:pPr>
              <a:r>
                <a:rPr sz="956">
                  <a:solidFill>
                    <a:prstClr val="black"/>
                  </a:solidFill>
                </a:rPr>
                <a:t>Cancer</a:t>
              </a:r>
            </a:p>
          </p:txBody>
        </p:sp>
        <p:sp>
          <p:nvSpPr>
            <p:cNvPr id="12" name="Right Arrow 31">
              <a:extLst>
                <a:ext uri="{FF2B5EF4-FFF2-40B4-BE49-F238E27FC236}">
                  <a16:creationId xmlns:a16="http://schemas.microsoft.com/office/drawing/2014/main" id="{0EB484E7-2DA0-9546-AB50-8744726687F4}"/>
                </a:ext>
              </a:extLst>
            </p:cNvPr>
            <p:cNvSpPr/>
            <p:nvPr/>
          </p:nvSpPr>
          <p:spPr>
            <a:xfrm>
              <a:off x="139451" y="549533"/>
              <a:ext cx="2353797" cy="456120"/>
            </a:xfrm>
            <a:prstGeom prst="rightArrow">
              <a:avLst>
                <a:gd name="adj1" fmla="val 50000"/>
                <a:gd name="adj2" fmla="val 50000"/>
              </a:avLst>
            </a:prstGeom>
            <a:gradFill flip="none" rotWithShape="1">
              <a:gsLst>
                <a:gs pos="0">
                  <a:srgbClr val="548235"/>
                </a:gs>
                <a:gs pos="100000">
                  <a:srgbClr val="A9D18E"/>
                </a:gs>
              </a:gsLst>
              <a:lin ang="0" scaled="0"/>
            </a:gradFill>
            <a:ln w="9525" cap="flat">
              <a:solidFill>
                <a:srgbClr val="8DB174"/>
              </a:solidFill>
              <a:prstDash val="solid"/>
              <a:round/>
              <a:tailEnd type="triangle" w="med" len="med"/>
            </a:ln>
            <a:effectLst/>
          </p:spPr>
          <p:txBody>
            <a:bodyPr wrap="square" lIns="25717" tIns="25717" rIns="25717" bIns="25717" numCol="1" anchor="t">
              <a:noAutofit/>
            </a:bodyPr>
            <a:lstStyle/>
            <a:p>
              <a:pPr algn="ctr" defTabSz="685800">
                <a:defRPr sz="2000">
                  <a:solidFill>
                    <a:srgbClr val="FFFFFF"/>
                  </a:solidFill>
                  <a:latin typeface="Arial"/>
                  <a:ea typeface="Arial"/>
                  <a:cs typeface="Arial"/>
                  <a:sym typeface="Arial"/>
                </a:defRPr>
              </a:pPr>
              <a:endParaRPr sz="1125">
                <a:solidFill>
                  <a:srgbClr val="FFFFFF"/>
                </a:solidFill>
                <a:latin typeface="Arial"/>
                <a:cs typeface="Arial"/>
                <a:sym typeface="Arial"/>
              </a:endParaRPr>
            </a:p>
          </p:txBody>
        </p:sp>
        <p:sp>
          <p:nvSpPr>
            <p:cNvPr id="13" name="Right Arrow 40">
              <a:extLst>
                <a:ext uri="{FF2B5EF4-FFF2-40B4-BE49-F238E27FC236}">
                  <a16:creationId xmlns:a16="http://schemas.microsoft.com/office/drawing/2014/main" id="{2B27B1DF-33FF-A84D-8DEE-47EB60E99ADF}"/>
                </a:ext>
              </a:extLst>
            </p:cNvPr>
            <p:cNvSpPr/>
            <p:nvPr/>
          </p:nvSpPr>
          <p:spPr>
            <a:xfrm>
              <a:off x="5219071" y="516723"/>
              <a:ext cx="3316714" cy="496525"/>
            </a:xfrm>
            <a:prstGeom prst="rightArrow">
              <a:avLst>
                <a:gd name="adj1" fmla="val 50000"/>
                <a:gd name="adj2" fmla="val 50000"/>
              </a:avLst>
            </a:prstGeom>
            <a:gradFill flip="none" rotWithShape="1">
              <a:gsLst>
                <a:gs pos="28000">
                  <a:srgbClr val="FF0000"/>
                </a:gs>
                <a:gs pos="75000">
                  <a:srgbClr val="FF6600"/>
                </a:gs>
              </a:gsLst>
              <a:path path="circle">
                <a:fillToRect l="62278" t="119636" r="37721" b="-19636"/>
              </a:path>
            </a:gradFill>
            <a:ln w="12700" cap="flat">
              <a:noFill/>
              <a:miter lim="400000"/>
              <a:tailEnd type="triangle" w="med" len="med"/>
            </a:ln>
            <a:effectLst/>
          </p:spPr>
          <p:txBody>
            <a:bodyPr wrap="square" lIns="25717" tIns="25717" rIns="25717" bIns="25717" numCol="1" anchor="t">
              <a:noAutofit/>
            </a:bodyPr>
            <a:lstStyle/>
            <a:p>
              <a:pPr algn="ctr" defTabSz="685800">
                <a:defRPr sz="2000">
                  <a:solidFill>
                    <a:srgbClr val="FFFFFF"/>
                  </a:solidFill>
                  <a:latin typeface="Arial"/>
                  <a:ea typeface="Arial"/>
                  <a:cs typeface="Arial"/>
                  <a:sym typeface="Arial"/>
                </a:defRPr>
              </a:pPr>
              <a:endParaRPr sz="1125">
                <a:solidFill>
                  <a:srgbClr val="FFFFFF"/>
                </a:solidFill>
                <a:latin typeface="Arial"/>
                <a:cs typeface="Arial"/>
                <a:sym typeface="Arial"/>
              </a:endParaRPr>
            </a:p>
          </p:txBody>
        </p:sp>
      </p:grpSp>
      <p:pic>
        <p:nvPicPr>
          <p:cNvPr id="14" name="Picture 1" descr="Picture 1">
            <a:extLst>
              <a:ext uri="{FF2B5EF4-FFF2-40B4-BE49-F238E27FC236}">
                <a16:creationId xmlns:a16="http://schemas.microsoft.com/office/drawing/2014/main" id="{57A7D069-B359-CD46-822F-05EE9CF862C4}"/>
              </a:ext>
            </a:extLst>
          </p:cNvPr>
          <p:cNvPicPr>
            <a:picLocks noChangeAspect="1"/>
          </p:cNvPicPr>
          <p:nvPr/>
        </p:nvPicPr>
        <p:blipFill>
          <a:blip r:embed="rId3"/>
          <a:stretch>
            <a:fillRect/>
          </a:stretch>
        </p:blipFill>
        <p:spPr>
          <a:xfrm>
            <a:off x="938893" y="1430468"/>
            <a:ext cx="7122896" cy="3458480"/>
          </a:xfrm>
          <a:prstGeom prst="rect">
            <a:avLst/>
          </a:prstGeom>
          <a:ln w="12700">
            <a:miter lim="400000"/>
          </a:ln>
        </p:spPr>
      </p:pic>
      <p:sp>
        <p:nvSpPr>
          <p:cNvPr id="15" name="TextBox 9">
            <a:extLst>
              <a:ext uri="{FF2B5EF4-FFF2-40B4-BE49-F238E27FC236}">
                <a16:creationId xmlns:a16="http://schemas.microsoft.com/office/drawing/2014/main" id="{2EB1B689-16B2-4CB1-ABA3-1349352C1825}"/>
              </a:ext>
            </a:extLst>
          </p:cNvPr>
          <p:cNvSpPr txBox="1"/>
          <p:nvPr/>
        </p:nvSpPr>
        <p:spPr>
          <a:xfrm>
            <a:off x="0" y="4889039"/>
            <a:ext cx="9144000" cy="25391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89" rIns="68580" anchor="b">
            <a:spAutoFit/>
          </a:bodyPr>
          <a:lstStyle>
            <a:lvl1pPr>
              <a:defRPr sz="1200"/>
            </a:lvl1pPr>
          </a:lstStyle>
          <a:p>
            <a:pPr algn="r" defTabSz="685800"/>
            <a:r>
              <a:rPr lang="en-US" sz="1050">
                <a:solidFill>
                  <a:prstClr val="black"/>
                </a:solidFill>
                <a:latin typeface="Arial" panose="020B0604020202020204" pitchFamily="34" charset="0"/>
                <a:cs typeface="Arial" panose="020B0604020202020204" pitchFamily="34" charset="0"/>
              </a:rPr>
              <a:t>Personal communication from Dr Ghobrial.</a:t>
            </a:r>
            <a:endParaRPr sz="105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0812253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1" name="Rectangle 4"/>
          <p:cNvSpPr txBox="1"/>
          <p:nvPr/>
        </p:nvSpPr>
        <p:spPr>
          <a:xfrm>
            <a:off x="-528" y="4943308"/>
            <a:ext cx="4434304" cy="19620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68580" tIns="0" rIns="68580" bIns="34290" anchor="b">
            <a:spAutoFit/>
          </a:bodyPr>
          <a:lstStyle>
            <a:lvl1pPr>
              <a:tabLst>
                <a:tab pos="647700" algn="l"/>
                <a:tab pos="1295400" algn="l"/>
                <a:tab pos="1943100" algn="l"/>
                <a:tab pos="2590800" algn="l"/>
              </a:tabLst>
              <a:defRPr sz="1100">
                <a:latin typeface="Arial"/>
                <a:ea typeface="Arial"/>
                <a:cs typeface="Arial"/>
                <a:sym typeface="Arial"/>
              </a:defRPr>
            </a:lvl1pPr>
          </a:lstStyle>
          <a:p>
            <a:pPr defTabSz="685800">
              <a:tabLst>
                <a:tab pos="485775" algn="l"/>
                <a:tab pos="971550" algn="l"/>
                <a:tab pos="1457325" algn="l"/>
                <a:tab pos="1943100" algn="l"/>
              </a:tabLst>
            </a:pPr>
            <a:r>
              <a:rPr sz="1050">
                <a:solidFill>
                  <a:prstClr val="black"/>
                </a:solidFill>
              </a:rPr>
              <a:t>Mateos M</a:t>
            </a:r>
            <a:r>
              <a:rPr lang="en-US" sz="1050">
                <a:solidFill>
                  <a:prstClr val="black"/>
                </a:solidFill>
              </a:rPr>
              <a:t>,</a:t>
            </a:r>
            <a:r>
              <a:rPr sz="1050">
                <a:solidFill>
                  <a:prstClr val="black"/>
                </a:solidFill>
              </a:rPr>
              <a:t> et al. </a:t>
            </a:r>
            <a:r>
              <a:rPr sz="1050" i="1">
                <a:solidFill>
                  <a:prstClr val="black"/>
                </a:solidFill>
              </a:rPr>
              <a:t>N Engl J Med</a:t>
            </a:r>
            <a:r>
              <a:rPr lang="en-US" sz="1050" i="1">
                <a:solidFill>
                  <a:prstClr val="black"/>
                </a:solidFill>
              </a:rPr>
              <a:t>.</a:t>
            </a:r>
            <a:r>
              <a:rPr sz="1050" i="1">
                <a:solidFill>
                  <a:prstClr val="black"/>
                </a:solidFill>
              </a:rPr>
              <a:t> </a:t>
            </a:r>
            <a:r>
              <a:rPr sz="1050">
                <a:solidFill>
                  <a:prstClr val="black"/>
                </a:solidFill>
              </a:rPr>
              <a:t>2013;369:438-447.</a:t>
            </a:r>
          </a:p>
        </p:txBody>
      </p:sp>
      <p:pic>
        <p:nvPicPr>
          <p:cNvPr id="3012" name="Picture 8" descr="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24350" y="1769688"/>
            <a:ext cx="4812202" cy="2702465"/>
          </a:xfrm>
          <a:prstGeom prst="rect">
            <a:avLst/>
          </a:prstGeom>
          <a:ln w="12700">
            <a:miter lim="400000"/>
          </a:ln>
        </p:spPr>
      </p:pic>
      <p:pic>
        <p:nvPicPr>
          <p:cNvPr id="3013" name="Picture 9" descr="Picture 9"/>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249403" y="794169"/>
            <a:ext cx="2893973" cy="905209"/>
          </a:xfrm>
          <a:prstGeom prst="rect">
            <a:avLst/>
          </a:prstGeom>
          <a:ln w="12700">
            <a:miter lim="400000"/>
          </a:ln>
        </p:spPr>
      </p:pic>
      <p:pic>
        <p:nvPicPr>
          <p:cNvPr id="3014" name="Picture 8" descr="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00625" y="695960"/>
            <a:ext cx="3843693" cy="1091575"/>
          </a:xfrm>
          <a:prstGeom prst="rect">
            <a:avLst/>
          </a:prstGeom>
          <a:ln w="12700">
            <a:miter lim="400000"/>
          </a:ln>
        </p:spPr>
      </p:pic>
      <p:sp>
        <p:nvSpPr>
          <p:cNvPr id="3015" name="TextBox 9"/>
          <p:cNvSpPr txBox="1"/>
          <p:nvPr/>
        </p:nvSpPr>
        <p:spPr>
          <a:xfrm>
            <a:off x="5878877" y="4891688"/>
            <a:ext cx="3257676" cy="25391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89" rIns="68580" anchor="b">
            <a:spAutoFit/>
          </a:bodyPr>
          <a:lstStyle>
            <a:lvl1pPr>
              <a:defRPr sz="1200"/>
            </a:lvl1pPr>
          </a:lstStyle>
          <a:p>
            <a:pPr algn="r" defTabSz="685800"/>
            <a:r>
              <a:rPr sz="1050">
                <a:solidFill>
                  <a:prstClr val="black"/>
                </a:solidFill>
                <a:latin typeface="Arial" panose="020B0604020202020204" pitchFamily="34" charset="0"/>
                <a:cs typeface="Arial" panose="020B0604020202020204" pitchFamily="34" charset="0"/>
              </a:rPr>
              <a:t>Lonial</a:t>
            </a:r>
            <a:r>
              <a:rPr lang="en-US" sz="1050">
                <a:solidFill>
                  <a:prstClr val="black"/>
                </a:solidFill>
                <a:latin typeface="Arial" panose="020B0604020202020204" pitchFamily="34" charset="0"/>
                <a:cs typeface="Arial" panose="020B0604020202020204" pitchFamily="34" charset="0"/>
              </a:rPr>
              <a:t> S,</a:t>
            </a:r>
            <a:r>
              <a:rPr sz="1050">
                <a:solidFill>
                  <a:prstClr val="black"/>
                </a:solidFill>
                <a:latin typeface="Arial" panose="020B0604020202020204" pitchFamily="34" charset="0"/>
                <a:cs typeface="Arial" panose="020B0604020202020204" pitchFamily="34" charset="0"/>
              </a:rPr>
              <a:t> et al</a:t>
            </a:r>
            <a:r>
              <a:rPr lang="en-US" sz="1050">
                <a:solidFill>
                  <a:prstClr val="black"/>
                </a:solidFill>
                <a:latin typeface="Arial" panose="020B0604020202020204" pitchFamily="34" charset="0"/>
                <a:cs typeface="Arial" panose="020B0604020202020204" pitchFamily="34" charset="0"/>
              </a:rPr>
              <a:t>.</a:t>
            </a:r>
            <a:r>
              <a:rPr sz="1050">
                <a:solidFill>
                  <a:prstClr val="black"/>
                </a:solidFill>
                <a:latin typeface="Arial" panose="020B0604020202020204" pitchFamily="34" charset="0"/>
                <a:cs typeface="Arial" panose="020B0604020202020204" pitchFamily="34" charset="0"/>
              </a:rPr>
              <a:t> </a:t>
            </a:r>
            <a:r>
              <a:rPr sz="1050" i="1">
                <a:solidFill>
                  <a:prstClr val="black"/>
                </a:solidFill>
                <a:latin typeface="Arial" panose="020B0604020202020204" pitchFamily="34" charset="0"/>
                <a:cs typeface="Arial" panose="020B0604020202020204" pitchFamily="34" charset="0"/>
              </a:rPr>
              <a:t>J</a:t>
            </a:r>
            <a:r>
              <a:rPr lang="en-US" sz="1050" i="1">
                <a:solidFill>
                  <a:prstClr val="black"/>
                </a:solidFill>
                <a:latin typeface="Arial" panose="020B0604020202020204" pitchFamily="34" charset="0"/>
                <a:cs typeface="Arial" panose="020B0604020202020204" pitchFamily="34" charset="0"/>
              </a:rPr>
              <a:t> </a:t>
            </a:r>
            <a:r>
              <a:rPr sz="1050" i="1">
                <a:solidFill>
                  <a:prstClr val="black"/>
                </a:solidFill>
                <a:latin typeface="Arial" panose="020B0604020202020204" pitchFamily="34" charset="0"/>
                <a:cs typeface="Arial" panose="020B0604020202020204" pitchFamily="34" charset="0"/>
              </a:rPr>
              <a:t>C</a:t>
            </a:r>
            <a:r>
              <a:rPr lang="en-US" sz="1050" i="1">
                <a:solidFill>
                  <a:prstClr val="black"/>
                </a:solidFill>
                <a:latin typeface="Arial" panose="020B0604020202020204" pitchFamily="34" charset="0"/>
                <a:cs typeface="Arial" panose="020B0604020202020204" pitchFamily="34" charset="0"/>
              </a:rPr>
              <a:t>lin </a:t>
            </a:r>
            <a:r>
              <a:rPr sz="1050" i="1">
                <a:solidFill>
                  <a:prstClr val="black"/>
                </a:solidFill>
                <a:latin typeface="Arial" panose="020B0604020202020204" pitchFamily="34" charset="0"/>
                <a:cs typeface="Arial" panose="020B0604020202020204" pitchFamily="34" charset="0"/>
              </a:rPr>
              <a:t>O</a:t>
            </a:r>
            <a:r>
              <a:rPr lang="en-US" sz="1050" i="1">
                <a:solidFill>
                  <a:prstClr val="black"/>
                </a:solidFill>
                <a:latin typeface="Arial" panose="020B0604020202020204" pitchFamily="34" charset="0"/>
                <a:cs typeface="Arial" panose="020B0604020202020204" pitchFamily="34" charset="0"/>
              </a:rPr>
              <a:t>ncol.</a:t>
            </a:r>
            <a:r>
              <a:rPr sz="1050" i="1">
                <a:solidFill>
                  <a:prstClr val="black"/>
                </a:solidFill>
                <a:latin typeface="Arial" panose="020B0604020202020204" pitchFamily="34" charset="0"/>
                <a:cs typeface="Arial" panose="020B0604020202020204" pitchFamily="34" charset="0"/>
              </a:rPr>
              <a:t> </a:t>
            </a:r>
            <a:r>
              <a:rPr sz="1050">
                <a:solidFill>
                  <a:prstClr val="black"/>
                </a:solidFill>
                <a:latin typeface="Arial" panose="020B0604020202020204" pitchFamily="34" charset="0"/>
                <a:cs typeface="Arial" panose="020B0604020202020204" pitchFamily="34" charset="0"/>
              </a:rPr>
              <a:t>2020;38(11):1126-1137</a:t>
            </a:r>
            <a:r>
              <a:rPr lang="en-US" sz="1050">
                <a:solidFill>
                  <a:prstClr val="black"/>
                </a:solidFill>
                <a:latin typeface="Arial" panose="020B0604020202020204" pitchFamily="34" charset="0"/>
                <a:cs typeface="Arial" panose="020B0604020202020204" pitchFamily="34" charset="0"/>
              </a:rPr>
              <a:t>.</a:t>
            </a:r>
            <a:endParaRPr sz="1050">
              <a:solidFill>
                <a:prstClr val="black"/>
              </a:solidFill>
              <a:latin typeface="Arial" panose="020B0604020202020204" pitchFamily="34" charset="0"/>
              <a:cs typeface="Arial" panose="020B0604020202020204" pitchFamily="34" charset="0"/>
            </a:endParaRPr>
          </a:p>
        </p:txBody>
      </p:sp>
      <p:pic>
        <p:nvPicPr>
          <p:cNvPr id="3019" name="Picture 79" descr="Picture 7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8435" y="41231"/>
            <a:ext cx="1726465" cy="414504"/>
          </a:xfrm>
          <a:prstGeom prst="rect">
            <a:avLst/>
          </a:prstGeom>
          <a:ln w="12700" cap="flat">
            <a:noFill/>
            <a:miter lim="400000"/>
          </a:ln>
          <a:effectLst/>
        </p:spPr>
      </p:pic>
      <p:sp>
        <p:nvSpPr>
          <p:cNvPr id="3021" name="TextBox 16"/>
          <p:cNvSpPr txBox="1"/>
          <p:nvPr/>
        </p:nvSpPr>
        <p:spPr>
          <a:xfrm>
            <a:off x="2305028" y="103185"/>
            <a:ext cx="4431396"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4289" rIns="34289">
            <a:spAutoFit/>
          </a:bodyPr>
          <a:lstStyle>
            <a:lvl1pPr algn="ctr">
              <a:defRPr sz="3200" b="1">
                <a:solidFill>
                  <a:srgbClr val="FFFFFF"/>
                </a:solidFill>
              </a:defRPr>
            </a:lvl1pPr>
          </a:lstStyle>
          <a:p>
            <a:pPr defTabSz="685800"/>
            <a:r>
              <a:rPr sz="2400">
                <a:solidFill>
                  <a:srgbClr val="4472C4"/>
                </a:solidFill>
                <a:latin typeface="Arial" panose="020B0604020202020204" pitchFamily="34" charset="0"/>
                <a:cs typeface="Arial" panose="020B0604020202020204" pitchFamily="34" charset="0"/>
              </a:rPr>
              <a:t>Therapeutic </a:t>
            </a:r>
            <a:r>
              <a:rPr lang="en-US" sz="2400">
                <a:solidFill>
                  <a:srgbClr val="4472C4"/>
                </a:solidFill>
                <a:latin typeface="Arial" panose="020B0604020202020204" pitchFamily="34" charset="0"/>
                <a:cs typeface="Arial" panose="020B0604020202020204" pitchFamily="34" charset="0"/>
              </a:rPr>
              <a:t>I</a:t>
            </a:r>
            <a:r>
              <a:rPr sz="2400">
                <a:solidFill>
                  <a:srgbClr val="4472C4"/>
                </a:solidFill>
                <a:latin typeface="Arial" panose="020B0604020202020204" pitchFamily="34" charset="0"/>
                <a:cs typeface="Arial" panose="020B0604020202020204" pitchFamily="34" charset="0"/>
              </a:rPr>
              <a:t>nterventions </a:t>
            </a:r>
          </a:p>
        </p:txBody>
      </p:sp>
      <p:pic>
        <p:nvPicPr>
          <p:cNvPr id="3022" name="Picture 6" descr="Picture 6"/>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480658" y="1761490"/>
            <a:ext cx="3714462" cy="2756934"/>
          </a:xfrm>
          <a:prstGeom prst="rect">
            <a:avLst/>
          </a:prstGeom>
          <a:ln w="12700">
            <a:miter lim="400000"/>
          </a:ln>
        </p:spPr>
      </p:pic>
      <p:sp>
        <p:nvSpPr>
          <p:cNvPr id="3023" name="Rectangle 17"/>
          <p:cNvSpPr/>
          <p:nvPr/>
        </p:nvSpPr>
        <p:spPr>
          <a:xfrm>
            <a:off x="5156523" y="830219"/>
            <a:ext cx="251990" cy="957315"/>
          </a:xfrm>
          <a:prstGeom prst="rect">
            <a:avLst/>
          </a:prstGeom>
          <a:solidFill>
            <a:srgbClr val="FFFFFF"/>
          </a:solidFill>
          <a:ln w="12700">
            <a:miter lim="400000"/>
          </a:ln>
        </p:spPr>
        <p:txBody>
          <a:bodyPr lIns="34289" rIns="34289" anchor="ctr"/>
          <a:lstStyle/>
          <a:p>
            <a:pPr algn="ctr" defTabSz="685800">
              <a:defRPr>
                <a:solidFill>
                  <a:srgbClr val="FFFFFF"/>
                </a:solidFill>
              </a:defRPr>
            </a:pPr>
            <a:endParaRPr sz="1350">
              <a:solidFill>
                <a:srgbClr val="FFFFFF"/>
              </a:solidFill>
              <a:latin typeface="Calibri" panose="020F0502020204030204"/>
            </a:endParaRPr>
          </a:p>
        </p:txBody>
      </p:sp>
      <p:sp>
        <p:nvSpPr>
          <p:cNvPr id="3024" name="Rectangle 18"/>
          <p:cNvSpPr/>
          <p:nvPr/>
        </p:nvSpPr>
        <p:spPr>
          <a:xfrm>
            <a:off x="400733" y="1491317"/>
            <a:ext cx="251990" cy="957315"/>
          </a:xfrm>
          <a:prstGeom prst="rect">
            <a:avLst/>
          </a:prstGeom>
          <a:solidFill>
            <a:srgbClr val="FFFFFF"/>
          </a:solidFill>
          <a:ln w="12700">
            <a:miter lim="400000"/>
          </a:ln>
        </p:spPr>
        <p:txBody>
          <a:bodyPr lIns="34289" rIns="34289" anchor="ctr"/>
          <a:lstStyle/>
          <a:p>
            <a:pPr algn="ctr" defTabSz="685800">
              <a:defRPr>
                <a:solidFill>
                  <a:srgbClr val="FFFFFF"/>
                </a:solidFill>
              </a:defRPr>
            </a:pPr>
            <a:endParaRPr sz="1350">
              <a:solidFill>
                <a:srgbClr val="FFFFFF"/>
              </a:solidFill>
              <a:latin typeface="Calibri" panose="020F0502020204030204"/>
            </a:endParaRPr>
          </a:p>
        </p:txBody>
      </p:sp>
    </p:spTree>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6" name="Title 1"/>
          <p:cNvSpPr txBox="1">
            <a:spLocks noGrp="1"/>
          </p:cNvSpPr>
          <p:nvPr>
            <p:ph type="title"/>
          </p:nvPr>
        </p:nvSpPr>
        <p:spPr>
          <a:xfrm>
            <a:off x="808852" y="734285"/>
            <a:ext cx="8320205" cy="994172"/>
          </a:xfrm>
          <a:prstGeom prst="rect">
            <a:avLst/>
          </a:prstGeom>
        </p:spPr>
        <p:txBody>
          <a:bodyPr>
            <a:normAutofit/>
          </a:bodyPr>
          <a:lstStyle>
            <a:lvl1pPr>
              <a:defRPr>
                <a:solidFill>
                  <a:srgbClr val="0070C0"/>
                </a:solidFill>
              </a:defRPr>
            </a:lvl1pPr>
          </a:lstStyle>
          <a:p>
            <a:r>
              <a:rPr lang="en-US" sz="2100" b="1" noProof="0">
                <a:latin typeface="Arial" panose="020B0604020202020204" pitchFamily="34" charset="0"/>
                <a:cs typeface="Arial" panose="020B0604020202020204" pitchFamily="34" charset="0"/>
              </a:rPr>
              <a:t>Our First Attempts                               We Need to Get Here</a:t>
            </a:r>
          </a:p>
        </p:txBody>
      </p:sp>
      <p:pic>
        <p:nvPicPr>
          <p:cNvPr id="3027" name="Content Placeholder 4" descr="Content Placeholder 4"/>
          <p:cNvPicPr>
            <a:picLocks noChangeAspect="1"/>
          </p:cNvPicPr>
          <p:nvPr/>
        </p:nvPicPr>
        <p:blipFill>
          <a:blip r:embed="rId2"/>
          <a:stretch>
            <a:fillRect/>
          </a:stretch>
        </p:blipFill>
        <p:spPr>
          <a:xfrm>
            <a:off x="978650" y="1538395"/>
            <a:ext cx="2219325" cy="1307274"/>
          </a:xfrm>
          <a:prstGeom prst="rect">
            <a:avLst/>
          </a:prstGeom>
          <a:ln w="12700">
            <a:miter lim="400000"/>
          </a:ln>
        </p:spPr>
      </p:pic>
      <p:sp>
        <p:nvSpPr>
          <p:cNvPr id="3028" name="TextBox 2"/>
          <p:cNvSpPr txBox="1"/>
          <p:nvPr/>
        </p:nvSpPr>
        <p:spPr>
          <a:xfrm>
            <a:off x="101041" y="2966131"/>
            <a:ext cx="4509059" cy="1685077"/>
          </a:xfrm>
          <a:prstGeom prst="rect">
            <a:avLst/>
          </a:prstGeom>
          <a:ln>
            <a:solidFill>
              <a:srgbClr val="92D050"/>
            </a:solid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89" rIns="34289">
            <a:noAutofit/>
          </a:bodyPr>
          <a:lstStyle/>
          <a:p>
            <a:pPr marL="214313" indent="-214313" defTabSz="685800">
              <a:buSzPct val="100000"/>
              <a:buFont typeface="Arial"/>
              <a:buChar char="•"/>
              <a:defRPr sz="2000"/>
            </a:pPr>
            <a:r>
              <a:rPr sz="1500">
                <a:solidFill>
                  <a:prstClr val="black"/>
                </a:solidFill>
                <a:latin typeface="Arial" panose="020B0604020202020204" pitchFamily="34" charset="0"/>
                <a:cs typeface="Arial" panose="020B0604020202020204" pitchFamily="34" charset="0"/>
              </a:rPr>
              <a:t>Lenalidomide was the first proof of principle that early therapeutic intervention works in high</a:t>
            </a:r>
            <a:r>
              <a:rPr lang="en-US" sz="1500">
                <a:solidFill>
                  <a:prstClr val="black"/>
                </a:solidFill>
                <a:latin typeface="Arial" panose="020B0604020202020204" pitchFamily="34" charset="0"/>
                <a:cs typeface="Arial" panose="020B0604020202020204" pitchFamily="34" charset="0"/>
              </a:rPr>
              <a:t>-</a:t>
            </a:r>
            <a:r>
              <a:rPr sz="1500">
                <a:solidFill>
                  <a:prstClr val="black"/>
                </a:solidFill>
                <a:latin typeface="Arial" panose="020B0604020202020204" pitchFamily="34" charset="0"/>
                <a:cs typeface="Arial" panose="020B0604020202020204" pitchFamily="34" charset="0"/>
              </a:rPr>
              <a:t>risk</a:t>
            </a:r>
            <a:r>
              <a:rPr lang="en-US" sz="1500">
                <a:solidFill>
                  <a:prstClr val="black"/>
                </a:solidFill>
                <a:latin typeface="Arial" panose="020B0604020202020204" pitchFamily="34" charset="0"/>
                <a:cs typeface="Arial" panose="020B0604020202020204" pitchFamily="34" charset="0"/>
              </a:rPr>
              <a:t> </a:t>
            </a:r>
            <a:r>
              <a:rPr sz="1500">
                <a:solidFill>
                  <a:prstClr val="black"/>
                </a:solidFill>
                <a:latin typeface="Arial" panose="020B0604020202020204" pitchFamily="34" charset="0"/>
                <a:cs typeface="Arial" panose="020B0604020202020204" pitchFamily="34" charset="0"/>
              </a:rPr>
              <a:t>SMM</a:t>
            </a:r>
          </a:p>
          <a:p>
            <a:pPr marL="214313" indent="-214313" defTabSz="685800">
              <a:buSzPct val="100000"/>
              <a:buFont typeface="Arial"/>
              <a:buChar char="•"/>
              <a:defRPr sz="2000"/>
            </a:pPr>
            <a:r>
              <a:rPr sz="1500">
                <a:solidFill>
                  <a:prstClr val="black"/>
                </a:solidFill>
                <a:latin typeface="Arial" panose="020B0604020202020204" pitchFamily="34" charset="0"/>
                <a:cs typeface="Arial" panose="020B0604020202020204" pitchFamily="34" charset="0"/>
              </a:rPr>
              <a:t>Possible immune regulation</a:t>
            </a:r>
          </a:p>
          <a:p>
            <a:pPr marL="214313" indent="-214313" defTabSz="685800">
              <a:buSzPct val="100000"/>
              <a:buFont typeface="Arial"/>
              <a:buChar char="•"/>
              <a:defRPr sz="2000"/>
            </a:pPr>
            <a:r>
              <a:rPr sz="1500">
                <a:solidFill>
                  <a:prstClr val="black"/>
                </a:solidFill>
                <a:latin typeface="Arial" panose="020B0604020202020204" pitchFamily="34" charset="0"/>
                <a:cs typeface="Arial" panose="020B0604020202020204" pitchFamily="34" charset="0"/>
              </a:rPr>
              <a:t>No overall survival benefit yet</a:t>
            </a:r>
          </a:p>
          <a:p>
            <a:pPr marL="214313" indent="-214313" defTabSz="685800">
              <a:buSzPct val="100000"/>
              <a:buFont typeface="Arial"/>
              <a:buChar char="•"/>
              <a:defRPr sz="2000"/>
            </a:pPr>
            <a:r>
              <a:rPr sz="1500">
                <a:solidFill>
                  <a:prstClr val="black"/>
                </a:solidFill>
                <a:latin typeface="Arial" panose="020B0604020202020204" pitchFamily="34" charset="0"/>
                <a:cs typeface="Arial" panose="020B0604020202020204" pitchFamily="34" charset="0"/>
              </a:rPr>
              <a:t>Cannot truly predict who had benefit and who had clonal selection and tumor resistance</a:t>
            </a:r>
          </a:p>
        </p:txBody>
      </p:sp>
      <p:sp>
        <p:nvSpPr>
          <p:cNvPr id="3029" name="TextBox 5"/>
          <p:cNvSpPr txBox="1"/>
          <p:nvPr/>
        </p:nvSpPr>
        <p:spPr>
          <a:xfrm>
            <a:off x="4714875" y="2966131"/>
            <a:ext cx="4281603" cy="1708160"/>
          </a:xfrm>
          <a:prstGeom prst="rect">
            <a:avLst/>
          </a:prstGeom>
          <a:ln>
            <a:solidFill>
              <a:srgbClr val="D71B2D"/>
            </a:solid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4289" rIns="34289">
            <a:spAutoFit/>
          </a:bodyPr>
          <a:lstStyle/>
          <a:p>
            <a:pPr marL="214313" indent="-214313" defTabSz="685800">
              <a:buSzPct val="100000"/>
              <a:buFont typeface="Arial"/>
              <a:buChar char="•"/>
              <a:defRPr sz="2000"/>
            </a:pPr>
            <a:r>
              <a:rPr sz="1500">
                <a:solidFill>
                  <a:prstClr val="black"/>
                </a:solidFill>
                <a:latin typeface="Arial" panose="020B0604020202020204" pitchFamily="34" charset="0"/>
                <a:cs typeface="Arial" panose="020B0604020202020204" pitchFamily="34" charset="0"/>
              </a:rPr>
              <a:t>Develop precision interception </a:t>
            </a:r>
            <a:r>
              <a:rPr lang="en-US" sz="1500">
                <a:solidFill>
                  <a:prstClr val="black"/>
                </a:solidFill>
                <a:latin typeface="Arial" panose="020B0604020202020204" pitchFamily="34" charset="0"/>
                <a:cs typeface="Arial" panose="020B0604020202020204" pitchFamily="34" charset="0"/>
              </a:rPr>
              <a:t>on the basis of </a:t>
            </a:r>
            <a:r>
              <a:rPr sz="1500">
                <a:solidFill>
                  <a:prstClr val="black"/>
                </a:solidFill>
                <a:latin typeface="Arial" panose="020B0604020202020204" pitchFamily="34" charset="0"/>
                <a:cs typeface="Arial" panose="020B0604020202020204" pitchFamily="34" charset="0"/>
              </a:rPr>
              <a:t>genomic/immune profile </a:t>
            </a:r>
            <a:endParaRPr lang="en-US" sz="1500">
              <a:solidFill>
                <a:prstClr val="black"/>
              </a:solidFill>
              <a:latin typeface="Arial" panose="020B0604020202020204" pitchFamily="34" charset="0"/>
              <a:cs typeface="Arial" panose="020B0604020202020204" pitchFamily="34" charset="0"/>
            </a:endParaRPr>
          </a:p>
          <a:p>
            <a:pPr marL="214313" indent="-214313" defTabSz="685800">
              <a:buSzPct val="100000"/>
              <a:buFont typeface="Arial"/>
              <a:buChar char="•"/>
              <a:defRPr sz="2000"/>
            </a:pPr>
            <a:r>
              <a:rPr lang="en-US" sz="1500">
                <a:solidFill>
                  <a:prstClr val="black"/>
                </a:solidFill>
                <a:latin typeface="Arial" panose="020B0604020202020204" pitchFamily="34" charset="0"/>
                <a:cs typeface="Arial" panose="020B0604020202020204" pitchFamily="34" charset="0"/>
              </a:rPr>
              <a:t>Venetoclax for t11:14</a:t>
            </a:r>
          </a:p>
          <a:p>
            <a:pPr marL="214313" indent="-214313" defTabSz="685800">
              <a:buSzPct val="100000"/>
              <a:buFont typeface="Arial"/>
              <a:buChar char="•"/>
              <a:defRPr sz="2000"/>
            </a:pPr>
            <a:r>
              <a:rPr sz="1500">
                <a:solidFill>
                  <a:prstClr val="black"/>
                </a:solidFill>
                <a:latin typeface="Arial" panose="020B0604020202020204" pitchFamily="34" charset="0"/>
                <a:cs typeface="Arial" panose="020B0604020202020204" pitchFamily="34" charset="0"/>
              </a:rPr>
              <a:t>Use immunotherapy early to control the clone without the need of traditional myeloma therapy</a:t>
            </a:r>
          </a:p>
          <a:p>
            <a:pPr marL="214313" indent="-214313" defTabSz="685800">
              <a:buSzPct val="100000"/>
              <a:buFont typeface="Arial"/>
              <a:buChar char="•"/>
              <a:defRPr sz="2000"/>
            </a:pPr>
            <a:r>
              <a:rPr sz="1500">
                <a:solidFill>
                  <a:prstClr val="black"/>
                </a:solidFill>
                <a:latin typeface="Arial" panose="020B0604020202020204" pitchFamily="34" charset="0"/>
                <a:cs typeface="Arial" panose="020B0604020202020204" pitchFamily="34" charset="0"/>
              </a:rPr>
              <a:t>Identify markers of response or resistance </a:t>
            </a:r>
          </a:p>
        </p:txBody>
      </p:sp>
      <p:pic>
        <p:nvPicPr>
          <p:cNvPr id="3033" name="Picture 79" descr="Picture 7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8435" y="41231"/>
            <a:ext cx="1726465" cy="414504"/>
          </a:xfrm>
          <a:prstGeom prst="rect">
            <a:avLst/>
          </a:prstGeom>
          <a:ln w="12700" cap="flat">
            <a:noFill/>
            <a:miter lim="400000"/>
          </a:ln>
          <a:effectLst/>
        </p:spPr>
      </p:pic>
      <p:sp>
        <p:nvSpPr>
          <p:cNvPr id="3035" name="TextBox 12"/>
          <p:cNvSpPr txBox="1"/>
          <p:nvPr/>
        </p:nvSpPr>
        <p:spPr>
          <a:xfrm>
            <a:off x="2305028" y="103185"/>
            <a:ext cx="4431396"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4289" rIns="34289">
            <a:spAutoFit/>
          </a:bodyPr>
          <a:lstStyle>
            <a:lvl1pPr algn="ctr">
              <a:defRPr sz="3200" b="1">
                <a:solidFill>
                  <a:srgbClr val="FFFFFF"/>
                </a:solidFill>
              </a:defRPr>
            </a:lvl1pPr>
          </a:lstStyle>
          <a:p>
            <a:pPr defTabSz="685800"/>
            <a:r>
              <a:rPr sz="2400">
                <a:solidFill>
                  <a:srgbClr val="4472C4"/>
                </a:solidFill>
                <a:latin typeface="Arial" panose="020B0604020202020204" pitchFamily="34" charset="0"/>
                <a:cs typeface="Arial" panose="020B0604020202020204" pitchFamily="34" charset="0"/>
              </a:rPr>
              <a:t>Therapeutic </a:t>
            </a:r>
            <a:r>
              <a:rPr lang="en-US" sz="2400">
                <a:solidFill>
                  <a:srgbClr val="4472C4"/>
                </a:solidFill>
                <a:latin typeface="Arial" panose="020B0604020202020204" pitchFamily="34" charset="0"/>
                <a:cs typeface="Arial" panose="020B0604020202020204" pitchFamily="34" charset="0"/>
              </a:rPr>
              <a:t>I</a:t>
            </a:r>
            <a:r>
              <a:rPr sz="2400">
                <a:solidFill>
                  <a:srgbClr val="4472C4"/>
                </a:solidFill>
                <a:latin typeface="Arial" panose="020B0604020202020204" pitchFamily="34" charset="0"/>
                <a:cs typeface="Arial" panose="020B0604020202020204" pitchFamily="34" charset="0"/>
              </a:rPr>
              <a:t>nterventions </a:t>
            </a:r>
          </a:p>
        </p:txBody>
      </p:sp>
      <p:pic>
        <p:nvPicPr>
          <p:cNvPr id="3036" name="Picture 3" descr="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83699" y="1483592"/>
            <a:ext cx="2548603" cy="1336601"/>
          </a:xfrm>
          <a:prstGeom prst="rect">
            <a:avLst/>
          </a:prstGeom>
          <a:ln w="12700">
            <a:miter lim="400000"/>
          </a:ln>
        </p:spPr>
      </p:pic>
      <p:sp>
        <p:nvSpPr>
          <p:cNvPr id="15" name="TextBox 9">
            <a:extLst>
              <a:ext uri="{FF2B5EF4-FFF2-40B4-BE49-F238E27FC236}">
                <a16:creationId xmlns:a16="http://schemas.microsoft.com/office/drawing/2014/main" id="{353CC61B-F00D-462E-A82F-F550A3870339}"/>
              </a:ext>
            </a:extLst>
          </p:cNvPr>
          <p:cNvSpPr txBox="1"/>
          <p:nvPr/>
        </p:nvSpPr>
        <p:spPr>
          <a:xfrm>
            <a:off x="0" y="4889039"/>
            <a:ext cx="9144000" cy="25391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89" rIns="68580" anchor="b">
            <a:spAutoFit/>
          </a:bodyPr>
          <a:lstStyle>
            <a:lvl1pPr>
              <a:defRPr sz="1200"/>
            </a:lvl1pPr>
          </a:lstStyle>
          <a:p>
            <a:pPr algn="r" defTabSz="685800"/>
            <a:r>
              <a:rPr lang="en-US" sz="1050">
                <a:solidFill>
                  <a:prstClr val="black"/>
                </a:solidFill>
                <a:latin typeface="Arial" panose="020B0604020202020204" pitchFamily="34" charset="0"/>
                <a:cs typeface="Arial" panose="020B0604020202020204" pitchFamily="34" charset="0"/>
              </a:rPr>
              <a:t>Personal communication from Dr Ghobrial.</a:t>
            </a:r>
            <a:endParaRPr sz="1050">
              <a:solidFill>
                <a:prstClr val="black"/>
              </a:solidFill>
              <a:latin typeface="Arial" panose="020B0604020202020204" pitchFamily="34" charset="0"/>
              <a:cs typeface="Arial" panose="020B0604020202020204" pitchFamily="34" charset="0"/>
            </a:endParaRPr>
          </a:p>
        </p:txBody>
      </p:sp>
    </p:spTree>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1A98C-DF35-1146-8319-473DA591BA86}"/>
              </a:ext>
            </a:extLst>
          </p:cNvPr>
          <p:cNvSpPr>
            <a:spLocks noGrp="1"/>
          </p:cNvSpPr>
          <p:nvPr>
            <p:ph type="title"/>
          </p:nvPr>
        </p:nvSpPr>
        <p:spPr>
          <a:xfrm>
            <a:off x="0" y="73278"/>
            <a:ext cx="9144000" cy="547522"/>
          </a:xfrm>
        </p:spPr>
        <p:txBody>
          <a:bodyPr>
            <a:normAutofit/>
          </a:bodyPr>
          <a:lstStyle/>
          <a:p>
            <a:pPr algn="ctr"/>
            <a:r>
              <a:rPr lang="en-US" sz="2400" b="1" noProof="0">
                <a:solidFill>
                  <a:srgbClr val="4472C4"/>
                </a:solidFill>
                <a:latin typeface="Arial" panose="020B0604020202020204" pitchFamily="34" charset="0"/>
                <a:cs typeface="Arial" panose="020B0604020202020204" pitchFamily="34" charset="0"/>
              </a:rPr>
              <a:t>To Treat or Not to Treat – the Tipping Point!</a:t>
            </a:r>
          </a:p>
        </p:txBody>
      </p:sp>
      <p:sp>
        <p:nvSpPr>
          <p:cNvPr id="3" name="Content Placeholder 2">
            <a:extLst>
              <a:ext uri="{FF2B5EF4-FFF2-40B4-BE49-F238E27FC236}">
                <a16:creationId xmlns:a16="http://schemas.microsoft.com/office/drawing/2014/main" id="{4FC4B058-D6EE-1844-9A34-68BF4037D6A2}"/>
              </a:ext>
            </a:extLst>
          </p:cNvPr>
          <p:cNvSpPr>
            <a:spLocks noGrp="1"/>
          </p:cNvSpPr>
          <p:nvPr>
            <p:ph idx="1"/>
          </p:nvPr>
        </p:nvSpPr>
        <p:spPr>
          <a:xfrm>
            <a:off x="628650" y="939998"/>
            <a:ext cx="7886700" cy="3263504"/>
          </a:xfrm>
        </p:spPr>
        <p:txBody>
          <a:bodyPr>
            <a:normAutofit/>
          </a:bodyPr>
          <a:lstStyle/>
          <a:p>
            <a:pPr marL="254794" indent="-254794">
              <a:spcBef>
                <a:spcPts val="1350"/>
              </a:spcBef>
            </a:pPr>
            <a:r>
              <a:rPr lang="en-US" sz="1800" b="1" noProof="0">
                <a:latin typeface="Arial" panose="020B0604020202020204" pitchFamily="34" charset="0"/>
                <a:cs typeface="Arial" panose="020B0604020202020204" pitchFamily="34" charset="0"/>
              </a:rPr>
              <a:t>Better risk stratification </a:t>
            </a:r>
            <a:r>
              <a:rPr lang="en-US" sz="1800" noProof="0">
                <a:latin typeface="Arial" panose="020B0604020202020204" pitchFamily="34" charset="0"/>
                <a:cs typeface="Arial" panose="020B0604020202020204" pitchFamily="34" charset="0"/>
              </a:rPr>
              <a:t>will identify patients who are “asymptomatic myeloma” but have all the characteristics of myeloma – the tipping point</a:t>
            </a:r>
          </a:p>
          <a:p>
            <a:pPr marL="254794" indent="-254794">
              <a:spcBef>
                <a:spcPts val="1350"/>
              </a:spcBef>
            </a:pPr>
            <a:r>
              <a:rPr lang="en-US" sz="1800" noProof="0">
                <a:latin typeface="Arial" panose="020B0604020202020204" pitchFamily="34" charset="0"/>
                <a:cs typeface="Arial" panose="020B0604020202020204" pitchFamily="34" charset="0"/>
              </a:rPr>
              <a:t>Better therapeutic interventions: </a:t>
            </a:r>
            <a:r>
              <a:rPr lang="en-US" sz="1800" b="1" noProof="0">
                <a:latin typeface="Arial" panose="020B0604020202020204" pitchFamily="34" charset="0"/>
                <a:cs typeface="Arial" panose="020B0604020202020204" pitchFamily="34" charset="0"/>
              </a:rPr>
              <a:t>precision interception</a:t>
            </a:r>
          </a:p>
          <a:p>
            <a:pPr marL="254794" indent="-254794">
              <a:spcBef>
                <a:spcPts val="1350"/>
              </a:spcBef>
            </a:pPr>
            <a:r>
              <a:rPr lang="en-US" sz="1800" b="1" noProof="0">
                <a:latin typeface="Arial" panose="020B0604020202020204" pitchFamily="34" charset="0"/>
                <a:cs typeface="Arial" panose="020B0604020202020204" pitchFamily="34" charset="0"/>
              </a:rPr>
              <a:t>Early immunotherapy can possibly be the cure</a:t>
            </a:r>
          </a:p>
          <a:p>
            <a:pPr marL="254794" indent="-254794">
              <a:spcBef>
                <a:spcPts val="1350"/>
              </a:spcBef>
            </a:pPr>
            <a:r>
              <a:rPr lang="en-US" sz="1800" noProof="0">
                <a:latin typeface="Arial" panose="020B0604020202020204" pitchFamily="34" charset="0"/>
                <a:cs typeface="Arial" panose="020B0604020202020204" pitchFamily="34" charset="0"/>
              </a:rPr>
              <a:t>Endpoints? CR, MRD, PFS, OS . . .</a:t>
            </a:r>
          </a:p>
          <a:p>
            <a:pPr marL="254794" indent="-254794">
              <a:spcBef>
                <a:spcPts val="1350"/>
              </a:spcBef>
            </a:pPr>
            <a:r>
              <a:rPr lang="en-US" sz="1800" noProof="0">
                <a:latin typeface="Arial" panose="020B0604020202020204" pitchFamily="34" charset="0"/>
                <a:cs typeface="Arial" panose="020B0604020202020204" pitchFamily="34" charset="0"/>
              </a:rPr>
              <a:t>Limited duration of therapy – no maintenance in smoldering myeloma</a:t>
            </a:r>
          </a:p>
          <a:p>
            <a:pPr>
              <a:spcBef>
                <a:spcPts val="1350"/>
              </a:spcBef>
            </a:pPr>
            <a:endParaRPr lang="en-US" sz="1800" noProof="0">
              <a:latin typeface="Arial" panose="020B0604020202020204" pitchFamily="34" charset="0"/>
              <a:cs typeface="Arial" panose="020B0604020202020204" pitchFamily="34" charset="0"/>
            </a:endParaRPr>
          </a:p>
          <a:p>
            <a:pPr marL="0" indent="0">
              <a:spcBef>
                <a:spcPts val="1350"/>
              </a:spcBef>
              <a:buNone/>
            </a:pPr>
            <a:endParaRPr lang="en-US" sz="1800" noProof="0">
              <a:latin typeface="Arial" panose="020B0604020202020204" pitchFamily="34" charset="0"/>
              <a:cs typeface="Arial" panose="020B0604020202020204" pitchFamily="34" charset="0"/>
            </a:endParaRPr>
          </a:p>
        </p:txBody>
      </p:sp>
      <p:sp>
        <p:nvSpPr>
          <p:cNvPr id="5" name="TextBox 9">
            <a:extLst>
              <a:ext uri="{FF2B5EF4-FFF2-40B4-BE49-F238E27FC236}">
                <a16:creationId xmlns:a16="http://schemas.microsoft.com/office/drawing/2014/main" id="{B0AB1B38-BBFB-4625-83D2-A166F6AEA8BD}"/>
              </a:ext>
            </a:extLst>
          </p:cNvPr>
          <p:cNvSpPr txBox="1"/>
          <p:nvPr/>
        </p:nvSpPr>
        <p:spPr>
          <a:xfrm>
            <a:off x="0" y="4889039"/>
            <a:ext cx="9144000" cy="25391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89" rIns="68580" anchor="b">
            <a:spAutoFit/>
          </a:bodyPr>
          <a:lstStyle>
            <a:lvl1pPr>
              <a:defRPr sz="1200"/>
            </a:lvl1pPr>
          </a:lstStyle>
          <a:p>
            <a:pPr algn="r" defTabSz="685800"/>
            <a:r>
              <a:rPr lang="en-US" sz="1050">
                <a:solidFill>
                  <a:prstClr val="black"/>
                </a:solidFill>
                <a:latin typeface="Arial" panose="020B0604020202020204" pitchFamily="34" charset="0"/>
                <a:cs typeface="Arial" panose="020B0604020202020204" pitchFamily="34" charset="0"/>
              </a:rPr>
              <a:t>Personal communication from Dr Ghobrial.</a:t>
            </a:r>
            <a:endParaRPr sz="105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749502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FAC27-69F5-4A88-9576-02CD17865788}"/>
              </a:ext>
            </a:extLst>
          </p:cNvPr>
          <p:cNvSpPr>
            <a:spLocks noGrp="1"/>
          </p:cNvSpPr>
          <p:nvPr>
            <p:ph type="ctrTitle"/>
          </p:nvPr>
        </p:nvSpPr>
        <p:spPr/>
        <p:txBody>
          <a:bodyPr>
            <a:normAutofit/>
          </a:bodyPr>
          <a:lstStyle/>
          <a:p>
            <a:r>
              <a:rPr lang="en-US" sz="3200" noProof="0">
                <a:latin typeface="Arial Nova"/>
                <a:cs typeface="Arial"/>
              </a:rPr>
              <a:t>Welcome and</a:t>
            </a:r>
            <a:br>
              <a:rPr lang="en-US" sz="3200" noProof="0"/>
            </a:br>
            <a:r>
              <a:rPr lang="en-US" sz="3200" noProof="0">
                <a:latin typeface="Arial Nova"/>
                <a:cs typeface="Arial"/>
              </a:rPr>
              <a:t>Meeting Overview</a:t>
            </a:r>
            <a:endParaRPr lang="en-US" sz="3200" noProof="0"/>
          </a:p>
        </p:txBody>
      </p:sp>
      <p:sp>
        <p:nvSpPr>
          <p:cNvPr id="3" name="Subtitle 2">
            <a:extLst>
              <a:ext uri="{FF2B5EF4-FFF2-40B4-BE49-F238E27FC236}">
                <a16:creationId xmlns:a16="http://schemas.microsoft.com/office/drawing/2014/main" id="{D3C9B745-5FC5-4CA6-A1AB-A3903F83CD21}"/>
              </a:ext>
            </a:extLst>
          </p:cNvPr>
          <p:cNvSpPr>
            <a:spLocks noGrp="1"/>
          </p:cNvSpPr>
          <p:nvPr>
            <p:ph type="subTitle" idx="1"/>
          </p:nvPr>
        </p:nvSpPr>
        <p:spPr/>
        <p:txBody>
          <a:bodyPr/>
          <a:lstStyle/>
          <a:p>
            <a:r>
              <a:rPr lang="en-US" sz="1800" b="0" strike="noStrike" noProof="0">
                <a:effectLst/>
                <a:cs typeface="Arial" panose="020B0604020202020204" pitchFamily="34" charset="0"/>
              </a:rPr>
              <a:t>Rafael Fonseca, MD</a:t>
            </a:r>
            <a:endParaRPr lang="en-US" noProof="0"/>
          </a:p>
        </p:txBody>
      </p:sp>
      <p:pic>
        <p:nvPicPr>
          <p:cNvPr id="5" name="Picture 4">
            <a:extLst>
              <a:ext uri="{FF2B5EF4-FFF2-40B4-BE49-F238E27FC236}">
                <a16:creationId xmlns:a16="http://schemas.microsoft.com/office/drawing/2014/main" id="{C1C4886D-9E19-40F6-B771-59A6EED5AD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0617" y="3411698"/>
            <a:ext cx="1180425" cy="1180425"/>
          </a:xfrm>
          <a:prstGeom prst="teardrop">
            <a:avLst/>
          </a:prstGeom>
        </p:spPr>
      </p:pic>
    </p:spTree>
    <p:extLst>
      <p:ext uri="{BB962C8B-B14F-4D97-AF65-F5344CB8AC3E}">
        <p14:creationId xmlns:p14="http://schemas.microsoft.com/office/powerpoint/2010/main" val="34852913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A7AC0C-79D1-B540-A3DF-CABD6E4B70B5}"/>
              </a:ext>
            </a:extLst>
          </p:cNvPr>
          <p:cNvSpPr>
            <a:spLocks noGrp="1"/>
          </p:cNvSpPr>
          <p:nvPr>
            <p:ph type="body" sz="quarter" idx="10"/>
          </p:nvPr>
        </p:nvSpPr>
        <p:spPr>
          <a:xfrm>
            <a:off x="1317038" y="61484"/>
            <a:ext cx="6509924" cy="543185"/>
          </a:xfrm>
        </p:spPr>
        <p:txBody>
          <a:bodyPr>
            <a:normAutofit/>
          </a:bodyPr>
          <a:lstStyle/>
          <a:p>
            <a:r>
              <a:rPr lang="en-US" sz="2400" b="1" noProof="0">
                <a:solidFill>
                  <a:srgbClr val="0070C0"/>
                </a:solidFill>
                <a:latin typeface="Arial" panose="020B0604020202020204" pitchFamily="34" charset="0"/>
              </a:rPr>
              <a:t>The PROMISE study</a:t>
            </a:r>
          </a:p>
        </p:txBody>
      </p:sp>
      <p:pic>
        <p:nvPicPr>
          <p:cNvPr id="4" name="Picture 3" descr="Two people embracing&#10;&#10;Description automatically generated with low confidence">
            <a:extLst>
              <a:ext uri="{FF2B5EF4-FFF2-40B4-BE49-F238E27FC236}">
                <a16:creationId xmlns:a16="http://schemas.microsoft.com/office/drawing/2014/main" id="{F4565CF0-B4E0-D240-AAEC-C60C9A2D658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17038" y="620768"/>
            <a:ext cx="6509924" cy="3901966"/>
          </a:xfrm>
          <a:prstGeom prst="rect">
            <a:avLst/>
          </a:prstGeom>
        </p:spPr>
      </p:pic>
    </p:spTree>
    <p:extLst>
      <p:ext uri="{BB962C8B-B14F-4D97-AF65-F5344CB8AC3E}">
        <p14:creationId xmlns:p14="http://schemas.microsoft.com/office/powerpoint/2010/main" val="250718857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a:xfrm>
            <a:off x="4270617" y="1691556"/>
            <a:ext cx="4534294" cy="1548390"/>
          </a:xfrm>
        </p:spPr>
        <p:txBody>
          <a:bodyPr>
            <a:noAutofit/>
          </a:bodyPr>
          <a:lstStyle/>
          <a:p>
            <a:pPr marR="0" algn="l" defTabSz="914400" rtl="0" eaLnBrk="1" latinLnBrk="0" hangingPunct="1">
              <a:lnSpc>
                <a:spcPct val="100000"/>
              </a:lnSpc>
              <a:spcBef>
                <a:spcPts val="0"/>
              </a:spcBef>
              <a:spcAft>
                <a:spcPts val="0"/>
              </a:spcAft>
            </a:pPr>
            <a:r>
              <a:rPr lang="en-US" sz="2800" b="1" u="none" kern="1200" noProof="0">
                <a:effectLst/>
                <a:latin typeface="Arial" panose="020B0604020202020204" pitchFamily="34" charset="0"/>
                <a:cs typeface="Arial" panose="020B0604020202020204" pitchFamily="34" charset="0"/>
              </a:rPr>
              <a:t>Debate:</a:t>
            </a:r>
            <a:br>
              <a:rPr lang="en-US" sz="2800" b="1" u="none" kern="1200" noProof="0">
                <a:effectLst/>
                <a:latin typeface="Arial" panose="020B0604020202020204" pitchFamily="34" charset="0"/>
                <a:cs typeface="Arial" panose="020B0604020202020204" pitchFamily="34" charset="0"/>
              </a:rPr>
            </a:br>
            <a:r>
              <a:rPr lang="en-US" sz="2800" b="0" u="none" kern="1200" noProof="0">
                <a:effectLst/>
                <a:latin typeface="Arial" panose="020B0604020202020204" pitchFamily="34" charset="0"/>
                <a:cs typeface="Arial" panose="020B0604020202020204" pitchFamily="34" charset="0"/>
              </a:rPr>
              <a:t>Smoldering Myeloma: To Treat or Not to Treat? </a:t>
            </a:r>
            <a:br>
              <a:rPr lang="en-US" sz="2800" b="0" u="none" kern="1200" noProof="0">
                <a:effectLst/>
                <a:latin typeface="Arial" panose="020B0604020202020204" pitchFamily="34" charset="0"/>
                <a:cs typeface="Arial" panose="020B0604020202020204" pitchFamily="34" charset="0"/>
              </a:rPr>
            </a:br>
            <a:endParaRPr lang="en-US" sz="2800" b="1" u="none" noProof="0">
              <a:effectLst/>
              <a:latin typeface="Arial" panose="020B0604020202020204" pitchFamily="34" charset="0"/>
              <a:cs typeface="Arial" panose="020B0604020202020204" pitchFamily="34" charset="0"/>
            </a:endParaRPr>
          </a:p>
        </p:txBody>
      </p:sp>
      <p:sp>
        <p:nvSpPr>
          <p:cNvPr id="7" name="Subtitle 6">
            <a:extLst>
              <a:ext uri="{FF2B5EF4-FFF2-40B4-BE49-F238E27FC236}">
                <a16:creationId xmlns:a16="http://schemas.microsoft.com/office/drawing/2014/main" id="{81E62135-1198-4298-84EC-45D95B29EE63}"/>
              </a:ext>
            </a:extLst>
          </p:cNvPr>
          <p:cNvSpPr>
            <a:spLocks noGrp="1"/>
          </p:cNvSpPr>
          <p:nvPr>
            <p:ph type="subTitle" idx="1"/>
          </p:nvPr>
        </p:nvSpPr>
        <p:spPr>
          <a:xfrm>
            <a:off x="4270617" y="2985451"/>
            <a:ext cx="4534294" cy="1073784"/>
          </a:xfrm>
        </p:spPr>
        <p:txBody>
          <a:bodyPr/>
          <a:lstStyle/>
          <a:p>
            <a:r>
              <a:rPr lang="en-US" sz="1800" b="0" strike="noStrike" kern="1200" noProof="0">
                <a:effectLst/>
                <a:latin typeface="Arial" panose="020B0604020202020204" pitchFamily="34" charset="0"/>
                <a:cs typeface="Arial" panose="020B0604020202020204" pitchFamily="34" charset="0"/>
              </a:rPr>
              <a:t>No – Meletios Dimopoulos, MD</a:t>
            </a:r>
          </a:p>
          <a:p>
            <a:endParaRPr lang="en-US" noProof="0"/>
          </a:p>
        </p:txBody>
      </p:sp>
      <p:pic>
        <p:nvPicPr>
          <p:cNvPr id="5" name="Picture 4">
            <a:extLst>
              <a:ext uri="{FF2B5EF4-FFF2-40B4-BE49-F238E27FC236}">
                <a16:creationId xmlns:a16="http://schemas.microsoft.com/office/drawing/2014/main" id="{FD6A7F2E-51D5-4DF2-92A3-D12B7CB545A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57139" y="3404357"/>
            <a:ext cx="1188720" cy="1188720"/>
          </a:xfrm>
          <a:prstGeom prst="teardrop">
            <a:avLst/>
          </a:prstGeom>
          <a:solidFill>
            <a:schemeClr val="tx2"/>
          </a:solidFill>
        </p:spPr>
      </p:pic>
    </p:spTree>
    <p:extLst>
      <p:ext uri="{BB962C8B-B14F-4D97-AF65-F5344CB8AC3E}">
        <p14:creationId xmlns:p14="http://schemas.microsoft.com/office/powerpoint/2010/main" val="319020681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2CDB1-B3DD-4BCA-984C-ECF39283A8E5}"/>
              </a:ext>
            </a:extLst>
          </p:cNvPr>
          <p:cNvSpPr>
            <a:spLocks noGrp="1"/>
          </p:cNvSpPr>
          <p:nvPr>
            <p:ph type="ctrTitle"/>
          </p:nvPr>
        </p:nvSpPr>
        <p:spPr>
          <a:xfrm>
            <a:off x="1143000" y="1243455"/>
            <a:ext cx="6858000" cy="1790700"/>
          </a:xfrm>
        </p:spPr>
        <p:txBody>
          <a:bodyPr>
            <a:normAutofit/>
          </a:bodyPr>
          <a:lstStyle/>
          <a:p>
            <a:r>
              <a:rPr lang="en-US" sz="3300" noProof="0"/>
              <a:t>Smoldering Myeloma: </a:t>
            </a:r>
            <a:br>
              <a:rPr lang="en-US" sz="3300" noProof="0"/>
            </a:br>
            <a:r>
              <a:rPr lang="en-US" sz="3300" noProof="0"/>
              <a:t>To Treat or Not to Treat?</a:t>
            </a:r>
          </a:p>
        </p:txBody>
      </p:sp>
      <p:sp>
        <p:nvSpPr>
          <p:cNvPr id="3" name="Subtitle 2">
            <a:extLst>
              <a:ext uri="{FF2B5EF4-FFF2-40B4-BE49-F238E27FC236}">
                <a16:creationId xmlns:a16="http://schemas.microsoft.com/office/drawing/2014/main" id="{6E337BCC-231C-492F-8E5C-0D91C370D553}"/>
              </a:ext>
            </a:extLst>
          </p:cNvPr>
          <p:cNvSpPr>
            <a:spLocks noGrp="1"/>
          </p:cNvSpPr>
          <p:nvPr>
            <p:ph type="subTitle" idx="1"/>
          </p:nvPr>
        </p:nvSpPr>
        <p:spPr>
          <a:xfrm>
            <a:off x="1143000" y="3436315"/>
            <a:ext cx="6858000" cy="1241822"/>
          </a:xfrm>
        </p:spPr>
        <p:txBody>
          <a:bodyPr>
            <a:normAutofit fontScale="92500" lnSpcReduction="10000"/>
          </a:bodyPr>
          <a:lstStyle/>
          <a:p>
            <a:r>
              <a:rPr lang="en-US" b="1" noProof="0">
                <a:solidFill>
                  <a:schemeClr val="tx2"/>
                </a:solidFill>
              </a:rPr>
              <a:t>M.A. Dimopoulos, MD </a:t>
            </a:r>
          </a:p>
          <a:p>
            <a:r>
              <a:rPr lang="en-US" b="1" noProof="0">
                <a:solidFill>
                  <a:schemeClr val="tx2"/>
                </a:solidFill>
              </a:rPr>
              <a:t>Plasma Cell Dyscrasia Unit </a:t>
            </a:r>
          </a:p>
          <a:p>
            <a:r>
              <a:rPr lang="en-US" b="1" noProof="0">
                <a:solidFill>
                  <a:schemeClr val="tx2"/>
                </a:solidFill>
              </a:rPr>
              <a:t>Department of Clinical Therapeutics </a:t>
            </a:r>
          </a:p>
          <a:p>
            <a:r>
              <a:rPr lang="en-US" b="1" noProof="0">
                <a:solidFill>
                  <a:schemeClr val="tx2"/>
                </a:solidFill>
              </a:rPr>
              <a:t>National and Kapodistrian University of Athens, School of Medicine </a:t>
            </a:r>
            <a:endParaRPr lang="en-US" noProof="0">
              <a:solidFill>
                <a:schemeClr val="tx2"/>
              </a:solidFill>
            </a:endParaRPr>
          </a:p>
        </p:txBody>
      </p:sp>
      <p:pic>
        <p:nvPicPr>
          <p:cNvPr id="4" name="Εικόνα 5">
            <a:extLst>
              <a:ext uri="{FF2B5EF4-FFF2-40B4-BE49-F238E27FC236}">
                <a16:creationId xmlns:a16="http://schemas.microsoft.com/office/drawing/2014/main" id="{98DF1B8E-050B-40CC-8177-B84DADD1275E}"/>
              </a:ext>
            </a:extLst>
          </p:cNvPr>
          <p:cNvPicPr>
            <a:picLocks noChangeAspect="1"/>
          </p:cNvPicPr>
          <p:nvPr/>
        </p:nvPicPr>
        <p: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p:blipFill>
        <p:spPr bwMode="auto">
          <a:xfrm>
            <a:off x="223133" y="142712"/>
            <a:ext cx="496665" cy="6073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6" descr="owl1">
            <a:extLst>
              <a:ext uri="{FF2B5EF4-FFF2-40B4-BE49-F238E27FC236}">
                <a16:creationId xmlns:a16="http://schemas.microsoft.com/office/drawing/2014/main" id="{39146DA0-D2D1-4BCC-8676-7834B92F4547}"/>
              </a:ext>
            </a:extLst>
          </p:cNvPr>
          <p:cNvPicPr>
            <a:picLocks noChangeAspect="1" noChangeArrowheads="1"/>
          </p:cNvPicPr>
          <p:nvPr/>
        </p:nvPicPr>
        <p:blipFill>
          <a:blip r:embed="rId4" cstate="screen">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a:ext>
            </a:extLst>
          </a:blip>
          <a:srcRect/>
          <a:stretch>
            <a:fillRect/>
          </a:stretch>
        </p:blipFill>
        <p:spPr bwMode="auto">
          <a:xfrm>
            <a:off x="8369681" y="255437"/>
            <a:ext cx="567929" cy="4946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C0312F96-04E8-450F-B27B-D50CAEF6EDE6}"/>
              </a:ext>
            </a:extLst>
          </p:cNvPr>
          <p:cNvSpPr txBox="1"/>
          <p:nvPr/>
        </p:nvSpPr>
        <p:spPr>
          <a:xfrm>
            <a:off x="774319" y="306553"/>
            <a:ext cx="3519996" cy="415498"/>
          </a:xfrm>
          <a:prstGeom prst="rect">
            <a:avLst/>
          </a:prstGeom>
          <a:noFill/>
        </p:spPr>
        <p:txBody>
          <a:bodyPr wrap="square" rtlCol="0">
            <a:spAutoFit/>
          </a:bodyPr>
          <a:lstStyle/>
          <a:p>
            <a:pPr defTabSz="685800"/>
            <a:r>
              <a:rPr lang="el-GR" sz="1050">
                <a:solidFill>
                  <a:prstClr val="black"/>
                </a:solidFill>
                <a:latin typeface="Book Antiqua" panose="02040602050305030304" pitchFamily="18" charset="0"/>
              </a:rPr>
              <a:t>Εθνικό και Καποδιστριακό Πανεπιστήμιο Αθηνών</a:t>
            </a:r>
          </a:p>
          <a:p>
            <a:pPr defTabSz="685800"/>
            <a:r>
              <a:rPr lang="en-US" sz="1050">
                <a:solidFill>
                  <a:prstClr val="black"/>
                </a:solidFill>
                <a:latin typeface="Book Antiqua" panose="02040602050305030304" pitchFamily="18" charset="0"/>
              </a:rPr>
              <a:t>National and Kapodistrian University of Athens </a:t>
            </a:r>
            <a:endParaRPr lang="el-GR" sz="1050">
              <a:solidFill>
                <a:prstClr val="black"/>
              </a:solidFill>
              <a:latin typeface="Book Antiqua" panose="02040602050305030304" pitchFamily="18" charset="0"/>
            </a:endParaRPr>
          </a:p>
        </p:txBody>
      </p:sp>
      <p:sp>
        <p:nvSpPr>
          <p:cNvPr id="7" name="TextBox 6">
            <a:extLst>
              <a:ext uri="{FF2B5EF4-FFF2-40B4-BE49-F238E27FC236}">
                <a16:creationId xmlns:a16="http://schemas.microsoft.com/office/drawing/2014/main" id="{B4AB71CA-EC66-4F89-A234-B462A85960AB}"/>
              </a:ext>
            </a:extLst>
          </p:cNvPr>
          <p:cNvSpPr txBox="1"/>
          <p:nvPr/>
        </p:nvSpPr>
        <p:spPr>
          <a:xfrm>
            <a:off x="4642764" y="306553"/>
            <a:ext cx="3672396" cy="415498"/>
          </a:xfrm>
          <a:prstGeom prst="rect">
            <a:avLst/>
          </a:prstGeom>
          <a:noFill/>
        </p:spPr>
        <p:txBody>
          <a:bodyPr wrap="square" rtlCol="0">
            <a:spAutoFit/>
          </a:bodyPr>
          <a:lstStyle/>
          <a:p>
            <a:pPr algn="r" defTabSz="685800"/>
            <a:r>
              <a:rPr lang="el-GR" sz="1050">
                <a:solidFill>
                  <a:prstClr val="black"/>
                </a:solidFill>
                <a:latin typeface="Book Antiqua" panose="02040602050305030304" pitchFamily="18" charset="0"/>
              </a:rPr>
              <a:t>Θεραπευτική Κλινική </a:t>
            </a:r>
          </a:p>
          <a:p>
            <a:pPr algn="r" defTabSz="685800"/>
            <a:r>
              <a:rPr lang="en-US" sz="1050">
                <a:solidFill>
                  <a:prstClr val="black"/>
                </a:solidFill>
                <a:latin typeface="Book Antiqua" panose="02040602050305030304" pitchFamily="18" charset="0"/>
              </a:rPr>
              <a:t>Department of</a:t>
            </a:r>
            <a:r>
              <a:rPr lang="el-GR" sz="1050">
                <a:solidFill>
                  <a:prstClr val="black"/>
                </a:solidFill>
                <a:latin typeface="Book Antiqua" panose="02040602050305030304" pitchFamily="18" charset="0"/>
              </a:rPr>
              <a:t> </a:t>
            </a:r>
            <a:r>
              <a:rPr lang="en-US" sz="1050">
                <a:solidFill>
                  <a:prstClr val="black"/>
                </a:solidFill>
                <a:latin typeface="Book Antiqua" panose="02040602050305030304" pitchFamily="18" charset="0"/>
              </a:rPr>
              <a:t>Clinical Therapeutics </a:t>
            </a:r>
            <a:endParaRPr lang="el-GR" sz="1050">
              <a:solidFill>
                <a:prstClr val="black"/>
              </a:solidFill>
              <a:latin typeface="Book Antiqua" panose="02040602050305030304" pitchFamily="18" charset="0"/>
            </a:endParaRPr>
          </a:p>
        </p:txBody>
      </p:sp>
    </p:spTree>
    <p:extLst>
      <p:ext uri="{BB962C8B-B14F-4D97-AF65-F5344CB8AC3E}">
        <p14:creationId xmlns:p14="http://schemas.microsoft.com/office/powerpoint/2010/main" val="37076913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16E2F12-A3FA-4DA2-AEB5-9C23DEE603AE}"/>
              </a:ext>
            </a:extLst>
          </p:cNvPr>
          <p:cNvSpPr txBox="1"/>
          <p:nvPr/>
        </p:nvSpPr>
        <p:spPr>
          <a:xfrm>
            <a:off x="6351369" y="4889046"/>
            <a:ext cx="2797561" cy="253916"/>
          </a:xfrm>
          <a:prstGeom prst="rect">
            <a:avLst/>
          </a:prstGeom>
          <a:noFill/>
        </p:spPr>
        <p:txBody>
          <a:bodyPr wrap="none" rtlCol="0" anchor="b">
            <a:spAutoFit/>
          </a:bodyPr>
          <a:lstStyle/>
          <a:p>
            <a:pPr algn="r" defTabSz="685800"/>
            <a:r>
              <a:rPr lang="en-US" sz="1050">
                <a:solidFill>
                  <a:srgbClr val="000000"/>
                </a:solidFill>
                <a:latin typeface="Calibri" panose="020F0502020204030204" pitchFamily="34" charset="0"/>
              </a:rPr>
              <a:t>Mateos MV, et al. </a:t>
            </a:r>
            <a:r>
              <a:rPr lang="en-US" sz="1050" i="1">
                <a:solidFill>
                  <a:srgbClr val="000000"/>
                </a:solidFill>
                <a:latin typeface="Calibri" panose="020F0502020204030204" pitchFamily="34" charset="0"/>
              </a:rPr>
              <a:t>Blood Cancer J</a:t>
            </a:r>
            <a:r>
              <a:rPr lang="en-US" sz="1050">
                <a:solidFill>
                  <a:srgbClr val="000000"/>
                </a:solidFill>
                <a:latin typeface="Calibri" panose="020F0502020204030204" pitchFamily="34" charset="0"/>
              </a:rPr>
              <a:t>. 2020; 10:102.​</a:t>
            </a:r>
            <a:endParaRPr lang="el-GR" sz="1050">
              <a:solidFill>
                <a:prstClr val="black"/>
              </a:solidFill>
              <a:latin typeface="Calibri" panose="020F0502020204030204"/>
            </a:endParaRPr>
          </a:p>
        </p:txBody>
      </p:sp>
      <p:pic>
        <p:nvPicPr>
          <p:cNvPr id="5" name="Picture 4">
            <a:extLst>
              <a:ext uri="{FF2B5EF4-FFF2-40B4-BE49-F238E27FC236}">
                <a16:creationId xmlns:a16="http://schemas.microsoft.com/office/drawing/2014/main" id="{F5E4F613-7A13-4B64-84B3-C4584B0030C8}"/>
              </a:ext>
            </a:extLst>
          </p:cNvPr>
          <p:cNvPicPr>
            <a:picLocks noChangeAspect="1"/>
          </p:cNvPicPr>
          <p:nvPr/>
        </p:nvPicPr>
        <p:blipFill>
          <a:blip r:embed="rId2"/>
          <a:stretch>
            <a:fillRect/>
          </a:stretch>
        </p:blipFill>
        <p:spPr>
          <a:xfrm>
            <a:off x="798061" y="828797"/>
            <a:ext cx="6286049" cy="3793650"/>
          </a:xfrm>
          <a:prstGeom prst="rect">
            <a:avLst/>
          </a:prstGeom>
        </p:spPr>
      </p:pic>
      <p:cxnSp>
        <p:nvCxnSpPr>
          <p:cNvPr id="10" name="Straight Connector 9">
            <a:extLst>
              <a:ext uri="{FF2B5EF4-FFF2-40B4-BE49-F238E27FC236}">
                <a16:creationId xmlns:a16="http://schemas.microsoft.com/office/drawing/2014/main" id="{6B855BFE-C40B-449F-BEA6-23F5AAD584C9}"/>
              </a:ext>
            </a:extLst>
          </p:cNvPr>
          <p:cNvCxnSpPr/>
          <p:nvPr/>
        </p:nvCxnSpPr>
        <p:spPr>
          <a:xfrm>
            <a:off x="2435548" y="828797"/>
            <a:ext cx="0" cy="239709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A46C1456-54FC-4A37-9E7B-173F83FE78D9}"/>
              </a:ext>
            </a:extLst>
          </p:cNvPr>
          <p:cNvSpPr/>
          <p:nvPr/>
        </p:nvSpPr>
        <p:spPr>
          <a:xfrm>
            <a:off x="2486853" y="2928446"/>
            <a:ext cx="4545953" cy="17390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prstClr val="white"/>
                </a:solidFill>
                <a:latin typeface="Calibri" panose="020F0502020204030204"/>
              </a:rPr>
              <a:t>Low risk : PD@ 2 years: 3.8% </a:t>
            </a:r>
            <a:r>
              <a:rPr lang="en-US" sz="1350">
                <a:solidFill>
                  <a:prstClr val="white"/>
                </a:solidFill>
                <a:latin typeface="Calibri" panose="020F0502020204030204"/>
                <a:sym typeface="Wingdings" panose="05000000000000000000" pitchFamily="2" charset="2"/>
              </a:rPr>
              <a:t> </a:t>
            </a:r>
            <a:r>
              <a:rPr lang="en-US" sz="1350">
                <a:solidFill>
                  <a:prstClr val="white"/>
                </a:solidFill>
                <a:latin typeface="Calibri" panose="020F0502020204030204"/>
              </a:rPr>
              <a:t>96.2% will be overtreated</a:t>
            </a:r>
            <a:endParaRPr lang="el-GR" sz="1350">
              <a:solidFill>
                <a:prstClr val="white"/>
              </a:solidFill>
              <a:latin typeface="Calibri" panose="020F0502020204030204"/>
            </a:endParaRPr>
          </a:p>
        </p:txBody>
      </p:sp>
      <p:sp>
        <p:nvSpPr>
          <p:cNvPr id="9" name="Rectangle: Rounded Corners 8">
            <a:extLst>
              <a:ext uri="{FF2B5EF4-FFF2-40B4-BE49-F238E27FC236}">
                <a16:creationId xmlns:a16="http://schemas.microsoft.com/office/drawing/2014/main" id="{76E2BB91-2A4C-4ECA-82B2-F552DB0FE664}"/>
              </a:ext>
            </a:extLst>
          </p:cNvPr>
          <p:cNvSpPr/>
          <p:nvPr/>
        </p:nvSpPr>
        <p:spPr>
          <a:xfrm>
            <a:off x="2518873" y="2237589"/>
            <a:ext cx="5269854" cy="17390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prstClr val="white"/>
                </a:solidFill>
                <a:latin typeface="Calibri" panose="020F0502020204030204"/>
              </a:rPr>
              <a:t>Low-intermediate risk: PD @ 2 years: 26.2% </a:t>
            </a:r>
            <a:r>
              <a:rPr lang="en-US" sz="1350">
                <a:solidFill>
                  <a:prstClr val="white"/>
                </a:solidFill>
                <a:latin typeface="Calibri" panose="020F0502020204030204"/>
                <a:sym typeface="Wingdings" panose="05000000000000000000" pitchFamily="2" charset="2"/>
              </a:rPr>
              <a:t> </a:t>
            </a:r>
            <a:r>
              <a:rPr lang="en-US" sz="1350">
                <a:solidFill>
                  <a:prstClr val="white"/>
                </a:solidFill>
                <a:latin typeface="Calibri" panose="020F0502020204030204"/>
              </a:rPr>
              <a:t>73.8% will be overtreated </a:t>
            </a:r>
            <a:endParaRPr lang="el-GR" sz="1350">
              <a:solidFill>
                <a:prstClr val="white"/>
              </a:solidFill>
              <a:latin typeface="Calibri" panose="020F0502020204030204"/>
            </a:endParaRPr>
          </a:p>
        </p:txBody>
      </p:sp>
      <p:sp>
        <p:nvSpPr>
          <p:cNvPr id="14" name="Rectangle: Rounded Corners 13">
            <a:extLst>
              <a:ext uri="{FF2B5EF4-FFF2-40B4-BE49-F238E27FC236}">
                <a16:creationId xmlns:a16="http://schemas.microsoft.com/office/drawing/2014/main" id="{8A1F1082-A326-4D60-AF71-027E3409079E}"/>
              </a:ext>
            </a:extLst>
          </p:cNvPr>
          <p:cNvSpPr/>
          <p:nvPr/>
        </p:nvSpPr>
        <p:spPr>
          <a:xfrm>
            <a:off x="2518873" y="1662604"/>
            <a:ext cx="4849811" cy="17390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prstClr val="white"/>
                </a:solidFill>
                <a:latin typeface="Calibri" panose="020F0502020204030204"/>
              </a:rPr>
              <a:t>Intermediate risk: PD @ 2 years 51.1%</a:t>
            </a:r>
            <a:r>
              <a:rPr lang="en-US" sz="1350">
                <a:solidFill>
                  <a:prstClr val="white"/>
                </a:solidFill>
                <a:latin typeface="Calibri" panose="020F0502020204030204"/>
                <a:sym typeface="Wingdings" panose="05000000000000000000" pitchFamily="2" charset="2"/>
              </a:rPr>
              <a:t> </a:t>
            </a:r>
            <a:r>
              <a:rPr lang="en-US" sz="1350">
                <a:solidFill>
                  <a:prstClr val="white"/>
                </a:solidFill>
                <a:latin typeface="Calibri" panose="020F0502020204030204"/>
              </a:rPr>
              <a:t>48.9% will be overtreated </a:t>
            </a:r>
            <a:endParaRPr lang="el-GR" sz="1350">
              <a:solidFill>
                <a:prstClr val="white"/>
              </a:solidFill>
              <a:latin typeface="Calibri" panose="020F0502020204030204"/>
            </a:endParaRPr>
          </a:p>
        </p:txBody>
      </p:sp>
      <p:sp>
        <p:nvSpPr>
          <p:cNvPr id="15" name="Rectangle: Rounded Corners 14">
            <a:extLst>
              <a:ext uri="{FF2B5EF4-FFF2-40B4-BE49-F238E27FC236}">
                <a16:creationId xmlns:a16="http://schemas.microsoft.com/office/drawing/2014/main" id="{EAB933D3-1CC1-4A2E-900A-A27051C4FFE4}"/>
              </a:ext>
            </a:extLst>
          </p:cNvPr>
          <p:cNvSpPr/>
          <p:nvPr/>
        </p:nvSpPr>
        <p:spPr>
          <a:xfrm>
            <a:off x="2470553" y="867781"/>
            <a:ext cx="4849811" cy="17390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prstClr val="white"/>
                </a:solidFill>
                <a:latin typeface="Calibri" panose="020F0502020204030204"/>
              </a:rPr>
              <a:t>High risk: PD @ 2 years 72.5%</a:t>
            </a:r>
            <a:r>
              <a:rPr lang="en-US" sz="1350">
                <a:solidFill>
                  <a:prstClr val="white"/>
                </a:solidFill>
                <a:latin typeface="Calibri" panose="020F0502020204030204"/>
                <a:sym typeface="Wingdings" panose="05000000000000000000" pitchFamily="2" charset="2"/>
              </a:rPr>
              <a:t> </a:t>
            </a:r>
            <a:r>
              <a:rPr lang="en-US" sz="1350">
                <a:solidFill>
                  <a:prstClr val="white"/>
                </a:solidFill>
                <a:latin typeface="Calibri" panose="020F0502020204030204"/>
              </a:rPr>
              <a:t>27.5% will be overtreated </a:t>
            </a:r>
            <a:endParaRPr lang="el-GR" sz="1350">
              <a:solidFill>
                <a:prstClr val="white"/>
              </a:solidFill>
              <a:latin typeface="Calibri" panose="020F0502020204030204"/>
            </a:endParaRPr>
          </a:p>
        </p:txBody>
      </p:sp>
      <p:sp>
        <p:nvSpPr>
          <p:cNvPr id="16" name="TextBox 15">
            <a:extLst>
              <a:ext uri="{FF2B5EF4-FFF2-40B4-BE49-F238E27FC236}">
                <a16:creationId xmlns:a16="http://schemas.microsoft.com/office/drawing/2014/main" id="{383C73F2-1A34-49A5-8B12-7632F948BA75}"/>
              </a:ext>
            </a:extLst>
          </p:cNvPr>
          <p:cNvSpPr txBox="1"/>
          <p:nvPr/>
        </p:nvSpPr>
        <p:spPr>
          <a:xfrm>
            <a:off x="2312895" y="2186041"/>
            <a:ext cx="4572000" cy="300082"/>
          </a:xfrm>
          <a:prstGeom prst="rect">
            <a:avLst/>
          </a:prstGeom>
          <a:noFill/>
        </p:spPr>
        <p:txBody>
          <a:bodyPr wrap="square">
            <a:spAutoFit/>
          </a:bodyPr>
          <a:lstStyle/>
          <a:p>
            <a:pPr defTabSz="685800"/>
            <a:r>
              <a:rPr lang="en-NL" sz="1350">
                <a:solidFill>
                  <a:srgbClr val="000000"/>
                </a:solidFill>
                <a:latin typeface="Times New Roman" panose="02020603050405020304" pitchFamily="18" charset="0"/>
              </a:rPr>
              <a:t> </a:t>
            </a:r>
            <a:endParaRPr lang="en-NL" sz="1350">
              <a:solidFill>
                <a:prstClr val="black"/>
              </a:solidFill>
              <a:latin typeface="Calibri" panose="020F0502020204030204"/>
            </a:endParaRPr>
          </a:p>
        </p:txBody>
      </p:sp>
      <p:sp>
        <p:nvSpPr>
          <p:cNvPr id="4" name="Title 3">
            <a:extLst>
              <a:ext uri="{FF2B5EF4-FFF2-40B4-BE49-F238E27FC236}">
                <a16:creationId xmlns:a16="http://schemas.microsoft.com/office/drawing/2014/main" id="{8569D02A-D74E-4B37-BAF5-3150A647400F}"/>
              </a:ext>
            </a:extLst>
          </p:cNvPr>
          <p:cNvSpPr>
            <a:spLocks noGrp="1"/>
          </p:cNvSpPr>
          <p:nvPr>
            <p:ph type="title"/>
          </p:nvPr>
        </p:nvSpPr>
        <p:spPr>
          <a:xfrm>
            <a:off x="628650" y="19262"/>
            <a:ext cx="7886700" cy="699837"/>
          </a:xfrm>
        </p:spPr>
        <p:txBody>
          <a:bodyPr>
            <a:normAutofit/>
          </a:bodyPr>
          <a:lstStyle/>
          <a:p>
            <a:r>
              <a:rPr lang="en-US" sz="2100" b="1" noProof="0"/>
              <a:t>So What if We Treat Patients With SMM? </a:t>
            </a:r>
          </a:p>
        </p:txBody>
      </p:sp>
    </p:spTree>
    <p:extLst>
      <p:ext uri="{BB962C8B-B14F-4D97-AF65-F5344CB8AC3E}">
        <p14:creationId xmlns:p14="http://schemas.microsoft.com/office/powerpoint/2010/main" val="25584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ppt_x"/>
                                          </p:val>
                                        </p:tav>
                                        <p:tav tm="100000">
                                          <p:val>
                                            <p:strVal val="#ppt_x"/>
                                          </p:val>
                                        </p:tav>
                                      </p:tavLst>
                                    </p:anim>
                                    <p:anim calcmode="lin" valueType="num">
                                      <p:cBhvr additive="base">
                                        <p:cTn id="20"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P spid="14" grpId="0" animBg="1"/>
      <p:bldP spid="15" grpId="0" animBg="1"/>
    </p:bld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1"/>
          <p:cNvSpPr txBox="1">
            <a:spLocks noChangeArrowheads="1"/>
          </p:cNvSpPr>
          <p:nvPr/>
        </p:nvSpPr>
        <p:spPr bwMode="auto">
          <a:xfrm>
            <a:off x="0" y="4729106"/>
            <a:ext cx="3802258" cy="415498"/>
          </a:xfrm>
          <a:prstGeom prst="rect">
            <a:avLst/>
          </a:prstGeom>
          <a:noFill/>
          <a:ln w="9525" algn="ctr">
            <a:noFill/>
            <a:miter lim="800000"/>
            <a:headEnd/>
            <a:tailEnd/>
          </a:ln>
        </p:spPr>
        <p:txBody>
          <a:bodyPr wrap="square" anchor="b">
            <a:spAutoFit/>
          </a:bodyPr>
          <a:lstStyle/>
          <a:p>
            <a:pPr defTabSz="685800" eaLnBrk="0" fontAlgn="base" hangingPunct="0">
              <a:spcBef>
                <a:spcPct val="0"/>
              </a:spcBef>
              <a:spcAft>
                <a:spcPct val="0"/>
              </a:spcAft>
            </a:pPr>
            <a:r>
              <a:rPr lang="en-US" sz="1050">
                <a:solidFill>
                  <a:srgbClr val="000000"/>
                </a:solidFill>
              </a:rPr>
              <a:t>Mateos MV, et al. </a:t>
            </a:r>
            <a:r>
              <a:rPr lang="en-US" sz="1050" i="1">
                <a:solidFill>
                  <a:srgbClr val="000000"/>
                </a:solidFill>
              </a:rPr>
              <a:t>N Engl J Med. </a:t>
            </a:r>
            <a:r>
              <a:rPr lang="en-US" sz="1050">
                <a:solidFill>
                  <a:srgbClr val="000000"/>
                </a:solidFill>
              </a:rPr>
              <a:t>2013;369:438-447.​</a:t>
            </a:r>
            <a:endParaRPr lang="en-US" sz="1050">
              <a:solidFill>
                <a:prstClr val="black"/>
              </a:solidFill>
              <a:cs typeface="Arial" pitchFamily="34" charset="0"/>
            </a:endParaRPr>
          </a:p>
          <a:p>
            <a:pPr defTabSz="685800" eaLnBrk="0" fontAlgn="base" hangingPunct="0">
              <a:spcBef>
                <a:spcPct val="0"/>
              </a:spcBef>
              <a:spcAft>
                <a:spcPct val="0"/>
              </a:spcAft>
            </a:pPr>
            <a:r>
              <a:rPr lang="en-US" sz="1050">
                <a:solidFill>
                  <a:srgbClr val="000000"/>
                </a:solidFill>
              </a:rPr>
              <a:t>Mateos MV, et al. </a:t>
            </a:r>
            <a:r>
              <a:rPr lang="en-US" sz="1050" i="1">
                <a:solidFill>
                  <a:srgbClr val="000000"/>
                </a:solidFill>
              </a:rPr>
              <a:t>Lancet Oncol</a:t>
            </a:r>
            <a:r>
              <a:rPr lang="en-US" sz="1050">
                <a:solidFill>
                  <a:srgbClr val="000000"/>
                </a:solidFill>
              </a:rPr>
              <a:t>. 2016;17:P1129-1136.</a:t>
            </a:r>
            <a:endParaRPr lang="en-US" sz="1050">
              <a:solidFill>
                <a:prstClr val="black"/>
              </a:solidFill>
              <a:cs typeface="Arial" pitchFamily="34" charset="0"/>
            </a:endParaRPr>
          </a:p>
        </p:txBody>
      </p:sp>
      <p:pic>
        <p:nvPicPr>
          <p:cNvPr id="26" name="Imagen 2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2611" y="1321737"/>
            <a:ext cx="2196547" cy="1688711"/>
          </a:xfrm>
          <a:prstGeom prst="rect">
            <a:avLst/>
          </a:prstGeom>
        </p:spPr>
      </p:pic>
      <p:sp>
        <p:nvSpPr>
          <p:cNvPr id="27" name="CuadroTexto 26"/>
          <p:cNvSpPr txBox="1"/>
          <p:nvPr/>
        </p:nvSpPr>
        <p:spPr>
          <a:xfrm>
            <a:off x="2092188" y="1666604"/>
            <a:ext cx="1003801" cy="230832"/>
          </a:xfrm>
          <a:prstGeom prst="rect">
            <a:avLst/>
          </a:prstGeom>
          <a:noFill/>
          <a:ln>
            <a:noFill/>
            <a:prstDash val="dash"/>
          </a:ln>
        </p:spPr>
        <p:txBody>
          <a:bodyPr wrap="none" rtlCol="0">
            <a:spAutoFit/>
          </a:bodyPr>
          <a:lstStyle/>
          <a:p>
            <a:pPr defTabSz="685800"/>
            <a:r>
              <a:rPr lang="en-US" sz="900" b="1">
                <a:solidFill>
                  <a:prstClr val="black"/>
                </a:solidFill>
                <a:ea typeface="Arial" charset="0"/>
                <a:cs typeface="Arial" charset="0"/>
              </a:rPr>
              <a:t>Treatment group</a:t>
            </a:r>
          </a:p>
        </p:txBody>
      </p:sp>
      <p:sp>
        <p:nvSpPr>
          <p:cNvPr id="28" name="CuadroTexto 27"/>
          <p:cNvSpPr txBox="1"/>
          <p:nvPr/>
        </p:nvSpPr>
        <p:spPr>
          <a:xfrm>
            <a:off x="2093976" y="2262182"/>
            <a:ext cx="1087157" cy="230832"/>
          </a:xfrm>
          <a:prstGeom prst="rect">
            <a:avLst/>
          </a:prstGeom>
          <a:noFill/>
          <a:ln>
            <a:noFill/>
            <a:prstDash val="dash"/>
          </a:ln>
        </p:spPr>
        <p:txBody>
          <a:bodyPr wrap="none" rtlCol="0">
            <a:spAutoFit/>
          </a:bodyPr>
          <a:lstStyle/>
          <a:p>
            <a:pPr defTabSz="685800"/>
            <a:r>
              <a:rPr lang="en-US" sz="900" b="1">
                <a:solidFill>
                  <a:prstClr val="black"/>
                </a:solidFill>
                <a:ea typeface="Arial" charset="0"/>
                <a:cs typeface="Arial" charset="0"/>
              </a:rPr>
              <a:t>Observation group</a:t>
            </a:r>
          </a:p>
        </p:txBody>
      </p:sp>
      <p:sp>
        <p:nvSpPr>
          <p:cNvPr id="29" name="CuadroTexto 28"/>
          <p:cNvSpPr txBox="1"/>
          <p:nvPr/>
        </p:nvSpPr>
        <p:spPr>
          <a:xfrm>
            <a:off x="910796" y="2564072"/>
            <a:ext cx="2287806" cy="230832"/>
          </a:xfrm>
          <a:prstGeom prst="rect">
            <a:avLst/>
          </a:prstGeom>
          <a:noFill/>
          <a:ln>
            <a:noFill/>
            <a:prstDash val="dash"/>
          </a:ln>
        </p:spPr>
        <p:txBody>
          <a:bodyPr wrap="none" rtlCol="0">
            <a:spAutoFit/>
          </a:bodyPr>
          <a:lstStyle/>
          <a:p>
            <a:pPr defTabSz="685800"/>
            <a:r>
              <a:rPr lang="en-US" sz="900" b="1">
                <a:solidFill>
                  <a:prstClr val="black"/>
                </a:solidFill>
                <a:ea typeface="Arial" charset="0"/>
                <a:cs typeface="Arial" charset="0"/>
              </a:rPr>
              <a:t>Hazard ratio for progression: 0.24, </a:t>
            </a:r>
            <a:r>
              <a:rPr lang="en-US" sz="900" b="1" i="1">
                <a:solidFill>
                  <a:prstClr val="black"/>
                </a:solidFill>
                <a:ea typeface="Arial" charset="0"/>
                <a:cs typeface="Arial" charset="0"/>
              </a:rPr>
              <a:t>P</a:t>
            </a:r>
            <a:r>
              <a:rPr lang="en-US" sz="900" b="1">
                <a:solidFill>
                  <a:prstClr val="black"/>
                </a:solidFill>
                <a:ea typeface="Arial" charset="0"/>
                <a:cs typeface="Arial" charset="0"/>
              </a:rPr>
              <a:t> &lt;.0001 </a:t>
            </a:r>
          </a:p>
        </p:txBody>
      </p:sp>
      <p:sp>
        <p:nvSpPr>
          <p:cNvPr id="13" name="12 - Τίτλος"/>
          <p:cNvSpPr>
            <a:spLocks noGrp="1"/>
          </p:cNvSpPr>
          <p:nvPr>
            <p:ph type="title"/>
          </p:nvPr>
        </p:nvSpPr>
        <p:spPr>
          <a:xfrm>
            <a:off x="628650" y="301771"/>
            <a:ext cx="7886700" cy="661569"/>
          </a:xfrm>
        </p:spPr>
        <p:txBody>
          <a:bodyPr>
            <a:normAutofit fontScale="90000"/>
          </a:bodyPr>
          <a:lstStyle/>
          <a:p>
            <a:pPr>
              <a:spcBef>
                <a:spcPct val="20000"/>
              </a:spcBef>
            </a:pPr>
            <a:r>
              <a:rPr lang="en-US" sz="2400" noProof="0">
                <a:latin typeface="+mn-lt"/>
              </a:rPr>
              <a:t>What If We Treat Patients With Smoldering MM?</a:t>
            </a:r>
            <a:br>
              <a:rPr lang="en-US" sz="2400" noProof="0">
                <a:latin typeface="+mn-lt"/>
              </a:rPr>
            </a:br>
            <a:br>
              <a:rPr lang="en-US" sz="2100" noProof="0">
                <a:latin typeface="+mn-lt"/>
              </a:rPr>
            </a:br>
            <a:r>
              <a:rPr lang="en-US" sz="2100" noProof="0">
                <a:latin typeface="+mn-lt"/>
              </a:rPr>
              <a:t>	</a:t>
            </a:r>
            <a:endParaRPr lang="en-US" sz="2100" u="sng" noProof="0">
              <a:latin typeface="+mn-lt"/>
            </a:endParaRPr>
          </a:p>
        </p:txBody>
      </p:sp>
      <p:sp>
        <p:nvSpPr>
          <p:cNvPr id="7" name="Text Box 237"/>
          <p:cNvSpPr txBox="1">
            <a:spLocks noChangeArrowheads="1"/>
          </p:cNvSpPr>
          <p:nvPr/>
        </p:nvSpPr>
        <p:spPr bwMode="auto">
          <a:xfrm>
            <a:off x="705697" y="1141567"/>
            <a:ext cx="2423605" cy="2461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60898" tIns="30450" rIns="60898" bIns="30450">
            <a:spAutoFit/>
          </a:bodyPr>
          <a:lstStyle>
            <a:lvl1pPr eaLnBrk="0" hangingPunct="0">
              <a:defRPr sz="2000">
                <a:solidFill>
                  <a:schemeClr val="tx1"/>
                </a:solidFill>
                <a:latin typeface="Arial" charset="0"/>
                <a:ea typeface="MS PGothic" charset="0"/>
                <a:cs typeface="MS PGothic" charset="0"/>
              </a:defRPr>
            </a:lvl1pPr>
            <a:lvl2pPr marL="742950" indent="-285750" eaLnBrk="0" hangingPunct="0">
              <a:defRPr sz="2000">
                <a:solidFill>
                  <a:schemeClr val="tx1"/>
                </a:solidFill>
                <a:latin typeface="Arial" charset="0"/>
                <a:ea typeface="MS PGothic" charset="0"/>
                <a:cs typeface="MS PGothic" charset="0"/>
              </a:defRPr>
            </a:lvl2pPr>
            <a:lvl3pPr marL="1143000" indent="-228600" eaLnBrk="0" hangingPunct="0">
              <a:defRPr sz="2000">
                <a:solidFill>
                  <a:schemeClr val="tx1"/>
                </a:solidFill>
                <a:latin typeface="Arial" charset="0"/>
                <a:ea typeface="MS PGothic" charset="0"/>
                <a:cs typeface="MS PGothic" charset="0"/>
              </a:defRPr>
            </a:lvl3pPr>
            <a:lvl4pPr marL="1600200" indent="-228600" eaLnBrk="0" hangingPunct="0">
              <a:defRPr sz="2000">
                <a:solidFill>
                  <a:schemeClr val="tx1"/>
                </a:solidFill>
                <a:latin typeface="Arial" charset="0"/>
                <a:ea typeface="MS PGothic" charset="0"/>
                <a:cs typeface="MS PGothic" charset="0"/>
              </a:defRPr>
            </a:lvl4pPr>
            <a:lvl5pPr marL="2057400" indent="-228600" eaLnBrk="0" hangingPunct="0">
              <a:defRPr sz="2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000">
                <a:solidFill>
                  <a:schemeClr val="tx1"/>
                </a:solidFill>
                <a:latin typeface="Arial" charset="0"/>
                <a:ea typeface="MS PGothic" charset="0"/>
                <a:cs typeface="MS PGothic" charset="0"/>
              </a:defRPr>
            </a:lvl9pPr>
          </a:lstStyle>
          <a:p>
            <a:pPr algn="ctr" defTabSz="685800" fontAlgn="base">
              <a:spcBef>
                <a:spcPct val="20000"/>
              </a:spcBef>
              <a:spcAft>
                <a:spcPct val="0"/>
              </a:spcAft>
            </a:pPr>
            <a:r>
              <a:rPr lang="en-US" sz="1200" b="1" i="1">
                <a:solidFill>
                  <a:prstClr val="black"/>
                </a:solidFill>
                <a:latin typeface="+mn-lt"/>
              </a:rPr>
              <a:t>Median follow-up: 75 </a:t>
            </a:r>
            <a:r>
              <a:rPr lang="en-US" sz="1200" i="1">
                <a:solidFill>
                  <a:prstClr val="black"/>
                </a:solidFill>
                <a:latin typeface="+mn-lt"/>
              </a:rPr>
              <a:t>months </a:t>
            </a:r>
            <a:endParaRPr lang="en-US" sz="1200" b="1" i="1">
              <a:solidFill>
                <a:prstClr val="black"/>
              </a:solidFill>
              <a:latin typeface="+mn-lt"/>
            </a:endParaRPr>
          </a:p>
        </p:txBody>
      </p:sp>
      <p:pic>
        <p:nvPicPr>
          <p:cNvPr id="14" name="Imagen 163">
            <a:extLst>
              <a:ext uri="{FF2B5EF4-FFF2-40B4-BE49-F238E27FC236}">
                <a16:creationId xmlns:a16="http://schemas.microsoft.com/office/drawing/2014/main" id="{D31EAEDB-F397-4502-B19C-1C436DD59D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6128" y="2945212"/>
            <a:ext cx="2165244" cy="1735933"/>
          </a:xfrm>
          <a:prstGeom prst="rect">
            <a:avLst/>
          </a:prstGeom>
        </p:spPr>
      </p:pic>
      <p:sp>
        <p:nvSpPr>
          <p:cNvPr id="17" name="CuadroTexto 166">
            <a:extLst>
              <a:ext uri="{FF2B5EF4-FFF2-40B4-BE49-F238E27FC236}">
                <a16:creationId xmlns:a16="http://schemas.microsoft.com/office/drawing/2014/main" id="{02E9C092-926C-4E1B-ADB4-16D57CDCF081}"/>
              </a:ext>
            </a:extLst>
          </p:cNvPr>
          <p:cNvSpPr txBox="1"/>
          <p:nvPr/>
        </p:nvSpPr>
        <p:spPr>
          <a:xfrm>
            <a:off x="910796" y="4149940"/>
            <a:ext cx="2026517" cy="230832"/>
          </a:xfrm>
          <a:prstGeom prst="rect">
            <a:avLst/>
          </a:prstGeom>
          <a:noFill/>
          <a:ln>
            <a:noFill/>
            <a:prstDash val="dash"/>
          </a:ln>
        </p:spPr>
        <p:txBody>
          <a:bodyPr wrap="none" rtlCol="0">
            <a:spAutoFit/>
          </a:bodyPr>
          <a:lstStyle/>
          <a:p>
            <a:pPr defTabSz="685800"/>
            <a:r>
              <a:rPr lang="en-US" sz="900" b="1">
                <a:solidFill>
                  <a:prstClr val="black"/>
                </a:solidFill>
                <a:ea typeface="Arial" charset="0"/>
                <a:cs typeface="Arial" charset="0"/>
              </a:rPr>
              <a:t>Hazard ratio for death: 0.43, </a:t>
            </a:r>
            <a:r>
              <a:rPr lang="en-US" sz="900" b="1" i="1">
                <a:solidFill>
                  <a:prstClr val="black"/>
                </a:solidFill>
                <a:ea typeface="Arial" charset="0"/>
                <a:cs typeface="Arial" charset="0"/>
              </a:rPr>
              <a:t>P </a:t>
            </a:r>
            <a:r>
              <a:rPr lang="en-US" sz="900" b="1">
                <a:solidFill>
                  <a:prstClr val="black"/>
                </a:solidFill>
                <a:ea typeface="Arial" charset="0"/>
                <a:cs typeface="Arial" charset="0"/>
              </a:rPr>
              <a:t>= 0.024 </a:t>
            </a:r>
          </a:p>
        </p:txBody>
      </p:sp>
      <p:sp>
        <p:nvSpPr>
          <p:cNvPr id="18" name="CuadroTexto 26">
            <a:extLst>
              <a:ext uri="{FF2B5EF4-FFF2-40B4-BE49-F238E27FC236}">
                <a16:creationId xmlns:a16="http://schemas.microsoft.com/office/drawing/2014/main" id="{B3284B06-9E6C-4165-9807-435A0E88E581}"/>
              </a:ext>
            </a:extLst>
          </p:cNvPr>
          <p:cNvSpPr txBox="1"/>
          <p:nvPr/>
        </p:nvSpPr>
        <p:spPr>
          <a:xfrm>
            <a:off x="2261635" y="3021149"/>
            <a:ext cx="1003801" cy="230832"/>
          </a:xfrm>
          <a:prstGeom prst="rect">
            <a:avLst/>
          </a:prstGeom>
          <a:noFill/>
          <a:ln>
            <a:noFill/>
            <a:prstDash val="dash"/>
          </a:ln>
        </p:spPr>
        <p:txBody>
          <a:bodyPr wrap="none" rtlCol="0">
            <a:spAutoFit/>
          </a:bodyPr>
          <a:lstStyle/>
          <a:p>
            <a:pPr defTabSz="685800"/>
            <a:r>
              <a:rPr lang="en-US" sz="900" b="1">
                <a:solidFill>
                  <a:prstClr val="black"/>
                </a:solidFill>
                <a:ea typeface="Arial" charset="0"/>
                <a:cs typeface="Arial" charset="0"/>
              </a:rPr>
              <a:t>Treatment group</a:t>
            </a:r>
          </a:p>
        </p:txBody>
      </p:sp>
      <p:sp>
        <p:nvSpPr>
          <p:cNvPr id="19" name="CuadroTexto 27">
            <a:extLst>
              <a:ext uri="{FF2B5EF4-FFF2-40B4-BE49-F238E27FC236}">
                <a16:creationId xmlns:a16="http://schemas.microsoft.com/office/drawing/2014/main" id="{FE42C7D7-2A1F-4E0A-B86F-7DE1C918C03B}"/>
              </a:ext>
            </a:extLst>
          </p:cNvPr>
          <p:cNvSpPr txBox="1"/>
          <p:nvPr/>
        </p:nvSpPr>
        <p:spPr>
          <a:xfrm>
            <a:off x="1202913" y="3597086"/>
            <a:ext cx="1087157" cy="230832"/>
          </a:xfrm>
          <a:prstGeom prst="rect">
            <a:avLst/>
          </a:prstGeom>
          <a:noFill/>
          <a:ln>
            <a:noFill/>
            <a:prstDash val="dash"/>
          </a:ln>
        </p:spPr>
        <p:txBody>
          <a:bodyPr wrap="none" rtlCol="0">
            <a:spAutoFit/>
          </a:bodyPr>
          <a:lstStyle/>
          <a:p>
            <a:pPr defTabSz="685800"/>
            <a:r>
              <a:rPr lang="en-US" sz="900" b="1">
                <a:solidFill>
                  <a:prstClr val="black"/>
                </a:solidFill>
                <a:ea typeface="Arial" charset="0"/>
                <a:cs typeface="Arial" charset="0"/>
              </a:rPr>
              <a:t>Observation group</a:t>
            </a:r>
          </a:p>
        </p:txBody>
      </p:sp>
      <p:sp>
        <p:nvSpPr>
          <p:cNvPr id="20" name="TextBox 19">
            <a:extLst>
              <a:ext uri="{FF2B5EF4-FFF2-40B4-BE49-F238E27FC236}">
                <a16:creationId xmlns:a16="http://schemas.microsoft.com/office/drawing/2014/main" id="{25E3A4E2-2BC6-429C-AC8F-F4E6DE2EA91B}"/>
              </a:ext>
            </a:extLst>
          </p:cNvPr>
          <p:cNvSpPr txBox="1"/>
          <p:nvPr/>
        </p:nvSpPr>
        <p:spPr>
          <a:xfrm rot="16200000">
            <a:off x="-125212" y="2055175"/>
            <a:ext cx="1565729" cy="230832"/>
          </a:xfrm>
          <a:prstGeom prst="rect">
            <a:avLst/>
          </a:prstGeom>
          <a:noFill/>
        </p:spPr>
        <p:txBody>
          <a:bodyPr wrap="square">
            <a:spAutoFit/>
          </a:bodyPr>
          <a:lstStyle/>
          <a:p>
            <a:pPr defTabSz="685800"/>
            <a:r>
              <a:rPr lang="en-US" sz="900" u="sng">
                <a:solidFill>
                  <a:prstClr val="black"/>
                </a:solidFill>
              </a:rPr>
              <a:t>Time to symptomatic MM </a:t>
            </a:r>
            <a:endParaRPr lang="en-US" sz="900">
              <a:solidFill>
                <a:prstClr val="black"/>
              </a:solidFill>
            </a:endParaRPr>
          </a:p>
        </p:txBody>
      </p:sp>
      <p:sp>
        <p:nvSpPr>
          <p:cNvPr id="22" name="TextBox 21">
            <a:extLst>
              <a:ext uri="{FF2B5EF4-FFF2-40B4-BE49-F238E27FC236}">
                <a16:creationId xmlns:a16="http://schemas.microsoft.com/office/drawing/2014/main" id="{09D6729A-58C4-4FC9-99D5-2FBDC3B56864}"/>
              </a:ext>
            </a:extLst>
          </p:cNvPr>
          <p:cNvSpPr txBox="1"/>
          <p:nvPr/>
        </p:nvSpPr>
        <p:spPr>
          <a:xfrm rot="16200000">
            <a:off x="73106" y="3567455"/>
            <a:ext cx="1219008" cy="230832"/>
          </a:xfrm>
          <a:prstGeom prst="rect">
            <a:avLst/>
          </a:prstGeom>
          <a:noFill/>
        </p:spPr>
        <p:txBody>
          <a:bodyPr wrap="square">
            <a:spAutoFit/>
          </a:bodyPr>
          <a:lstStyle/>
          <a:p>
            <a:pPr defTabSz="685800"/>
            <a:r>
              <a:rPr lang="en-US" sz="900" u="sng">
                <a:solidFill>
                  <a:prstClr val="black"/>
                </a:solidFill>
              </a:rPr>
              <a:t>Overall Survival </a:t>
            </a:r>
            <a:endParaRPr lang="en-US" sz="900">
              <a:solidFill>
                <a:prstClr val="black"/>
              </a:solidFill>
            </a:endParaRPr>
          </a:p>
        </p:txBody>
      </p:sp>
      <p:sp>
        <p:nvSpPr>
          <p:cNvPr id="24" name="TextBox 23">
            <a:extLst>
              <a:ext uri="{FF2B5EF4-FFF2-40B4-BE49-F238E27FC236}">
                <a16:creationId xmlns:a16="http://schemas.microsoft.com/office/drawing/2014/main" id="{782863FE-5B25-4A42-8C97-1627DE6755BB}"/>
              </a:ext>
            </a:extLst>
          </p:cNvPr>
          <p:cNvSpPr txBox="1"/>
          <p:nvPr/>
        </p:nvSpPr>
        <p:spPr>
          <a:xfrm>
            <a:off x="591022" y="599366"/>
            <a:ext cx="2630321" cy="507831"/>
          </a:xfrm>
          <a:prstGeom prst="rect">
            <a:avLst/>
          </a:prstGeom>
          <a:noFill/>
        </p:spPr>
        <p:txBody>
          <a:bodyPr wrap="square">
            <a:spAutoFit/>
          </a:bodyPr>
          <a:lstStyle/>
          <a:p>
            <a:pPr algn="ctr" defTabSz="685800"/>
            <a:r>
              <a:rPr lang="en-US" sz="1350" b="1">
                <a:solidFill>
                  <a:srgbClr val="4472C4"/>
                </a:solidFill>
              </a:rPr>
              <a:t>QUIREDEX study: Len-dex vs observation in high-risk SMM</a:t>
            </a:r>
            <a:endParaRPr lang="en-US" sz="1350">
              <a:solidFill>
                <a:prstClr val="black"/>
              </a:solidFill>
            </a:endParaRPr>
          </a:p>
        </p:txBody>
      </p:sp>
      <p:sp>
        <p:nvSpPr>
          <p:cNvPr id="25" name="TextBox 24">
            <a:extLst>
              <a:ext uri="{FF2B5EF4-FFF2-40B4-BE49-F238E27FC236}">
                <a16:creationId xmlns:a16="http://schemas.microsoft.com/office/drawing/2014/main" id="{A97E5C05-AC02-4236-AAAA-FA353FF8354A}"/>
              </a:ext>
            </a:extLst>
          </p:cNvPr>
          <p:cNvSpPr txBox="1"/>
          <p:nvPr/>
        </p:nvSpPr>
        <p:spPr>
          <a:xfrm>
            <a:off x="4225918" y="4889868"/>
            <a:ext cx="4918082" cy="253916"/>
          </a:xfrm>
          <a:prstGeom prst="rect">
            <a:avLst/>
          </a:prstGeom>
          <a:noFill/>
        </p:spPr>
        <p:txBody>
          <a:bodyPr wrap="square" rtlCol="0" anchor="b">
            <a:spAutoFit/>
          </a:bodyPr>
          <a:lstStyle/>
          <a:p>
            <a:pPr algn="r" defTabSz="685800"/>
            <a:r>
              <a:rPr lang="en-US" sz="1050">
                <a:solidFill>
                  <a:srgbClr val="000000"/>
                </a:solidFill>
                <a:latin typeface="Calibri" panose="020F0502020204030204" pitchFamily="34" charset="0"/>
              </a:rPr>
              <a:t>Lonial S, et al. </a:t>
            </a:r>
            <a:r>
              <a:rPr lang="en-US" sz="1050" i="1">
                <a:solidFill>
                  <a:srgbClr val="000000"/>
                </a:solidFill>
                <a:latin typeface="Calibri" panose="020F0502020204030204" pitchFamily="34" charset="0"/>
              </a:rPr>
              <a:t>J Clin Oncol. </a:t>
            </a:r>
            <a:r>
              <a:rPr lang="en-US" sz="1050">
                <a:solidFill>
                  <a:srgbClr val="000000"/>
                </a:solidFill>
                <a:latin typeface="Calibri" panose="020F0502020204030204" pitchFamily="34" charset="0"/>
              </a:rPr>
              <a:t>2019;38:1126-1137.</a:t>
            </a:r>
            <a:endParaRPr lang="el-GR" sz="1050">
              <a:solidFill>
                <a:prstClr val="black"/>
              </a:solidFill>
              <a:latin typeface="Calibri" panose="020F0502020204030204"/>
            </a:endParaRPr>
          </a:p>
        </p:txBody>
      </p:sp>
      <p:pic>
        <p:nvPicPr>
          <p:cNvPr id="30" name="Picture 29">
            <a:extLst>
              <a:ext uri="{FF2B5EF4-FFF2-40B4-BE49-F238E27FC236}">
                <a16:creationId xmlns:a16="http://schemas.microsoft.com/office/drawing/2014/main" id="{22D501E2-7635-4C31-A230-BDA0CD666C1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921952" y="1232111"/>
            <a:ext cx="2267301" cy="1848654"/>
          </a:xfrm>
          <a:prstGeom prst="rect">
            <a:avLst/>
          </a:prstGeom>
        </p:spPr>
      </p:pic>
      <p:sp>
        <p:nvSpPr>
          <p:cNvPr id="31" name="TextBox 30">
            <a:extLst>
              <a:ext uri="{FF2B5EF4-FFF2-40B4-BE49-F238E27FC236}">
                <a16:creationId xmlns:a16="http://schemas.microsoft.com/office/drawing/2014/main" id="{ABB3328F-9DF0-44F7-8A46-ADC6E14790A1}"/>
              </a:ext>
            </a:extLst>
          </p:cNvPr>
          <p:cNvSpPr txBox="1"/>
          <p:nvPr/>
        </p:nvSpPr>
        <p:spPr>
          <a:xfrm>
            <a:off x="4618097" y="2268306"/>
            <a:ext cx="2057400" cy="230832"/>
          </a:xfrm>
          <a:prstGeom prst="rect">
            <a:avLst/>
          </a:prstGeom>
          <a:noFill/>
        </p:spPr>
        <p:txBody>
          <a:bodyPr wrap="square" rtlCol="0">
            <a:spAutoFit/>
          </a:bodyPr>
          <a:lstStyle/>
          <a:p>
            <a:pPr defTabSz="685800"/>
            <a:r>
              <a:rPr lang="en-US" sz="900" b="1">
                <a:solidFill>
                  <a:prstClr val="black"/>
                </a:solidFill>
              </a:rPr>
              <a:t>HR: 0.28 (95% CI: 0.12–0.62)</a:t>
            </a:r>
            <a:endParaRPr lang="el-GR" sz="900" b="1">
              <a:solidFill>
                <a:prstClr val="black"/>
              </a:solidFill>
            </a:endParaRPr>
          </a:p>
        </p:txBody>
      </p:sp>
      <p:sp>
        <p:nvSpPr>
          <p:cNvPr id="32" name="TextBox 31">
            <a:extLst>
              <a:ext uri="{FF2B5EF4-FFF2-40B4-BE49-F238E27FC236}">
                <a16:creationId xmlns:a16="http://schemas.microsoft.com/office/drawing/2014/main" id="{016646D1-E67A-449A-8A37-472BB282AFEF}"/>
              </a:ext>
            </a:extLst>
          </p:cNvPr>
          <p:cNvSpPr txBox="1"/>
          <p:nvPr/>
        </p:nvSpPr>
        <p:spPr>
          <a:xfrm>
            <a:off x="6347371" y="1355079"/>
            <a:ext cx="1984863" cy="577081"/>
          </a:xfrm>
          <a:prstGeom prst="rect">
            <a:avLst/>
          </a:prstGeom>
          <a:noFill/>
        </p:spPr>
        <p:txBody>
          <a:bodyPr wrap="square">
            <a:spAutoFit/>
          </a:bodyPr>
          <a:lstStyle/>
          <a:p>
            <a:pPr defTabSz="685800"/>
            <a:r>
              <a:rPr lang="en-US" sz="1050">
                <a:solidFill>
                  <a:srgbClr val="FF0000"/>
                </a:solidFill>
                <a:latin typeface="AdvOTd710a12c"/>
              </a:rPr>
              <a:t>PD: required biochemical PD + by IMWG criteria for MM</a:t>
            </a:r>
            <a:r>
              <a:rPr lang="en-US" sz="450">
                <a:solidFill>
                  <a:srgbClr val="FF0000"/>
                </a:solidFill>
                <a:latin typeface="AdvOTd710a12c"/>
              </a:rPr>
              <a:t> </a:t>
            </a:r>
            <a:r>
              <a:rPr lang="en-US" sz="1050">
                <a:solidFill>
                  <a:srgbClr val="FF0000"/>
                </a:solidFill>
                <a:latin typeface="AdvOTd710a12c"/>
              </a:rPr>
              <a:t>and evidence of end-organ damage</a:t>
            </a:r>
            <a:endParaRPr lang="el-GR" sz="1050">
              <a:solidFill>
                <a:srgbClr val="FF0000"/>
              </a:solidFill>
              <a:latin typeface="Calibri" panose="020F0502020204030204"/>
            </a:endParaRPr>
          </a:p>
        </p:txBody>
      </p:sp>
      <p:pic>
        <p:nvPicPr>
          <p:cNvPr id="33" name="Picture 32">
            <a:extLst>
              <a:ext uri="{FF2B5EF4-FFF2-40B4-BE49-F238E27FC236}">
                <a16:creationId xmlns:a16="http://schemas.microsoft.com/office/drawing/2014/main" id="{36785AC9-E616-4C3E-95A7-E5044FC9F6B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39952" y="3023701"/>
            <a:ext cx="2149301" cy="1731851"/>
          </a:xfrm>
          <a:prstGeom prst="rect">
            <a:avLst/>
          </a:prstGeom>
        </p:spPr>
      </p:pic>
      <p:sp>
        <p:nvSpPr>
          <p:cNvPr id="34" name="Arrow: Right 33">
            <a:extLst>
              <a:ext uri="{FF2B5EF4-FFF2-40B4-BE49-F238E27FC236}">
                <a16:creationId xmlns:a16="http://schemas.microsoft.com/office/drawing/2014/main" id="{8DEE5EA3-0263-475B-A4CE-C124AE2AC701}"/>
              </a:ext>
            </a:extLst>
          </p:cNvPr>
          <p:cNvSpPr/>
          <p:nvPr/>
        </p:nvSpPr>
        <p:spPr>
          <a:xfrm rot="10800000">
            <a:off x="6137004" y="3190245"/>
            <a:ext cx="378097" cy="292769"/>
          </a:xfrm>
          <a:prstGeom prst="rightArrow">
            <a:avLst/>
          </a:prstGeom>
          <a:solidFill>
            <a:schemeClr val="accent2">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800"/>
            <a:endParaRPr lang="el-GR" sz="1350">
              <a:solidFill>
                <a:prstClr val="black"/>
              </a:solidFill>
            </a:endParaRPr>
          </a:p>
        </p:txBody>
      </p:sp>
      <p:sp>
        <p:nvSpPr>
          <p:cNvPr id="35" name="Rectangle: Rounded Corners 34">
            <a:extLst>
              <a:ext uri="{FF2B5EF4-FFF2-40B4-BE49-F238E27FC236}">
                <a16:creationId xmlns:a16="http://schemas.microsoft.com/office/drawing/2014/main" id="{6A522A03-E6A6-49CF-9731-86C22716930F}"/>
              </a:ext>
            </a:extLst>
          </p:cNvPr>
          <p:cNvSpPr/>
          <p:nvPr/>
        </p:nvSpPr>
        <p:spPr>
          <a:xfrm>
            <a:off x="6515100" y="2801670"/>
            <a:ext cx="1742365" cy="1049971"/>
          </a:xfrm>
          <a:prstGeom prst="roundRect">
            <a:avLst/>
          </a:prstGeom>
          <a:solidFill>
            <a:schemeClr val="accent2">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800"/>
            <a:r>
              <a:rPr lang="en-US" sz="1350">
                <a:solidFill>
                  <a:prstClr val="black"/>
                </a:solidFill>
                <a:latin typeface="Calibri" panose="020F0502020204030204"/>
              </a:rPr>
              <a:t>No OS benefit? </a:t>
            </a:r>
          </a:p>
          <a:p>
            <a:pPr algn="ctr" defTabSz="685800"/>
            <a:r>
              <a:rPr lang="en-US" sz="1350">
                <a:solidFill>
                  <a:prstClr val="black"/>
                </a:solidFill>
                <a:latin typeface="Calibri" panose="020F0502020204030204"/>
              </a:rPr>
              <a:t>Or is it too early?</a:t>
            </a:r>
            <a:endParaRPr lang="en-US" sz="1200">
              <a:solidFill>
                <a:prstClr val="black"/>
              </a:solidFill>
              <a:latin typeface="Calibri" panose="020F0502020204030204"/>
            </a:endParaRPr>
          </a:p>
          <a:p>
            <a:pPr algn="ctr" defTabSz="685800"/>
            <a:r>
              <a:rPr lang="en-US" sz="1050">
                <a:solidFill>
                  <a:prstClr val="black"/>
                </a:solidFill>
                <a:latin typeface="Calibri" panose="020F0502020204030204"/>
              </a:rPr>
              <a:t>(QUIREDEX showed OS benefit already after a follow-up of 40 months) </a:t>
            </a:r>
          </a:p>
        </p:txBody>
      </p:sp>
      <p:sp>
        <p:nvSpPr>
          <p:cNvPr id="36" name="TextBox 35">
            <a:extLst>
              <a:ext uri="{FF2B5EF4-FFF2-40B4-BE49-F238E27FC236}">
                <a16:creationId xmlns:a16="http://schemas.microsoft.com/office/drawing/2014/main" id="{17020C91-8545-4D46-872D-8B0C381040A5}"/>
              </a:ext>
            </a:extLst>
          </p:cNvPr>
          <p:cNvSpPr txBox="1"/>
          <p:nvPr/>
        </p:nvSpPr>
        <p:spPr>
          <a:xfrm>
            <a:off x="4293617" y="1122619"/>
            <a:ext cx="2593181" cy="300082"/>
          </a:xfrm>
          <a:prstGeom prst="rect">
            <a:avLst/>
          </a:prstGeom>
          <a:noFill/>
        </p:spPr>
        <p:txBody>
          <a:bodyPr wrap="square">
            <a:spAutoFit/>
          </a:bodyPr>
          <a:lstStyle/>
          <a:p>
            <a:pPr defTabSz="685800"/>
            <a:r>
              <a:rPr lang="en-US" sz="1350" b="1" i="1">
                <a:solidFill>
                  <a:prstClr val="black"/>
                </a:solidFill>
              </a:rPr>
              <a:t>Median follow-up: 35 </a:t>
            </a:r>
            <a:r>
              <a:rPr lang="en-US" sz="1350" i="1">
                <a:solidFill>
                  <a:prstClr val="black"/>
                </a:solidFill>
              </a:rPr>
              <a:t>months</a:t>
            </a:r>
            <a:endParaRPr lang="el-GR" sz="1350" i="1">
              <a:solidFill>
                <a:prstClr val="black"/>
              </a:solidFill>
            </a:endParaRPr>
          </a:p>
        </p:txBody>
      </p:sp>
      <p:sp>
        <p:nvSpPr>
          <p:cNvPr id="37" name="Title 1">
            <a:extLst>
              <a:ext uri="{FF2B5EF4-FFF2-40B4-BE49-F238E27FC236}">
                <a16:creationId xmlns:a16="http://schemas.microsoft.com/office/drawing/2014/main" id="{082F785D-8876-4CA0-8500-50C4C20E6663}"/>
              </a:ext>
            </a:extLst>
          </p:cNvPr>
          <p:cNvSpPr txBox="1">
            <a:spLocks/>
          </p:cNvSpPr>
          <p:nvPr/>
        </p:nvSpPr>
        <p:spPr>
          <a:xfrm>
            <a:off x="3789439" y="627547"/>
            <a:ext cx="3276243" cy="443198"/>
          </a:xfrm>
          <a:prstGeom prst="rect">
            <a:avLst/>
          </a:prstGeom>
        </p:spPr>
        <p:txBody>
          <a:bodyPr vert="horz" lIns="68580" tIns="34290" rIns="68580" bIns="3429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685800"/>
            <a:r>
              <a:rPr lang="en-US" sz="1350" b="1">
                <a:solidFill>
                  <a:srgbClr val="70AD47">
                    <a:lumMod val="75000"/>
                  </a:srgbClr>
                </a:solidFill>
                <a:latin typeface="+mn-lt"/>
              </a:rPr>
              <a:t>E3A06 study: Randomized trial of lenalidomide vs observation in SMM</a:t>
            </a:r>
            <a:endParaRPr lang="el-GR" sz="1350" b="1">
              <a:solidFill>
                <a:srgbClr val="70AD47">
                  <a:lumMod val="75000"/>
                </a:srgbClr>
              </a:solidFill>
              <a:latin typeface="+mn-lt"/>
            </a:endParaRPr>
          </a:p>
        </p:txBody>
      </p:sp>
    </p:spTree>
    <p:extLst>
      <p:ext uri="{BB962C8B-B14F-4D97-AF65-F5344CB8AC3E}">
        <p14:creationId xmlns:p14="http://schemas.microsoft.com/office/powerpoint/2010/main" val="158887460"/>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00F456E-A1F4-40F6-A04A-9D3FFAEFA499}"/>
              </a:ext>
            </a:extLst>
          </p:cNvPr>
          <p:cNvSpPr txBox="1"/>
          <p:nvPr/>
        </p:nvSpPr>
        <p:spPr>
          <a:xfrm>
            <a:off x="4411142" y="926385"/>
            <a:ext cx="4388890" cy="715581"/>
          </a:xfrm>
          <a:prstGeom prst="rect">
            <a:avLst/>
          </a:prstGeom>
          <a:noFill/>
          <a:ln>
            <a:solidFill>
              <a:schemeClr val="tx2"/>
            </a:solidFill>
          </a:ln>
        </p:spPr>
        <p:txBody>
          <a:bodyPr wrap="square">
            <a:spAutoFit/>
          </a:bodyPr>
          <a:lstStyle/>
          <a:p>
            <a:pPr defTabSz="685800"/>
            <a:r>
              <a:rPr lang="en-US" sz="1350">
                <a:solidFill>
                  <a:prstClr val="black"/>
                </a:solidFill>
                <a:latin typeface="ScalaLancetPro"/>
              </a:rPr>
              <a:t>Skeletal survey by </a:t>
            </a:r>
            <a:r>
              <a:rPr lang="en-US" sz="1350">
                <a:solidFill>
                  <a:srgbClr val="FF0000"/>
                </a:solidFill>
                <a:latin typeface="ScalaLancetPro"/>
              </a:rPr>
              <a:t>conventional radiology </a:t>
            </a:r>
            <a:r>
              <a:rPr lang="en-US" sz="1350">
                <a:solidFill>
                  <a:prstClr val="black"/>
                </a:solidFill>
                <a:latin typeface="ScalaLancetPro"/>
              </a:rPr>
              <a:t>was done </a:t>
            </a:r>
            <a:r>
              <a:rPr lang="en-US" sz="1350">
                <a:solidFill>
                  <a:srgbClr val="FF0000"/>
                </a:solidFill>
                <a:latin typeface="ScalaLancetPro"/>
              </a:rPr>
              <a:t>during the screening phase </a:t>
            </a:r>
            <a:r>
              <a:rPr lang="en-US" sz="1350">
                <a:solidFill>
                  <a:prstClr val="black"/>
                </a:solidFill>
                <a:latin typeface="ScalaLancetPro"/>
              </a:rPr>
              <a:t>and </a:t>
            </a:r>
            <a:r>
              <a:rPr lang="en-US" sz="1350">
                <a:solidFill>
                  <a:srgbClr val="FF0000"/>
                </a:solidFill>
                <a:latin typeface="ScalaLancetPro"/>
              </a:rPr>
              <a:t>thereafter</a:t>
            </a:r>
            <a:r>
              <a:rPr lang="en-US" sz="1350">
                <a:solidFill>
                  <a:prstClr val="black"/>
                </a:solidFill>
                <a:latin typeface="ScalaLancetPro"/>
              </a:rPr>
              <a:t> </a:t>
            </a:r>
            <a:r>
              <a:rPr lang="en-US" sz="1350">
                <a:solidFill>
                  <a:srgbClr val="FF0000"/>
                </a:solidFill>
                <a:latin typeface="ScalaLancetPro"/>
              </a:rPr>
              <a:t>only if clinical symptoms emerged.</a:t>
            </a:r>
            <a:r>
              <a:rPr lang="en-US" sz="1350" baseline="30000">
                <a:solidFill>
                  <a:srgbClr val="FF0000"/>
                </a:solidFill>
                <a:latin typeface="ScalaLancetPro"/>
              </a:rPr>
              <a:t>1</a:t>
            </a:r>
            <a:endParaRPr lang="el-GR" sz="1350">
              <a:solidFill>
                <a:prstClr val="black"/>
              </a:solidFill>
              <a:latin typeface="Calibri" panose="020F0502020204030204"/>
            </a:endParaRPr>
          </a:p>
        </p:txBody>
      </p:sp>
      <p:sp>
        <p:nvSpPr>
          <p:cNvPr id="22" name="TextBox 21">
            <a:extLst>
              <a:ext uri="{FF2B5EF4-FFF2-40B4-BE49-F238E27FC236}">
                <a16:creationId xmlns:a16="http://schemas.microsoft.com/office/drawing/2014/main" id="{0638B9E5-F293-4BB6-8166-60C9072BCCEC}"/>
              </a:ext>
            </a:extLst>
          </p:cNvPr>
          <p:cNvSpPr txBox="1"/>
          <p:nvPr/>
        </p:nvSpPr>
        <p:spPr>
          <a:xfrm>
            <a:off x="4411141" y="1682337"/>
            <a:ext cx="4388890" cy="715581"/>
          </a:xfrm>
          <a:prstGeom prst="rect">
            <a:avLst/>
          </a:prstGeom>
          <a:noFill/>
          <a:ln>
            <a:solidFill>
              <a:schemeClr val="tx2"/>
            </a:solidFill>
          </a:ln>
        </p:spPr>
        <p:txBody>
          <a:bodyPr wrap="square">
            <a:spAutoFit/>
          </a:bodyPr>
          <a:lstStyle/>
          <a:p>
            <a:pPr defTabSz="685800"/>
            <a:r>
              <a:rPr lang="en-US" sz="1350">
                <a:solidFill>
                  <a:prstClr val="black"/>
                </a:solidFill>
                <a:latin typeface="ScalaLancetPro"/>
              </a:rPr>
              <a:t>In the observation group, most patients who progressed and died had </a:t>
            </a:r>
            <a:r>
              <a:rPr lang="en-US" sz="1350">
                <a:solidFill>
                  <a:srgbClr val="FF0000"/>
                </a:solidFill>
                <a:latin typeface="ScalaLancetPro"/>
              </a:rPr>
              <a:t>myeloma progression by bone disease (6/13) or renal failure (6/13).</a:t>
            </a:r>
            <a:r>
              <a:rPr lang="en-US" sz="1350" baseline="30000">
                <a:solidFill>
                  <a:srgbClr val="FF0000"/>
                </a:solidFill>
                <a:latin typeface="ScalaLancetPro"/>
              </a:rPr>
              <a:t>1</a:t>
            </a:r>
            <a:r>
              <a:rPr lang="en-US" sz="1350">
                <a:solidFill>
                  <a:srgbClr val="FF0000"/>
                </a:solidFill>
                <a:latin typeface="ScalaLancetPro"/>
              </a:rPr>
              <a:t> </a:t>
            </a:r>
            <a:endParaRPr lang="el-GR" sz="1350">
              <a:solidFill>
                <a:srgbClr val="FF0000"/>
              </a:solidFill>
              <a:latin typeface="Calibri" panose="020F0502020204030204"/>
            </a:endParaRPr>
          </a:p>
        </p:txBody>
      </p:sp>
      <p:sp>
        <p:nvSpPr>
          <p:cNvPr id="18" name="TextBox 17">
            <a:extLst>
              <a:ext uri="{FF2B5EF4-FFF2-40B4-BE49-F238E27FC236}">
                <a16:creationId xmlns:a16="http://schemas.microsoft.com/office/drawing/2014/main" id="{0BC6DA6A-CF26-42FE-A10D-4A3FE3EC46D6}"/>
              </a:ext>
            </a:extLst>
          </p:cNvPr>
          <p:cNvSpPr txBox="1"/>
          <p:nvPr/>
        </p:nvSpPr>
        <p:spPr>
          <a:xfrm>
            <a:off x="4411140" y="2456280"/>
            <a:ext cx="4388890" cy="1131079"/>
          </a:xfrm>
          <a:prstGeom prst="rect">
            <a:avLst/>
          </a:prstGeom>
          <a:noFill/>
          <a:ln>
            <a:solidFill>
              <a:schemeClr val="tx2"/>
            </a:solidFill>
          </a:ln>
        </p:spPr>
        <p:txBody>
          <a:bodyPr wrap="square">
            <a:spAutoFit/>
          </a:bodyPr>
          <a:lstStyle/>
          <a:p>
            <a:pPr defTabSz="685800"/>
            <a:r>
              <a:rPr lang="en-US" sz="1350">
                <a:solidFill>
                  <a:prstClr val="black"/>
                </a:solidFill>
                <a:latin typeface="ScalaLancetPro"/>
              </a:rPr>
              <a:t>All 22 deaths in the observation group occurred after progression to symptomatic myeloma; the cause of death was disease progression in 11 (50%) patients, sudden death in 1 (5%) patient, and </a:t>
            </a:r>
            <a:r>
              <a:rPr lang="en-US" sz="1350">
                <a:solidFill>
                  <a:srgbClr val="FF0000"/>
                </a:solidFill>
                <a:latin typeface="ScalaLancetPro"/>
              </a:rPr>
              <a:t>surgical complications after </a:t>
            </a:r>
            <a:r>
              <a:rPr lang="de-DE" sz="1350">
                <a:solidFill>
                  <a:srgbClr val="FF0000"/>
                </a:solidFill>
                <a:latin typeface="ScalaLancetPro"/>
              </a:rPr>
              <a:t>progression in 10 (45%) patients.</a:t>
            </a:r>
            <a:r>
              <a:rPr lang="de-DE" sz="1350" baseline="30000">
                <a:solidFill>
                  <a:srgbClr val="FF0000"/>
                </a:solidFill>
                <a:latin typeface="ScalaLancetPro"/>
              </a:rPr>
              <a:t>2</a:t>
            </a:r>
            <a:endParaRPr lang="el-GR" sz="1350">
              <a:solidFill>
                <a:prstClr val="black"/>
              </a:solidFill>
              <a:latin typeface="Calibri" panose="020F0502020204030204"/>
            </a:endParaRPr>
          </a:p>
        </p:txBody>
      </p:sp>
      <p:grpSp>
        <p:nvGrpSpPr>
          <p:cNvPr id="12" name="Group 11">
            <a:extLst>
              <a:ext uri="{FF2B5EF4-FFF2-40B4-BE49-F238E27FC236}">
                <a16:creationId xmlns:a16="http://schemas.microsoft.com/office/drawing/2014/main" id="{B258A4ED-3EAA-4F49-AB1B-67AE830DE08A}"/>
              </a:ext>
            </a:extLst>
          </p:cNvPr>
          <p:cNvGrpSpPr/>
          <p:nvPr/>
        </p:nvGrpSpPr>
        <p:grpSpPr>
          <a:xfrm>
            <a:off x="703609" y="2163898"/>
            <a:ext cx="3445727" cy="1931949"/>
            <a:chOff x="938145" y="1542828"/>
            <a:chExt cx="4594302" cy="2575932"/>
          </a:xfrm>
        </p:grpSpPr>
        <p:pic>
          <p:nvPicPr>
            <p:cNvPr id="3" name="Picture 2">
              <a:extLst>
                <a:ext uri="{FF2B5EF4-FFF2-40B4-BE49-F238E27FC236}">
                  <a16:creationId xmlns:a16="http://schemas.microsoft.com/office/drawing/2014/main" id="{3895B681-6D9A-49F2-91FF-F8F7CA0976B8}"/>
                </a:ext>
              </a:extLst>
            </p:cNvPr>
            <p:cNvPicPr>
              <a:picLocks noChangeAspect="1"/>
            </p:cNvPicPr>
            <p:nvPr/>
          </p:nvPicPr>
          <p:blipFill>
            <a:blip r:embed="rId2"/>
            <a:stretch>
              <a:fillRect/>
            </a:stretch>
          </p:blipFill>
          <p:spPr>
            <a:xfrm>
              <a:off x="938145" y="1542828"/>
              <a:ext cx="4594302" cy="2575932"/>
            </a:xfrm>
            <a:prstGeom prst="rect">
              <a:avLst/>
            </a:prstGeom>
          </p:spPr>
        </p:pic>
        <p:sp>
          <p:nvSpPr>
            <p:cNvPr id="5" name="Oval 4">
              <a:extLst>
                <a:ext uri="{FF2B5EF4-FFF2-40B4-BE49-F238E27FC236}">
                  <a16:creationId xmlns:a16="http://schemas.microsoft.com/office/drawing/2014/main" id="{43819D3A-EF41-4AEF-BAC4-962040327F2B}"/>
                </a:ext>
              </a:extLst>
            </p:cNvPr>
            <p:cNvSpPr/>
            <p:nvPr/>
          </p:nvSpPr>
          <p:spPr>
            <a:xfrm>
              <a:off x="4871103" y="2854294"/>
              <a:ext cx="335667" cy="3076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l-GR" sz="1350">
                <a:solidFill>
                  <a:prstClr val="white"/>
                </a:solidFill>
                <a:latin typeface="Calibri" panose="020F0502020204030204"/>
              </a:endParaRPr>
            </a:p>
          </p:txBody>
        </p:sp>
        <p:sp>
          <p:nvSpPr>
            <p:cNvPr id="6" name="Oval 5">
              <a:extLst>
                <a:ext uri="{FF2B5EF4-FFF2-40B4-BE49-F238E27FC236}">
                  <a16:creationId xmlns:a16="http://schemas.microsoft.com/office/drawing/2014/main" id="{D5263D00-FABE-4CB8-9436-631D22EFF4C3}"/>
                </a:ext>
              </a:extLst>
            </p:cNvPr>
            <p:cNvSpPr/>
            <p:nvPr/>
          </p:nvSpPr>
          <p:spPr>
            <a:xfrm>
              <a:off x="4733925" y="3707453"/>
              <a:ext cx="454325" cy="3076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l-GR" sz="1350">
                <a:solidFill>
                  <a:prstClr val="white"/>
                </a:solidFill>
                <a:latin typeface="Calibri" panose="020F0502020204030204"/>
              </a:endParaRPr>
            </a:p>
          </p:txBody>
        </p:sp>
        <p:sp>
          <p:nvSpPr>
            <p:cNvPr id="7" name="Oval 6">
              <a:extLst>
                <a:ext uri="{FF2B5EF4-FFF2-40B4-BE49-F238E27FC236}">
                  <a16:creationId xmlns:a16="http://schemas.microsoft.com/office/drawing/2014/main" id="{FB42535D-2ECC-4FF0-A06B-AF73B384DCA7}"/>
                </a:ext>
              </a:extLst>
            </p:cNvPr>
            <p:cNvSpPr/>
            <p:nvPr/>
          </p:nvSpPr>
          <p:spPr>
            <a:xfrm>
              <a:off x="3912550" y="2854294"/>
              <a:ext cx="335667" cy="3076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l-GR" sz="1350">
                <a:solidFill>
                  <a:prstClr val="white"/>
                </a:solidFill>
                <a:latin typeface="Calibri" panose="020F0502020204030204"/>
              </a:endParaRPr>
            </a:p>
          </p:txBody>
        </p:sp>
      </p:grpSp>
      <p:sp>
        <p:nvSpPr>
          <p:cNvPr id="8" name="TextBox 7">
            <a:extLst>
              <a:ext uri="{FF2B5EF4-FFF2-40B4-BE49-F238E27FC236}">
                <a16:creationId xmlns:a16="http://schemas.microsoft.com/office/drawing/2014/main" id="{2586E151-8A2A-49BE-BF85-392D133A49C8}"/>
              </a:ext>
            </a:extLst>
          </p:cNvPr>
          <p:cNvSpPr txBox="1"/>
          <p:nvPr/>
        </p:nvSpPr>
        <p:spPr>
          <a:xfrm>
            <a:off x="2506982" y="4144892"/>
            <a:ext cx="1659429" cy="300082"/>
          </a:xfrm>
          <a:prstGeom prst="rect">
            <a:avLst/>
          </a:prstGeom>
          <a:noFill/>
        </p:spPr>
        <p:txBody>
          <a:bodyPr wrap="none" rtlCol="0">
            <a:spAutoFit/>
          </a:bodyPr>
          <a:lstStyle/>
          <a:p>
            <a:pPr defTabSz="685800"/>
            <a:r>
              <a:rPr lang="en-US" sz="1350" b="1">
                <a:solidFill>
                  <a:srgbClr val="FF0000"/>
                </a:solidFill>
                <a:latin typeface="Calibri" panose="020F0502020204030204"/>
              </a:rPr>
              <a:t>No FLCs or FLC ratios</a:t>
            </a:r>
            <a:endParaRPr lang="el-GR" sz="1350" b="1">
              <a:solidFill>
                <a:srgbClr val="FF0000"/>
              </a:solidFill>
              <a:latin typeface="Calibri" panose="020F0502020204030204"/>
            </a:endParaRPr>
          </a:p>
        </p:txBody>
      </p:sp>
      <p:sp>
        <p:nvSpPr>
          <p:cNvPr id="9" name="Text Box 11">
            <a:extLst>
              <a:ext uri="{FF2B5EF4-FFF2-40B4-BE49-F238E27FC236}">
                <a16:creationId xmlns:a16="http://schemas.microsoft.com/office/drawing/2014/main" id="{469FD9F9-2301-4EF4-94C3-F03C3C7C3E8D}"/>
              </a:ext>
            </a:extLst>
          </p:cNvPr>
          <p:cNvSpPr txBox="1">
            <a:spLocks noChangeArrowheads="1"/>
          </p:cNvSpPr>
          <p:nvPr/>
        </p:nvSpPr>
        <p:spPr bwMode="auto">
          <a:xfrm>
            <a:off x="0" y="4889584"/>
            <a:ext cx="9144000" cy="253916"/>
          </a:xfrm>
          <a:prstGeom prst="rect">
            <a:avLst/>
          </a:prstGeom>
          <a:noFill/>
          <a:ln w="9525" algn="ctr">
            <a:noFill/>
            <a:miter lim="800000"/>
            <a:headEnd/>
            <a:tailEnd/>
          </a:ln>
        </p:spPr>
        <p:txBody>
          <a:bodyPr wrap="square" anchor="b">
            <a:spAutoFit/>
          </a:bodyPr>
          <a:lstStyle/>
          <a:p>
            <a:pPr algn="r" defTabSz="685800" eaLnBrk="0" fontAlgn="base" hangingPunct="0">
              <a:spcBef>
                <a:spcPct val="0"/>
              </a:spcBef>
              <a:spcAft>
                <a:spcPct val="0"/>
              </a:spcAft>
            </a:pPr>
            <a:r>
              <a:rPr lang="en-US" sz="1050">
                <a:solidFill>
                  <a:srgbClr val="000000"/>
                </a:solidFill>
                <a:latin typeface="Calibri" panose="020F0502020204030204"/>
              </a:rPr>
              <a:t>1. Mateos MV, et al. </a:t>
            </a:r>
            <a:r>
              <a:rPr lang="en-US" sz="1050" i="1">
                <a:solidFill>
                  <a:srgbClr val="000000"/>
                </a:solidFill>
                <a:latin typeface="Calibri" panose="020F0502020204030204"/>
              </a:rPr>
              <a:t>N Engl J Med. </a:t>
            </a:r>
            <a:r>
              <a:rPr lang="en-US" sz="1050">
                <a:solidFill>
                  <a:srgbClr val="000000"/>
                </a:solidFill>
                <a:latin typeface="Calibri" panose="020F0502020204030204"/>
              </a:rPr>
              <a:t>2013;369:438-447 </a:t>
            </a:r>
            <a:r>
              <a:rPr lang="en-US" sz="1050">
                <a:solidFill>
                  <a:prstClr val="black"/>
                </a:solidFill>
                <a:latin typeface="Calibri" panose="020F0502020204030204"/>
                <a:cs typeface="Arial" pitchFamily="34" charset="0"/>
              </a:rPr>
              <a:t>and online appendix; </a:t>
            </a:r>
            <a:r>
              <a:rPr lang="en-US" sz="1050">
                <a:solidFill>
                  <a:srgbClr val="000000"/>
                </a:solidFill>
                <a:latin typeface="Calibri" panose="020F0502020204030204"/>
              </a:rPr>
              <a:t>2. Mateos MV, et al. </a:t>
            </a:r>
            <a:r>
              <a:rPr lang="en-US" sz="1050" i="1">
                <a:solidFill>
                  <a:srgbClr val="000000"/>
                </a:solidFill>
                <a:latin typeface="Calibri" panose="020F0502020204030204"/>
              </a:rPr>
              <a:t>Lancet Oncol</a:t>
            </a:r>
            <a:r>
              <a:rPr lang="en-US" sz="1050">
                <a:solidFill>
                  <a:srgbClr val="000000"/>
                </a:solidFill>
                <a:latin typeface="Calibri" panose="020F0502020204030204"/>
              </a:rPr>
              <a:t>. 2016;17:1127-1136.</a:t>
            </a:r>
            <a:endParaRPr lang="en-US" sz="1050">
              <a:solidFill>
                <a:prstClr val="black"/>
              </a:solidFill>
              <a:latin typeface="Calibri" panose="020F0502020204030204"/>
              <a:cs typeface="Arial" pitchFamily="34" charset="0"/>
            </a:endParaRPr>
          </a:p>
        </p:txBody>
      </p:sp>
      <p:pic>
        <p:nvPicPr>
          <p:cNvPr id="11" name="Picture 10">
            <a:extLst>
              <a:ext uri="{FF2B5EF4-FFF2-40B4-BE49-F238E27FC236}">
                <a16:creationId xmlns:a16="http://schemas.microsoft.com/office/drawing/2014/main" id="{8A6FC363-2E93-4AAB-A2F5-BDECEF408E39}"/>
              </a:ext>
            </a:extLst>
          </p:cNvPr>
          <p:cNvPicPr>
            <a:picLocks noChangeAspect="1"/>
          </p:cNvPicPr>
          <p:nvPr/>
        </p:nvPicPr>
        <p:blipFill>
          <a:blip r:embed="rId3"/>
          <a:stretch>
            <a:fillRect/>
          </a:stretch>
        </p:blipFill>
        <p:spPr>
          <a:xfrm>
            <a:off x="703609" y="926385"/>
            <a:ext cx="3479180" cy="1087244"/>
          </a:xfrm>
          <a:prstGeom prst="rect">
            <a:avLst/>
          </a:prstGeom>
        </p:spPr>
      </p:pic>
      <p:sp>
        <p:nvSpPr>
          <p:cNvPr id="13" name="Rectangle 12">
            <a:extLst>
              <a:ext uri="{FF2B5EF4-FFF2-40B4-BE49-F238E27FC236}">
                <a16:creationId xmlns:a16="http://schemas.microsoft.com/office/drawing/2014/main" id="{F2C572ED-F266-48C0-B862-D56492A5C9F9}"/>
              </a:ext>
            </a:extLst>
          </p:cNvPr>
          <p:cNvSpPr/>
          <p:nvPr/>
        </p:nvSpPr>
        <p:spPr>
          <a:xfrm>
            <a:off x="797249" y="926385"/>
            <a:ext cx="1975498" cy="28674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l-GR" sz="1350">
              <a:solidFill>
                <a:prstClr val="white"/>
              </a:solidFill>
              <a:latin typeface="Calibri" panose="020F0502020204030204"/>
            </a:endParaRPr>
          </a:p>
        </p:txBody>
      </p:sp>
      <p:sp>
        <p:nvSpPr>
          <p:cNvPr id="20" name="TextBox 19">
            <a:extLst>
              <a:ext uri="{FF2B5EF4-FFF2-40B4-BE49-F238E27FC236}">
                <a16:creationId xmlns:a16="http://schemas.microsoft.com/office/drawing/2014/main" id="{A2265F9C-D3DF-4489-BF09-D07DC893F912}"/>
              </a:ext>
            </a:extLst>
          </p:cNvPr>
          <p:cNvSpPr txBox="1"/>
          <p:nvPr/>
        </p:nvSpPr>
        <p:spPr>
          <a:xfrm>
            <a:off x="4411140" y="3645723"/>
            <a:ext cx="4388890" cy="923330"/>
          </a:xfrm>
          <a:prstGeom prst="rect">
            <a:avLst/>
          </a:prstGeom>
          <a:noFill/>
          <a:ln>
            <a:solidFill>
              <a:schemeClr val="tx2"/>
            </a:solidFill>
          </a:ln>
        </p:spPr>
        <p:txBody>
          <a:bodyPr wrap="square">
            <a:spAutoFit/>
          </a:bodyPr>
          <a:lstStyle/>
          <a:p>
            <a:pPr defTabSz="685800"/>
            <a:r>
              <a:rPr lang="en-US" sz="1350">
                <a:solidFill>
                  <a:prstClr val="black"/>
                </a:solidFill>
                <a:latin typeface="ScalaLancetPro"/>
              </a:rPr>
              <a:t>The cumulative</a:t>
            </a:r>
            <a:r>
              <a:rPr lang="el-GR" sz="1350">
                <a:solidFill>
                  <a:prstClr val="black"/>
                </a:solidFill>
                <a:latin typeface="ScalaLancetPro"/>
              </a:rPr>
              <a:t> </a:t>
            </a:r>
            <a:r>
              <a:rPr lang="en-US" sz="1350">
                <a:solidFill>
                  <a:prstClr val="black"/>
                </a:solidFill>
                <a:latin typeface="ScalaLancetPro"/>
              </a:rPr>
              <a:t>risk of developing </a:t>
            </a:r>
            <a:r>
              <a:rPr lang="en-US" sz="1350">
                <a:solidFill>
                  <a:srgbClr val="FF0000"/>
                </a:solidFill>
                <a:latin typeface="ScalaLancetPro"/>
              </a:rPr>
              <a:t>a second primary malignancy at 7 years</a:t>
            </a:r>
            <a:r>
              <a:rPr lang="el-GR" sz="1350">
                <a:solidFill>
                  <a:srgbClr val="FF0000"/>
                </a:solidFill>
                <a:latin typeface="ScalaLancetPro"/>
              </a:rPr>
              <a:t> </a:t>
            </a:r>
            <a:r>
              <a:rPr lang="en-US" sz="1350">
                <a:solidFill>
                  <a:srgbClr val="FF0000"/>
                </a:solidFill>
                <a:latin typeface="ScalaLancetPro"/>
              </a:rPr>
              <a:t>was 12% (95% CI: </a:t>
            </a:r>
            <a:r>
              <a:rPr lang="el-GR" sz="1350">
                <a:solidFill>
                  <a:srgbClr val="FF0000"/>
                </a:solidFill>
                <a:latin typeface="ScalaLancetPro"/>
              </a:rPr>
              <a:t>0.</a:t>
            </a:r>
            <a:r>
              <a:rPr lang="en-US" sz="1350">
                <a:solidFill>
                  <a:srgbClr val="FF0000"/>
                </a:solidFill>
                <a:latin typeface="ScalaLancetPro"/>
              </a:rPr>
              <a:t>31–11) in the treatment group and 3%</a:t>
            </a:r>
            <a:r>
              <a:rPr lang="el-GR" sz="1350">
                <a:solidFill>
                  <a:srgbClr val="FF0000"/>
                </a:solidFill>
                <a:latin typeface="ScalaLancetPro"/>
              </a:rPr>
              <a:t> </a:t>
            </a:r>
            <a:r>
              <a:rPr lang="en-US" sz="1350">
                <a:solidFill>
                  <a:srgbClr val="FF0000"/>
                </a:solidFill>
                <a:latin typeface="ScalaLancetPro"/>
              </a:rPr>
              <a:t>(0–4) in the observation group </a:t>
            </a:r>
            <a:br>
              <a:rPr lang="en-US" sz="1350">
                <a:solidFill>
                  <a:srgbClr val="FF0000"/>
                </a:solidFill>
                <a:latin typeface="ScalaLancetPro"/>
              </a:rPr>
            </a:br>
            <a:r>
              <a:rPr lang="en-US" sz="1350">
                <a:solidFill>
                  <a:prstClr val="black"/>
                </a:solidFill>
                <a:latin typeface="ScalaLancetPro"/>
              </a:rPr>
              <a:t>(</a:t>
            </a:r>
            <a:r>
              <a:rPr lang="en-US" sz="1350" i="1">
                <a:solidFill>
                  <a:prstClr val="black"/>
                </a:solidFill>
                <a:latin typeface="ScalaLancetPro"/>
              </a:rPr>
              <a:t>P</a:t>
            </a:r>
            <a:r>
              <a:rPr lang="en-US" sz="1350">
                <a:solidFill>
                  <a:prstClr val="black"/>
                </a:solidFill>
                <a:latin typeface="ScalaLancetPro"/>
              </a:rPr>
              <a:t> = </a:t>
            </a:r>
            <a:r>
              <a:rPr lang="el-GR" sz="1350">
                <a:solidFill>
                  <a:prstClr val="black"/>
                </a:solidFill>
                <a:latin typeface="ScalaLancetPro"/>
              </a:rPr>
              <a:t>.</a:t>
            </a:r>
            <a:r>
              <a:rPr lang="en-US" sz="1350">
                <a:solidFill>
                  <a:prstClr val="black"/>
                </a:solidFill>
                <a:latin typeface="ScalaLancetPro"/>
              </a:rPr>
              <a:t>070)</a:t>
            </a:r>
            <a:r>
              <a:rPr lang="en-US" sz="1350" baseline="30000">
                <a:solidFill>
                  <a:prstClr val="black"/>
                </a:solidFill>
                <a:latin typeface="ScalaLancetPro"/>
              </a:rPr>
              <a:t>2</a:t>
            </a:r>
            <a:endParaRPr lang="el-GR" sz="1350">
              <a:solidFill>
                <a:prstClr val="black"/>
              </a:solidFill>
              <a:latin typeface="Calibri" panose="020F0502020204030204"/>
            </a:endParaRPr>
          </a:p>
        </p:txBody>
      </p:sp>
      <p:sp>
        <p:nvSpPr>
          <p:cNvPr id="21" name="Title 20">
            <a:extLst>
              <a:ext uri="{FF2B5EF4-FFF2-40B4-BE49-F238E27FC236}">
                <a16:creationId xmlns:a16="http://schemas.microsoft.com/office/drawing/2014/main" id="{8CCF82E0-3225-4CEC-93D4-54A060991E01}"/>
              </a:ext>
            </a:extLst>
          </p:cNvPr>
          <p:cNvSpPr>
            <a:spLocks noGrp="1"/>
          </p:cNvSpPr>
          <p:nvPr>
            <p:ph type="title"/>
          </p:nvPr>
        </p:nvSpPr>
        <p:spPr>
          <a:xfrm>
            <a:off x="628650" y="185525"/>
            <a:ext cx="7886700" cy="379910"/>
          </a:xfrm>
        </p:spPr>
        <p:txBody>
          <a:bodyPr>
            <a:noAutofit/>
          </a:bodyPr>
          <a:lstStyle/>
          <a:p>
            <a:pPr>
              <a:spcBef>
                <a:spcPct val="20000"/>
              </a:spcBef>
            </a:pPr>
            <a:r>
              <a:rPr lang="en-US" sz="2100" noProof="0">
                <a:latin typeface="+mn-lt"/>
              </a:rPr>
              <a:t>QUIREDEX Study: High-Risk SMM – Len-Dex vs Observation</a:t>
            </a:r>
            <a:endParaRPr lang="en-US" sz="2100" noProof="0"/>
          </a:p>
        </p:txBody>
      </p:sp>
      <p:sp>
        <p:nvSpPr>
          <p:cNvPr id="17" name="Rectangle: Rounded Corners 16">
            <a:extLst>
              <a:ext uri="{FF2B5EF4-FFF2-40B4-BE49-F238E27FC236}">
                <a16:creationId xmlns:a16="http://schemas.microsoft.com/office/drawing/2014/main" id="{35250B25-85EF-4E11-A6C3-A6C05EE49F9E}"/>
              </a:ext>
            </a:extLst>
          </p:cNvPr>
          <p:cNvSpPr/>
          <p:nvPr/>
        </p:nvSpPr>
        <p:spPr>
          <a:xfrm>
            <a:off x="1442101" y="1215858"/>
            <a:ext cx="6659309" cy="73707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2100">
                <a:solidFill>
                  <a:prstClr val="white"/>
                </a:solidFill>
                <a:latin typeface="Calibri" panose="020F0502020204030204"/>
              </a:rPr>
              <a:t>Non–placebo-controlled study </a:t>
            </a:r>
          </a:p>
        </p:txBody>
      </p:sp>
      <p:sp>
        <p:nvSpPr>
          <p:cNvPr id="23" name="Rectangle: Rounded Corners 22">
            <a:extLst>
              <a:ext uri="{FF2B5EF4-FFF2-40B4-BE49-F238E27FC236}">
                <a16:creationId xmlns:a16="http://schemas.microsoft.com/office/drawing/2014/main" id="{0C41E5CB-A26F-4D30-AAF7-81D861199893}"/>
              </a:ext>
            </a:extLst>
          </p:cNvPr>
          <p:cNvSpPr/>
          <p:nvPr/>
        </p:nvSpPr>
        <p:spPr>
          <a:xfrm>
            <a:off x="1442102" y="2827201"/>
            <a:ext cx="6659309" cy="73707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2100">
                <a:solidFill>
                  <a:prstClr val="white"/>
                </a:solidFill>
                <a:latin typeface="Calibri" panose="020F0502020204030204"/>
              </a:rPr>
              <a:t>Patients with symptomatic MM (per current criteria) were likely included </a:t>
            </a:r>
            <a:endParaRPr lang="el-GR" sz="2100">
              <a:solidFill>
                <a:prstClr val="white"/>
              </a:solidFill>
              <a:latin typeface="Calibri" panose="020F0502020204030204"/>
            </a:endParaRPr>
          </a:p>
        </p:txBody>
      </p:sp>
      <p:sp>
        <p:nvSpPr>
          <p:cNvPr id="24" name="Rectangle: Rounded Corners 23">
            <a:extLst>
              <a:ext uri="{FF2B5EF4-FFF2-40B4-BE49-F238E27FC236}">
                <a16:creationId xmlns:a16="http://schemas.microsoft.com/office/drawing/2014/main" id="{FEA0C59A-7D44-4783-84C5-5C6076F671EF}"/>
              </a:ext>
            </a:extLst>
          </p:cNvPr>
          <p:cNvSpPr/>
          <p:nvPr/>
        </p:nvSpPr>
        <p:spPr>
          <a:xfrm>
            <a:off x="1442102" y="2017363"/>
            <a:ext cx="6659309" cy="73707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2100">
                <a:solidFill>
                  <a:prstClr val="white"/>
                </a:solidFill>
                <a:latin typeface="Calibri" panose="020F0502020204030204"/>
              </a:rPr>
              <a:t>Initial assessment and follow-up were inadequate per current criteria</a:t>
            </a:r>
          </a:p>
        </p:txBody>
      </p:sp>
    </p:spTree>
    <p:extLst>
      <p:ext uri="{BB962C8B-B14F-4D97-AF65-F5344CB8AC3E}">
        <p14:creationId xmlns:p14="http://schemas.microsoft.com/office/powerpoint/2010/main" val="1367395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3" grpId="0" animBg="1"/>
      <p:bldP spid="24" grpId="0" animBg="1"/>
    </p:bld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B0E5C1-0F41-4261-A5C9-950BC52FAF46}"/>
              </a:ext>
            </a:extLst>
          </p:cNvPr>
          <p:cNvSpPr>
            <a:spLocks noGrp="1"/>
          </p:cNvSpPr>
          <p:nvPr>
            <p:ph type="title"/>
          </p:nvPr>
        </p:nvSpPr>
        <p:spPr>
          <a:xfrm>
            <a:off x="628650" y="22091"/>
            <a:ext cx="7886700" cy="994172"/>
          </a:xfrm>
        </p:spPr>
        <p:txBody>
          <a:bodyPr>
            <a:noAutofit/>
          </a:bodyPr>
          <a:lstStyle/>
          <a:p>
            <a:pPr>
              <a:spcBef>
                <a:spcPts val="600"/>
              </a:spcBef>
            </a:pPr>
            <a:r>
              <a:rPr lang="en-US" sz="2100" b="1" noProof="0"/>
              <a:t>E3A06 Study: Randomized Trial of Lenalidomide vs Observation in Smoldering Multiple Myeloma</a:t>
            </a:r>
            <a:endParaRPr lang="en-US" sz="2100" b="1" i="1" u="sng" noProof="0">
              <a:solidFill>
                <a:srgbClr val="FF0000"/>
              </a:solidFill>
            </a:endParaRPr>
          </a:p>
        </p:txBody>
      </p:sp>
      <p:grpSp>
        <p:nvGrpSpPr>
          <p:cNvPr id="3" name="Group 2">
            <a:extLst>
              <a:ext uri="{FF2B5EF4-FFF2-40B4-BE49-F238E27FC236}">
                <a16:creationId xmlns:a16="http://schemas.microsoft.com/office/drawing/2014/main" id="{191866EF-C0B8-4392-BB69-B3FF7665D7C1}"/>
              </a:ext>
            </a:extLst>
          </p:cNvPr>
          <p:cNvGrpSpPr/>
          <p:nvPr/>
        </p:nvGrpSpPr>
        <p:grpSpPr>
          <a:xfrm>
            <a:off x="80470" y="1377523"/>
            <a:ext cx="4491530" cy="2866013"/>
            <a:chOff x="446276" y="1613774"/>
            <a:chExt cx="8526808" cy="5023524"/>
          </a:xfrm>
        </p:grpSpPr>
        <p:pic>
          <p:nvPicPr>
            <p:cNvPr id="15" name="Picture 14">
              <a:extLst>
                <a:ext uri="{FF2B5EF4-FFF2-40B4-BE49-F238E27FC236}">
                  <a16:creationId xmlns:a16="http://schemas.microsoft.com/office/drawing/2014/main" id="{7A11C429-B13F-46F1-B7CC-7C9B8163A32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9783" y="5811140"/>
              <a:ext cx="7444915" cy="826158"/>
            </a:xfrm>
            <a:prstGeom prst="rect">
              <a:avLst/>
            </a:prstGeom>
          </p:spPr>
        </p:pic>
        <p:grpSp>
          <p:nvGrpSpPr>
            <p:cNvPr id="6" name="Group 5">
              <a:extLst>
                <a:ext uri="{FF2B5EF4-FFF2-40B4-BE49-F238E27FC236}">
                  <a16:creationId xmlns:a16="http://schemas.microsoft.com/office/drawing/2014/main" id="{BB63D9F6-CBCC-4CF7-BFAF-44E8B9703AFF}"/>
                </a:ext>
              </a:extLst>
            </p:cNvPr>
            <p:cNvGrpSpPr/>
            <p:nvPr/>
          </p:nvGrpSpPr>
          <p:grpSpPr>
            <a:xfrm>
              <a:off x="446276" y="1613774"/>
              <a:ext cx="8526808" cy="4197366"/>
              <a:chOff x="2386173" y="2193924"/>
              <a:chExt cx="6730305" cy="2368840"/>
            </a:xfrm>
          </p:grpSpPr>
          <p:pic>
            <p:nvPicPr>
              <p:cNvPr id="4" name="Picture 3">
                <a:extLst>
                  <a:ext uri="{FF2B5EF4-FFF2-40B4-BE49-F238E27FC236}">
                    <a16:creationId xmlns:a16="http://schemas.microsoft.com/office/drawing/2014/main" id="{AF861215-ECAF-461D-8860-A0F52D5DE7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91317"/>
              <a:stretch/>
            </p:blipFill>
            <p:spPr>
              <a:xfrm>
                <a:off x="2386173" y="2193924"/>
                <a:ext cx="6730305" cy="595457"/>
              </a:xfrm>
              <a:prstGeom prst="rect">
                <a:avLst/>
              </a:prstGeom>
            </p:spPr>
          </p:pic>
          <p:pic>
            <p:nvPicPr>
              <p:cNvPr id="5" name="Picture 4">
                <a:extLst>
                  <a:ext uri="{FF2B5EF4-FFF2-40B4-BE49-F238E27FC236}">
                    <a16:creationId xmlns:a16="http://schemas.microsoft.com/office/drawing/2014/main" id="{EB65C7BE-8277-4DF8-A6BE-0B2D1CC2B0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70131" b="4010"/>
              <a:stretch/>
            </p:blipFill>
            <p:spPr>
              <a:xfrm>
                <a:off x="2386173" y="2789381"/>
                <a:ext cx="6730305" cy="1773383"/>
              </a:xfrm>
              <a:prstGeom prst="rect">
                <a:avLst/>
              </a:prstGeom>
            </p:spPr>
          </p:pic>
        </p:grpSp>
        <p:sp>
          <p:nvSpPr>
            <p:cNvPr id="7" name="Rectangle 6">
              <a:extLst>
                <a:ext uri="{FF2B5EF4-FFF2-40B4-BE49-F238E27FC236}">
                  <a16:creationId xmlns:a16="http://schemas.microsoft.com/office/drawing/2014/main" id="{2911765A-0B8B-4F6E-8052-C4C75D4CA0C8}"/>
                </a:ext>
              </a:extLst>
            </p:cNvPr>
            <p:cNvSpPr/>
            <p:nvPr/>
          </p:nvSpPr>
          <p:spPr>
            <a:xfrm>
              <a:off x="3963822" y="5554766"/>
              <a:ext cx="4470876" cy="2563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l-GR" sz="1350">
                <a:solidFill>
                  <a:prstClr val="white"/>
                </a:solidFill>
                <a:latin typeface="Calibri" panose="020F0502020204030204"/>
              </a:endParaRPr>
            </a:p>
          </p:txBody>
        </p:sp>
        <p:sp>
          <p:nvSpPr>
            <p:cNvPr id="8" name="Rectangle 7">
              <a:extLst>
                <a:ext uri="{FF2B5EF4-FFF2-40B4-BE49-F238E27FC236}">
                  <a16:creationId xmlns:a16="http://schemas.microsoft.com/office/drawing/2014/main" id="{5DF5B347-5E88-4FD0-955D-3AA2E7E547D9}"/>
                </a:ext>
              </a:extLst>
            </p:cNvPr>
            <p:cNvSpPr/>
            <p:nvPr/>
          </p:nvSpPr>
          <p:spPr>
            <a:xfrm>
              <a:off x="3963822" y="3802032"/>
              <a:ext cx="4470876" cy="2563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l-GR" sz="1350">
                <a:solidFill>
                  <a:prstClr val="white"/>
                </a:solidFill>
                <a:latin typeface="Calibri" panose="020F0502020204030204"/>
              </a:endParaRPr>
            </a:p>
          </p:txBody>
        </p:sp>
        <p:sp>
          <p:nvSpPr>
            <p:cNvPr id="16" name="Rectangle 15">
              <a:extLst>
                <a:ext uri="{FF2B5EF4-FFF2-40B4-BE49-F238E27FC236}">
                  <a16:creationId xmlns:a16="http://schemas.microsoft.com/office/drawing/2014/main" id="{E7C8FF80-7F67-418B-808D-6DA17898E66A}"/>
                </a:ext>
              </a:extLst>
            </p:cNvPr>
            <p:cNvSpPr/>
            <p:nvPr/>
          </p:nvSpPr>
          <p:spPr>
            <a:xfrm>
              <a:off x="3963822" y="6214249"/>
              <a:ext cx="4470875" cy="2563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l-GR" sz="1350">
                <a:solidFill>
                  <a:prstClr val="white"/>
                </a:solidFill>
                <a:latin typeface="Calibri" panose="020F0502020204030204"/>
              </a:endParaRPr>
            </a:p>
          </p:txBody>
        </p:sp>
      </p:grpSp>
      <p:sp>
        <p:nvSpPr>
          <p:cNvPr id="19" name="TextBox 18">
            <a:extLst>
              <a:ext uri="{FF2B5EF4-FFF2-40B4-BE49-F238E27FC236}">
                <a16:creationId xmlns:a16="http://schemas.microsoft.com/office/drawing/2014/main" id="{86FA8C56-40A8-4B25-9182-8E97B7A0A1D7}"/>
              </a:ext>
            </a:extLst>
          </p:cNvPr>
          <p:cNvSpPr txBox="1"/>
          <p:nvPr/>
        </p:nvSpPr>
        <p:spPr>
          <a:xfrm>
            <a:off x="6357820" y="4895735"/>
            <a:ext cx="2787944" cy="253916"/>
          </a:xfrm>
          <a:prstGeom prst="rect">
            <a:avLst/>
          </a:prstGeom>
          <a:noFill/>
        </p:spPr>
        <p:txBody>
          <a:bodyPr wrap="none" rtlCol="0" anchor="b">
            <a:spAutoFit/>
          </a:bodyPr>
          <a:lstStyle/>
          <a:p>
            <a:pPr algn="r" defTabSz="685800"/>
            <a:r>
              <a:rPr lang="en-US" sz="1050">
                <a:solidFill>
                  <a:srgbClr val="000000"/>
                </a:solidFill>
                <a:latin typeface="Calibri" panose="020F0502020204030204" pitchFamily="34" charset="0"/>
              </a:rPr>
              <a:t>Lonial S, et al. </a:t>
            </a:r>
            <a:r>
              <a:rPr lang="en-US" sz="1050" i="1">
                <a:solidFill>
                  <a:srgbClr val="000000"/>
                </a:solidFill>
                <a:latin typeface="Calibri" panose="020F0502020204030204" pitchFamily="34" charset="0"/>
              </a:rPr>
              <a:t>J Clin Oncol. </a:t>
            </a:r>
            <a:r>
              <a:rPr lang="en-US" sz="1050">
                <a:solidFill>
                  <a:srgbClr val="000000"/>
                </a:solidFill>
                <a:latin typeface="Calibri" panose="020F0502020204030204" pitchFamily="34" charset="0"/>
              </a:rPr>
              <a:t>2019; 38:1126-1137.</a:t>
            </a:r>
            <a:endParaRPr lang="el-GR" sz="1050">
              <a:solidFill>
                <a:prstClr val="black"/>
              </a:solidFill>
              <a:latin typeface="Calibri" panose="020F0502020204030204"/>
            </a:endParaRPr>
          </a:p>
        </p:txBody>
      </p:sp>
      <p:cxnSp>
        <p:nvCxnSpPr>
          <p:cNvPr id="11" name="Straight Arrow Connector 10">
            <a:extLst>
              <a:ext uri="{FF2B5EF4-FFF2-40B4-BE49-F238E27FC236}">
                <a16:creationId xmlns:a16="http://schemas.microsoft.com/office/drawing/2014/main" id="{F8B6E87F-C1A4-45D8-A996-36BBF9FED37C}"/>
              </a:ext>
            </a:extLst>
          </p:cNvPr>
          <p:cNvCxnSpPr>
            <a:cxnSpLocks/>
            <a:stCxn id="9" idx="3"/>
            <a:endCxn id="8" idx="1"/>
          </p:cNvCxnSpPr>
          <p:nvPr/>
        </p:nvCxnSpPr>
        <p:spPr>
          <a:xfrm flipV="1">
            <a:off x="1363589" y="2699098"/>
            <a:ext cx="569763" cy="187703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0B49D0E-9567-49DD-96FE-5E3763DA4358}"/>
              </a:ext>
            </a:extLst>
          </p:cNvPr>
          <p:cNvCxnSpPr>
            <a:cxnSpLocks/>
            <a:stCxn id="9" idx="3"/>
            <a:endCxn id="7" idx="1"/>
          </p:cNvCxnSpPr>
          <p:nvPr/>
        </p:nvCxnSpPr>
        <p:spPr>
          <a:xfrm flipV="1">
            <a:off x="1363589" y="3699065"/>
            <a:ext cx="569763" cy="87706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3953DE10-B6BF-498D-B0C9-AB4D5F8CE165}"/>
              </a:ext>
            </a:extLst>
          </p:cNvPr>
          <p:cNvSpPr/>
          <p:nvPr/>
        </p:nvSpPr>
        <p:spPr>
          <a:xfrm>
            <a:off x="250499" y="4340461"/>
            <a:ext cx="1113090" cy="47133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a:solidFill>
                  <a:srgbClr val="FF0000"/>
                </a:solidFill>
                <a:latin typeface="Calibri" panose="020F0502020204030204"/>
              </a:rPr>
              <a:t>Symptomatic myeloma!! </a:t>
            </a:r>
            <a:endParaRPr lang="el-GR" sz="1200">
              <a:solidFill>
                <a:srgbClr val="FF0000"/>
              </a:solidFill>
              <a:latin typeface="Calibri" panose="020F0502020204030204"/>
            </a:endParaRPr>
          </a:p>
        </p:txBody>
      </p:sp>
      <p:pic>
        <p:nvPicPr>
          <p:cNvPr id="23" name="Picture 22">
            <a:extLst>
              <a:ext uri="{FF2B5EF4-FFF2-40B4-BE49-F238E27FC236}">
                <a16:creationId xmlns:a16="http://schemas.microsoft.com/office/drawing/2014/main" id="{0E241831-70CF-479D-A07D-32655F6826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63317" y="1435209"/>
            <a:ext cx="4480684" cy="2808328"/>
          </a:xfrm>
          <a:prstGeom prst="rect">
            <a:avLst/>
          </a:prstGeom>
        </p:spPr>
      </p:pic>
      <p:sp>
        <p:nvSpPr>
          <p:cNvPr id="17" name="Title 1">
            <a:extLst>
              <a:ext uri="{FF2B5EF4-FFF2-40B4-BE49-F238E27FC236}">
                <a16:creationId xmlns:a16="http://schemas.microsoft.com/office/drawing/2014/main" id="{D0C65D63-65F4-4222-98E2-7636ACA276C8}"/>
              </a:ext>
            </a:extLst>
          </p:cNvPr>
          <p:cNvSpPr txBox="1">
            <a:spLocks/>
          </p:cNvSpPr>
          <p:nvPr/>
        </p:nvSpPr>
        <p:spPr>
          <a:xfrm>
            <a:off x="921550" y="640082"/>
            <a:ext cx="7593800" cy="994172"/>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spcBef>
                <a:spcPts val="600"/>
              </a:spcBef>
            </a:pPr>
            <a:r>
              <a:rPr lang="en-US" sz="2100" b="1" i="1" u="sng">
                <a:solidFill>
                  <a:srgbClr val="FF0000"/>
                </a:solidFill>
              </a:rPr>
              <a:t>Who was treated? </a:t>
            </a:r>
            <a:r>
              <a:rPr lang="en-US" sz="2100" b="1" i="1">
                <a:solidFill>
                  <a:srgbClr val="FF0000"/>
                </a:solidFill>
              </a:rPr>
              <a:t>		             	</a:t>
            </a:r>
            <a:r>
              <a:rPr lang="en-US" sz="2100" b="1" i="1" u="sng">
                <a:solidFill>
                  <a:srgbClr val="FF0000"/>
                </a:solidFill>
              </a:rPr>
              <a:t>What types of progression?</a:t>
            </a:r>
          </a:p>
        </p:txBody>
      </p:sp>
    </p:spTree>
    <p:extLst>
      <p:ext uri="{BB962C8B-B14F-4D97-AF65-F5344CB8AC3E}">
        <p14:creationId xmlns:p14="http://schemas.microsoft.com/office/powerpoint/2010/main" val="328554734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FB8811-0B03-49BB-B208-4CD3ACD792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0416" y="2016821"/>
            <a:ext cx="2778035" cy="2947716"/>
          </a:xfrm>
          <a:prstGeom prst="rect">
            <a:avLst/>
          </a:prstGeom>
        </p:spPr>
      </p:pic>
      <p:pic>
        <p:nvPicPr>
          <p:cNvPr id="5" name="Picture 4">
            <a:extLst>
              <a:ext uri="{FF2B5EF4-FFF2-40B4-BE49-F238E27FC236}">
                <a16:creationId xmlns:a16="http://schemas.microsoft.com/office/drawing/2014/main" id="{281E03F5-982F-4DCC-8B61-FB2A17F023C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9678" y="944545"/>
            <a:ext cx="3368726" cy="1062236"/>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844AAABB-3D3C-42CB-B4D6-3EFC35DCBC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24041" y="944545"/>
            <a:ext cx="2406200" cy="104942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B6724E16-3ED0-425D-905B-BE8F163E815A}"/>
              </a:ext>
            </a:extLst>
          </p:cNvPr>
          <p:cNvPicPr>
            <a:picLocks noChangeAspect="1"/>
          </p:cNvPicPr>
          <p:nvPr/>
        </p:nvPicPr>
        <p:blipFill>
          <a:blip r:embed="rId5"/>
          <a:stretch>
            <a:fillRect/>
          </a:stretch>
        </p:blipFill>
        <p:spPr>
          <a:xfrm>
            <a:off x="4224041" y="1993965"/>
            <a:ext cx="3441537" cy="984491"/>
          </a:xfrm>
          <a:prstGeom prst="rect">
            <a:avLst/>
          </a:prstGeom>
        </p:spPr>
      </p:pic>
      <p:sp>
        <p:nvSpPr>
          <p:cNvPr id="10" name="TextBox 9">
            <a:extLst>
              <a:ext uri="{FF2B5EF4-FFF2-40B4-BE49-F238E27FC236}">
                <a16:creationId xmlns:a16="http://schemas.microsoft.com/office/drawing/2014/main" id="{871A83D0-539B-4980-84CD-29BE64642952}"/>
              </a:ext>
            </a:extLst>
          </p:cNvPr>
          <p:cNvSpPr txBox="1"/>
          <p:nvPr/>
        </p:nvSpPr>
        <p:spPr>
          <a:xfrm>
            <a:off x="3165845" y="4890879"/>
            <a:ext cx="5979920" cy="253916"/>
          </a:xfrm>
          <a:prstGeom prst="rect">
            <a:avLst/>
          </a:prstGeom>
          <a:noFill/>
        </p:spPr>
        <p:txBody>
          <a:bodyPr wrap="square" rtlCol="0" anchor="b">
            <a:spAutoFit/>
          </a:bodyPr>
          <a:lstStyle/>
          <a:p>
            <a:pPr algn="r" defTabSz="685800"/>
            <a:r>
              <a:rPr lang="en-US" sz="1050">
                <a:solidFill>
                  <a:prstClr val="black"/>
                </a:solidFill>
                <a:latin typeface="Calibri" panose="020F0502020204030204"/>
              </a:rPr>
              <a:t>Hillengass J, et al. </a:t>
            </a:r>
            <a:r>
              <a:rPr lang="en-US" sz="1050" i="1">
                <a:solidFill>
                  <a:prstClr val="black"/>
                </a:solidFill>
                <a:latin typeface="Calibri" panose="020F0502020204030204"/>
              </a:rPr>
              <a:t>Lancet Oncol</a:t>
            </a:r>
            <a:r>
              <a:rPr lang="en-US" sz="1050">
                <a:solidFill>
                  <a:prstClr val="black"/>
                </a:solidFill>
                <a:latin typeface="Calibri" panose="020F0502020204030204"/>
              </a:rPr>
              <a:t>. 2019; 20:e302-312; Gavriatopoulou M, et al. </a:t>
            </a:r>
            <a:r>
              <a:rPr lang="en-US" sz="1050" i="1">
                <a:solidFill>
                  <a:prstClr val="black"/>
                </a:solidFill>
                <a:latin typeface="Calibri" panose="020F0502020204030204"/>
              </a:rPr>
              <a:t>Blood Cancer J</a:t>
            </a:r>
            <a:r>
              <a:rPr lang="en-US" sz="1050">
                <a:solidFill>
                  <a:prstClr val="black"/>
                </a:solidFill>
                <a:latin typeface="Calibri" panose="020F0502020204030204"/>
              </a:rPr>
              <a:t>. 2020;10:93.</a:t>
            </a:r>
            <a:endParaRPr lang="el-GR" sz="1050">
              <a:solidFill>
                <a:prstClr val="black"/>
              </a:solidFill>
              <a:latin typeface="Calibri" panose="020F0502020204030204"/>
            </a:endParaRPr>
          </a:p>
        </p:txBody>
      </p:sp>
      <p:sp>
        <p:nvSpPr>
          <p:cNvPr id="8" name="TextBox 7">
            <a:extLst>
              <a:ext uri="{FF2B5EF4-FFF2-40B4-BE49-F238E27FC236}">
                <a16:creationId xmlns:a16="http://schemas.microsoft.com/office/drawing/2014/main" id="{8019E312-F9DE-437D-A24E-EB64B6C62938}"/>
              </a:ext>
            </a:extLst>
          </p:cNvPr>
          <p:cNvSpPr txBox="1"/>
          <p:nvPr/>
        </p:nvSpPr>
        <p:spPr>
          <a:xfrm>
            <a:off x="3861513" y="3469248"/>
            <a:ext cx="4949869" cy="923330"/>
          </a:xfrm>
          <a:prstGeom prst="rect">
            <a:avLst/>
          </a:prstGeom>
          <a:noFill/>
        </p:spPr>
        <p:txBody>
          <a:bodyPr wrap="square">
            <a:spAutoFit/>
          </a:bodyPr>
          <a:lstStyle/>
          <a:p>
            <a:pPr defTabSz="685800"/>
            <a:r>
              <a:rPr lang="en-US" sz="1350" i="1" u="sng">
                <a:solidFill>
                  <a:srgbClr val="2E2E2E"/>
                </a:solidFill>
                <a:latin typeface="Calibri" panose="020F0502020204030204"/>
              </a:rPr>
              <a:t>Do we have the tools to avoid overtreatment or undertreatment?</a:t>
            </a:r>
          </a:p>
          <a:p>
            <a:pPr marL="557213" lvl="1" indent="-214313" defTabSz="685800">
              <a:buFont typeface="Arial" panose="020B0604020202020204" pitchFamily="34" charset="0"/>
              <a:buChar char="•"/>
            </a:pPr>
            <a:r>
              <a:rPr lang="en-US" sz="1350" i="1">
                <a:solidFill>
                  <a:srgbClr val="2E2E2E"/>
                </a:solidFill>
                <a:latin typeface="Calibri" panose="020F0502020204030204"/>
              </a:rPr>
              <a:t>Yes, we have more tools to follow patients appropriately (ldWBCT, MRI, PET, FLCs)</a:t>
            </a:r>
          </a:p>
          <a:p>
            <a:pPr marL="557213" lvl="1" indent="-214313" defTabSz="685800">
              <a:buFont typeface="Arial" panose="020B0604020202020204" pitchFamily="34" charset="0"/>
              <a:buChar char="•"/>
            </a:pPr>
            <a:r>
              <a:rPr lang="en-US" sz="1350" i="1">
                <a:solidFill>
                  <a:srgbClr val="2E2E2E"/>
                </a:solidFill>
                <a:latin typeface="Calibri" panose="020F0502020204030204"/>
              </a:rPr>
              <a:t>Yes, we know that we need to follow our patients closely  </a:t>
            </a:r>
          </a:p>
        </p:txBody>
      </p:sp>
      <p:sp>
        <p:nvSpPr>
          <p:cNvPr id="4" name="Title 3">
            <a:extLst>
              <a:ext uri="{FF2B5EF4-FFF2-40B4-BE49-F238E27FC236}">
                <a16:creationId xmlns:a16="http://schemas.microsoft.com/office/drawing/2014/main" id="{1C1691EC-11C9-47F1-96F0-5F45C0160ACC}"/>
              </a:ext>
            </a:extLst>
          </p:cNvPr>
          <p:cNvSpPr>
            <a:spLocks noGrp="1"/>
          </p:cNvSpPr>
          <p:nvPr>
            <p:ph type="title"/>
          </p:nvPr>
        </p:nvSpPr>
        <p:spPr>
          <a:xfrm>
            <a:off x="628650" y="273845"/>
            <a:ext cx="7886700" cy="478731"/>
          </a:xfrm>
        </p:spPr>
        <p:txBody>
          <a:bodyPr>
            <a:noAutofit/>
          </a:bodyPr>
          <a:lstStyle/>
          <a:p>
            <a:r>
              <a:rPr lang="en-US" sz="2100" b="1" noProof="0"/>
              <a:t>Do We Use All the Available Tools to Avoid Overtreatment or Undertreatment in SMM ?</a:t>
            </a:r>
          </a:p>
        </p:txBody>
      </p:sp>
    </p:spTree>
    <p:extLst>
      <p:ext uri="{BB962C8B-B14F-4D97-AF65-F5344CB8AC3E}">
        <p14:creationId xmlns:p14="http://schemas.microsoft.com/office/powerpoint/2010/main" val="1572328413"/>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643736-1D8A-4C48-9498-93CC521CF176}"/>
              </a:ext>
            </a:extLst>
          </p:cNvPr>
          <p:cNvSpPr>
            <a:spLocks noGrp="1"/>
          </p:cNvSpPr>
          <p:nvPr>
            <p:ph type="title"/>
          </p:nvPr>
        </p:nvSpPr>
        <p:spPr>
          <a:xfrm>
            <a:off x="630647" y="115415"/>
            <a:ext cx="8058150" cy="513962"/>
          </a:xfrm>
        </p:spPr>
        <p:txBody>
          <a:bodyPr>
            <a:normAutofit/>
          </a:bodyPr>
          <a:lstStyle/>
          <a:p>
            <a:r>
              <a:rPr lang="en-US" sz="2100" b="1" noProof="0"/>
              <a:t>Smoldering Myeloma: To Treat or Not to Treat?</a:t>
            </a:r>
          </a:p>
        </p:txBody>
      </p:sp>
      <p:sp>
        <p:nvSpPr>
          <p:cNvPr id="3" name="Content Placeholder 2">
            <a:extLst>
              <a:ext uri="{FF2B5EF4-FFF2-40B4-BE49-F238E27FC236}">
                <a16:creationId xmlns:a16="http://schemas.microsoft.com/office/drawing/2014/main" id="{3942A863-6A52-4C83-8B51-D9A3910EF1BB}"/>
              </a:ext>
            </a:extLst>
          </p:cNvPr>
          <p:cNvSpPr>
            <a:spLocks noGrp="1"/>
          </p:cNvSpPr>
          <p:nvPr>
            <p:ph idx="1"/>
          </p:nvPr>
        </p:nvSpPr>
        <p:spPr>
          <a:xfrm>
            <a:off x="333596" y="866830"/>
            <a:ext cx="8596552" cy="3263504"/>
          </a:xfrm>
        </p:spPr>
        <p:txBody>
          <a:bodyPr>
            <a:normAutofit fontScale="92500"/>
          </a:bodyPr>
          <a:lstStyle/>
          <a:p>
            <a:r>
              <a:rPr lang="en-US" noProof="0"/>
              <a:t>Treating patients with low- or intermediate-risk MM </a:t>
            </a:r>
            <a:r>
              <a:rPr lang="en-US" noProof="0">
                <a:sym typeface="Wingdings" panose="05000000000000000000" pitchFamily="2" charset="2"/>
              </a:rPr>
              <a:t> high rates of overtreatment </a:t>
            </a:r>
            <a:endParaRPr lang="en-US" noProof="0"/>
          </a:p>
          <a:p>
            <a:endParaRPr lang="en-US" noProof="0"/>
          </a:p>
          <a:p>
            <a:r>
              <a:rPr lang="en-US" noProof="0"/>
              <a:t>High-risk SMM </a:t>
            </a:r>
            <a:r>
              <a:rPr lang="en-US" noProof="0">
                <a:sym typeface="Wingdings" panose="05000000000000000000" pitchFamily="2" charset="2"/>
              </a:rPr>
              <a:t> still considerably high rates of overtreatment</a:t>
            </a:r>
          </a:p>
          <a:p>
            <a:pPr lvl="1"/>
            <a:r>
              <a:rPr lang="en-US" b="1" i="1" noProof="0">
                <a:solidFill>
                  <a:schemeClr val="accent1"/>
                </a:solidFill>
                <a:sym typeface="Wingdings" panose="05000000000000000000" pitchFamily="2" charset="2"/>
              </a:rPr>
              <a:t>Are we using the modern diagnostic tools (ldWBCT, MRI, PET)? </a:t>
            </a:r>
          </a:p>
          <a:p>
            <a:pPr lvl="1"/>
            <a:r>
              <a:rPr lang="en-US" b="1" i="1" noProof="0">
                <a:solidFill>
                  <a:schemeClr val="accent1"/>
                </a:solidFill>
                <a:sym typeface="Wingdings" panose="05000000000000000000" pitchFamily="2" charset="2"/>
              </a:rPr>
              <a:t>Are we following patients closely enough? </a:t>
            </a:r>
          </a:p>
          <a:p>
            <a:pPr lvl="1"/>
            <a:endParaRPr lang="en-US" noProof="0">
              <a:sym typeface="Wingdings" panose="05000000000000000000" pitchFamily="2" charset="2"/>
            </a:endParaRPr>
          </a:p>
          <a:p>
            <a:r>
              <a:rPr lang="en-US" noProof="0">
                <a:sym typeface="Wingdings" panose="05000000000000000000" pitchFamily="2" charset="2"/>
              </a:rPr>
              <a:t>If we are to treat SMM, do we know what is the best treatment approach?</a:t>
            </a:r>
          </a:p>
          <a:p>
            <a:endParaRPr lang="en-US" noProof="0">
              <a:sym typeface="Wingdings" panose="05000000000000000000" pitchFamily="2" charset="2"/>
            </a:endParaRPr>
          </a:p>
          <a:p>
            <a:r>
              <a:rPr lang="en-US" noProof="0">
                <a:sym typeface="Wingdings" panose="05000000000000000000" pitchFamily="2" charset="2"/>
              </a:rPr>
              <a:t>Until more robust data are available, we should NOT treat every patient with SMM</a:t>
            </a:r>
          </a:p>
          <a:p>
            <a:pPr lvl="1"/>
            <a:endParaRPr lang="en-US" noProof="0">
              <a:sym typeface="Wingdings" panose="05000000000000000000" pitchFamily="2" charset="2"/>
            </a:endParaRPr>
          </a:p>
          <a:p>
            <a:pPr lvl="1"/>
            <a:endParaRPr lang="en-US" noProof="0"/>
          </a:p>
        </p:txBody>
      </p:sp>
    </p:spTree>
    <p:extLst>
      <p:ext uri="{BB962C8B-B14F-4D97-AF65-F5344CB8AC3E}">
        <p14:creationId xmlns:p14="http://schemas.microsoft.com/office/powerpoint/2010/main" val="340524007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0D257-64B5-427E-8A99-47116EE43388}"/>
              </a:ext>
            </a:extLst>
          </p:cNvPr>
          <p:cNvSpPr>
            <a:spLocks noGrp="1"/>
          </p:cNvSpPr>
          <p:nvPr>
            <p:ph type="title"/>
          </p:nvPr>
        </p:nvSpPr>
        <p:spPr>
          <a:xfrm>
            <a:off x="915762" y="188166"/>
            <a:ext cx="8030276" cy="527130"/>
          </a:xfrm>
        </p:spPr>
        <p:txBody>
          <a:bodyPr/>
          <a:lstStyle/>
          <a:p>
            <a:pPr>
              <a:lnSpc>
                <a:spcPct val="100000"/>
              </a:lnSpc>
            </a:pPr>
            <a:r>
              <a:rPr lang="en-US" noProof="0"/>
              <a:t>Post-Debate Question for the Audience</a:t>
            </a:r>
          </a:p>
        </p:txBody>
      </p:sp>
      <p:sp>
        <p:nvSpPr>
          <p:cNvPr id="5" name="Content Placeholder 4">
            <a:extLst>
              <a:ext uri="{FF2B5EF4-FFF2-40B4-BE49-F238E27FC236}">
                <a16:creationId xmlns:a16="http://schemas.microsoft.com/office/drawing/2014/main" id="{7943291D-5CB9-4257-9D5B-0DE1C025958C}"/>
              </a:ext>
            </a:extLst>
          </p:cNvPr>
          <p:cNvSpPr>
            <a:spLocks noGrp="1"/>
          </p:cNvSpPr>
          <p:nvPr>
            <p:ph idx="1"/>
          </p:nvPr>
        </p:nvSpPr>
        <p:spPr>
          <a:xfrm>
            <a:off x="267597" y="870305"/>
            <a:ext cx="8776355" cy="3378958"/>
          </a:xfrm>
        </p:spPr>
        <p:txBody>
          <a:bodyPr>
            <a:normAutofit/>
          </a:bodyPr>
          <a:lstStyle/>
          <a:p>
            <a:pPr marL="0" indent="0">
              <a:buNone/>
            </a:pPr>
            <a:r>
              <a:rPr lang="en-US" noProof="0">
                <a:effectLst/>
                <a:latin typeface="Arial" panose="020B0604020202020204" pitchFamily="34" charset="0"/>
                <a:ea typeface="Arial" panose="020B0604020202020204" pitchFamily="34" charset="0"/>
              </a:rPr>
              <a:t>In your opinion, would you treat smoldering myeloma?</a:t>
            </a:r>
          </a:p>
          <a:p>
            <a:pPr marL="360363" indent="-360363" algn="l" rtl="0" fontAlgn="base">
              <a:buFont typeface="+mj-lt"/>
              <a:buAutoNum type="arabicPeriod"/>
            </a:pPr>
            <a:r>
              <a:rPr lang="en-US" sz="1800" b="0" i="0" u="none" strike="noStrike" noProof="0">
                <a:solidFill>
                  <a:srgbClr val="262626"/>
                </a:solidFill>
                <a:effectLst/>
                <a:latin typeface="Arial Nova" panose="020B0504020202020204" pitchFamily="34" charset="0"/>
              </a:rPr>
              <a:t>Yes</a:t>
            </a:r>
          </a:p>
          <a:p>
            <a:pPr marL="360363" indent="-360363" algn="l" rtl="0" fontAlgn="base">
              <a:buFont typeface="+mj-lt"/>
              <a:buAutoNum type="arabicPeriod"/>
            </a:pPr>
            <a:r>
              <a:rPr lang="en-US" sz="1800" b="0" i="0" u="none" strike="noStrike" noProof="0">
                <a:solidFill>
                  <a:srgbClr val="262626"/>
                </a:solidFill>
                <a:effectLst/>
                <a:latin typeface="Arial Nova" panose="020B0504020202020204" pitchFamily="34" charset="0"/>
              </a:rPr>
              <a:t>No</a:t>
            </a:r>
            <a:endParaRPr lang="en-US" sz="1800" noProof="0"/>
          </a:p>
        </p:txBody>
      </p:sp>
      <p:grpSp>
        <p:nvGrpSpPr>
          <p:cNvPr id="6" name="Group 5">
            <a:extLst>
              <a:ext uri="{FF2B5EF4-FFF2-40B4-BE49-F238E27FC236}">
                <a16:creationId xmlns:a16="http://schemas.microsoft.com/office/drawing/2014/main" id="{4B70BEEE-BE9D-4417-B0FC-169ADC056A1B}"/>
              </a:ext>
            </a:extLst>
          </p:cNvPr>
          <p:cNvGrpSpPr/>
          <p:nvPr/>
        </p:nvGrpSpPr>
        <p:grpSpPr>
          <a:xfrm>
            <a:off x="69157" y="67379"/>
            <a:ext cx="720000" cy="720000"/>
            <a:chOff x="8151603" y="218984"/>
            <a:chExt cx="720000" cy="720000"/>
          </a:xfrm>
        </p:grpSpPr>
        <p:sp>
          <p:nvSpPr>
            <p:cNvPr id="7" name="Teardrop 6">
              <a:extLst>
                <a:ext uri="{FF2B5EF4-FFF2-40B4-BE49-F238E27FC236}">
                  <a16:creationId xmlns:a16="http://schemas.microsoft.com/office/drawing/2014/main" id="{904E83AC-2567-4F07-B564-E24527E05EC4}"/>
                </a:ext>
              </a:extLst>
            </p:cNvPr>
            <p:cNvSpPr/>
            <p:nvPr/>
          </p:nvSpPr>
          <p:spPr bwMode="auto">
            <a:xfrm rot="5400000">
              <a:off x="8151603" y="218984"/>
              <a:ext cx="720000" cy="720000"/>
            </a:xfrm>
            <a:prstGeom prst="teardrop">
              <a:avLst/>
            </a:prstGeom>
            <a:solidFill>
              <a:srgbClr val="00AAB8"/>
            </a:solidFill>
            <a:ln>
              <a:solidFill>
                <a:srgbClr val="00AAB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NL" sz="2800" b="1" i="0" u="none" strike="noStrike" kern="1200" cap="none" spc="0" normalizeH="0" baseline="0" noProof="0">
                <a:ln>
                  <a:noFill/>
                </a:ln>
                <a:solidFill>
                  <a:srgbClr val="FFFF00"/>
                </a:solidFill>
                <a:effectLst/>
                <a:uLnTx/>
                <a:uFillTx/>
                <a:latin typeface="Arial" pitchFamily="34" charset="0"/>
                <a:ea typeface="+mn-ea"/>
                <a:cs typeface="+mn-cs"/>
              </a:endParaRPr>
            </a:p>
          </p:txBody>
        </p:sp>
        <p:sp>
          <p:nvSpPr>
            <p:cNvPr id="8" name="TextBox 7">
              <a:extLst>
                <a:ext uri="{FF2B5EF4-FFF2-40B4-BE49-F238E27FC236}">
                  <a16:creationId xmlns:a16="http://schemas.microsoft.com/office/drawing/2014/main" id="{638CBF0D-5638-4847-B7AF-F04A8AB4F8B8}"/>
                </a:ext>
              </a:extLst>
            </p:cNvPr>
            <p:cNvSpPr txBox="1"/>
            <p:nvPr/>
          </p:nvSpPr>
          <p:spPr>
            <a:xfrm>
              <a:off x="8278208" y="255820"/>
              <a:ext cx="466795" cy="646331"/>
            </a:xfrm>
            <a:prstGeom prst="rect">
              <a:avLst/>
            </a:prstGeom>
            <a:noFill/>
            <a:ln>
              <a:no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NL"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801042029"/>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a:xfrm>
            <a:off x="4270617" y="1273987"/>
            <a:ext cx="4748022" cy="1548390"/>
          </a:xfrm>
        </p:spPr>
        <p:txBody>
          <a:bodyPr>
            <a:noAutofit/>
          </a:bodyPr>
          <a:lstStyle/>
          <a:p>
            <a:pPr defTabSz="914400">
              <a:lnSpc>
                <a:spcPct val="100000"/>
              </a:lnSpc>
              <a:spcBef>
                <a:spcPts val="0"/>
              </a:spcBef>
            </a:pPr>
            <a:r>
              <a:rPr lang="en-US" sz="2800" b="1" u="none" kern="1200" noProof="0">
                <a:effectLst/>
                <a:latin typeface="Arial" panose="020B0604020202020204" pitchFamily="34" charset="0"/>
                <a:cs typeface="Arial" panose="020B0604020202020204" pitchFamily="34" charset="0"/>
              </a:rPr>
              <a:t>Debate:</a:t>
            </a:r>
            <a:br>
              <a:rPr lang="en-US" sz="2800" b="1" u="none" kern="1200" noProof="0">
                <a:effectLst/>
                <a:latin typeface="Arial" panose="020B0604020202020204" pitchFamily="34" charset="0"/>
                <a:cs typeface="Arial" panose="020B0604020202020204" pitchFamily="34" charset="0"/>
              </a:rPr>
            </a:br>
            <a:r>
              <a:rPr lang="en-US" sz="2800" b="0" u="none" kern="1200" noProof="0">
                <a:effectLst/>
                <a:latin typeface="Arial" panose="020B0604020202020204" pitchFamily="34" charset="0"/>
                <a:cs typeface="Arial" panose="020B0604020202020204" pitchFamily="34" charset="0"/>
              </a:rPr>
              <a:t>Is Myeloma </a:t>
            </a:r>
            <a:r>
              <a:rPr lang="en-US" sz="2800" b="0" noProof="0"/>
              <a:t>C</a:t>
            </a:r>
            <a:r>
              <a:rPr lang="en-US" sz="2800" b="0" u="none" kern="1200" noProof="0">
                <a:effectLst/>
                <a:latin typeface="Arial" panose="020B0604020202020204" pitchFamily="34" charset="0"/>
                <a:cs typeface="Arial" panose="020B0604020202020204" pitchFamily="34" charset="0"/>
              </a:rPr>
              <a:t>urable or Not?</a:t>
            </a:r>
            <a:endParaRPr lang="en-US" sz="2800" b="1" u="none" noProof="0">
              <a:effectLst/>
              <a:latin typeface="Arial" panose="020B0604020202020204" pitchFamily="34" charset="0"/>
              <a:cs typeface="Arial" panose="020B0604020202020204" pitchFamily="34" charset="0"/>
            </a:endParaRPr>
          </a:p>
        </p:txBody>
      </p:sp>
      <p:sp>
        <p:nvSpPr>
          <p:cNvPr id="7" name="Subtitle 6">
            <a:extLst>
              <a:ext uri="{FF2B5EF4-FFF2-40B4-BE49-F238E27FC236}">
                <a16:creationId xmlns:a16="http://schemas.microsoft.com/office/drawing/2014/main" id="{81E62135-1198-4298-84EC-45D95B29EE63}"/>
              </a:ext>
            </a:extLst>
          </p:cNvPr>
          <p:cNvSpPr>
            <a:spLocks noGrp="1"/>
          </p:cNvSpPr>
          <p:nvPr>
            <p:ph type="subTitle" idx="1"/>
          </p:nvPr>
        </p:nvSpPr>
        <p:spPr>
          <a:xfrm>
            <a:off x="4270617" y="2956359"/>
            <a:ext cx="4534294" cy="1073784"/>
          </a:xfrm>
        </p:spPr>
        <p:txBody>
          <a:bodyPr/>
          <a:lstStyle/>
          <a:p>
            <a:pPr marL="0" marR="0" algn="l">
              <a:lnSpc>
                <a:spcPct val="100000"/>
              </a:lnSpc>
              <a:spcBef>
                <a:spcPts val="0"/>
              </a:spcBef>
              <a:spcAft>
                <a:spcPts val="0"/>
              </a:spcAft>
            </a:pPr>
            <a:r>
              <a:rPr lang="en-US" sz="1800" b="0" strike="noStrike" kern="1200" noProof="0">
                <a:effectLst/>
                <a:latin typeface="Arial" panose="020B0604020202020204" pitchFamily="34" charset="0"/>
                <a:cs typeface="Arial" panose="020B0604020202020204" pitchFamily="34" charset="0"/>
              </a:rPr>
              <a:t>Rafael Fonseca (yes)  vs Xavier Leleu (no)</a:t>
            </a:r>
          </a:p>
          <a:p>
            <a:endParaRPr lang="en-US" noProof="0"/>
          </a:p>
        </p:txBody>
      </p:sp>
      <p:pic>
        <p:nvPicPr>
          <p:cNvPr id="5" name="Picture 4">
            <a:extLst>
              <a:ext uri="{FF2B5EF4-FFF2-40B4-BE49-F238E27FC236}">
                <a16:creationId xmlns:a16="http://schemas.microsoft.com/office/drawing/2014/main" id="{B68FBA4D-24F8-4972-9307-8A002E09D7C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6989721" y="3407550"/>
            <a:ext cx="1188720" cy="1188720"/>
          </a:xfrm>
          <a:prstGeom prst="teardrop">
            <a:avLst/>
          </a:prstGeom>
          <a:solidFill>
            <a:schemeClr val="tx2"/>
          </a:solidFill>
        </p:spPr>
      </p:pic>
      <p:pic>
        <p:nvPicPr>
          <p:cNvPr id="6" name="Picture 5">
            <a:extLst>
              <a:ext uri="{FF2B5EF4-FFF2-40B4-BE49-F238E27FC236}">
                <a16:creationId xmlns:a16="http://schemas.microsoft.com/office/drawing/2014/main" id="{E3970E2C-FDA7-4998-BD9D-B70ABB31F1F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rot="5400000">
            <a:off x="4270617" y="3411698"/>
            <a:ext cx="1180425" cy="1180425"/>
          </a:xfrm>
          <a:prstGeom prst="teardrop">
            <a:avLst/>
          </a:prstGeom>
        </p:spPr>
      </p:pic>
    </p:spTree>
    <p:extLst>
      <p:ext uri="{BB962C8B-B14F-4D97-AF65-F5344CB8AC3E}">
        <p14:creationId xmlns:p14="http://schemas.microsoft.com/office/powerpoint/2010/main" val="21735349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Diagram&#10;&#10;Description automatically generated">
            <a:extLst>
              <a:ext uri="{FF2B5EF4-FFF2-40B4-BE49-F238E27FC236}">
                <a16:creationId xmlns:a16="http://schemas.microsoft.com/office/drawing/2014/main" id="{31397867-ACDB-C542-9206-F0FB23F0F3E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85950" y="451502"/>
            <a:ext cx="4909800" cy="4501501"/>
          </a:xfrm>
          <a:prstGeom prst="rect">
            <a:avLst/>
          </a:prstGeom>
        </p:spPr>
      </p:pic>
      <p:sp>
        <p:nvSpPr>
          <p:cNvPr id="2" name="Title 1">
            <a:extLst>
              <a:ext uri="{FF2B5EF4-FFF2-40B4-BE49-F238E27FC236}">
                <a16:creationId xmlns:a16="http://schemas.microsoft.com/office/drawing/2014/main" id="{5D5CD265-7783-7647-885B-4480D5C4B0BE}"/>
              </a:ext>
            </a:extLst>
          </p:cNvPr>
          <p:cNvSpPr>
            <a:spLocks noGrp="1"/>
          </p:cNvSpPr>
          <p:nvPr>
            <p:ph type="title"/>
          </p:nvPr>
        </p:nvSpPr>
        <p:spPr>
          <a:xfrm>
            <a:off x="342900" y="66085"/>
            <a:ext cx="8229600" cy="535154"/>
          </a:xfrm>
        </p:spPr>
        <p:txBody>
          <a:bodyPr/>
          <a:lstStyle/>
          <a:p>
            <a:pPr algn="l"/>
            <a:r>
              <a:rPr lang="en-US" sz="2400" b="1" noProof="0">
                <a:solidFill>
                  <a:srgbClr val="0070C0"/>
                </a:solidFill>
                <a:latin typeface="Arial" panose="020B0604020202020204" pitchFamily="34" charset="0"/>
                <a:cs typeface="Arial" panose="020B0604020202020204" pitchFamily="34" charset="0"/>
              </a:rPr>
              <a:t>Mass spectrometry</a:t>
            </a:r>
          </a:p>
        </p:txBody>
      </p:sp>
      <p:sp>
        <p:nvSpPr>
          <p:cNvPr id="3" name="Rectangle 2">
            <a:extLst>
              <a:ext uri="{FF2B5EF4-FFF2-40B4-BE49-F238E27FC236}">
                <a16:creationId xmlns:a16="http://schemas.microsoft.com/office/drawing/2014/main" id="{1DD3AAC0-D73D-B643-8B22-6FF4DC4C750D}"/>
              </a:ext>
            </a:extLst>
          </p:cNvPr>
          <p:cNvSpPr/>
          <p:nvPr/>
        </p:nvSpPr>
        <p:spPr>
          <a:xfrm>
            <a:off x="7258050" y="3690564"/>
            <a:ext cx="1885950" cy="10727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a:endParaRPr>
          </a:p>
        </p:txBody>
      </p:sp>
      <p:sp>
        <p:nvSpPr>
          <p:cNvPr id="10" name="TextBox 9">
            <a:extLst>
              <a:ext uri="{FF2B5EF4-FFF2-40B4-BE49-F238E27FC236}">
                <a16:creationId xmlns:a16="http://schemas.microsoft.com/office/drawing/2014/main" id="{631E174B-E3A6-F64C-8BAF-25DD4BE55270}"/>
              </a:ext>
            </a:extLst>
          </p:cNvPr>
          <p:cNvSpPr txBox="1"/>
          <p:nvPr/>
        </p:nvSpPr>
        <p:spPr>
          <a:xfrm>
            <a:off x="7258050" y="4897280"/>
            <a:ext cx="1885950" cy="246221"/>
          </a:xfrm>
          <a:prstGeom prst="rect">
            <a:avLst/>
          </a:prstGeom>
          <a:noFill/>
        </p:spPr>
        <p:txBody>
          <a:bodyPr wrap="square" rtlCol="0" anchor="b">
            <a:spAutoFit/>
          </a:bodyPr>
          <a:lstStyle/>
          <a:p>
            <a:pPr algn="r" defTabSz="685800"/>
            <a:r>
              <a:rPr lang="en-US" sz="1000" i="1">
                <a:solidFill>
                  <a:prstClr val="black"/>
                </a:solidFill>
                <a:latin typeface="Arial" panose="020B0604020202020204" pitchFamily="34" charset="0"/>
                <a:cs typeface="Arial" panose="020B0604020202020204" pitchFamily="34" charset="0"/>
              </a:rPr>
              <a:t>Lancet Haematol</a:t>
            </a:r>
            <a:r>
              <a:rPr lang="en-US" sz="1000">
                <a:solidFill>
                  <a:prstClr val="black"/>
                </a:solidFill>
                <a:latin typeface="Arial" panose="020B0604020202020204" pitchFamily="34" charset="0"/>
                <a:cs typeface="Arial" panose="020B0604020202020204" pitchFamily="34" charset="0"/>
              </a:rPr>
              <a:t>. In press.</a:t>
            </a:r>
          </a:p>
        </p:txBody>
      </p:sp>
    </p:spTree>
    <p:extLst>
      <p:ext uri="{BB962C8B-B14F-4D97-AF65-F5344CB8AC3E}">
        <p14:creationId xmlns:p14="http://schemas.microsoft.com/office/powerpoint/2010/main" val="2187370438"/>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0D257-64B5-427E-8A99-47116EE43388}"/>
              </a:ext>
            </a:extLst>
          </p:cNvPr>
          <p:cNvSpPr>
            <a:spLocks noGrp="1"/>
          </p:cNvSpPr>
          <p:nvPr>
            <p:ph type="title"/>
          </p:nvPr>
        </p:nvSpPr>
        <p:spPr>
          <a:xfrm>
            <a:off x="915762" y="188166"/>
            <a:ext cx="8030276" cy="527130"/>
          </a:xfrm>
        </p:spPr>
        <p:txBody>
          <a:bodyPr/>
          <a:lstStyle/>
          <a:p>
            <a:pPr>
              <a:lnSpc>
                <a:spcPct val="100000"/>
              </a:lnSpc>
            </a:pPr>
            <a:r>
              <a:rPr lang="en-US" noProof="0"/>
              <a:t>Pre-Debate Question for the Audience</a:t>
            </a:r>
          </a:p>
        </p:txBody>
      </p:sp>
      <p:sp>
        <p:nvSpPr>
          <p:cNvPr id="5" name="Content Placeholder 4">
            <a:extLst>
              <a:ext uri="{FF2B5EF4-FFF2-40B4-BE49-F238E27FC236}">
                <a16:creationId xmlns:a16="http://schemas.microsoft.com/office/drawing/2014/main" id="{7943291D-5CB9-4257-9D5B-0DE1C025958C}"/>
              </a:ext>
            </a:extLst>
          </p:cNvPr>
          <p:cNvSpPr>
            <a:spLocks noGrp="1"/>
          </p:cNvSpPr>
          <p:nvPr>
            <p:ph idx="1"/>
          </p:nvPr>
        </p:nvSpPr>
        <p:spPr>
          <a:xfrm>
            <a:off x="267597" y="870305"/>
            <a:ext cx="8776355" cy="3378958"/>
          </a:xfrm>
        </p:spPr>
        <p:txBody>
          <a:bodyPr/>
          <a:lstStyle/>
          <a:p>
            <a:pPr marL="0" indent="0">
              <a:buNone/>
            </a:pPr>
            <a:r>
              <a:rPr lang="en-US" noProof="0">
                <a:latin typeface="Arial" panose="020B0604020202020204" pitchFamily="34" charset="0"/>
              </a:rPr>
              <a:t>In your opinion, is multiple myeloma curable?</a:t>
            </a:r>
          </a:p>
          <a:p>
            <a:pPr marL="342900" lvl="0" indent="-342900" fontAlgn="base">
              <a:buFont typeface="+mj-lt"/>
              <a:buAutoNum type="arabicPeriod"/>
            </a:pPr>
            <a:r>
              <a:rPr lang="en-US" sz="1800" noProof="0">
                <a:effectLst/>
                <a:latin typeface="Arial" panose="020B0604020202020204" pitchFamily="34" charset="0"/>
                <a:ea typeface="Arial" panose="020B0604020202020204" pitchFamily="34" charset="0"/>
                <a:cs typeface="Arial" panose="020B0604020202020204" pitchFamily="34" charset="0"/>
              </a:rPr>
              <a:t>Yes</a:t>
            </a:r>
            <a:endParaRPr lang="en-US" sz="1800" noProof="0">
              <a:effectLst/>
              <a:latin typeface="Arial" panose="020B0604020202020204" pitchFamily="34" charset="0"/>
              <a:ea typeface="Arial" panose="020B0604020202020204" pitchFamily="34" charset="0"/>
              <a:cs typeface="Times New Roman" panose="02020603050405020304" pitchFamily="18" charset="0"/>
            </a:endParaRPr>
          </a:p>
          <a:p>
            <a:pPr marL="342900" lvl="0" indent="-342900" fontAlgn="base">
              <a:buFont typeface="+mj-lt"/>
              <a:buAutoNum type="arabicPeriod"/>
            </a:pPr>
            <a:r>
              <a:rPr lang="en-US" sz="1800" noProof="0">
                <a:effectLst/>
                <a:latin typeface="Arial" panose="020B0604020202020204" pitchFamily="34" charset="0"/>
                <a:ea typeface="Arial" panose="020B0604020202020204" pitchFamily="34" charset="0"/>
                <a:cs typeface="Arial" panose="020B0604020202020204" pitchFamily="34" charset="0"/>
              </a:rPr>
              <a:t>No</a:t>
            </a:r>
            <a:endParaRPr lang="en-US" sz="1800" noProof="0">
              <a:effectLst/>
              <a:latin typeface="Arial" panose="020B0604020202020204" pitchFamily="34" charset="0"/>
              <a:ea typeface="Arial" panose="020B0604020202020204" pitchFamily="34" charset="0"/>
              <a:cs typeface="Times New Roman" panose="02020603050405020304" pitchFamily="18" charset="0"/>
            </a:endParaRPr>
          </a:p>
          <a:p>
            <a:endParaRPr lang="en-US" noProof="0"/>
          </a:p>
        </p:txBody>
      </p:sp>
      <p:grpSp>
        <p:nvGrpSpPr>
          <p:cNvPr id="6" name="Group 5">
            <a:extLst>
              <a:ext uri="{FF2B5EF4-FFF2-40B4-BE49-F238E27FC236}">
                <a16:creationId xmlns:a16="http://schemas.microsoft.com/office/drawing/2014/main" id="{9CC60A16-3F1E-4B25-B0C9-0B61F44D163F}"/>
              </a:ext>
            </a:extLst>
          </p:cNvPr>
          <p:cNvGrpSpPr/>
          <p:nvPr/>
        </p:nvGrpSpPr>
        <p:grpSpPr>
          <a:xfrm>
            <a:off x="69157" y="67379"/>
            <a:ext cx="720000" cy="720000"/>
            <a:chOff x="8151603" y="218984"/>
            <a:chExt cx="720000" cy="720000"/>
          </a:xfrm>
        </p:grpSpPr>
        <p:sp>
          <p:nvSpPr>
            <p:cNvPr id="7" name="Teardrop 6">
              <a:extLst>
                <a:ext uri="{FF2B5EF4-FFF2-40B4-BE49-F238E27FC236}">
                  <a16:creationId xmlns:a16="http://schemas.microsoft.com/office/drawing/2014/main" id="{1EF045B6-6FD2-4689-8D85-F08531FA3AFD}"/>
                </a:ext>
              </a:extLst>
            </p:cNvPr>
            <p:cNvSpPr/>
            <p:nvPr/>
          </p:nvSpPr>
          <p:spPr bwMode="auto">
            <a:xfrm rot="5400000">
              <a:off x="8151603" y="218984"/>
              <a:ext cx="720000" cy="720000"/>
            </a:xfrm>
            <a:prstGeom prst="teardrop">
              <a:avLst/>
            </a:prstGeom>
            <a:solidFill>
              <a:srgbClr val="00AAB8"/>
            </a:solidFill>
            <a:ln>
              <a:solidFill>
                <a:srgbClr val="00AAB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NL" sz="2800" b="1" i="0" u="none" strike="noStrike" kern="1200" cap="none" spc="0" normalizeH="0" baseline="0" noProof="0">
                <a:ln>
                  <a:noFill/>
                </a:ln>
                <a:solidFill>
                  <a:srgbClr val="FFFF00"/>
                </a:solidFill>
                <a:effectLst/>
                <a:uLnTx/>
                <a:uFillTx/>
                <a:latin typeface="Arial" pitchFamily="34" charset="0"/>
                <a:ea typeface="+mn-ea"/>
                <a:cs typeface="+mn-cs"/>
              </a:endParaRPr>
            </a:p>
          </p:txBody>
        </p:sp>
        <p:sp>
          <p:nvSpPr>
            <p:cNvPr id="8" name="TextBox 7">
              <a:extLst>
                <a:ext uri="{FF2B5EF4-FFF2-40B4-BE49-F238E27FC236}">
                  <a16:creationId xmlns:a16="http://schemas.microsoft.com/office/drawing/2014/main" id="{28679018-9650-4933-A665-FFFF08B78D7C}"/>
                </a:ext>
              </a:extLst>
            </p:cNvPr>
            <p:cNvSpPr txBox="1"/>
            <p:nvPr/>
          </p:nvSpPr>
          <p:spPr>
            <a:xfrm>
              <a:off x="8278208" y="255820"/>
              <a:ext cx="466795" cy="646331"/>
            </a:xfrm>
            <a:prstGeom prst="rect">
              <a:avLst/>
            </a:prstGeom>
            <a:noFill/>
            <a:ln>
              <a:no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NL"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64418801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a:xfrm>
            <a:off x="4270616" y="1273990"/>
            <a:ext cx="4711151" cy="1548390"/>
          </a:xfrm>
        </p:spPr>
        <p:txBody>
          <a:bodyPr>
            <a:noAutofit/>
          </a:bodyPr>
          <a:lstStyle/>
          <a:p>
            <a:pPr defTabSz="914400">
              <a:lnSpc>
                <a:spcPct val="100000"/>
              </a:lnSpc>
              <a:spcBef>
                <a:spcPts val="0"/>
              </a:spcBef>
            </a:pPr>
            <a:r>
              <a:rPr lang="en-US" sz="2800" b="1" u="none" kern="1200" noProof="0">
                <a:effectLst/>
                <a:latin typeface="Arial" panose="020B0604020202020204" pitchFamily="34" charset="0"/>
                <a:cs typeface="Arial" panose="020B0604020202020204" pitchFamily="34" charset="0"/>
              </a:rPr>
              <a:t>Debate:</a:t>
            </a:r>
            <a:br>
              <a:rPr lang="en-US" sz="2800" b="1" u="none" kern="1200" noProof="0">
                <a:effectLst/>
                <a:latin typeface="Arial" panose="020B0604020202020204" pitchFamily="34" charset="0"/>
                <a:cs typeface="Arial" panose="020B0604020202020204" pitchFamily="34" charset="0"/>
              </a:rPr>
            </a:br>
            <a:r>
              <a:rPr lang="en-US" sz="2800" b="0" u="none" kern="1200" noProof="0">
                <a:effectLst/>
                <a:latin typeface="Arial" panose="020B0604020202020204" pitchFamily="34" charset="0"/>
                <a:cs typeface="Arial" panose="020B0604020202020204" pitchFamily="34" charset="0"/>
              </a:rPr>
              <a:t>Is Myeloma Curable or Not?</a:t>
            </a:r>
            <a:endParaRPr lang="en-US" sz="2800" b="1" u="none" noProof="0">
              <a:effectLst/>
              <a:latin typeface="Arial" panose="020B0604020202020204" pitchFamily="34" charset="0"/>
              <a:cs typeface="Arial" panose="020B0604020202020204" pitchFamily="34" charset="0"/>
            </a:endParaRPr>
          </a:p>
        </p:txBody>
      </p:sp>
      <p:sp>
        <p:nvSpPr>
          <p:cNvPr id="7" name="Subtitle 6">
            <a:extLst>
              <a:ext uri="{FF2B5EF4-FFF2-40B4-BE49-F238E27FC236}">
                <a16:creationId xmlns:a16="http://schemas.microsoft.com/office/drawing/2014/main" id="{81E62135-1198-4298-84EC-45D95B29EE63}"/>
              </a:ext>
            </a:extLst>
          </p:cNvPr>
          <p:cNvSpPr>
            <a:spLocks noGrp="1"/>
          </p:cNvSpPr>
          <p:nvPr>
            <p:ph type="subTitle" idx="1"/>
          </p:nvPr>
        </p:nvSpPr>
        <p:spPr>
          <a:xfrm>
            <a:off x="4270617" y="2963910"/>
            <a:ext cx="4534294" cy="1073784"/>
          </a:xfrm>
        </p:spPr>
        <p:txBody>
          <a:bodyPr/>
          <a:lstStyle/>
          <a:p>
            <a:pPr marL="0" marR="0" algn="l">
              <a:lnSpc>
                <a:spcPct val="100000"/>
              </a:lnSpc>
              <a:spcBef>
                <a:spcPts val="0"/>
              </a:spcBef>
              <a:spcAft>
                <a:spcPts val="0"/>
              </a:spcAft>
            </a:pPr>
            <a:r>
              <a:rPr lang="en-US" noProof="0"/>
              <a:t>Yes – </a:t>
            </a:r>
            <a:r>
              <a:rPr lang="en-US" sz="1800" b="0" strike="noStrike" kern="1200" noProof="0">
                <a:effectLst/>
                <a:latin typeface="Arial" panose="020B0604020202020204" pitchFamily="34" charset="0"/>
                <a:cs typeface="Arial" panose="020B0604020202020204" pitchFamily="34" charset="0"/>
              </a:rPr>
              <a:t>Rafael Fonseca, MD </a:t>
            </a:r>
          </a:p>
          <a:p>
            <a:endParaRPr lang="en-US" noProof="0"/>
          </a:p>
        </p:txBody>
      </p:sp>
      <p:pic>
        <p:nvPicPr>
          <p:cNvPr id="5" name="Picture 4">
            <a:extLst>
              <a:ext uri="{FF2B5EF4-FFF2-40B4-BE49-F238E27FC236}">
                <a16:creationId xmlns:a16="http://schemas.microsoft.com/office/drawing/2014/main" id="{A7C30D57-7D25-45E0-AEB0-FEDB825EC794}"/>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0617" y="3411698"/>
            <a:ext cx="1180425" cy="1180425"/>
          </a:xfrm>
          <a:prstGeom prst="teardrop">
            <a:avLst/>
          </a:prstGeom>
        </p:spPr>
      </p:pic>
    </p:spTree>
    <p:extLst>
      <p:ext uri="{BB962C8B-B14F-4D97-AF65-F5344CB8AC3E}">
        <p14:creationId xmlns:p14="http://schemas.microsoft.com/office/powerpoint/2010/main" val="67786898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ctrTitle"/>
          </p:nvPr>
        </p:nvSpPr>
        <p:spPr>
          <a:xfrm>
            <a:off x="269421" y="455016"/>
            <a:ext cx="8471808" cy="1714500"/>
          </a:xfrm>
        </p:spPr>
        <p:txBody>
          <a:bodyPr>
            <a:normAutofit fontScale="90000"/>
          </a:bodyPr>
          <a:lstStyle/>
          <a:p>
            <a:r>
              <a:rPr lang="en-US" sz="2400" b="1" noProof="0">
                <a:solidFill>
                  <a:schemeClr val="accent1">
                    <a:lumMod val="50000"/>
                  </a:schemeClr>
                </a:solidFill>
                <a:latin typeface="Arial" charset="0"/>
                <a:ea typeface="ＭＳ Ｐゴシック" charset="0"/>
                <a:cs typeface="ＭＳ Ｐゴシック" charset="0"/>
              </a:rPr>
              <a:t>Rafael Fonseca, MD</a:t>
            </a:r>
            <a:br>
              <a:rPr lang="en-US" sz="2400" b="1" noProof="0">
                <a:solidFill>
                  <a:schemeClr val="accent1">
                    <a:lumMod val="50000"/>
                  </a:schemeClr>
                </a:solidFill>
                <a:latin typeface="Arial" charset="0"/>
                <a:ea typeface="ＭＳ Ｐゴシック" charset="0"/>
                <a:cs typeface="ＭＳ Ｐゴシック" charset="0"/>
              </a:rPr>
            </a:br>
            <a:r>
              <a:rPr lang="en-US" sz="2400" b="1" noProof="0">
                <a:solidFill>
                  <a:schemeClr val="accent1">
                    <a:lumMod val="50000"/>
                  </a:schemeClr>
                </a:solidFill>
                <a:latin typeface="Arial" charset="0"/>
                <a:ea typeface="ＭＳ Ｐゴシック" charset="0"/>
                <a:cs typeface="ＭＳ Ｐゴシック" charset="0"/>
              </a:rPr>
              <a:t>Chief Innovation Officer</a:t>
            </a:r>
            <a:br>
              <a:rPr lang="en-US" sz="2400" b="1" noProof="0">
                <a:solidFill>
                  <a:schemeClr val="accent1">
                    <a:lumMod val="50000"/>
                  </a:schemeClr>
                </a:solidFill>
                <a:latin typeface="Arial" charset="0"/>
                <a:ea typeface="ＭＳ Ｐゴシック" charset="0"/>
                <a:cs typeface="ＭＳ Ｐゴシック" charset="0"/>
              </a:rPr>
            </a:br>
            <a:br>
              <a:rPr lang="en-US" sz="2400" b="1" noProof="0">
                <a:solidFill>
                  <a:schemeClr val="accent1">
                    <a:lumMod val="50000"/>
                  </a:schemeClr>
                </a:solidFill>
                <a:latin typeface="Arial" charset="0"/>
                <a:ea typeface="ＭＳ Ｐゴシック" charset="0"/>
                <a:cs typeface="ＭＳ Ｐゴシック" charset="0"/>
              </a:rPr>
            </a:br>
            <a:r>
              <a:rPr lang="en-US" sz="2400" noProof="0">
                <a:solidFill>
                  <a:schemeClr val="accent1">
                    <a:lumMod val="50000"/>
                  </a:schemeClr>
                </a:solidFill>
                <a:latin typeface="Arial" charset="0"/>
                <a:ea typeface="ＭＳ Ｐゴシック" charset="0"/>
                <a:cs typeface="ＭＳ Ｐゴシック" charset="0"/>
              </a:rPr>
              <a:t>Mayo Clinic in Arizona</a:t>
            </a:r>
            <a:br>
              <a:rPr lang="en-US" sz="2400" b="1" noProof="0">
                <a:solidFill>
                  <a:schemeClr val="accent1">
                    <a:lumMod val="50000"/>
                  </a:schemeClr>
                </a:solidFill>
                <a:latin typeface="Arial" charset="0"/>
                <a:ea typeface="ＭＳ Ｐゴシック" charset="0"/>
                <a:cs typeface="ＭＳ Ｐゴシック" charset="0"/>
              </a:rPr>
            </a:br>
            <a:r>
              <a:rPr lang="en-US" sz="2400" noProof="0">
                <a:solidFill>
                  <a:schemeClr val="accent1">
                    <a:lumMod val="50000"/>
                  </a:schemeClr>
                </a:solidFill>
                <a:latin typeface="Arial" charset="0"/>
                <a:ea typeface="ＭＳ Ｐゴシック" charset="0"/>
                <a:cs typeface="ＭＳ Ｐゴシック" charset="0"/>
              </a:rPr>
              <a:t>Is </a:t>
            </a:r>
            <a:r>
              <a:rPr lang="en-US" sz="2400" b="1" noProof="0">
                <a:solidFill>
                  <a:schemeClr val="accent1">
                    <a:lumMod val="50000"/>
                  </a:schemeClr>
                </a:solidFill>
                <a:latin typeface="Arial" charset="0"/>
                <a:ea typeface="ＭＳ Ｐゴシック" charset="0"/>
                <a:cs typeface="ＭＳ Ｐゴシック" charset="0"/>
              </a:rPr>
              <a:t>Myeloma Curabl</a:t>
            </a:r>
            <a:r>
              <a:rPr lang="en-US" sz="2400" noProof="0">
                <a:solidFill>
                  <a:schemeClr val="accent1">
                    <a:lumMod val="50000"/>
                  </a:schemeClr>
                </a:solidFill>
                <a:latin typeface="Arial" charset="0"/>
                <a:ea typeface="ＭＳ Ｐゴシック" charset="0"/>
                <a:cs typeface="ＭＳ Ｐゴシック" charset="0"/>
              </a:rPr>
              <a:t>e? YES!</a:t>
            </a:r>
            <a:endParaRPr lang="en-US" sz="2400" b="1" noProof="0">
              <a:solidFill>
                <a:schemeClr val="accent1">
                  <a:lumMod val="50000"/>
                </a:schemeClr>
              </a:solidFill>
              <a:latin typeface="Arial" charset="0"/>
              <a:ea typeface="ＭＳ Ｐゴシック" charset="0"/>
              <a:cs typeface="ＭＳ Ｐゴシック" charset="0"/>
            </a:endParaRPr>
          </a:p>
        </p:txBody>
      </p:sp>
      <p:grpSp>
        <p:nvGrpSpPr>
          <p:cNvPr id="168963" name="Group 3"/>
          <p:cNvGrpSpPr>
            <a:grpSpLocks/>
          </p:cNvGrpSpPr>
          <p:nvPr/>
        </p:nvGrpSpPr>
        <p:grpSpPr bwMode="auto">
          <a:xfrm>
            <a:off x="1427562" y="2214564"/>
            <a:ext cx="6449615" cy="2394347"/>
            <a:chOff x="239" y="1860"/>
            <a:chExt cx="5417" cy="2011"/>
          </a:xfrm>
        </p:grpSpPr>
        <p:pic>
          <p:nvPicPr>
            <p:cNvPr id="168966" name="Picture 4" descr="tph1092925-1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 y="2288"/>
              <a:ext cx="1788" cy="1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967" name="Picture 5" descr="7p2s8788-revgonda"/>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73" y="1860"/>
              <a:ext cx="1412" cy="1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968" name="Picture 6" descr="ja-davisentrance"/>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710" y="2352"/>
              <a:ext cx="1946" cy="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199" name="Text Box 7"/>
            <p:cNvSpPr txBox="1">
              <a:spLocks noChangeArrowheads="1"/>
            </p:cNvSpPr>
            <p:nvPr/>
          </p:nvSpPr>
          <p:spPr bwMode="auto">
            <a:xfrm>
              <a:off x="530" y="3626"/>
              <a:ext cx="1200" cy="233"/>
            </a:xfrm>
            <a:prstGeom prst="rect">
              <a:avLst/>
            </a:prstGeom>
            <a:noFill/>
            <a:ln w="9525">
              <a:noFill/>
              <a:miter lim="800000"/>
              <a:headEnd/>
              <a:tailEnd/>
            </a:ln>
            <a:effectLst/>
          </p:spPr>
          <p:txBody>
            <a:bodyPr wrap="none">
              <a:spAutoFit/>
            </a:bodyPr>
            <a:lstStyle>
              <a:lvl1pPr eaLnBrk="0" hangingPunct="0">
                <a:defRPr sz="2400" i="1">
                  <a:solidFill>
                    <a:schemeClr val="tx1"/>
                  </a:solidFill>
                  <a:latin typeface="Arial" charset="0"/>
                  <a:ea typeface="ＭＳ Ｐゴシック" charset="0"/>
                  <a:cs typeface="ＭＳ Ｐゴシック" charset="0"/>
                </a:defRPr>
              </a:lvl1pPr>
              <a:lvl2pPr marL="37931725" indent="-37474525" eaLnBrk="0" hangingPunct="0">
                <a:defRPr sz="2400" i="1">
                  <a:solidFill>
                    <a:schemeClr val="tx1"/>
                  </a:solidFill>
                  <a:latin typeface="Arial" charset="0"/>
                  <a:ea typeface="ＭＳ Ｐゴシック" charset="0"/>
                </a:defRPr>
              </a:lvl2pPr>
              <a:lvl3pPr eaLnBrk="0" hangingPunct="0">
                <a:defRPr sz="2400" i="1">
                  <a:solidFill>
                    <a:schemeClr val="tx1"/>
                  </a:solidFill>
                  <a:latin typeface="Arial" charset="0"/>
                  <a:ea typeface="ＭＳ Ｐゴシック" charset="0"/>
                </a:defRPr>
              </a:lvl3pPr>
              <a:lvl4pPr eaLnBrk="0" hangingPunct="0">
                <a:defRPr sz="2400" i="1">
                  <a:solidFill>
                    <a:schemeClr val="tx1"/>
                  </a:solidFill>
                  <a:latin typeface="Arial" charset="0"/>
                  <a:ea typeface="ＭＳ Ｐゴシック" charset="0"/>
                </a:defRPr>
              </a:lvl4pPr>
              <a:lvl5pPr eaLnBrk="0" hangingPunct="0">
                <a:defRPr sz="2400" i="1">
                  <a:solidFill>
                    <a:schemeClr val="tx1"/>
                  </a:solidFill>
                  <a:latin typeface="Arial" charset="0"/>
                  <a:ea typeface="ＭＳ Ｐゴシック" charset="0"/>
                </a:defRPr>
              </a:lvl5pPr>
              <a:lvl6pPr marL="457200" eaLnBrk="0" fontAlgn="base" hangingPunct="0">
                <a:spcBef>
                  <a:spcPct val="0"/>
                </a:spcBef>
                <a:spcAft>
                  <a:spcPct val="0"/>
                </a:spcAft>
                <a:defRPr sz="2400" i="1">
                  <a:solidFill>
                    <a:schemeClr val="tx1"/>
                  </a:solidFill>
                  <a:latin typeface="Arial" charset="0"/>
                  <a:ea typeface="ＭＳ Ｐゴシック" charset="0"/>
                </a:defRPr>
              </a:lvl6pPr>
              <a:lvl7pPr marL="914400" eaLnBrk="0" fontAlgn="base" hangingPunct="0">
                <a:spcBef>
                  <a:spcPct val="0"/>
                </a:spcBef>
                <a:spcAft>
                  <a:spcPct val="0"/>
                </a:spcAft>
                <a:defRPr sz="2400" i="1">
                  <a:solidFill>
                    <a:schemeClr val="tx1"/>
                  </a:solidFill>
                  <a:latin typeface="Arial" charset="0"/>
                  <a:ea typeface="ＭＳ Ｐゴシック" charset="0"/>
                </a:defRPr>
              </a:lvl7pPr>
              <a:lvl8pPr marL="1371600" eaLnBrk="0" fontAlgn="base" hangingPunct="0">
                <a:spcBef>
                  <a:spcPct val="0"/>
                </a:spcBef>
                <a:spcAft>
                  <a:spcPct val="0"/>
                </a:spcAft>
                <a:defRPr sz="2400" i="1">
                  <a:solidFill>
                    <a:schemeClr val="tx1"/>
                  </a:solidFill>
                  <a:latin typeface="Arial" charset="0"/>
                  <a:ea typeface="ＭＳ Ｐゴシック" charset="0"/>
                </a:defRPr>
              </a:lvl8pPr>
              <a:lvl9pPr marL="1828800" eaLnBrk="0" fontAlgn="base" hangingPunct="0">
                <a:spcBef>
                  <a:spcPct val="0"/>
                </a:spcBef>
                <a:spcAft>
                  <a:spcPct val="0"/>
                </a:spcAft>
                <a:defRPr sz="2400" i="1">
                  <a:solidFill>
                    <a:schemeClr val="tx1"/>
                  </a:solidFill>
                  <a:latin typeface="Arial" charset="0"/>
                  <a:ea typeface="ＭＳ Ｐゴシック" charset="0"/>
                </a:defRPr>
              </a:lvl9p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30000" noProof="0">
                  <a:ln>
                    <a:noFill/>
                  </a:ln>
                  <a:solidFill>
                    <a:prstClr val="black"/>
                  </a:solidFill>
                  <a:effectLst>
                    <a:outerShdw blurRad="38100" dist="38100" dir="2700000" algn="tl">
                      <a:srgbClr val="DDDDDD"/>
                    </a:outerShdw>
                  </a:effectLst>
                  <a:uLnTx/>
                  <a:uFillTx/>
                  <a:latin typeface="Arial" charset="0"/>
                  <a:ea typeface="ＭＳ Ｐゴシック" charset="0"/>
                </a:rPr>
                <a:t>Phoenix, Arizona</a:t>
              </a:r>
            </a:p>
          </p:txBody>
        </p:sp>
        <p:sp>
          <p:nvSpPr>
            <p:cNvPr id="136200" name="Text Box 8"/>
            <p:cNvSpPr txBox="1">
              <a:spLocks noChangeArrowheads="1"/>
            </p:cNvSpPr>
            <p:nvPr/>
          </p:nvSpPr>
          <p:spPr bwMode="auto">
            <a:xfrm>
              <a:off x="2162" y="3632"/>
              <a:ext cx="1490" cy="233"/>
            </a:xfrm>
            <a:prstGeom prst="rect">
              <a:avLst/>
            </a:prstGeom>
            <a:noFill/>
            <a:ln w="9525">
              <a:noFill/>
              <a:miter lim="800000"/>
              <a:headEnd/>
              <a:tailEnd/>
            </a:ln>
            <a:effectLst/>
          </p:spPr>
          <p:txBody>
            <a:bodyPr wrap="none">
              <a:spAutoFit/>
            </a:bodyPr>
            <a:lstStyle>
              <a:lvl1pPr eaLnBrk="0" hangingPunct="0">
                <a:defRPr sz="2400" i="1">
                  <a:solidFill>
                    <a:schemeClr val="tx1"/>
                  </a:solidFill>
                  <a:latin typeface="Arial" charset="0"/>
                  <a:ea typeface="ＭＳ Ｐゴシック" charset="0"/>
                  <a:cs typeface="ＭＳ Ｐゴシック" charset="0"/>
                </a:defRPr>
              </a:lvl1pPr>
              <a:lvl2pPr marL="37931725" indent="-37474525" eaLnBrk="0" hangingPunct="0">
                <a:defRPr sz="2400" i="1">
                  <a:solidFill>
                    <a:schemeClr val="tx1"/>
                  </a:solidFill>
                  <a:latin typeface="Arial" charset="0"/>
                  <a:ea typeface="ＭＳ Ｐゴシック" charset="0"/>
                </a:defRPr>
              </a:lvl2pPr>
              <a:lvl3pPr eaLnBrk="0" hangingPunct="0">
                <a:defRPr sz="2400" i="1">
                  <a:solidFill>
                    <a:schemeClr val="tx1"/>
                  </a:solidFill>
                  <a:latin typeface="Arial" charset="0"/>
                  <a:ea typeface="ＭＳ Ｐゴシック" charset="0"/>
                </a:defRPr>
              </a:lvl3pPr>
              <a:lvl4pPr eaLnBrk="0" hangingPunct="0">
                <a:defRPr sz="2400" i="1">
                  <a:solidFill>
                    <a:schemeClr val="tx1"/>
                  </a:solidFill>
                  <a:latin typeface="Arial" charset="0"/>
                  <a:ea typeface="ＭＳ Ｐゴシック" charset="0"/>
                </a:defRPr>
              </a:lvl4pPr>
              <a:lvl5pPr eaLnBrk="0" hangingPunct="0">
                <a:defRPr sz="2400" i="1">
                  <a:solidFill>
                    <a:schemeClr val="tx1"/>
                  </a:solidFill>
                  <a:latin typeface="Arial" charset="0"/>
                  <a:ea typeface="ＭＳ Ｐゴシック" charset="0"/>
                </a:defRPr>
              </a:lvl5pPr>
              <a:lvl6pPr marL="457200" eaLnBrk="0" fontAlgn="base" hangingPunct="0">
                <a:spcBef>
                  <a:spcPct val="0"/>
                </a:spcBef>
                <a:spcAft>
                  <a:spcPct val="0"/>
                </a:spcAft>
                <a:defRPr sz="2400" i="1">
                  <a:solidFill>
                    <a:schemeClr val="tx1"/>
                  </a:solidFill>
                  <a:latin typeface="Arial" charset="0"/>
                  <a:ea typeface="ＭＳ Ｐゴシック" charset="0"/>
                </a:defRPr>
              </a:lvl6pPr>
              <a:lvl7pPr marL="914400" eaLnBrk="0" fontAlgn="base" hangingPunct="0">
                <a:spcBef>
                  <a:spcPct val="0"/>
                </a:spcBef>
                <a:spcAft>
                  <a:spcPct val="0"/>
                </a:spcAft>
                <a:defRPr sz="2400" i="1">
                  <a:solidFill>
                    <a:schemeClr val="tx1"/>
                  </a:solidFill>
                  <a:latin typeface="Arial" charset="0"/>
                  <a:ea typeface="ＭＳ Ｐゴシック" charset="0"/>
                </a:defRPr>
              </a:lvl7pPr>
              <a:lvl8pPr marL="1371600" eaLnBrk="0" fontAlgn="base" hangingPunct="0">
                <a:spcBef>
                  <a:spcPct val="0"/>
                </a:spcBef>
                <a:spcAft>
                  <a:spcPct val="0"/>
                </a:spcAft>
                <a:defRPr sz="2400" i="1">
                  <a:solidFill>
                    <a:schemeClr val="tx1"/>
                  </a:solidFill>
                  <a:latin typeface="Arial" charset="0"/>
                  <a:ea typeface="ＭＳ Ｐゴシック" charset="0"/>
                </a:defRPr>
              </a:lvl8pPr>
              <a:lvl9pPr marL="1828800" eaLnBrk="0" fontAlgn="base" hangingPunct="0">
                <a:spcBef>
                  <a:spcPct val="0"/>
                </a:spcBef>
                <a:spcAft>
                  <a:spcPct val="0"/>
                </a:spcAft>
                <a:defRPr sz="2400" i="1">
                  <a:solidFill>
                    <a:schemeClr val="tx1"/>
                  </a:solidFill>
                  <a:latin typeface="Arial" charset="0"/>
                  <a:ea typeface="ＭＳ Ｐゴシック" charset="0"/>
                </a:defRPr>
              </a:lvl9p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30000" noProof="0">
                  <a:ln>
                    <a:noFill/>
                  </a:ln>
                  <a:solidFill>
                    <a:prstClr val="black"/>
                  </a:solidFill>
                  <a:effectLst>
                    <a:outerShdw blurRad="38100" dist="38100" dir="2700000" algn="tl">
                      <a:srgbClr val="DDDDDD"/>
                    </a:outerShdw>
                  </a:effectLst>
                  <a:uLnTx/>
                  <a:uFillTx/>
                  <a:latin typeface="Arial" charset="0"/>
                  <a:ea typeface="ＭＳ Ｐゴシック" charset="0"/>
                </a:rPr>
                <a:t>Rochester, Minnesota</a:t>
              </a:r>
            </a:p>
          </p:txBody>
        </p:sp>
        <p:sp>
          <p:nvSpPr>
            <p:cNvPr id="136201" name="Text Box 9"/>
            <p:cNvSpPr txBox="1">
              <a:spLocks noChangeArrowheads="1"/>
            </p:cNvSpPr>
            <p:nvPr/>
          </p:nvSpPr>
          <p:spPr bwMode="auto">
            <a:xfrm>
              <a:off x="4034" y="3638"/>
              <a:ext cx="1427" cy="233"/>
            </a:xfrm>
            <a:prstGeom prst="rect">
              <a:avLst/>
            </a:prstGeom>
            <a:noFill/>
            <a:ln w="9525">
              <a:noFill/>
              <a:miter lim="800000"/>
              <a:headEnd/>
              <a:tailEnd/>
            </a:ln>
            <a:effectLst/>
          </p:spPr>
          <p:txBody>
            <a:bodyPr wrap="none">
              <a:spAutoFit/>
            </a:bodyPr>
            <a:lstStyle>
              <a:lvl1pPr eaLnBrk="0" hangingPunct="0">
                <a:defRPr sz="2400" i="1">
                  <a:solidFill>
                    <a:schemeClr val="tx1"/>
                  </a:solidFill>
                  <a:latin typeface="Arial" charset="0"/>
                  <a:ea typeface="ＭＳ Ｐゴシック" charset="0"/>
                  <a:cs typeface="ＭＳ Ｐゴシック" charset="0"/>
                </a:defRPr>
              </a:lvl1pPr>
              <a:lvl2pPr marL="37931725" indent="-37474525" eaLnBrk="0" hangingPunct="0">
                <a:defRPr sz="2400" i="1">
                  <a:solidFill>
                    <a:schemeClr val="tx1"/>
                  </a:solidFill>
                  <a:latin typeface="Arial" charset="0"/>
                  <a:ea typeface="ＭＳ Ｐゴシック" charset="0"/>
                </a:defRPr>
              </a:lvl2pPr>
              <a:lvl3pPr eaLnBrk="0" hangingPunct="0">
                <a:defRPr sz="2400" i="1">
                  <a:solidFill>
                    <a:schemeClr val="tx1"/>
                  </a:solidFill>
                  <a:latin typeface="Arial" charset="0"/>
                  <a:ea typeface="ＭＳ Ｐゴシック" charset="0"/>
                </a:defRPr>
              </a:lvl3pPr>
              <a:lvl4pPr eaLnBrk="0" hangingPunct="0">
                <a:defRPr sz="2400" i="1">
                  <a:solidFill>
                    <a:schemeClr val="tx1"/>
                  </a:solidFill>
                  <a:latin typeface="Arial" charset="0"/>
                  <a:ea typeface="ＭＳ Ｐゴシック" charset="0"/>
                </a:defRPr>
              </a:lvl4pPr>
              <a:lvl5pPr eaLnBrk="0" hangingPunct="0">
                <a:defRPr sz="2400" i="1">
                  <a:solidFill>
                    <a:schemeClr val="tx1"/>
                  </a:solidFill>
                  <a:latin typeface="Arial" charset="0"/>
                  <a:ea typeface="ＭＳ Ｐゴシック" charset="0"/>
                </a:defRPr>
              </a:lvl5pPr>
              <a:lvl6pPr marL="457200" eaLnBrk="0" fontAlgn="base" hangingPunct="0">
                <a:spcBef>
                  <a:spcPct val="0"/>
                </a:spcBef>
                <a:spcAft>
                  <a:spcPct val="0"/>
                </a:spcAft>
                <a:defRPr sz="2400" i="1">
                  <a:solidFill>
                    <a:schemeClr val="tx1"/>
                  </a:solidFill>
                  <a:latin typeface="Arial" charset="0"/>
                  <a:ea typeface="ＭＳ Ｐゴシック" charset="0"/>
                </a:defRPr>
              </a:lvl6pPr>
              <a:lvl7pPr marL="914400" eaLnBrk="0" fontAlgn="base" hangingPunct="0">
                <a:spcBef>
                  <a:spcPct val="0"/>
                </a:spcBef>
                <a:spcAft>
                  <a:spcPct val="0"/>
                </a:spcAft>
                <a:defRPr sz="2400" i="1">
                  <a:solidFill>
                    <a:schemeClr val="tx1"/>
                  </a:solidFill>
                  <a:latin typeface="Arial" charset="0"/>
                  <a:ea typeface="ＭＳ Ｐゴシック" charset="0"/>
                </a:defRPr>
              </a:lvl7pPr>
              <a:lvl8pPr marL="1371600" eaLnBrk="0" fontAlgn="base" hangingPunct="0">
                <a:spcBef>
                  <a:spcPct val="0"/>
                </a:spcBef>
                <a:spcAft>
                  <a:spcPct val="0"/>
                </a:spcAft>
                <a:defRPr sz="2400" i="1">
                  <a:solidFill>
                    <a:schemeClr val="tx1"/>
                  </a:solidFill>
                  <a:latin typeface="Arial" charset="0"/>
                  <a:ea typeface="ＭＳ Ｐゴシック" charset="0"/>
                </a:defRPr>
              </a:lvl8pPr>
              <a:lvl9pPr marL="1828800" eaLnBrk="0" fontAlgn="base" hangingPunct="0">
                <a:spcBef>
                  <a:spcPct val="0"/>
                </a:spcBef>
                <a:spcAft>
                  <a:spcPct val="0"/>
                </a:spcAft>
                <a:defRPr sz="2400" i="1">
                  <a:solidFill>
                    <a:schemeClr val="tx1"/>
                  </a:solidFill>
                  <a:latin typeface="Arial" charset="0"/>
                  <a:ea typeface="ＭＳ Ｐゴシック" charset="0"/>
                </a:defRPr>
              </a:lvl9p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30000" noProof="0">
                  <a:ln>
                    <a:noFill/>
                  </a:ln>
                  <a:solidFill>
                    <a:prstClr val="black"/>
                  </a:solidFill>
                  <a:effectLst>
                    <a:outerShdw blurRad="38100" dist="38100" dir="2700000" algn="tl">
                      <a:srgbClr val="DDDDDD"/>
                    </a:outerShdw>
                  </a:effectLst>
                  <a:uLnTx/>
                  <a:uFillTx/>
                  <a:latin typeface="Arial" charset="0"/>
                  <a:ea typeface="ＭＳ Ｐゴシック" charset="0"/>
                </a:rPr>
                <a:t>Jacksonville, Florida</a:t>
              </a:r>
            </a:p>
          </p:txBody>
        </p:sp>
      </p:grpSp>
      <p:sp>
        <p:nvSpPr>
          <p:cNvPr id="136202" name="Rectangle 10"/>
          <p:cNvSpPr>
            <a:spLocks noChangeArrowheads="1"/>
          </p:cNvSpPr>
          <p:nvPr/>
        </p:nvSpPr>
        <p:spPr bwMode="auto">
          <a:xfrm>
            <a:off x="0" y="4549381"/>
            <a:ext cx="9144000" cy="704846"/>
          </a:xfrm>
          <a:prstGeom prst="rect">
            <a:avLst/>
          </a:prstGeom>
          <a:solidFill>
            <a:srgbClr val="000080">
              <a:alpha val="99001"/>
            </a:srgbClr>
          </a:solidFill>
          <a:ln w="9525">
            <a:noFill/>
            <a:miter lim="800000"/>
            <a:headEnd/>
            <a:tailEnd/>
          </a:ln>
          <a:effectLst/>
        </p:spPr>
        <p:txBody>
          <a:bodyPr wrap="none" lIns="68564" tIns="34282" rIns="68564" bIns="34282" anchor="b"/>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Calibri"/>
                <a:ea typeface="+mn-ea"/>
                <a:cs typeface="+mn-cs"/>
              </a:rPr>
              <a:t>Mayo Clinic College of Medicin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Calibri"/>
                <a:ea typeface="+mn-ea"/>
                <a:cs typeface="+mn-cs"/>
              </a:rPr>
              <a:t>Mayo Clinic Comprehensive Cancer Center</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30000" noProof="0">
              <a:ln>
                <a:noFill/>
              </a:ln>
              <a:solidFill>
                <a:prstClr val="white"/>
              </a:solidFill>
              <a:effectLst>
                <a:outerShdw blurRad="38100" dist="38100" dir="2700000" algn="tl">
                  <a:srgbClr val="000000"/>
                </a:outerShdw>
              </a:effectLst>
              <a:uLnTx/>
              <a:uFillTx/>
              <a:latin typeface="Calibri"/>
              <a:ea typeface="+mn-ea"/>
              <a:cs typeface="+mn-cs"/>
            </a:endParaRPr>
          </a:p>
        </p:txBody>
      </p:sp>
      <p:pic>
        <p:nvPicPr>
          <p:cNvPr id="168965" name="Picture 11" descr="MC-Bu-Bk 300"/>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463688" y="4739881"/>
            <a:ext cx="1528763" cy="3857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9528297"/>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2A75C76-E4C4-E441-995D-72604371B8AD}"/>
              </a:ext>
            </a:extLst>
          </p:cNvPr>
          <p:cNvSpPr/>
          <p:nvPr/>
        </p:nvSpPr>
        <p:spPr bwMode="auto">
          <a:xfrm>
            <a:off x="685800" y="2505384"/>
            <a:ext cx="7609114" cy="2228852"/>
          </a:xfrm>
          <a:prstGeom prst="rect">
            <a:avLst/>
          </a:prstGeom>
          <a:solidFill>
            <a:srgbClr val="FFC000">
              <a:alpha val="65098"/>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1" u="none" strike="noStrike" kern="1200" cap="none" spc="0" normalizeH="0" baseline="0" noProof="0">
              <a:ln>
                <a:noFill/>
              </a:ln>
              <a:solidFill>
                <a:prstClr val="black"/>
              </a:solidFill>
              <a:effectLst/>
              <a:uLnTx/>
              <a:uFillTx/>
              <a:latin typeface="Arial" pitchFamily="-108" charset="0"/>
              <a:ea typeface="+mn-ea"/>
              <a:cs typeface="+mn-cs"/>
            </a:endParaRPr>
          </a:p>
        </p:txBody>
      </p:sp>
      <p:sp>
        <p:nvSpPr>
          <p:cNvPr id="201744" name="Rectangle 16"/>
          <p:cNvSpPr>
            <a:spLocks noChangeArrowheads="1"/>
          </p:cNvSpPr>
          <p:nvPr/>
        </p:nvSpPr>
        <p:spPr bwMode="auto">
          <a:xfrm>
            <a:off x="685800" y="358574"/>
            <a:ext cx="77724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p>
            <a:pPr marL="0" marR="0" lvl="0" indent="0" algn="ctr" defTabSz="914400" rtl="0" eaLnBrk="0" fontAlgn="base" latinLnBrk="0" hangingPunct="0">
              <a:lnSpc>
                <a:spcPct val="90000"/>
              </a:lnSpc>
              <a:spcBef>
                <a:spcPct val="0"/>
              </a:spcBef>
              <a:spcAft>
                <a:spcPts val="600"/>
              </a:spcAft>
              <a:buClrTx/>
              <a:buSzTx/>
              <a:buFontTx/>
              <a:buNone/>
              <a:tabLst/>
              <a:defRPr/>
            </a:pPr>
            <a:r>
              <a:rPr kumimoji="0" lang="en-US" sz="2400" b="1" i="0" u="none" strike="noStrike" kern="1200" cap="none" spc="0" normalizeH="0" baseline="0" noProof="0">
                <a:ln>
                  <a:noFill/>
                </a:ln>
                <a:solidFill>
                  <a:srgbClr val="1F497D"/>
                </a:solidFill>
                <a:effectLst/>
                <a:uLnTx/>
                <a:uFillTx/>
                <a:latin typeface="Arial"/>
                <a:ea typeface="ＭＳ Ｐゴシック" pitchFamily="-108" charset="-128"/>
                <a:cs typeface="ＭＳ Ｐゴシック" pitchFamily="-108" charset="-128"/>
              </a:rPr>
              <a:t>Definition</a:t>
            </a:r>
          </a:p>
        </p:txBody>
      </p:sp>
      <p:sp>
        <p:nvSpPr>
          <p:cNvPr id="22530" name="Content Placeholder 17"/>
          <p:cNvSpPr>
            <a:spLocks noGrp="1"/>
          </p:cNvSpPr>
          <p:nvPr>
            <p:ph sz="half" idx="1"/>
          </p:nvPr>
        </p:nvSpPr>
        <p:spPr>
          <a:xfrm>
            <a:off x="388884" y="867743"/>
            <a:ext cx="4846872" cy="3811556"/>
          </a:xfrm>
        </p:spPr>
        <p:txBody>
          <a:bodyPr vert="horz" wrap="square" lIns="91440" tIns="45720" rIns="91440" bIns="45720" numCol="1" anchor="t" anchorCtr="0" compatLnSpc="1">
            <a:prstTxWarp prst="textNoShape">
              <a:avLst/>
            </a:prstTxWarp>
            <a:normAutofit/>
          </a:bodyPr>
          <a:lstStyle/>
          <a:p>
            <a:pPr>
              <a:lnSpc>
                <a:spcPct val="150000"/>
              </a:lnSpc>
            </a:pPr>
            <a:r>
              <a:rPr lang="en-US" sz="2400" noProof="0"/>
              <a:t>“Curable”</a:t>
            </a:r>
          </a:p>
          <a:p>
            <a:pPr lvl="1">
              <a:lnSpc>
                <a:spcPct val="150000"/>
              </a:lnSpc>
              <a:buFont typeface="Arial" panose="020B0604020202020204" pitchFamily="34" charset="0"/>
              <a:buChar char="–"/>
            </a:pPr>
            <a:r>
              <a:rPr lang="en-US" sz="2000" noProof="0"/>
              <a:t>Simple and short treatment that results in disease eradication?</a:t>
            </a:r>
            <a:endParaRPr lang="en-US" sz="1800" noProof="0"/>
          </a:p>
          <a:p>
            <a:pPr lvl="1">
              <a:lnSpc>
                <a:spcPct val="150000"/>
              </a:lnSpc>
              <a:buFont typeface="Arial" panose="020B0604020202020204" pitchFamily="34" charset="0"/>
              <a:buChar char="–"/>
            </a:pPr>
            <a:r>
              <a:rPr lang="en-US" sz="2000" noProof="0"/>
              <a:t>Total eradication of the disease with normal life expectancy?</a:t>
            </a:r>
          </a:p>
          <a:p>
            <a:pPr lvl="1">
              <a:lnSpc>
                <a:spcPct val="150000"/>
              </a:lnSpc>
              <a:buFont typeface="Arial" panose="020B0604020202020204" pitchFamily="34" charset="0"/>
              <a:buChar char="–"/>
            </a:pPr>
            <a:r>
              <a:rPr lang="en-US" sz="2000" noProof="0"/>
              <a:t>Control of the disease with normal life expectancy?</a:t>
            </a:r>
          </a:p>
        </p:txBody>
      </p:sp>
      <p:sp>
        <p:nvSpPr>
          <p:cNvPr id="5" name="Content Placeholder 17">
            <a:extLst>
              <a:ext uri="{FF2B5EF4-FFF2-40B4-BE49-F238E27FC236}">
                <a16:creationId xmlns:a16="http://schemas.microsoft.com/office/drawing/2014/main" id="{8E953FFD-4D54-7247-A950-8456F8347D7C}"/>
              </a:ext>
            </a:extLst>
          </p:cNvPr>
          <p:cNvSpPr txBox="1">
            <a:spLocks/>
          </p:cNvSpPr>
          <p:nvPr/>
        </p:nvSpPr>
        <p:spPr bwMode="auto">
          <a:xfrm>
            <a:off x="6214188" y="992156"/>
            <a:ext cx="2149148" cy="381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213122" indent="-213122" algn="l" rtl="0" eaLnBrk="0" fontAlgn="base" hangingPunct="0">
              <a:lnSpc>
                <a:spcPct val="90000"/>
              </a:lnSpc>
              <a:spcBef>
                <a:spcPct val="50000"/>
              </a:spcBef>
              <a:spcAft>
                <a:spcPct val="0"/>
              </a:spcAft>
              <a:buClr>
                <a:schemeClr val="tx2"/>
              </a:buClr>
              <a:buSzPct val="120000"/>
              <a:buChar char="•"/>
              <a:defRPr sz="2100" b="1">
                <a:solidFill>
                  <a:schemeClr val="tx1"/>
                </a:solidFill>
                <a:latin typeface="+mn-lt"/>
                <a:ea typeface="ＭＳ Ｐゴシック" pitchFamily="-108" charset="-128"/>
                <a:cs typeface="ＭＳ Ｐゴシック" pitchFamily="-108" charset="-128"/>
              </a:defRPr>
            </a:lvl1pPr>
            <a:lvl2pPr marL="645319" indent="-220266" algn="l" rtl="0" eaLnBrk="0" fontAlgn="base" hangingPunct="0">
              <a:lnSpc>
                <a:spcPct val="90000"/>
              </a:lnSpc>
              <a:spcBef>
                <a:spcPct val="20000"/>
              </a:spcBef>
              <a:spcAft>
                <a:spcPct val="0"/>
              </a:spcAft>
              <a:buClr>
                <a:schemeClr val="folHlink"/>
              </a:buClr>
              <a:buSzPct val="120000"/>
              <a:buChar char="•"/>
              <a:defRPr sz="1800" b="1">
                <a:solidFill>
                  <a:schemeClr val="tx1"/>
                </a:solidFill>
                <a:latin typeface="+mn-lt"/>
                <a:ea typeface="ＭＳ Ｐゴシック" pitchFamily="-108" charset="-128"/>
              </a:defRPr>
            </a:lvl2pPr>
            <a:lvl3pPr marL="983456" indent="-211931" algn="l" rtl="0" eaLnBrk="0" fontAlgn="base" hangingPunct="0">
              <a:lnSpc>
                <a:spcPct val="90000"/>
              </a:lnSpc>
              <a:spcBef>
                <a:spcPct val="20000"/>
              </a:spcBef>
              <a:spcAft>
                <a:spcPct val="0"/>
              </a:spcAft>
              <a:buClr>
                <a:schemeClr val="folHlink"/>
              </a:buClr>
              <a:buSzPct val="120000"/>
              <a:buChar char="•"/>
              <a:defRPr sz="1500" b="1">
                <a:solidFill>
                  <a:schemeClr val="tx1"/>
                </a:solidFill>
                <a:latin typeface="+mn-lt"/>
                <a:ea typeface="ＭＳ Ｐゴシック" pitchFamily="-108" charset="-128"/>
              </a:defRPr>
            </a:lvl3pPr>
            <a:lvl4pPr marL="1329929" indent="-211931" algn="l" rtl="0" eaLnBrk="0" fontAlgn="base" hangingPunct="0">
              <a:lnSpc>
                <a:spcPct val="90000"/>
              </a:lnSpc>
              <a:spcBef>
                <a:spcPct val="20000"/>
              </a:spcBef>
              <a:spcAft>
                <a:spcPct val="0"/>
              </a:spcAft>
              <a:buClr>
                <a:schemeClr val="folHlink"/>
              </a:buClr>
              <a:buSzPct val="120000"/>
              <a:buChar char="•"/>
              <a:defRPr sz="1350" b="1">
                <a:solidFill>
                  <a:schemeClr val="tx1"/>
                </a:solidFill>
                <a:latin typeface="+mn-lt"/>
                <a:ea typeface="ＭＳ Ｐゴシック" pitchFamily="-108" charset="-128"/>
              </a:defRPr>
            </a:lvl4pPr>
            <a:lvl5pPr marL="1669256" indent="-213122" algn="l" rtl="0" eaLnBrk="0" fontAlgn="base" hangingPunct="0">
              <a:lnSpc>
                <a:spcPct val="90000"/>
              </a:lnSpc>
              <a:spcBef>
                <a:spcPct val="20000"/>
              </a:spcBef>
              <a:spcAft>
                <a:spcPct val="0"/>
              </a:spcAft>
              <a:buClr>
                <a:schemeClr val="folHlink"/>
              </a:buClr>
              <a:buSzPct val="120000"/>
              <a:buChar char="•"/>
              <a:defRPr sz="1350" b="1">
                <a:solidFill>
                  <a:schemeClr val="tx1"/>
                </a:solidFill>
                <a:latin typeface="+mn-lt"/>
                <a:ea typeface="ＭＳ Ｐゴシック" pitchFamily="-108" charset="-128"/>
              </a:defRPr>
            </a:lvl5pPr>
            <a:lvl6pPr marL="2012156" indent="-213122" algn="l" rtl="0" fontAlgn="base">
              <a:lnSpc>
                <a:spcPct val="90000"/>
              </a:lnSpc>
              <a:spcBef>
                <a:spcPct val="20000"/>
              </a:spcBef>
              <a:spcAft>
                <a:spcPct val="0"/>
              </a:spcAft>
              <a:buClr>
                <a:schemeClr val="folHlink"/>
              </a:buClr>
              <a:buSzPct val="120000"/>
              <a:buChar char="•"/>
              <a:defRPr sz="1350" b="1">
                <a:solidFill>
                  <a:schemeClr val="tx1"/>
                </a:solidFill>
                <a:latin typeface="+mn-lt"/>
                <a:ea typeface="ＭＳ Ｐゴシック" pitchFamily="-108" charset="-128"/>
              </a:defRPr>
            </a:lvl6pPr>
            <a:lvl7pPr marL="2355056" indent="-213122" algn="l" rtl="0" fontAlgn="base">
              <a:lnSpc>
                <a:spcPct val="90000"/>
              </a:lnSpc>
              <a:spcBef>
                <a:spcPct val="20000"/>
              </a:spcBef>
              <a:spcAft>
                <a:spcPct val="0"/>
              </a:spcAft>
              <a:buClr>
                <a:schemeClr val="folHlink"/>
              </a:buClr>
              <a:buSzPct val="120000"/>
              <a:buChar char="•"/>
              <a:defRPr sz="1350" b="1">
                <a:solidFill>
                  <a:schemeClr val="tx1"/>
                </a:solidFill>
                <a:latin typeface="+mn-lt"/>
                <a:ea typeface="ＭＳ Ｐゴシック" pitchFamily="-108" charset="-128"/>
              </a:defRPr>
            </a:lvl7pPr>
            <a:lvl8pPr marL="2697956" indent="-213122" algn="l" rtl="0" fontAlgn="base">
              <a:lnSpc>
                <a:spcPct val="90000"/>
              </a:lnSpc>
              <a:spcBef>
                <a:spcPct val="20000"/>
              </a:spcBef>
              <a:spcAft>
                <a:spcPct val="0"/>
              </a:spcAft>
              <a:buClr>
                <a:schemeClr val="folHlink"/>
              </a:buClr>
              <a:buSzPct val="120000"/>
              <a:buChar char="•"/>
              <a:defRPr sz="1350" b="1">
                <a:solidFill>
                  <a:schemeClr val="tx1"/>
                </a:solidFill>
                <a:latin typeface="+mn-lt"/>
                <a:ea typeface="ＭＳ Ｐゴシック" pitchFamily="-108" charset="-128"/>
              </a:defRPr>
            </a:lvl8pPr>
            <a:lvl9pPr marL="3040856" indent="-213122" algn="l" rtl="0" fontAlgn="base">
              <a:lnSpc>
                <a:spcPct val="90000"/>
              </a:lnSpc>
              <a:spcBef>
                <a:spcPct val="20000"/>
              </a:spcBef>
              <a:spcAft>
                <a:spcPct val="0"/>
              </a:spcAft>
              <a:buClr>
                <a:schemeClr val="folHlink"/>
              </a:buClr>
              <a:buSzPct val="120000"/>
              <a:buChar char="•"/>
              <a:defRPr sz="1350" b="1">
                <a:solidFill>
                  <a:schemeClr val="tx1"/>
                </a:solidFill>
                <a:latin typeface="+mn-lt"/>
                <a:ea typeface="ＭＳ Ｐゴシック" pitchFamily="-108" charset="-128"/>
              </a:defRPr>
            </a:lvl9pPr>
          </a:lstStyle>
          <a:p>
            <a:pPr marL="645319" marR="0" lvl="1" indent="-220266" algn="l" defTabSz="914400" rtl="0" eaLnBrk="0" fontAlgn="base" latinLnBrk="0" hangingPunct="0">
              <a:lnSpc>
                <a:spcPct val="150000"/>
              </a:lnSpc>
              <a:spcBef>
                <a:spcPct val="20000"/>
              </a:spcBef>
              <a:spcAft>
                <a:spcPct val="0"/>
              </a:spcAft>
              <a:buClr>
                <a:srgbClr val="800080"/>
              </a:buClr>
              <a:buSzPct val="120000"/>
              <a:buFontTx/>
              <a:buChar char="•"/>
              <a:tabLst/>
              <a:defRPr/>
            </a:pPr>
            <a:endParaRPr kumimoji="0" lang="en-US" sz="2000" b="1" i="0" u="none" strike="noStrike" kern="0" cap="none" spc="0" normalizeH="0" baseline="0" noProof="0">
              <a:ln>
                <a:noFill/>
              </a:ln>
              <a:solidFill>
                <a:prstClr val="black"/>
              </a:solidFill>
              <a:effectLst/>
              <a:uLnTx/>
              <a:uFillTx/>
              <a:latin typeface="Arial"/>
              <a:ea typeface="ＭＳ Ｐゴシック" pitchFamily="-108" charset="-128"/>
              <a:cs typeface="+mn-cs"/>
            </a:endParaRPr>
          </a:p>
          <a:p>
            <a:pPr marL="645319" marR="0" lvl="1" indent="-220266" algn="l" defTabSz="914400" rtl="0" eaLnBrk="0" fontAlgn="base" latinLnBrk="0" hangingPunct="0">
              <a:lnSpc>
                <a:spcPct val="150000"/>
              </a:lnSpc>
              <a:spcBef>
                <a:spcPct val="20000"/>
              </a:spcBef>
              <a:spcAft>
                <a:spcPct val="0"/>
              </a:spcAft>
              <a:buClr>
                <a:srgbClr val="800080"/>
              </a:buClr>
              <a:buSzPct val="120000"/>
              <a:buFontTx/>
              <a:buChar char="•"/>
              <a:tabLst/>
              <a:defRPr/>
            </a:pPr>
            <a:endParaRPr kumimoji="0" lang="en-US" sz="2000" b="1" i="0" u="none" strike="noStrike" kern="0" cap="none" spc="0" normalizeH="0" baseline="0" noProof="0">
              <a:ln>
                <a:noFill/>
              </a:ln>
              <a:solidFill>
                <a:prstClr val="black"/>
              </a:solidFill>
              <a:effectLst/>
              <a:uLnTx/>
              <a:uFillTx/>
              <a:latin typeface="Arial"/>
              <a:ea typeface="ＭＳ Ｐゴシック" pitchFamily="-108" charset="-128"/>
              <a:cs typeface="+mn-cs"/>
            </a:endParaRPr>
          </a:p>
          <a:p>
            <a:pPr marL="425053" marR="0" lvl="1" indent="0" algn="l" defTabSz="914400" rtl="0" eaLnBrk="0" fontAlgn="base" latinLnBrk="0" hangingPunct="0">
              <a:lnSpc>
                <a:spcPct val="150000"/>
              </a:lnSpc>
              <a:spcBef>
                <a:spcPct val="20000"/>
              </a:spcBef>
              <a:spcAft>
                <a:spcPct val="0"/>
              </a:spcAft>
              <a:buClr>
                <a:srgbClr val="800080"/>
              </a:buClr>
              <a:buSzPct val="120000"/>
              <a:buFontTx/>
              <a:buNone/>
              <a:tabLst/>
              <a:defRPr/>
            </a:pPr>
            <a:endParaRPr kumimoji="0" lang="en-US" sz="2000" b="1" i="0" u="none" strike="noStrike" kern="0" cap="none" spc="0" normalizeH="0" baseline="0" noProof="0">
              <a:ln>
                <a:noFill/>
              </a:ln>
              <a:solidFill>
                <a:prstClr val="black"/>
              </a:solidFill>
              <a:effectLst/>
              <a:uLnTx/>
              <a:uFillTx/>
              <a:latin typeface="Arial"/>
              <a:ea typeface="ＭＳ Ｐゴシック" pitchFamily="-108" charset="-128"/>
              <a:cs typeface="+mn-cs"/>
            </a:endParaRPr>
          </a:p>
          <a:p>
            <a:pPr marL="645319" marR="0" lvl="1" indent="-220266" algn="l" defTabSz="914400" rtl="0" eaLnBrk="0" fontAlgn="base" latinLnBrk="0" hangingPunct="0">
              <a:lnSpc>
                <a:spcPct val="150000"/>
              </a:lnSpc>
              <a:spcBef>
                <a:spcPct val="20000"/>
              </a:spcBef>
              <a:spcAft>
                <a:spcPct val="0"/>
              </a:spcAft>
              <a:buClr>
                <a:srgbClr val="800080"/>
              </a:buClr>
              <a:buSzPct val="120000"/>
              <a:buFontTx/>
              <a:buChar char="•"/>
              <a:tabLst/>
              <a:defRPr/>
            </a:pPr>
            <a:r>
              <a:rPr kumimoji="0" lang="en-US" sz="1800" b="1" i="0" u="none" strike="noStrike" kern="0" cap="none" spc="0" normalizeH="0" baseline="0" noProof="0">
                <a:ln>
                  <a:noFill/>
                </a:ln>
                <a:solidFill>
                  <a:prstClr val="black"/>
                </a:solidFill>
                <a:effectLst/>
                <a:uLnTx/>
                <a:uFillTx/>
                <a:latin typeface="Arial"/>
                <a:ea typeface="ＭＳ Ｐゴシック" pitchFamily="-108" charset="-128"/>
                <a:cs typeface="+mn-cs"/>
              </a:rPr>
              <a:t>Can be</a:t>
            </a:r>
          </a:p>
          <a:p>
            <a:pPr marL="645319" marR="0" lvl="1" indent="-220266" algn="l" defTabSz="914400" rtl="0" eaLnBrk="0" fontAlgn="base" latinLnBrk="0" hangingPunct="0">
              <a:lnSpc>
                <a:spcPct val="150000"/>
              </a:lnSpc>
              <a:spcBef>
                <a:spcPct val="20000"/>
              </a:spcBef>
              <a:spcAft>
                <a:spcPct val="0"/>
              </a:spcAft>
              <a:buClr>
                <a:srgbClr val="800080"/>
              </a:buClr>
              <a:buSzPct val="120000"/>
              <a:buFontTx/>
              <a:buChar char="•"/>
              <a:tabLst/>
              <a:defRPr/>
            </a:pPr>
            <a:endParaRPr kumimoji="0" lang="en-US" sz="1800" b="1" i="0" u="none" strike="noStrike" kern="0" cap="none" spc="0" normalizeH="0" baseline="0" noProof="0">
              <a:ln>
                <a:noFill/>
              </a:ln>
              <a:solidFill>
                <a:prstClr val="black"/>
              </a:solidFill>
              <a:effectLst/>
              <a:uLnTx/>
              <a:uFillTx/>
              <a:latin typeface="Arial"/>
              <a:ea typeface="ＭＳ Ｐゴシック" pitchFamily="-108" charset="-128"/>
              <a:cs typeface="+mn-cs"/>
            </a:endParaRPr>
          </a:p>
          <a:p>
            <a:pPr marL="645319" marR="0" lvl="1" indent="-220266" algn="l" defTabSz="914400" rtl="0" eaLnBrk="0" fontAlgn="base" latinLnBrk="0" hangingPunct="0">
              <a:lnSpc>
                <a:spcPct val="150000"/>
              </a:lnSpc>
              <a:spcBef>
                <a:spcPct val="20000"/>
              </a:spcBef>
              <a:spcAft>
                <a:spcPct val="0"/>
              </a:spcAft>
              <a:buClr>
                <a:srgbClr val="800080"/>
              </a:buClr>
              <a:buSzPct val="120000"/>
              <a:buFontTx/>
              <a:buChar char="•"/>
              <a:tabLst/>
              <a:defRPr/>
            </a:pPr>
            <a:r>
              <a:rPr kumimoji="0" lang="en-US" sz="1800" b="1" i="0" u="none" strike="noStrike" kern="0" cap="none" spc="0" normalizeH="0" baseline="0" noProof="0">
                <a:ln>
                  <a:noFill/>
                </a:ln>
                <a:solidFill>
                  <a:prstClr val="black"/>
                </a:solidFill>
                <a:effectLst/>
                <a:uLnTx/>
                <a:uFillTx/>
                <a:latin typeface="Arial"/>
                <a:ea typeface="ＭＳ Ｐゴシック" pitchFamily="-108" charset="-128"/>
                <a:cs typeface="+mn-cs"/>
              </a:rPr>
              <a:t>Yes</a:t>
            </a:r>
          </a:p>
        </p:txBody>
      </p:sp>
      <p:pic>
        <p:nvPicPr>
          <p:cNvPr id="8" name="Picture 2" descr="Multiple Myeloma | Concise Medical Knowledge">
            <a:extLst>
              <a:ext uri="{FF2B5EF4-FFF2-40B4-BE49-F238E27FC236}">
                <a16:creationId xmlns:a16="http://schemas.microsoft.com/office/drawing/2014/main" id="{136B295D-BAC1-044F-A2FB-0BF81E8C6E9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235756" y="3587979"/>
            <a:ext cx="1089061" cy="9167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9023348"/>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2"/>
          <p:cNvSpPr>
            <a:spLocks noChangeArrowheads="1"/>
          </p:cNvSpPr>
          <p:nvPr/>
        </p:nvSpPr>
        <p:spPr bwMode="auto">
          <a:xfrm>
            <a:off x="5414502" y="4793226"/>
            <a:ext cx="3714750" cy="342900"/>
          </a:xfrm>
          <a:prstGeom prst="rect">
            <a:avLst/>
          </a:prstGeom>
          <a:noFill/>
          <a:ln>
            <a:noFill/>
          </a:ln>
          <a:effectLst/>
          <a:extLst>
            <a:ext uri="{909E8E84-426E-40dd-AFC4-6F175D3DCCD1}">
              <a14:hiddenFill xmlns="" xmlns:a14="http://schemas.microsoft.com/office/drawing/2010/main">
                <a:solidFill>
                  <a:schemeClr val="tx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b"/>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charset="0"/>
                <a:ea typeface="+mn-ea"/>
                <a:cs typeface="+mn-cs"/>
              </a:rPr>
              <a:t>Martinez-Lopez J, et al. </a:t>
            </a:r>
            <a:r>
              <a:rPr kumimoji="0" lang="nl-NL" sz="1000" b="0" i="1" u="none" strike="noStrike" kern="1200" cap="none" spc="0" normalizeH="0" baseline="0" noProof="0">
                <a:ln>
                  <a:noFill/>
                </a:ln>
                <a:solidFill>
                  <a:prstClr val="black"/>
                </a:solidFill>
                <a:effectLst/>
                <a:uLnTx/>
                <a:uFillTx/>
                <a:latin typeface="Arial" charset="0"/>
                <a:ea typeface="+mn-ea"/>
                <a:cs typeface="+mn-cs"/>
              </a:rPr>
              <a:t>Blood</a:t>
            </a:r>
            <a:r>
              <a:rPr kumimoji="0" lang="nl-NL" sz="1000" b="0" i="0" u="none" strike="noStrike" kern="1200" cap="none" spc="0" normalizeH="0" baseline="0" noProof="0">
                <a:ln>
                  <a:noFill/>
                </a:ln>
                <a:solidFill>
                  <a:prstClr val="black"/>
                </a:solidFill>
                <a:effectLst/>
                <a:uLnTx/>
                <a:uFillTx/>
                <a:latin typeface="Arial" charset="0"/>
                <a:ea typeface="+mn-ea"/>
                <a:cs typeface="+mn-cs"/>
              </a:rPr>
              <a:t>. 2011;118:529-534.</a:t>
            </a:r>
            <a:endParaRPr kumimoji="0" lang="en-US" sz="1000" b="0" i="0" u="none" strike="noStrike" kern="1200" cap="none" spc="0" normalizeH="0" baseline="0" noProof="0">
              <a:ln>
                <a:noFill/>
              </a:ln>
              <a:solidFill>
                <a:prstClr val="black"/>
              </a:solidFill>
              <a:effectLst/>
              <a:uLnTx/>
              <a:uFillTx/>
              <a:latin typeface="Arial" charset="0"/>
              <a:ea typeface="+mn-ea"/>
              <a:cs typeface="+mn-cs"/>
            </a:endParaRPr>
          </a:p>
        </p:txBody>
      </p:sp>
      <p:sp>
        <p:nvSpPr>
          <p:cNvPr id="171014" name="Rectangle 6"/>
          <p:cNvSpPr>
            <a:spLocks noChangeArrowheads="1"/>
          </p:cNvSpPr>
          <p:nvPr/>
        </p:nvSpPr>
        <p:spPr bwMode="auto">
          <a:xfrm>
            <a:off x="1507888" y="321556"/>
            <a:ext cx="6150212"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1F497D"/>
                </a:solidFill>
                <a:effectLst/>
                <a:uLnTx/>
                <a:uFillTx/>
                <a:latin typeface="Arial" charset="0"/>
                <a:ea typeface="+mn-ea"/>
                <a:cs typeface="+mn-cs"/>
              </a:rPr>
              <a:t>Sustained CR: Cures?</a:t>
            </a:r>
          </a:p>
        </p:txBody>
      </p:sp>
      <p:pic>
        <p:nvPicPr>
          <p:cNvPr id="2" name="Picture 1" descr="f2.jp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83845" y="842265"/>
            <a:ext cx="8376310" cy="3836035"/>
          </a:xfrm>
          <a:prstGeom prst="rect">
            <a:avLst/>
          </a:prstGeom>
        </p:spPr>
      </p:pic>
    </p:spTree>
    <p:extLst>
      <p:ext uri="{BB962C8B-B14F-4D97-AF65-F5344CB8AC3E}">
        <p14:creationId xmlns:p14="http://schemas.microsoft.com/office/powerpoint/2010/main" val="4151713082"/>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59383"/>
            <a:ext cx="7772400" cy="862013"/>
          </a:xfrm>
        </p:spPr>
        <p:txBody>
          <a:bodyPr/>
          <a:lstStyle/>
          <a:p>
            <a:r>
              <a:rPr lang="en-US" noProof="0">
                <a:solidFill>
                  <a:schemeClr val="accent1">
                    <a:lumMod val="50000"/>
                  </a:schemeClr>
                </a:solidFill>
              </a:rPr>
              <a:t>Three Meta-analyses Validate MRD for Prognosis </a:t>
            </a:r>
          </a:p>
        </p:txBody>
      </p:sp>
      <p:sp>
        <p:nvSpPr>
          <p:cNvPr id="9" name="Text Placeholder 8"/>
          <p:cNvSpPr>
            <a:spLocks noGrp="1"/>
          </p:cNvSpPr>
          <p:nvPr>
            <p:ph type="body" sz="quarter" idx="14"/>
          </p:nvPr>
        </p:nvSpPr>
        <p:spPr>
          <a:xfrm>
            <a:off x="3833052" y="4529558"/>
            <a:ext cx="5292588" cy="612358"/>
          </a:xfrm>
        </p:spPr>
        <p:txBody>
          <a:bodyPr/>
          <a:lstStyle/>
          <a:p>
            <a:endParaRPr lang="en-US" sz="1000" b="0" noProof="0"/>
          </a:p>
          <a:p>
            <a:endParaRPr lang="en-US" sz="1000" b="0" noProof="0"/>
          </a:p>
          <a:p>
            <a:r>
              <a:rPr lang="en-US" sz="1000" b="0" noProof="0"/>
              <a:t>Munshi NC, et al. </a:t>
            </a:r>
            <a:r>
              <a:rPr lang="en-US" sz="1000" b="0" i="1" noProof="0"/>
              <a:t>Blood Adv</a:t>
            </a:r>
            <a:r>
              <a:rPr lang="en-US" sz="1000" b="0" noProof="0"/>
              <a:t>. 2020;4:5988-5999; Landgren O, et al. </a:t>
            </a:r>
            <a:r>
              <a:rPr lang="en-US" sz="1000" b="0" i="1" noProof="0"/>
              <a:t>Bone Marrow Transplantation. </a:t>
            </a:r>
            <a:r>
              <a:rPr lang="en-US" sz="1000" b="0" noProof="0"/>
              <a:t>2016;51:1568; Munshi NC, et al. </a:t>
            </a:r>
            <a:r>
              <a:rPr lang="en-US" sz="1000" b="0" i="1" noProof="0"/>
              <a:t>JAMA Oncol</a:t>
            </a:r>
            <a:r>
              <a:rPr lang="en-US" sz="1000" b="0" noProof="0"/>
              <a:t>. 2017;3:28-35.</a:t>
            </a:r>
          </a:p>
        </p:txBody>
      </p:sp>
      <p:pic>
        <p:nvPicPr>
          <p:cNvPr id="7" name="Picture 6">
            <a:extLst>
              <a:ext uri="{FF2B5EF4-FFF2-40B4-BE49-F238E27FC236}">
                <a16:creationId xmlns:a16="http://schemas.microsoft.com/office/drawing/2014/main" id="{49C2E48D-8BFB-B74C-BC0B-2D384D8B16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47717" y="794937"/>
            <a:ext cx="2791879" cy="3827780"/>
          </a:xfrm>
          <a:prstGeom prst="rect">
            <a:avLst/>
          </a:prstGeom>
        </p:spPr>
      </p:pic>
      <p:pic>
        <p:nvPicPr>
          <p:cNvPr id="6" name="Picture 5">
            <a:extLst>
              <a:ext uri="{FF2B5EF4-FFF2-40B4-BE49-F238E27FC236}">
                <a16:creationId xmlns:a16="http://schemas.microsoft.com/office/drawing/2014/main" id="{696FB66F-7572-3B4E-9F0A-D7DB86E2BC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0221" y="824433"/>
            <a:ext cx="4331779" cy="3975100"/>
          </a:xfrm>
          <a:prstGeom prst="rect">
            <a:avLst/>
          </a:prstGeom>
        </p:spPr>
      </p:pic>
    </p:spTree>
    <p:extLst>
      <p:ext uri="{BB962C8B-B14F-4D97-AF65-F5344CB8AC3E}">
        <p14:creationId xmlns:p14="http://schemas.microsoft.com/office/powerpoint/2010/main" val="934676899"/>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85900" y="189885"/>
            <a:ext cx="6172200" cy="765572"/>
          </a:xfrm>
        </p:spPr>
        <p:txBody>
          <a:bodyPr anchor="ctr"/>
          <a:lstStyle/>
          <a:p>
            <a:r>
              <a:rPr lang="en-US" noProof="0">
                <a:solidFill>
                  <a:schemeClr val="accent1">
                    <a:lumMod val="50000"/>
                  </a:schemeClr>
                </a:solidFill>
              </a:rPr>
              <a:t>FORTE Sustained MRD Negativity</a:t>
            </a:r>
          </a:p>
        </p:txBody>
      </p:sp>
      <p:pic>
        <p:nvPicPr>
          <p:cNvPr id="2" name="Picture 1">
            <a:extLst>
              <a:ext uri="{FF2B5EF4-FFF2-40B4-BE49-F238E27FC236}">
                <a16:creationId xmlns:a16="http://schemas.microsoft.com/office/drawing/2014/main" id="{7FE815B3-F4CC-8440-87D5-7EA116DC8D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9450" y="933335"/>
            <a:ext cx="8305100" cy="3769638"/>
          </a:xfrm>
          <a:prstGeom prst="rect">
            <a:avLst/>
          </a:prstGeom>
        </p:spPr>
      </p:pic>
    </p:spTree>
    <p:extLst>
      <p:ext uri="{BB962C8B-B14F-4D97-AF65-F5344CB8AC3E}">
        <p14:creationId xmlns:p14="http://schemas.microsoft.com/office/powerpoint/2010/main" val="193851140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699E385-A859-4D1C-B902-673308FD3466}"/>
              </a:ext>
            </a:extLst>
          </p:cNvPr>
          <p:cNvSpPr>
            <a:spLocks noGrp="1"/>
          </p:cNvSpPr>
          <p:nvPr>
            <p:ph type="title"/>
          </p:nvPr>
        </p:nvSpPr>
        <p:spPr>
          <a:xfrm>
            <a:off x="685800" y="358368"/>
            <a:ext cx="7772400" cy="862013"/>
          </a:xfrm>
        </p:spPr>
        <p:txBody>
          <a:bodyPr/>
          <a:lstStyle/>
          <a:p>
            <a:r>
              <a:rPr lang="en-US" noProof="0">
                <a:solidFill>
                  <a:schemeClr val="accent1">
                    <a:lumMod val="50000"/>
                  </a:schemeClr>
                </a:solidFill>
              </a:rPr>
              <a:t>Drive to MRD Negative</a:t>
            </a:r>
          </a:p>
        </p:txBody>
      </p:sp>
      <p:sp>
        <p:nvSpPr>
          <p:cNvPr id="3" name="Content Placeholder 2"/>
          <p:cNvSpPr>
            <a:spLocks noGrp="1"/>
          </p:cNvSpPr>
          <p:nvPr>
            <p:ph sz="half" idx="1"/>
          </p:nvPr>
        </p:nvSpPr>
        <p:spPr>
          <a:xfrm>
            <a:off x="280670" y="1167519"/>
            <a:ext cx="4249979" cy="3427809"/>
          </a:xfrm>
        </p:spPr>
        <p:txBody>
          <a:bodyPr/>
          <a:lstStyle/>
          <a:p>
            <a:r>
              <a:rPr lang="en-US" sz="1800" noProof="0"/>
              <a:t>58 yr</a:t>
            </a:r>
          </a:p>
          <a:p>
            <a:r>
              <a:rPr lang="en-US" sz="1800" noProof="0"/>
              <a:t>New diagnosis MM</a:t>
            </a:r>
          </a:p>
          <a:p>
            <a:r>
              <a:rPr lang="en-US" sz="1800" noProof="0"/>
              <a:t>Induction with KRD</a:t>
            </a:r>
          </a:p>
          <a:p>
            <a:r>
              <a:rPr lang="en-US" sz="1800" noProof="0"/>
              <a:t>Completed SCT</a:t>
            </a:r>
          </a:p>
          <a:p>
            <a:r>
              <a:rPr lang="en-US" sz="1800" noProof="0"/>
              <a:t>11/2018 MRD+ </a:t>
            </a:r>
          </a:p>
          <a:p>
            <a:pPr lvl="1">
              <a:buFont typeface="Arial" panose="020B0604020202020204" pitchFamily="34" charset="0"/>
              <a:buChar char="–"/>
            </a:pPr>
            <a:r>
              <a:rPr lang="en-US" sz="1500" noProof="0"/>
              <a:t>Dara-Rd</a:t>
            </a:r>
          </a:p>
          <a:p>
            <a:r>
              <a:rPr lang="en-US" sz="1800" noProof="0"/>
              <a:t>Aug 2019 MRD+</a:t>
            </a:r>
          </a:p>
          <a:p>
            <a:pPr lvl="1">
              <a:buFont typeface="Arial" panose="020B0604020202020204" pitchFamily="34" charset="0"/>
              <a:buChar char="–"/>
            </a:pPr>
            <a:r>
              <a:rPr lang="en-US" sz="1500" noProof="0"/>
              <a:t>More Dara-Rd</a:t>
            </a:r>
          </a:p>
          <a:p>
            <a:r>
              <a:rPr lang="en-US" sz="1800" noProof="0"/>
              <a:t>Feb 2020 MRD– </a:t>
            </a:r>
          </a:p>
          <a:p>
            <a:pPr lvl="1">
              <a:buFont typeface="Arial" panose="020B0604020202020204" pitchFamily="34" charset="0"/>
              <a:buChar char="–"/>
            </a:pPr>
            <a:r>
              <a:rPr lang="en-US" sz="1500" noProof="0"/>
              <a:t>R maintenance</a:t>
            </a:r>
          </a:p>
        </p:txBody>
      </p:sp>
      <p:sp>
        <p:nvSpPr>
          <p:cNvPr id="8" name="TextBox 7">
            <a:extLst>
              <a:ext uri="{FF2B5EF4-FFF2-40B4-BE49-F238E27FC236}">
                <a16:creationId xmlns:a16="http://schemas.microsoft.com/office/drawing/2014/main" id="{43C2EA05-E230-3242-88F8-E734838D593D}"/>
              </a:ext>
            </a:extLst>
          </p:cNvPr>
          <p:cNvSpPr txBox="1"/>
          <p:nvPr/>
        </p:nvSpPr>
        <p:spPr>
          <a:xfrm>
            <a:off x="7846529" y="4898294"/>
            <a:ext cx="1282723" cy="246221"/>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charset="0"/>
                <a:ea typeface="+mn-ea"/>
                <a:cs typeface="+mn-cs"/>
              </a:rPr>
              <a:t>Fonseca, Personal.</a:t>
            </a:r>
          </a:p>
        </p:txBody>
      </p:sp>
      <p:pic>
        <p:nvPicPr>
          <p:cNvPr id="4" name="Picture 3">
            <a:extLst>
              <a:ext uri="{FF2B5EF4-FFF2-40B4-BE49-F238E27FC236}">
                <a16:creationId xmlns:a16="http://schemas.microsoft.com/office/drawing/2014/main" id="{AF5F3249-D16D-D247-8DD2-80141740DFD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28103" y="809234"/>
            <a:ext cx="5096019" cy="4052190"/>
          </a:xfrm>
          <a:prstGeom prst="rect">
            <a:avLst/>
          </a:prstGeom>
        </p:spPr>
      </p:pic>
    </p:spTree>
    <p:extLst>
      <p:ext uri="{BB962C8B-B14F-4D97-AF65-F5344CB8AC3E}">
        <p14:creationId xmlns:p14="http://schemas.microsoft.com/office/powerpoint/2010/main" val="234980614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19225" y="357447"/>
            <a:ext cx="6172200" cy="917054"/>
          </a:xfrm>
        </p:spPr>
        <p:txBody>
          <a:bodyPr>
            <a:noAutofit/>
          </a:bodyPr>
          <a:lstStyle/>
          <a:p>
            <a:pPr marL="0" indent="0" algn="ctr">
              <a:buNone/>
            </a:pPr>
            <a:r>
              <a:rPr lang="en-US" noProof="0">
                <a:solidFill>
                  <a:schemeClr val="accent1">
                    <a:lumMod val="50000"/>
                  </a:schemeClr>
                </a:solidFill>
              </a:rPr>
              <a:t>Thank you!</a:t>
            </a:r>
          </a:p>
        </p:txBody>
      </p:sp>
      <p:pic>
        <p:nvPicPr>
          <p:cNvPr id="5124" name="Picture 4">
            <a:extLst>
              <a:ext uri="{FF2B5EF4-FFF2-40B4-BE49-F238E27FC236}">
                <a16:creationId xmlns:a16="http://schemas.microsoft.com/office/drawing/2014/main" id="{B7D6F1FB-F3B5-1E48-9B14-9B3A53EBE14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917973" y="991367"/>
            <a:ext cx="3308054" cy="3787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756689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81E62135-1198-4298-84EC-45D95B29EE63}"/>
              </a:ext>
            </a:extLst>
          </p:cNvPr>
          <p:cNvSpPr>
            <a:spLocks noGrp="1"/>
          </p:cNvSpPr>
          <p:nvPr>
            <p:ph type="subTitle" idx="1"/>
          </p:nvPr>
        </p:nvSpPr>
        <p:spPr>
          <a:xfrm>
            <a:off x="4270617" y="2959731"/>
            <a:ext cx="4534294" cy="1073784"/>
          </a:xfrm>
        </p:spPr>
        <p:txBody>
          <a:bodyPr/>
          <a:lstStyle/>
          <a:p>
            <a:pPr marL="0" marR="0" algn="l">
              <a:lnSpc>
                <a:spcPct val="100000"/>
              </a:lnSpc>
              <a:spcBef>
                <a:spcPts val="0"/>
              </a:spcBef>
              <a:spcAft>
                <a:spcPts val="0"/>
              </a:spcAft>
            </a:pPr>
            <a:r>
              <a:rPr lang="en-US" sz="1800" b="0" strike="noStrike" kern="1200" noProof="0">
                <a:effectLst/>
                <a:latin typeface="Arial" panose="020B0604020202020204" pitchFamily="34" charset="0"/>
                <a:cs typeface="Arial" panose="020B0604020202020204" pitchFamily="34" charset="0"/>
              </a:rPr>
              <a:t>No – Xavier Leleu,</a:t>
            </a:r>
            <a:r>
              <a:rPr lang="en-US" noProof="0"/>
              <a:t> MD, PhD</a:t>
            </a:r>
            <a:endParaRPr lang="en-US" sz="1800" b="0" strike="noStrike" kern="1200" noProof="0">
              <a:effectLst/>
              <a:latin typeface="Arial" panose="020B0604020202020204" pitchFamily="34" charset="0"/>
              <a:cs typeface="Arial" panose="020B0604020202020204" pitchFamily="34" charset="0"/>
            </a:endParaRPr>
          </a:p>
          <a:p>
            <a:endParaRPr lang="en-US" noProof="0"/>
          </a:p>
        </p:txBody>
      </p:sp>
      <p:pic>
        <p:nvPicPr>
          <p:cNvPr id="5" name="Picture 4">
            <a:extLst>
              <a:ext uri="{FF2B5EF4-FFF2-40B4-BE49-F238E27FC236}">
                <a16:creationId xmlns:a16="http://schemas.microsoft.com/office/drawing/2014/main" id="{3D7A2BEF-EF1F-44A8-89E2-D603119E1C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0617" y="3408135"/>
            <a:ext cx="1188720" cy="1188720"/>
          </a:xfrm>
          <a:prstGeom prst="teardrop">
            <a:avLst/>
          </a:prstGeom>
          <a:solidFill>
            <a:schemeClr val="tx2"/>
          </a:solidFill>
        </p:spPr>
      </p:pic>
      <p:sp>
        <p:nvSpPr>
          <p:cNvPr id="8" name="Title 1">
            <a:extLst>
              <a:ext uri="{FF2B5EF4-FFF2-40B4-BE49-F238E27FC236}">
                <a16:creationId xmlns:a16="http://schemas.microsoft.com/office/drawing/2014/main" id="{BE1B7046-0DD4-4A7C-A744-EFF940C4EBD5}"/>
              </a:ext>
            </a:extLst>
          </p:cNvPr>
          <p:cNvSpPr>
            <a:spLocks noGrp="1"/>
          </p:cNvSpPr>
          <p:nvPr>
            <p:ph type="ctrTitle"/>
          </p:nvPr>
        </p:nvSpPr>
        <p:spPr>
          <a:xfrm>
            <a:off x="4270617" y="1273987"/>
            <a:ext cx="4748022" cy="1548390"/>
          </a:xfrm>
        </p:spPr>
        <p:txBody>
          <a:bodyPr>
            <a:noAutofit/>
          </a:bodyPr>
          <a:lstStyle/>
          <a:p>
            <a:pPr defTabSz="914400">
              <a:lnSpc>
                <a:spcPct val="100000"/>
              </a:lnSpc>
              <a:spcBef>
                <a:spcPts val="0"/>
              </a:spcBef>
            </a:pPr>
            <a:r>
              <a:rPr lang="en-US" sz="2800" b="1" u="none" kern="1200" noProof="0">
                <a:effectLst/>
                <a:latin typeface="Arial" panose="020B0604020202020204" pitchFamily="34" charset="0"/>
                <a:cs typeface="Arial" panose="020B0604020202020204" pitchFamily="34" charset="0"/>
              </a:rPr>
              <a:t>Debate:</a:t>
            </a:r>
            <a:br>
              <a:rPr lang="en-US" sz="2800" b="1" u="none" kern="1200" noProof="0">
                <a:effectLst/>
                <a:latin typeface="Arial" panose="020B0604020202020204" pitchFamily="34" charset="0"/>
                <a:cs typeface="Arial" panose="020B0604020202020204" pitchFamily="34" charset="0"/>
              </a:rPr>
            </a:br>
            <a:r>
              <a:rPr lang="en-US" sz="2800" b="0" u="none" kern="1200" noProof="0">
                <a:effectLst/>
                <a:latin typeface="Arial" panose="020B0604020202020204" pitchFamily="34" charset="0"/>
                <a:cs typeface="Arial" panose="020B0604020202020204" pitchFamily="34" charset="0"/>
              </a:rPr>
              <a:t>Is Myeloma </a:t>
            </a:r>
            <a:r>
              <a:rPr lang="en-US" sz="2800" b="0" noProof="0"/>
              <a:t>C</a:t>
            </a:r>
            <a:r>
              <a:rPr lang="en-US" sz="2800" b="0" u="none" kern="1200" noProof="0">
                <a:effectLst/>
                <a:latin typeface="Arial" panose="020B0604020202020204" pitchFamily="34" charset="0"/>
                <a:cs typeface="Arial" panose="020B0604020202020204" pitchFamily="34" charset="0"/>
              </a:rPr>
              <a:t>urable or Not?</a:t>
            </a:r>
            <a:endParaRPr lang="en-US" sz="2800" b="1" u="none" noProof="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080622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25D063C-9074-4407-9D56-D1F35175DA22}"/>
              </a:ext>
            </a:extLst>
          </p:cNvPr>
          <p:cNvSpPr>
            <a:spLocks noGrp="1"/>
          </p:cNvSpPr>
          <p:nvPr>
            <p:ph type="title"/>
          </p:nvPr>
        </p:nvSpPr>
        <p:spPr>
          <a:xfrm>
            <a:off x="457200" y="64810"/>
            <a:ext cx="8229600" cy="535154"/>
          </a:xfrm>
        </p:spPr>
        <p:txBody>
          <a:bodyPr>
            <a:normAutofit/>
          </a:bodyPr>
          <a:lstStyle/>
          <a:p>
            <a:r>
              <a:rPr lang="en-US" sz="2400" b="1" noProof="0">
                <a:solidFill>
                  <a:srgbClr val="0070C0"/>
                </a:solidFill>
                <a:latin typeface="Arial" panose="020B0604020202020204" pitchFamily="34" charset="0"/>
                <a:cs typeface="Arial" panose="020B0604020202020204" pitchFamily="34" charset="0"/>
              </a:rPr>
              <a:t>Prevalence of MGUS and MGIP in the population</a:t>
            </a:r>
          </a:p>
        </p:txBody>
      </p:sp>
      <p:pic>
        <p:nvPicPr>
          <p:cNvPr id="4" name="Content Placeholder 3" descr="Graphical user interface&#10;&#10;Description automatically generated">
            <a:extLst>
              <a:ext uri="{FF2B5EF4-FFF2-40B4-BE49-F238E27FC236}">
                <a16:creationId xmlns:a16="http://schemas.microsoft.com/office/drawing/2014/main" id="{6DDFAA19-6D40-304B-9064-74C6EBEA4D30}"/>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64849" y="1314450"/>
            <a:ext cx="9079151" cy="3200400"/>
          </a:xfrm>
          <a:prstGeom prst="rect">
            <a:avLst/>
          </a:prstGeom>
          <a:noFill/>
        </p:spPr>
      </p:pic>
      <p:sp>
        <p:nvSpPr>
          <p:cNvPr id="5" name="TextBox 4">
            <a:extLst>
              <a:ext uri="{FF2B5EF4-FFF2-40B4-BE49-F238E27FC236}">
                <a16:creationId xmlns:a16="http://schemas.microsoft.com/office/drawing/2014/main" id="{529FC4C2-6BDE-49AB-93C7-824BFBDCF5B7}"/>
              </a:ext>
            </a:extLst>
          </p:cNvPr>
          <p:cNvSpPr txBox="1"/>
          <p:nvPr/>
        </p:nvSpPr>
        <p:spPr>
          <a:xfrm>
            <a:off x="7258050" y="4897280"/>
            <a:ext cx="1885950" cy="246221"/>
          </a:xfrm>
          <a:prstGeom prst="rect">
            <a:avLst/>
          </a:prstGeom>
          <a:noFill/>
        </p:spPr>
        <p:txBody>
          <a:bodyPr wrap="square" rtlCol="0" anchor="b">
            <a:spAutoFit/>
          </a:bodyPr>
          <a:lstStyle/>
          <a:p>
            <a:pPr algn="r" defTabSz="685800"/>
            <a:r>
              <a:rPr lang="en-US" sz="1000" i="1">
                <a:solidFill>
                  <a:prstClr val="black"/>
                </a:solidFill>
                <a:latin typeface="Arial" panose="020B0604020202020204" pitchFamily="34" charset="0"/>
                <a:cs typeface="Arial" panose="020B0604020202020204" pitchFamily="34" charset="0"/>
              </a:rPr>
              <a:t>Lancet Haematol</a:t>
            </a:r>
            <a:r>
              <a:rPr lang="en-US" sz="1000">
                <a:solidFill>
                  <a:prstClr val="black"/>
                </a:solidFill>
                <a:latin typeface="Arial" panose="020B0604020202020204" pitchFamily="34" charset="0"/>
                <a:cs typeface="Arial" panose="020B0604020202020204" pitchFamily="34" charset="0"/>
              </a:rPr>
              <a:t>. In press.</a:t>
            </a:r>
          </a:p>
        </p:txBody>
      </p:sp>
    </p:spTree>
    <p:extLst>
      <p:ext uri="{BB962C8B-B14F-4D97-AF65-F5344CB8AC3E}">
        <p14:creationId xmlns:p14="http://schemas.microsoft.com/office/powerpoint/2010/main" val="284338116"/>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A09B19C-2A69-48A7-B194-BCAB4E7675BB}"/>
              </a:ext>
            </a:extLst>
          </p:cNvPr>
          <p:cNvGraphicFramePr>
            <a:graphicFrameLocks noChangeAspect="1"/>
          </p:cNvGraphicFramePr>
          <p:nvPr>
            <p:custDataLst>
              <p:tags r:id="rId1"/>
            </p:custDataLst>
          </p:nvPr>
        </p:nvGraphicFramePr>
        <p:xfrm>
          <a:off x="-1141809" y="1191"/>
          <a:ext cx="1191" cy="1191"/>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10" name="Object 9" hidden="1">
                        <a:extLst>
                          <a:ext uri="{FF2B5EF4-FFF2-40B4-BE49-F238E27FC236}">
                            <a16:creationId xmlns:a16="http://schemas.microsoft.com/office/drawing/2014/main" id="{7A09B19C-2A69-48A7-B194-BCAB4E7675BB}"/>
                          </a:ext>
                        </a:extLst>
                      </p:cNvPr>
                      <p:cNvPicPr/>
                      <p:nvPr/>
                    </p:nvPicPr>
                    <p:blipFill>
                      <a:blip r:embed="rId5"/>
                      <a:stretch>
                        <a:fillRect/>
                      </a:stretch>
                    </p:blipFill>
                    <p:spPr>
                      <a:xfrm>
                        <a:off x="-1141809" y="1191"/>
                        <a:ext cx="1191" cy="1191"/>
                      </a:xfrm>
                      <a:prstGeom prst="rect">
                        <a:avLst/>
                      </a:prstGeom>
                    </p:spPr>
                  </p:pic>
                </p:oleObj>
              </mc:Fallback>
            </mc:AlternateContent>
          </a:graphicData>
        </a:graphic>
      </p:graphicFrame>
      <p:sp>
        <p:nvSpPr>
          <p:cNvPr id="2" name="object 2"/>
          <p:cNvSpPr txBox="1">
            <a:spLocks noGrp="1"/>
          </p:cNvSpPr>
          <p:nvPr>
            <p:ph type="title"/>
          </p:nvPr>
        </p:nvSpPr>
        <p:spPr>
          <a:xfrm>
            <a:off x="1198735" y="786153"/>
            <a:ext cx="6746528" cy="1194269"/>
          </a:xfrm>
          <a:prstGeom prst="rect">
            <a:avLst/>
          </a:prstGeom>
        </p:spPr>
        <p:txBody>
          <a:bodyPr vert="horz" wrap="square" lIns="0" tIns="10001" rIns="0" bIns="0" rtlCol="0" anchor="ctr">
            <a:spAutoFit/>
          </a:bodyPr>
          <a:lstStyle/>
          <a:p>
            <a:pPr marL="9525" marR="3810" indent="167640" algn="ctr">
              <a:spcBef>
                <a:spcPts val="79"/>
              </a:spcBef>
            </a:pPr>
            <a:r>
              <a:rPr lang="en-US" sz="2850" b="1" noProof="0"/>
              <a:t>Is Myeloma Curable or Not?</a:t>
            </a:r>
            <a:br>
              <a:rPr lang="en-US" sz="2850" b="1" noProof="0"/>
            </a:br>
            <a:br>
              <a:rPr lang="en-US" sz="2850" b="1" noProof="0"/>
            </a:br>
            <a:r>
              <a:rPr lang="en-US" sz="2850" b="1" i="1" u="sng" noProof="0"/>
              <a:t>NO</a:t>
            </a:r>
          </a:p>
        </p:txBody>
      </p:sp>
      <p:sp>
        <p:nvSpPr>
          <p:cNvPr id="3" name="object 3"/>
          <p:cNvSpPr txBox="1"/>
          <p:nvPr/>
        </p:nvSpPr>
        <p:spPr>
          <a:xfrm>
            <a:off x="3927157" y="2425066"/>
            <a:ext cx="1289685" cy="286617"/>
          </a:xfrm>
          <a:prstGeom prst="rect">
            <a:avLst/>
          </a:prstGeom>
        </p:spPr>
        <p:txBody>
          <a:bodyPr vert="horz" wrap="square" lIns="0" tIns="9525" rIns="0" bIns="0" rtlCol="0">
            <a:spAutoFit/>
          </a:bodyPr>
          <a:lstStyle/>
          <a:p>
            <a:pPr marL="9525" defTabSz="685800">
              <a:spcBef>
                <a:spcPts val="75"/>
              </a:spcBef>
            </a:pPr>
            <a:r>
              <a:rPr spc="-4">
                <a:solidFill>
                  <a:prstClr val="black"/>
                </a:solidFill>
                <a:latin typeface="Arial"/>
                <a:cs typeface="Arial"/>
              </a:rPr>
              <a:t>Xavier</a:t>
            </a:r>
            <a:r>
              <a:rPr spc="-34">
                <a:solidFill>
                  <a:prstClr val="black"/>
                </a:solidFill>
                <a:latin typeface="Arial"/>
                <a:cs typeface="Arial"/>
              </a:rPr>
              <a:t> </a:t>
            </a:r>
            <a:r>
              <a:rPr spc="-8">
                <a:solidFill>
                  <a:prstClr val="black"/>
                </a:solidFill>
                <a:latin typeface="Arial"/>
                <a:cs typeface="Arial"/>
              </a:rPr>
              <a:t>Leleu</a:t>
            </a:r>
            <a:endParaRPr>
              <a:solidFill>
                <a:prstClr val="black"/>
              </a:solidFill>
              <a:latin typeface="Arial"/>
              <a:cs typeface="Arial"/>
            </a:endParaRPr>
          </a:p>
        </p:txBody>
      </p:sp>
      <p:sp>
        <p:nvSpPr>
          <p:cNvPr id="4" name="object 4"/>
          <p:cNvSpPr/>
          <p:nvPr/>
        </p:nvSpPr>
        <p:spPr>
          <a:xfrm>
            <a:off x="8416045" y="4224021"/>
            <a:ext cx="401726" cy="76403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5" name="object 5"/>
          <p:cNvSpPr/>
          <p:nvPr/>
        </p:nvSpPr>
        <p:spPr>
          <a:xfrm>
            <a:off x="236261" y="4358610"/>
            <a:ext cx="586979" cy="658368"/>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6" name="object 6"/>
          <p:cNvSpPr/>
          <p:nvPr/>
        </p:nvSpPr>
        <p:spPr>
          <a:xfrm>
            <a:off x="1077251" y="4357467"/>
            <a:ext cx="504153" cy="660654"/>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7" name="object 7"/>
          <p:cNvSpPr/>
          <p:nvPr/>
        </p:nvSpPr>
        <p:spPr>
          <a:xfrm>
            <a:off x="1697819" y="4406825"/>
            <a:ext cx="941532" cy="601922"/>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8" name="object 8"/>
          <p:cNvSpPr/>
          <p:nvPr/>
        </p:nvSpPr>
        <p:spPr>
          <a:xfrm>
            <a:off x="4761015" y="4406825"/>
            <a:ext cx="911654" cy="701802"/>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685800"/>
            <a:endParaRPr sz="1350">
              <a:solidFill>
                <a:prstClr val="black"/>
              </a:solidFill>
              <a:latin typeface="Calibri" panose="020F0502020204030204"/>
            </a:endParaRPr>
          </a:p>
        </p:txBody>
      </p:sp>
      <p:sp>
        <p:nvSpPr>
          <p:cNvPr id="9" name="object 9"/>
          <p:cNvSpPr txBox="1"/>
          <p:nvPr/>
        </p:nvSpPr>
        <p:spPr>
          <a:xfrm>
            <a:off x="2946988" y="3302099"/>
            <a:ext cx="3560921" cy="655949"/>
          </a:xfrm>
          <a:prstGeom prst="rect">
            <a:avLst/>
          </a:prstGeom>
        </p:spPr>
        <p:txBody>
          <a:bodyPr vert="horz" wrap="square" lIns="0" tIns="9525" rIns="0" bIns="0" rtlCol="0">
            <a:spAutoFit/>
          </a:bodyPr>
          <a:lstStyle/>
          <a:p>
            <a:pPr marL="911543" marR="903923" algn="ctr" defTabSz="685800">
              <a:spcBef>
                <a:spcPts val="75"/>
              </a:spcBef>
            </a:pPr>
            <a:r>
              <a:rPr sz="1050" spc="-4">
                <a:solidFill>
                  <a:prstClr val="black"/>
                </a:solidFill>
                <a:latin typeface="Arial"/>
                <a:cs typeface="Arial"/>
              </a:rPr>
              <a:t>Hôpital la Milétrie, PRC,</a:t>
            </a:r>
            <a:r>
              <a:rPr sz="1050" spc="-56">
                <a:solidFill>
                  <a:prstClr val="black"/>
                </a:solidFill>
                <a:latin typeface="Arial"/>
                <a:cs typeface="Arial"/>
              </a:rPr>
              <a:t> </a:t>
            </a:r>
            <a:r>
              <a:rPr sz="1050" spc="-4">
                <a:solidFill>
                  <a:prstClr val="black"/>
                </a:solidFill>
                <a:latin typeface="Arial"/>
                <a:cs typeface="Arial"/>
              </a:rPr>
              <a:t>CHU  Inserm U1402</a:t>
            </a:r>
            <a:r>
              <a:rPr sz="1050" spc="-56">
                <a:solidFill>
                  <a:prstClr val="black"/>
                </a:solidFill>
                <a:latin typeface="Arial"/>
                <a:cs typeface="Arial"/>
              </a:rPr>
              <a:t> </a:t>
            </a:r>
            <a:r>
              <a:rPr sz="1050" spc="-4">
                <a:solidFill>
                  <a:prstClr val="black"/>
                </a:solidFill>
                <a:latin typeface="Arial"/>
                <a:cs typeface="Arial"/>
              </a:rPr>
              <a:t>CIC</a:t>
            </a:r>
            <a:endParaRPr sz="1050">
              <a:solidFill>
                <a:prstClr val="black"/>
              </a:solidFill>
              <a:latin typeface="Arial"/>
              <a:cs typeface="Arial"/>
            </a:endParaRPr>
          </a:p>
          <a:p>
            <a:pPr algn="ctr" defTabSz="685800"/>
            <a:r>
              <a:rPr sz="1050" spc="-4">
                <a:solidFill>
                  <a:prstClr val="black"/>
                </a:solidFill>
                <a:latin typeface="Arial"/>
                <a:cs typeface="Arial"/>
              </a:rPr>
              <a:t>Laboratoire </a:t>
            </a:r>
            <a:r>
              <a:rPr sz="1050" spc="-4" err="1">
                <a:solidFill>
                  <a:prstClr val="black"/>
                </a:solidFill>
                <a:latin typeface="Arial"/>
                <a:cs typeface="Arial"/>
              </a:rPr>
              <a:t>d’Immunologie</a:t>
            </a:r>
            <a:r>
              <a:rPr sz="1050" spc="-4">
                <a:solidFill>
                  <a:prstClr val="black"/>
                </a:solidFill>
                <a:latin typeface="Arial"/>
                <a:cs typeface="Arial"/>
              </a:rPr>
              <a:t> Oncologie et </a:t>
            </a:r>
            <a:r>
              <a:rPr sz="1050" spc="-4" err="1">
                <a:solidFill>
                  <a:prstClr val="black"/>
                </a:solidFill>
                <a:latin typeface="Arial"/>
                <a:cs typeface="Arial"/>
              </a:rPr>
              <a:t>dormance</a:t>
            </a:r>
            <a:r>
              <a:rPr sz="1050" spc="-101">
                <a:solidFill>
                  <a:prstClr val="black"/>
                </a:solidFill>
                <a:latin typeface="Arial"/>
                <a:cs typeface="Arial"/>
              </a:rPr>
              <a:t> </a:t>
            </a:r>
            <a:r>
              <a:rPr sz="1050" spc="-4" err="1">
                <a:solidFill>
                  <a:prstClr val="black"/>
                </a:solidFill>
                <a:latin typeface="Arial"/>
                <a:cs typeface="Arial"/>
              </a:rPr>
              <a:t>tumorale</a:t>
            </a:r>
            <a:endParaRPr sz="1050">
              <a:solidFill>
                <a:prstClr val="black"/>
              </a:solidFill>
              <a:latin typeface="Arial"/>
              <a:cs typeface="Arial"/>
            </a:endParaRPr>
          </a:p>
          <a:p>
            <a:pPr marL="953" algn="ctr" defTabSz="685800"/>
            <a:r>
              <a:rPr sz="1050" spc="-4">
                <a:solidFill>
                  <a:prstClr val="black"/>
                </a:solidFill>
                <a:latin typeface="Arial"/>
                <a:cs typeface="Arial"/>
              </a:rPr>
              <a:t>Poitiers,</a:t>
            </a:r>
            <a:r>
              <a:rPr sz="1050" spc="-34">
                <a:solidFill>
                  <a:prstClr val="black"/>
                </a:solidFill>
                <a:latin typeface="Arial"/>
                <a:cs typeface="Arial"/>
              </a:rPr>
              <a:t> </a:t>
            </a:r>
            <a:r>
              <a:rPr sz="1050">
                <a:solidFill>
                  <a:prstClr val="black"/>
                </a:solidFill>
                <a:latin typeface="Arial"/>
                <a:cs typeface="Arial"/>
              </a:rPr>
              <a:t>France</a:t>
            </a:r>
          </a:p>
        </p:txBody>
      </p:sp>
      <p:pic>
        <p:nvPicPr>
          <p:cNvPr id="12" name="Picture 11">
            <a:extLst>
              <a:ext uri="{FF2B5EF4-FFF2-40B4-BE49-F238E27FC236}">
                <a16:creationId xmlns:a16="http://schemas.microsoft.com/office/drawing/2014/main" id="{3E3E0705-6E6B-4049-AE48-1F916559845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80269" y="4350748"/>
            <a:ext cx="720581" cy="720581"/>
          </a:xfrm>
          <a:prstGeom prst="rect">
            <a:avLst/>
          </a:prstGeom>
        </p:spPr>
      </p:pic>
    </p:spTree>
    <p:extLst>
      <p:ext uri="{BB962C8B-B14F-4D97-AF65-F5344CB8AC3E}">
        <p14:creationId xmlns:p14="http://schemas.microsoft.com/office/powerpoint/2010/main" val="149039492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C592BB-4D52-4157-AD0D-A546A5CC7FC0}"/>
              </a:ext>
            </a:extLst>
          </p:cNvPr>
          <p:cNvGraphicFramePr>
            <a:graphicFrameLocks noChangeAspect="1"/>
          </p:cNvGraphicFramePr>
          <p:nvPr>
            <p:custDataLst>
              <p:tags r:id="rId1"/>
            </p:custDataLst>
          </p:nvPr>
        </p:nvGraphicFramePr>
        <p:xfrm>
          <a:off x="-1141809" y="1191"/>
          <a:ext cx="1191" cy="1191"/>
        </p:xfrm>
        <a:graphic>
          <a:graphicData uri="http://schemas.openxmlformats.org/presentationml/2006/ole">
            <mc:AlternateContent xmlns:mc="http://schemas.openxmlformats.org/markup-compatibility/2006">
              <mc:Choice xmlns:v="urn:schemas-microsoft-com:vml" Requires="v">
                <p:oleObj name="think-cell Slide" r:id="rId4" imgW="317" imgH="318" progId="TCLayout.ActiveDocument.1">
                  <p:embed/>
                </p:oleObj>
              </mc:Choice>
              <mc:Fallback>
                <p:oleObj name="think-cell Slide" r:id="rId4" imgW="317" imgH="318" progId="TCLayout.ActiveDocument.1">
                  <p:embed/>
                  <p:pic>
                    <p:nvPicPr>
                      <p:cNvPr id="4" name="Object 3" hidden="1">
                        <a:extLst>
                          <a:ext uri="{FF2B5EF4-FFF2-40B4-BE49-F238E27FC236}">
                            <a16:creationId xmlns:a16="http://schemas.microsoft.com/office/drawing/2014/main" id="{02C592BB-4D52-4157-AD0D-A546A5CC7FC0}"/>
                          </a:ext>
                        </a:extLst>
                      </p:cNvPr>
                      <p:cNvPicPr/>
                      <p:nvPr/>
                    </p:nvPicPr>
                    <p:blipFill>
                      <a:blip r:embed="rId5"/>
                      <a:stretch>
                        <a:fillRect/>
                      </a:stretch>
                    </p:blipFill>
                    <p:spPr>
                      <a:xfrm>
                        <a:off x="-1141809" y="1191"/>
                        <a:ext cx="1191" cy="1191"/>
                      </a:xfrm>
                      <a:prstGeom prst="rect">
                        <a:avLst/>
                      </a:prstGeom>
                    </p:spPr>
                  </p:pic>
                </p:oleObj>
              </mc:Fallback>
            </mc:AlternateContent>
          </a:graphicData>
        </a:graphic>
      </p:graphicFrame>
      <p:sp>
        <p:nvSpPr>
          <p:cNvPr id="2" name="object 2"/>
          <p:cNvSpPr txBox="1">
            <a:spLocks noGrp="1"/>
          </p:cNvSpPr>
          <p:nvPr>
            <p:ph type="title"/>
          </p:nvPr>
        </p:nvSpPr>
        <p:spPr>
          <a:xfrm>
            <a:off x="0" y="304722"/>
            <a:ext cx="9144000" cy="342017"/>
          </a:xfrm>
          <a:prstGeom prst="rect">
            <a:avLst/>
          </a:prstGeom>
        </p:spPr>
        <p:txBody>
          <a:bodyPr vert="horz" wrap="square" lIns="0" tIns="9525" rIns="0" bIns="0" rtlCol="0" anchor="ctr">
            <a:spAutoFit/>
          </a:bodyPr>
          <a:lstStyle/>
          <a:p>
            <a:pPr marL="9525" algn="ctr">
              <a:spcBef>
                <a:spcPts val="75"/>
              </a:spcBef>
            </a:pPr>
            <a:r>
              <a:rPr lang="en-US" sz="2400" b="1" noProof="0">
                <a:latin typeface="+mn-lt"/>
                <a:cs typeface="Arial" panose="020B0604020202020204" pitchFamily="34" charset="0"/>
              </a:rPr>
              <a:t>Disclosures</a:t>
            </a:r>
          </a:p>
        </p:txBody>
      </p:sp>
      <p:sp>
        <p:nvSpPr>
          <p:cNvPr id="3" name="object 3"/>
          <p:cNvSpPr txBox="1"/>
          <p:nvPr/>
        </p:nvSpPr>
        <p:spPr>
          <a:xfrm>
            <a:off x="485204" y="1000473"/>
            <a:ext cx="8214887" cy="1342675"/>
          </a:xfrm>
          <a:prstGeom prst="rect">
            <a:avLst/>
          </a:prstGeom>
        </p:spPr>
        <p:txBody>
          <a:bodyPr vert="horz" wrap="square" lIns="0" tIns="49530" rIns="0" bIns="0" rtlCol="0">
            <a:spAutoFit/>
          </a:bodyPr>
          <a:lstStyle/>
          <a:p>
            <a:pPr marL="351949" indent="-342900" defTabSz="685800">
              <a:spcBef>
                <a:spcPts val="390"/>
              </a:spcBef>
              <a:buClr>
                <a:srgbClr val="007BC2"/>
              </a:buClr>
              <a:buFont typeface="Arial" panose="020B0604020202020204" pitchFamily="34" charset="0"/>
              <a:buChar char="•"/>
              <a:tabLst>
                <a:tab pos="224314" algn="l"/>
                <a:tab pos="224790" algn="l"/>
              </a:tabLst>
            </a:pPr>
            <a:r>
              <a:rPr sz="2100" i="1" spc="-4">
                <a:solidFill>
                  <a:prstClr val="black"/>
                </a:solidFill>
                <a:latin typeface="Arial"/>
                <a:cs typeface="Arial"/>
              </a:rPr>
              <a:t>Honorarium, </a:t>
            </a:r>
            <a:r>
              <a:rPr lang="en-US" sz="2100" i="1" spc="-4">
                <a:solidFill>
                  <a:prstClr val="black"/>
                </a:solidFill>
                <a:latin typeface="Arial"/>
                <a:cs typeface="Arial"/>
              </a:rPr>
              <a:t>g</a:t>
            </a:r>
            <a:r>
              <a:rPr sz="2100" i="1">
                <a:solidFill>
                  <a:prstClr val="black"/>
                </a:solidFill>
                <a:latin typeface="Arial"/>
                <a:cs typeface="Arial"/>
              </a:rPr>
              <a:t>rants/research </a:t>
            </a:r>
            <a:r>
              <a:rPr sz="2100" i="1" spc="-4">
                <a:solidFill>
                  <a:prstClr val="black"/>
                </a:solidFill>
                <a:latin typeface="Arial"/>
                <a:cs typeface="Arial"/>
              </a:rPr>
              <a:t>support, and </a:t>
            </a:r>
            <a:r>
              <a:rPr lang="en-US" sz="2100" i="1" spc="-4">
                <a:solidFill>
                  <a:prstClr val="black"/>
                </a:solidFill>
                <a:latin typeface="Arial"/>
                <a:cs typeface="Arial"/>
              </a:rPr>
              <a:t>c</a:t>
            </a:r>
            <a:r>
              <a:rPr sz="2100" i="1" spc="-4">
                <a:solidFill>
                  <a:prstClr val="black"/>
                </a:solidFill>
                <a:latin typeface="Arial"/>
                <a:cs typeface="Arial"/>
              </a:rPr>
              <a:t>onsulting</a:t>
            </a:r>
            <a:r>
              <a:rPr sz="2100" i="1" spc="49">
                <a:solidFill>
                  <a:prstClr val="black"/>
                </a:solidFill>
                <a:latin typeface="Arial"/>
                <a:cs typeface="Arial"/>
              </a:rPr>
              <a:t> </a:t>
            </a:r>
            <a:r>
              <a:rPr sz="2100" i="1">
                <a:solidFill>
                  <a:prstClr val="black"/>
                </a:solidFill>
                <a:latin typeface="Arial"/>
                <a:cs typeface="Arial"/>
              </a:rPr>
              <a:t>fees:</a:t>
            </a:r>
            <a:r>
              <a:rPr lang="en-US" sz="2100" i="1">
                <a:solidFill>
                  <a:prstClr val="black"/>
                </a:solidFill>
                <a:latin typeface="Arial"/>
                <a:cs typeface="Arial"/>
              </a:rPr>
              <a:t> </a:t>
            </a:r>
            <a:r>
              <a:rPr sz="2100" spc="-4">
                <a:solidFill>
                  <a:prstClr val="black"/>
                </a:solidFill>
                <a:latin typeface="Arial"/>
                <a:cs typeface="Arial"/>
              </a:rPr>
              <a:t>Amgen, BMS/Celgene, Janssen, Takeda, Novartis, Sanofi, Merck, </a:t>
            </a:r>
            <a:r>
              <a:rPr lang="en-US" sz="2100" spc="-4">
                <a:solidFill>
                  <a:prstClr val="black"/>
                </a:solidFill>
                <a:latin typeface="Arial"/>
                <a:cs typeface="Arial"/>
              </a:rPr>
              <a:t>GSK, </a:t>
            </a:r>
            <a:r>
              <a:rPr sz="2100" spc="-4">
                <a:solidFill>
                  <a:prstClr val="black"/>
                </a:solidFill>
                <a:latin typeface="Arial"/>
                <a:cs typeface="Arial"/>
              </a:rPr>
              <a:t>Oncopeptides, Roche, Abb</a:t>
            </a:r>
            <a:r>
              <a:rPr lang="en-US" sz="2100" spc="-4">
                <a:solidFill>
                  <a:prstClr val="black"/>
                </a:solidFill>
                <a:latin typeface="Arial"/>
                <a:cs typeface="Arial"/>
              </a:rPr>
              <a:t>V</a:t>
            </a:r>
            <a:r>
              <a:rPr sz="2100" spc="-4">
                <a:solidFill>
                  <a:prstClr val="black"/>
                </a:solidFill>
                <a:latin typeface="Arial"/>
                <a:cs typeface="Arial"/>
              </a:rPr>
              <a:t>ie, Gilead, </a:t>
            </a:r>
            <a:r>
              <a:rPr lang="en-US" sz="2100" spc="-4">
                <a:solidFill>
                  <a:prstClr val="black"/>
                </a:solidFill>
                <a:latin typeface="Arial"/>
                <a:cs typeface="Arial"/>
              </a:rPr>
              <a:t>Pfizer, Harpoon Therapeutics</a:t>
            </a:r>
            <a:endParaRPr sz="2100">
              <a:solidFill>
                <a:prstClr val="black"/>
              </a:solidFill>
              <a:latin typeface="Arial"/>
              <a:cs typeface="Arial"/>
            </a:endParaRPr>
          </a:p>
        </p:txBody>
      </p:sp>
    </p:spTree>
    <p:extLst>
      <p:ext uri="{BB962C8B-B14F-4D97-AF65-F5344CB8AC3E}">
        <p14:creationId xmlns:p14="http://schemas.microsoft.com/office/powerpoint/2010/main" val="1545322774"/>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CF1B2-D004-0B46-A9A7-66DF7BCB5D9F}"/>
              </a:ext>
            </a:extLst>
          </p:cNvPr>
          <p:cNvSpPr>
            <a:spLocks noGrp="1"/>
          </p:cNvSpPr>
          <p:nvPr>
            <p:ph type="title"/>
          </p:nvPr>
        </p:nvSpPr>
        <p:spPr>
          <a:xfrm>
            <a:off x="2420874" y="242693"/>
            <a:ext cx="4235958" cy="485108"/>
          </a:xfrm>
        </p:spPr>
        <p:txBody>
          <a:bodyPr>
            <a:normAutofit/>
          </a:bodyPr>
          <a:lstStyle/>
          <a:p>
            <a:pPr algn="ctr"/>
            <a:r>
              <a:rPr lang="en-US" sz="2400" b="1" noProof="0">
                <a:latin typeface="+mn-lt"/>
              </a:rPr>
              <a:t>Definition of Cure</a:t>
            </a:r>
          </a:p>
        </p:txBody>
      </p:sp>
      <p:sp>
        <p:nvSpPr>
          <p:cNvPr id="3" name="Content Placeholder 2">
            <a:extLst>
              <a:ext uri="{FF2B5EF4-FFF2-40B4-BE49-F238E27FC236}">
                <a16:creationId xmlns:a16="http://schemas.microsoft.com/office/drawing/2014/main" id="{8EC365BF-9CCA-774C-8DBD-48C735142A54}"/>
              </a:ext>
            </a:extLst>
          </p:cNvPr>
          <p:cNvSpPr>
            <a:spLocks noGrp="1"/>
          </p:cNvSpPr>
          <p:nvPr>
            <p:ph idx="1"/>
          </p:nvPr>
        </p:nvSpPr>
        <p:spPr>
          <a:xfrm>
            <a:off x="381762" y="939998"/>
            <a:ext cx="7886700" cy="3961186"/>
          </a:xfrm>
        </p:spPr>
        <p:txBody>
          <a:bodyPr>
            <a:normAutofit/>
          </a:bodyPr>
          <a:lstStyle/>
          <a:p>
            <a:pPr marL="254794" indent="-254794"/>
            <a:r>
              <a:rPr lang="en-US" noProof="0"/>
              <a:t>CURE</a:t>
            </a:r>
          </a:p>
          <a:p>
            <a:pPr marL="597694" lvl="1" indent="-254794">
              <a:buFont typeface="Calibri" panose="020F0502020204030204" pitchFamily="34" charset="0"/>
              <a:buChar char="–"/>
            </a:pPr>
            <a:r>
              <a:rPr lang="en-US" sz="1950" noProof="0"/>
              <a:t>Prolonged survival or CURE</a:t>
            </a:r>
          </a:p>
          <a:p>
            <a:pPr marL="597694" lvl="1" indent="-254794">
              <a:buFont typeface="Calibri" panose="020F0502020204030204" pitchFamily="34" charset="0"/>
              <a:buChar char="–"/>
            </a:pPr>
            <a:r>
              <a:rPr lang="en-US" sz="1950" noProof="0"/>
              <a:t>How many patients </a:t>
            </a:r>
          </a:p>
          <a:p>
            <a:pPr marL="597694" lvl="1" indent="-254794">
              <a:buFont typeface="Calibri" panose="020F0502020204030204" pitchFamily="34" charset="0"/>
              <a:buChar char="–"/>
            </a:pPr>
            <a:r>
              <a:rPr lang="en-US" sz="1950" noProof="0"/>
              <a:t>How many cycles</a:t>
            </a:r>
          </a:p>
          <a:p>
            <a:pPr marL="597694" lvl="1" indent="-254794">
              <a:buFont typeface="Calibri" panose="020F0502020204030204" pitchFamily="34" charset="0"/>
              <a:buChar char="–"/>
            </a:pPr>
            <a:r>
              <a:rPr lang="en-US" sz="1950" noProof="0"/>
              <a:t>MRD negative status at 10</a:t>
            </a:r>
            <a:r>
              <a:rPr lang="en-US" sz="1950" baseline="30000" noProof="0"/>
              <a:t>6, etc</a:t>
            </a:r>
          </a:p>
          <a:p>
            <a:pPr>
              <a:buFont typeface="Calibri" panose="020F0502020204030204" pitchFamily="34" charset="0"/>
              <a:buChar char="–"/>
            </a:pPr>
            <a:endParaRPr lang="en-US" sz="1950" noProof="0"/>
          </a:p>
          <a:p>
            <a:pPr marL="254794" indent="-254794"/>
            <a:r>
              <a:rPr lang="en-US" noProof="0"/>
              <a:t>FUNCTIONAL CURE</a:t>
            </a:r>
          </a:p>
          <a:p>
            <a:pPr marL="597694" lvl="1" indent="-254794">
              <a:buFont typeface="Calibri" panose="020F0502020204030204" pitchFamily="34" charset="0"/>
              <a:buChar char="–"/>
            </a:pPr>
            <a:r>
              <a:rPr lang="en-US" sz="1950" noProof="0"/>
              <a:t>Death from other causes</a:t>
            </a:r>
          </a:p>
          <a:p>
            <a:pPr marL="597694" lvl="1" indent="-254794">
              <a:buFont typeface="Calibri" panose="020F0502020204030204" pitchFamily="34" charset="0"/>
              <a:buChar char="–"/>
            </a:pPr>
            <a:r>
              <a:rPr lang="en-US" sz="1950" noProof="0"/>
              <a:t>Prolonged survival ON or OFF treatment, but for how long?</a:t>
            </a:r>
          </a:p>
          <a:p>
            <a:pPr marL="0" indent="0">
              <a:buNone/>
            </a:pPr>
            <a:endParaRPr lang="en-US" noProof="0"/>
          </a:p>
        </p:txBody>
      </p:sp>
    </p:spTree>
    <p:extLst>
      <p:ext uri="{BB962C8B-B14F-4D97-AF65-F5344CB8AC3E}">
        <p14:creationId xmlns:p14="http://schemas.microsoft.com/office/powerpoint/2010/main" val="2792733645"/>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9ED5833-B85B-4103-8A3B-CAB0308E6C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 name="Titre 1">
            <a:extLst>
              <a:ext uri="{FF2B5EF4-FFF2-40B4-BE49-F238E27FC236}">
                <a16:creationId xmlns:a16="http://schemas.microsoft.com/office/drawing/2014/main" id="{6DCA7529-D522-7449-BC99-EA20D549B066}"/>
              </a:ext>
            </a:extLst>
          </p:cNvPr>
          <p:cNvSpPr>
            <a:spLocks noGrp="1"/>
          </p:cNvSpPr>
          <p:nvPr>
            <p:ph type="title"/>
          </p:nvPr>
        </p:nvSpPr>
        <p:spPr>
          <a:xfrm>
            <a:off x="1" y="150323"/>
            <a:ext cx="9141713" cy="659277"/>
          </a:xfrm>
        </p:spPr>
        <p:txBody>
          <a:bodyPr vert="horz" lIns="68580" tIns="34290" rIns="68580" bIns="34290" rtlCol="0" anchor="ctr">
            <a:normAutofit/>
          </a:bodyPr>
          <a:lstStyle/>
          <a:p>
            <a:pPr algn="ctr"/>
            <a:r>
              <a:rPr lang="en-US" sz="2400" b="1" noProof="0">
                <a:latin typeface="+mn-lt"/>
              </a:rPr>
              <a:t>Overall Survival Improves, but No Plateau and No Cure Yet</a:t>
            </a:r>
          </a:p>
        </p:txBody>
      </p:sp>
      <p:pic>
        <p:nvPicPr>
          <p:cNvPr id="6" name="Image 5">
            <a:extLst>
              <a:ext uri="{FF2B5EF4-FFF2-40B4-BE49-F238E27FC236}">
                <a16:creationId xmlns:a16="http://schemas.microsoft.com/office/drawing/2014/main" id="{48E90A1C-D05E-D04C-A83E-0DD3FBFA12A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50634" y="1335457"/>
            <a:ext cx="4549966" cy="3049529"/>
          </a:xfrm>
          <a:prstGeom prst="rect">
            <a:avLst/>
          </a:prstGeom>
        </p:spPr>
      </p:pic>
      <p:pic>
        <p:nvPicPr>
          <p:cNvPr id="5" name="Image 4">
            <a:extLst>
              <a:ext uri="{FF2B5EF4-FFF2-40B4-BE49-F238E27FC236}">
                <a16:creationId xmlns:a16="http://schemas.microsoft.com/office/drawing/2014/main" id="{7E85D825-9267-1544-9974-EC6234571D6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06804" y="1343572"/>
            <a:ext cx="3686563" cy="3041414"/>
          </a:xfrm>
          <a:prstGeom prst="rect">
            <a:avLst/>
          </a:prstGeom>
        </p:spPr>
      </p:pic>
      <p:sp>
        <p:nvSpPr>
          <p:cNvPr id="3" name="Down Arrow 2">
            <a:extLst>
              <a:ext uri="{FF2B5EF4-FFF2-40B4-BE49-F238E27FC236}">
                <a16:creationId xmlns:a16="http://schemas.microsoft.com/office/drawing/2014/main" id="{2DCF0537-FACA-314A-86D9-02D46F6E8338}"/>
              </a:ext>
            </a:extLst>
          </p:cNvPr>
          <p:cNvSpPr/>
          <p:nvPr/>
        </p:nvSpPr>
        <p:spPr>
          <a:xfrm rot="17764021">
            <a:off x="7438972" y="2509503"/>
            <a:ext cx="342599" cy="13990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FR" sz="1350">
              <a:solidFill>
                <a:prstClr val="white"/>
              </a:solidFill>
              <a:latin typeface="Calibri" panose="020F0502020204030204"/>
            </a:endParaRPr>
          </a:p>
        </p:txBody>
      </p:sp>
      <p:sp>
        <p:nvSpPr>
          <p:cNvPr id="7" name="Down Arrow 6">
            <a:extLst>
              <a:ext uri="{FF2B5EF4-FFF2-40B4-BE49-F238E27FC236}">
                <a16:creationId xmlns:a16="http://schemas.microsoft.com/office/drawing/2014/main" id="{FAA51D11-3EB4-EF44-8D54-C88D489AA447}"/>
              </a:ext>
            </a:extLst>
          </p:cNvPr>
          <p:cNvSpPr/>
          <p:nvPr/>
        </p:nvSpPr>
        <p:spPr>
          <a:xfrm rot="16200000">
            <a:off x="7559765" y="2001916"/>
            <a:ext cx="342599" cy="13990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FR" sz="1350">
              <a:solidFill>
                <a:prstClr val="white"/>
              </a:solidFill>
              <a:latin typeface="Calibri" panose="020F0502020204030204"/>
            </a:endParaRPr>
          </a:p>
        </p:txBody>
      </p:sp>
      <p:sp>
        <p:nvSpPr>
          <p:cNvPr id="4" name="Smiley Face 3">
            <a:extLst>
              <a:ext uri="{FF2B5EF4-FFF2-40B4-BE49-F238E27FC236}">
                <a16:creationId xmlns:a16="http://schemas.microsoft.com/office/drawing/2014/main" id="{6A185080-1D75-0C4D-8505-6B7F554EF7CC}"/>
              </a:ext>
            </a:extLst>
          </p:cNvPr>
          <p:cNvSpPr/>
          <p:nvPr/>
        </p:nvSpPr>
        <p:spPr>
          <a:xfrm>
            <a:off x="7342632" y="2426559"/>
            <a:ext cx="658368" cy="585216"/>
          </a:xfrm>
          <a:prstGeom prst="smileyFace">
            <a:avLst/>
          </a:prstGeom>
          <a:solidFill>
            <a:schemeClr val="accent4"/>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FR" sz="1350">
              <a:solidFill>
                <a:prstClr val="white"/>
              </a:solidFill>
              <a:latin typeface="Calibri" panose="020F0502020204030204"/>
            </a:endParaRPr>
          </a:p>
        </p:txBody>
      </p:sp>
    </p:spTree>
    <p:extLst>
      <p:ext uri="{BB962C8B-B14F-4D97-AF65-F5344CB8AC3E}">
        <p14:creationId xmlns:p14="http://schemas.microsoft.com/office/powerpoint/2010/main" val="2154356612"/>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5366282-3780-433E-851C-3FFA79D8FE34}"/>
              </a:ext>
            </a:extLst>
          </p:cNvPr>
          <p:cNvSpPr/>
          <p:nvPr/>
        </p:nvSpPr>
        <p:spPr>
          <a:xfrm>
            <a:off x="0" y="4747678"/>
            <a:ext cx="8285419" cy="396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685800"/>
            <a:r>
              <a:rPr lang="en-US" sz="900">
                <a:solidFill>
                  <a:prstClr val="black"/>
                </a:solidFill>
                <a:latin typeface="Calibri" panose="020F0502020204030204"/>
                <a:cs typeface="Arial" panose="020B0604020202020204" pitchFamily="34" charset="0"/>
              </a:rPr>
              <a:t>*Refractory to one anti-CD38 mAb, and PI or IMD agents (but not both). </a:t>
            </a:r>
            <a:r>
              <a:rPr lang="en-US" sz="900" baseline="30000">
                <a:solidFill>
                  <a:prstClr val="black"/>
                </a:solidFill>
                <a:latin typeface="Calibri" panose="020F0502020204030204"/>
                <a:cs typeface="Arial" panose="020B0604020202020204" pitchFamily="34" charset="0"/>
              </a:rPr>
              <a:t>†</a:t>
            </a:r>
            <a:r>
              <a:rPr lang="en-US" sz="900">
                <a:solidFill>
                  <a:prstClr val="black"/>
                </a:solidFill>
                <a:latin typeface="Calibri" panose="020F0502020204030204"/>
                <a:cs typeface="Arial" panose="020B0604020202020204" pitchFamily="34" charset="0"/>
              </a:rPr>
              <a:t>Refractory to one anti-CD38 mAb + one PI + one or two IMD agents. </a:t>
            </a:r>
            <a:r>
              <a:rPr lang="en-US" sz="900" baseline="30000">
                <a:solidFill>
                  <a:prstClr val="black"/>
                </a:solidFill>
                <a:latin typeface="Calibri" panose="020F0502020204030204"/>
                <a:cs typeface="Arial" panose="020B0604020202020204" pitchFamily="34" charset="0"/>
              </a:rPr>
              <a:t>‡</a:t>
            </a:r>
            <a:r>
              <a:rPr lang="en-US" sz="900">
                <a:solidFill>
                  <a:prstClr val="black"/>
                </a:solidFill>
                <a:latin typeface="Calibri" panose="020F0502020204030204"/>
                <a:cs typeface="Arial" panose="020B0604020202020204" pitchFamily="34" charset="0"/>
              </a:rPr>
              <a:t>Refractory to one anti-CD38 mAb + two PIs + two IMD agents. </a:t>
            </a:r>
            <a:r>
              <a:rPr lang="en-US" sz="900" baseline="30000">
                <a:solidFill>
                  <a:prstClr val="black"/>
                </a:solidFill>
                <a:latin typeface="Calibri" panose="020F0502020204030204"/>
                <a:cs typeface="Arial" panose="020B0604020202020204" pitchFamily="34" charset="0"/>
              </a:rPr>
              <a:t>§</a:t>
            </a:r>
            <a:r>
              <a:rPr lang="en-US" sz="900">
                <a:solidFill>
                  <a:prstClr val="black"/>
                </a:solidFill>
                <a:latin typeface="Calibri" panose="020F0502020204030204"/>
                <a:cs typeface="Arial" panose="020B0604020202020204" pitchFamily="34" charset="0"/>
              </a:rPr>
              <a:t>Calculated by combining rates of PR and ≥very good PR. For the first regimen after T</a:t>
            </a:r>
            <a:r>
              <a:rPr lang="en-US" sz="900" baseline="-25000">
                <a:solidFill>
                  <a:prstClr val="black"/>
                </a:solidFill>
                <a:latin typeface="Calibri" panose="020F0502020204030204"/>
                <a:cs typeface="Arial" panose="020B0604020202020204" pitchFamily="34" charset="0"/>
              </a:rPr>
              <a:t>0</a:t>
            </a:r>
            <a:r>
              <a:rPr lang="en-US" sz="900">
                <a:solidFill>
                  <a:prstClr val="black"/>
                </a:solidFill>
                <a:latin typeface="Calibri" panose="020F0502020204030204"/>
                <a:cs typeface="Arial" panose="020B0604020202020204" pitchFamily="34" charset="0"/>
              </a:rPr>
              <a:t>; ORR was 38% for non-triple refractory, 29% for triple/quad refractory and 30% for penta refractory. IMD, immunomodulatory drug; mAb, monoclonal antibodies; mOS, median overall survival; mAb, monoclonal antibody; MM, multiple myeloma; mPFS, median progression-free survival; ORR, overall response rate; PI, proteasome inhibitor; PR, partial response; T</a:t>
            </a:r>
            <a:r>
              <a:rPr lang="en-US" sz="900" baseline="-25000">
                <a:solidFill>
                  <a:prstClr val="black"/>
                </a:solidFill>
                <a:latin typeface="Calibri" panose="020F0502020204030204"/>
                <a:cs typeface="Arial" panose="020B0604020202020204" pitchFamily="34" charset="0"/>
              </a:rPr>
              <a:t>0</a:t>
            </a:r>
            <a:r>
              <a:rPr lang="en-US" sz="900">
                <a:solidFill>
                  <a:prstClr val="black"/>
                </a:solidFill>
                <a:latin typeface="Calibri" panose="020F0502020204030204"/>
                <a:cs typeface="Arial" panose="020B0604020202020204" pitchFamily="34" charset="0"/>
              </a:rPr>
              <a:t>, time zero.</a:t>
            </a:r>
          </a:p>
          <a:p>
            <a:pPr defTabSz="685800"/>
            <a:r>
              <a:rPr lang="en-US" sz="900">
                <a:solidFill>
                  <a:prstClr val="black"/>
                </a:solidFill>
                <a:latin typeface="Calibri" panose="020F0502020204030204"/>
                <a:cs typeface="Arial" panose="020B0604020202020204" pitchFamily="34" charset="0"/>
              </a:rPr>
              <a:t>Adapted from Gandhi UH, et al. </a:t>
            </a:r>
            <a:r>
              <a:rPr lang="en-US" sz="900" i="1">
                <a:solidFill>
                  <a:prstClr val="black"/>
                </a:solidFill>
                <a:latin typeface="Calibri" panose="020F0502020204030204"/>
                <a:cs typeface="Arial" panose="020B0604020202020204" pitchFamily="34" charset="0"/>
              </a:rPr>
              <a:t>Leukemia. </a:t>
            </a:r>
            <a:r>
              <a:rPr lang="en-US" sz="900">
                <a:solidFill>
                  <a:prstClr val="black"/>
                </a:solidFill>
                <a:latin typeface="Calibri" panose="020F0502020204030204"/>
                <a:cs typeface="Arial" panose="020B0604020202020204" pitchFamily="34" charset="0"/>
              </a:rPr>
              <a:t>2019;33:2266-2275.</a:t>
            </a:r>
          </a:p>
        </p:txBody>
      </p:sp>
      <p:sp>
        <p:nvSpPr>
          <p:cNvPr id="19" name="Rectangle 18">
            <a:extLst>
              <a:ext uri="{FF2B5EF4-FFF2-40B4-BE49-F238E27FC236}">
                <a16:creationId xmlns:a16="http://schemas.microsoft.com/office/drawing/2014/main" id="{C3541B37-1AF1-45CC-95C1-47F5CED1A931}"/>
              </a:ext>
            </a:extLst>
          </p:cNvPr>
          <p:cNvSpPr/>
          <p:nvPr/>
        </p:nvSpPr>
        <p:spPr>
          <a:xfrm>
            <a:off x="0" y="247134"/>
            <a:ext cx="9144000" cy="6949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r>
              <a:rPr lang="en-US" sz="2400" b="1">
                <a:solidFill>
                  <a:prstClr val="black"/>
                </a:solidFill>
                <a:latin typeface="Calibri" panose="020F0502020204030204"/>
                <a:cs typeface="Arial" panose="020B0604020202020204" pitchFamily="34" charset="0"/>
              </a:rPr>
              <a:t>The MAMMOTH Study Highlights the Need for Novel Strategies to Improve the Overall Survival of Triple Class Exposed Patients</a:t>
            </a:r>
          </a:p>
        </p:txBody>
      </p:sp>
      <p:graphicFrame>
        <p:nvGraphicFramePr>
          <p:cNvPr id="4" name="Table 4">
            <a:extLst>
              <a:ext uri="{FF2B5EF4-FFF2-40B4-BE49-F238E27FC236}">
                <a16:creationId xmlns:a16="http://schemas.microsoft.com/office/drawing/2014/main" id="{EF449D7D-1BED-4435-9ED6-EA11A191B0A6}"/>
              </a:ext>
            </a:extLst>
          </p:cNvPr>
          <p:cNvGraphicFramePr>
            <a:graphicFrameLocks noGrp="1"/>
          </p:cNvGraphicFramePr>
          <p:nvPr/>
        </p:nvGraphicFramePr>
        <p:xfrm>
          <a:off x="341345" y="1533836"/>
          <a:ext cx="3647493" cy="1165860"/>
        </p:xfrm>
        <a:graphic>
          <a:graphicData uri="http://schemas.openxmlformats.org/drawingml/2006/table">
            <a:tbl>
              <a:tblPr firstRow="1" bandRow="1">
                <a:tableStyleId>{5C22544A-7EE6-4342-B048-85BDC9FD1C3A}</a:tableStyleId>
              </a:tblPr>
              <a:tblGrid>
                <a:gridCol w="2414674">
                  <a:extLst>
                    <a:ext uri="{9D8B030D-6E8A-4147-A177-3AD203B41FA5}">
                      <a16:colId xmlns:a16="http://schemas.microsoft.com/office/drawing/2014/main" val="2006471089"/>
                    </a:ext>
                  </a:extLst>
                </a:gridCol>
                <a:gridCol w="1232819">
                  <a:extLst>
                    <a:ext uri="{9D8B030D-6E8A-4147-A177-3AD203B41FA5}">
                      <a16:colId xmlns:a16="http://schemas.microsoft.com/office/drawing/2014/main" val="2154701987"/>
                    </a:ext>
                  </a:extLst>
                </a:gridCol>
              </a:tblGrid>
              <a:tr h="3429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i="0">
                          <a:solidFill>
                            <a:schemeClr val="bg1"/>
                          </a:solidFill>
                          <a:latin typeface="Arial" panose="020B0604020202020204" pitchFamily="34" charset="0"/>
                          <a:cs typeface="Arial" panose="020B0604020202020204" pitchFamily="34" charset="0"/>
                        </a:rPr>
                        <a:t>275 patients refractory to anti-CD38 mAb</a:t>
                      </a:r>
                    </a:p>
                  </a:txBody>
                  <a:tcPr marL="68580" marR="68580" marT="34290" marB="3429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62261"/>
                    </a:solidFill>
                  </a:tcPr>
                </a:tc>
                <a:tc>
                  <a:txBody>
                    <a:bodyPr/>
                    <a:lstStyle/>
                    <a:p>
                      <a:pPr algn="ctr"/>
                      <a:r>
                        <a:rPr lang="en-GB" sz="900">
                          <a:solidFill>
                            <a:schemeClr val="bg1"/>
                          </a:solidFill>
                          <a:latin typeface="Arial" panose="020B0604020202020204" pitchFamily="34" charset="0"/>
                          <a:cs typeface="Arial" panose="020B0604020202020204" pitchFamily="34" charset="0"/>
                        </a:rPr>
                        <a:t>Median OS, months (95% CI)</a:t>
                      </a:r>
                    </a:p>
                  </a:txBody>
                  <a:tcPr marL="68580" marR="68580" marT="34290" marB="3429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62261"/>
                    </a:solidFill>
                  </a:tcPr>
                </a:tc>
                <a:extLst>
                  <a:ext uri="{0D108BD9-81ED-4DB2-BD59-A6C34878D82A}">
                    <a16:rowId xmlns:a16="http://schemas.microsoft.com/office/drawing/2014/main" val="2574049463"/>
                  </a:ext>
                </a:extLst>
              </a:tr>
              <a:tr h="205740">
                <a:tc>
                  <a:txBody>
                    <a:bodyPr/>
                    <a:lstStyle/>
                    <a:p>
                      <a:r>
                        <a:rPr lang="en-GB" sz="900">
                          <a:solidFill>
                            <a:srgbClr val="544F40"/>
                          </a:solidFill>
                          <a:latin typeface="Arial" panose="020B0604020202020204" pitchFamily="34" charset="0"/>
                          <a:cs typeface="Arial" panose="020B0604020202020204" pitchFamily="34" charset="0"/>
                        </a:rPr>
                        <a:t>Non-triple-refractory MM*</a:t>
                      </a:r>
                      <a:endParaRPr lang="en-GB" sz="900" baseline="30000">
                        <a:solidFill>
                          <a:srgbClr val="544F40"/>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1">
                          <a:solidFill>
                            <a:srgbClr val="544F40"/>
                          </a:solidFill>
                          <a:latin typeface="Arial" panose="020B0604020202020204" pitchFamily="34" charset="0"/>
                          <a:cs typeface="Arial" panose="020B0604020202020204" pitchFamily="34" charset="0"/>
                        </a:rPr>
                        <a:t>11.2 </a:t>
                      </a:r>
                      <a:r>
                        <a:rPr lang="en-GB" sz="900">
                          <a:solidFill>
                            <a:srgbClr val="544F40"/>
                          </a:solidFill>
                          <a:latin typeface="Arial" panose="020B0604020202020204" pitchFamily="34" charset="0"/>
                          <a:cs typeface="Arial" panose="020B0604020202020204" pitchFamily="34" charset="0"/>
                        </a:rPr>
                        <a:t>(5.4–17.1)</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1193604"/>
                  </a:ext>
                </a:extLst>
              </a:tr>
              <a:tr h="205740">
                <a:tc>
                  <a:txBody>
                    <a:bodyPr/>
                    <a:lstStyle/>
                    <a:p>
                      <a:r>
                        <a:rPr lang="en-GB" sz="900">
                          <a:solidFill>
                            <a:srgbClr val="544F40"/>
                          </a:solidFill>
                          <a:latin typeface="Arial" panose="020B0604020202020204" pitchFamily="34" charset="0"/>
                          <a:cs typeface="Arial" panose="020B0604020202020204" pitchFamily="34" charset="0"/>
                        </a:rPr>
                        <a:t>Triple- and quad-refractory MM</a:t>
                      </a:r>
                      <a:r>
                        <a:rPr lang="en-GB" sz="900" baseline="30000">
                          <a:solidFill>
                            <a:srgbClr val="544F40"/>
                          </a:solidFill>
                          <a:latin typeface="Arial" panose="020B0604020202020204" pitchFamily="34" charset="0"/>
                          <a:cs typeface="Arial" panose="020B0604020202020204" pitchFamily="34" charset="0"/>
                        </a:rPr>
                        <a:t>†</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1">
                          <a:solidFill>
                            <a:srgbClr val="544F40"/>
                          </a:solidFill>
                          <a:latin typeface="Arial" panose="020B0604020202020204" pitchFamily="34" charset="0"/>
                          <a:cs typeface="Arial" panose="020B0604020202020204" pitchFamily="34" charset="0"/>
                        </a:rPr>
                        <a:t>9.2 </a:t>
                      </a:r>
                      <a:r>
                        <a:rPr lang="en-GB" sz="900">
                          <a:solidFill>
                            <a:srgbClr val="544F40"/>
                          </a:solidFill>
                          <a:latin typeface="Arial" panose="020B0604020202020204" pitchFamily="34" charset="0"/>
                          <a:cs typeface="Arial" panose="020B0604020202020204" pitchFamily="34" charset="0"/>
                        </a:rPr>
                        <a:t>(7.1–11.2)</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15293"/>
                  </a:ext>
                </a:extLst>
              </a:tr>
              <a:tr h="205740">
                <a:tc>
                  <a:txBody>
                    <a:bodyPr/>
                    <a:lstStyle/>
                    <a:p>
                      <a:r>
                        <a:rPr lang="en-GB" sz="900">
                          <a:solidFill>
                            <a:srgbClr val="544F40"/>
                          </a:solidFill>
                          <a:latin typeface="Arial" panose="020B0604020202020204" pitchFamily="34" charset="0"/>
                          <a:cs typeface="Arial" panose="020B0604020202020204" pitchFamily="34" charset="0"/>
                        </a:rPr>
                        <a:t>Penta-refractory MM</a:t>
                      </a:r>
                      <a:r>
                        <a:rPr lang="en-GB" sz="900" baseline="30000">
                          <a:solidFill>
                            <a:srgbClr val="544F40"/>
                          </a:solidFill>
                          <a:latin typeface="Arial" panose="020B0604020202020204" pitchFamily="34" charset="0"/>
                          <a:cs typeface="Arial" panose="020B0604020202020204" pitchFamily="34" charset="0"/>
                        </a:rPr>
                        <a:t>‡</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1">
                          <a:solidFill>
                            <a:srgbClr val="544F40"/>
                          </a:solidFill>
                          <a:latin typeface="Arial" panose="020B0604020202020204" pitchFamily="34" charset="0"/>
                          <a:cs typeface="Arial" panose="020B0604020202020204" pitchFamily="34" charset="0"/>
                        </a:rPr>
                        <a:t>5.6 </a:t>
                      </a:r>
                      <a:r>
                        <a:rPr lang="en-GB" sz="900">
                          <a:solidFill>
                            <a:srgbClr val="544F40"/>
                          </a:solidFill>
                          <a:latin typeface="Arial" panose="020B0604020202020204" pitchFamily="34" charset="0"/>
                          <a:cs typeface="Arial" panose="020B0604020202020204" pitchFamily="34" charset="0"/>
                        </a:rPr>
                        <a:t>(3.5–7.8)</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0808862"/>
                  </a:ext>
                </a:extLst>
              </a:tr>
              <a:tr h="205740">
                <a:tc>
                  <a:txBody>
                    <a:bodyPr/>
                    <a:lstStyle/>
                    <a:p>
                      <a:r>
                        <a:rPr lang="en-GB" sz="900">
                          <a:solidFill>
                            <a:srgbClr val="544F40"/>
                          </a:solidFill>
                          <a:latin typeface="Arial" panose="020B0604020202020204" pitchFamily="34" charset="0"/>
                          <a:cs typeface="Arial" panose="020B0604020202020204" pitchFamily="34" charset="0"/>
                        </a:rPr>
                        <a:t>Overall cohort</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1">
                          <a:solidFill>
                            <a:srgbClr val="544F40"/>
                          </a:solidFill>
                          <a:latin typeface="Arial" panose="020B0604020202020204" pitchFamily="34" charset="0"/>
                          <a:cs typeface="Arial" panose="020B0604020202020204" pitchFamily="34" charset="0"/>
                        </a:rPr>
                        <a:t>8.6</a:t>
                      </a:r>
                      <a:r>
                        <a:rPr lang="en-GB" sz="900">
                          <a:solidFill>
                            <a:srgbClr val="544F40"/>
                          </a:solidFill>
                          <a:latin typeface="Arial" panose="020B0604020202020204" pitchFamily="34" charset="0"/>
                          <a:cs typeface="Arial" panose="020B0604020202020204" pitchFamily="34" charset="0"/>
                        </a:rPr>
                        <a:t> (7.2–9.9)</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9463604"/>
                  </a:ext>
                </a:extLst>
              </a:tr>
            </a:tbl>
          </a:graphicData>
        </a:graphic>
      </p:graphicFrame>
      <p:sp>
        <p:nvSpPr>
          <p:cNvPr id="89" name="Rectangle: Rounded Corners 88">
            <a:extLst>
              <a:ext uri="{FF2B5EF4-FFF2-40B4-BE49-F238E27FC236}">
                <a16:creationId xmlns:a16="http://schemas.microsoft.com/office/drawing/2014/main" id="{FE744F0E-557B-4F7B-9171-5DAF30561805}"/>
              </a:ext>
            </a:extLst>
          </p:cNvPr>
          <p:cNvSpPr/>
          <p:nvPr/>
        </p:nvSpPr>
        <p:spPr>
          <a:xfrm>
            <a:off x="5812311" y="1551727"/>
            <a:ext cx="3023792" cy="810781"/>
          </a:xfrm>
          <a:prstGeom prst="roundRect">
            <a:avLst/>
          </a:prstGeom>
          <a:noFill/>
          <a:ln>
            <a:noFill/>
          </a:ln>
        </p:spPr>
        <p:style>
          <a:lnRef idx="0">
            <a:schemeClr val="accent1"/>
          </a:lnRef>
          <a:fillRef idx="1">
            <a:schemeClr val="accent1"/>
          </a:fillRef>
          <a:effectRef idx="0">
            <a:srgbClr val="000000"/>
          </a:effectRef>
          <a:fontRef idx="minor">
            <a:schemeClr val="lt1"/>
          </a:fontRef>
        </p:style>
        <p:txBody>
          <a:bodyPr tIns="20250" bIns="20250" rtlCol="0" anchor="ctr"/>
          <a:lstStyle/>
          <a:p>
            <a:pPr algn="ctr" defTabSz="685800"/>
            <a:r>
              <a:rPr lang="en-GB" sz="1050" b="1">
                <a:solidFill>
                  <a:srgbClr val="262261"/>
                </a:solidFill>
                <a:latin typeface="Calibri" panose="020F0502020204030204"/>
                <a:cs typeface="Arial" panose="020B0604020202020204" pitchFamily="34" charset="0"/>
              </a:rPr>
              <a:t>Patients refractory to ≥1 anti-CD38 mAb, </a:t>
            </a:r>
            <a:br>
              <a:rPr lang="en-GB" sz="1050" b="1">
                <a:solidFill>
                  <a:srgbClr val="262261"/>
                </a:solidFill>
                <a:latin typeface="Calibri" panose="020F0502020204030204"/>
                <a:cs typeface="Arial" panose="020B0604020202020204" pitchFamily="34" charset="0"/>
              </a:rPr>
            </a:br>
            <a:r>
              <a:rPr lang="en-GB" sz="1050" b="1">
                <a:solidFill>
                  <a:srgbClr val="262261"/>
                </a:solidFill>
                <a:latin typeface="Calibri" panose="020F0502020204030204"/>
                <a:cs typeface="Arial" panose="020B0604020202020204" pitchFamily="34" charset="0"/>
              </a:rPr>
              <a:t>PI and IMD have a poor prognosis</a:t>
            </a:r>
          </a:p>
        </p:txBody>
      </p:sp>
      <p:graphicFrame>
        <p:nvGraphicFramePr>
          <p:cNvPr id="92" name="Table 4">
            <a:extLst>
              <a:ext uri="{FF2B5EF4-FFF2-40B4-BE49-F238E27FC236}">
                <a16:creationId xmlns:a16="http://schemas.microsoft.com/office/drawing/2014/main" id="{569D046B-5498-4486-92F3-6D251FC0933C}"/>
              </a:ext>
            </a:extLst>
          </p:cNvPr>
          <p:cNvGraphicFramePr>
            <a:graphicFrameLocks noGrp="1"/>
          </p:cNvGraphicFramePr>
          <p:nvPr/>
        </p:nvGraphicFramePr>
        <p:xfrm>
          <a:off x="341345" y="2966982"/>
          <a:ext cx="3647493" cy="1097280"/>
        </p:xfrm>
        <a:graphic>
          <a:graphicData uri="http://schemas.openxmlformats.org/drawingml/2006/table">
            <a:tbl>
              <a:tblPr firstRow="1" bandRow="1">
                <a:tableStyleId>{5C22544A-7EE6-4342-B048-85BDC9FD1C3A}</a:tableStyleId>
              </a:tblPr>
              <a:tblGrid>
                <a:gridCol w="2646783">
                  <a:extLst>
                    <a:ext uri="{9D8B030D-6E8A-4147-A177-3AD203B41FA5}">
                      <a16:colId xmlns:a16="http://schemas.microsoft.com/office/drawing/2014/main" val="2006471089"/>
                    </a:ext>
                  </a:extLst>
                </a:gridCol>
                <a:gridCol w="1000710">
                  <a:extLst>
                    <a:ext uri="{9D8B030D-6E8A-4147-A177-3AD203B41FA5}">
                      <a16:colId xmlns:a16="http://schemas.microsoft.com/office/drawing/2014/main" val="2154701987"/>
                    </a:ext>
                  </a:extLst>
                </a:gridCol>
              </a:tblGrid>
              <a:tr h="205740">
                <a:tc>
                  <a:txBody>
                    <a:bodyPr/>
                    <a:lstStyle/>
                    <a:p>
                      <a:r>
                        <a:rPr lang="en-GB" sz="900">
                          <a:solidFill>
                            <a:srgbClr val="544F40"/>
                          </a:solidFill>
                          <a:latin typeface="Arial" panose="020B0604020202020204" pitchFamily="34" charset="0"/>
                          <a:cs typeface="Arial" panose="020B0604020202020204" pitchFamily="34" charset="0"/>
                        </a:rPr>
                        <a:t>249 patients were treated beyond T</a:t>
                      </a:r>
                      <a:r>
                        <a:rPr lang="en-GB" sz="900" baseline="-25000">
                          <a:solidFill>
                            <a:srgbClr val="544F40"/>
                          </a:solidFill>
                          <a:latin typeface="Arial" panose="020B0604020202020204" pitchFamily="34" charset="0"/>
                          <a:cs typeface="Arial" panose="020B0604020202020204" pitchFamily="34" charset="0"/>
                        </a:rPr>
                        <a:t>0</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a:solidFill>
                          <a:srgbClr val="544F40"/>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1193604"/>
                  </a:ext>
                </a:extLst>
              </a:tr>
              <a:tr h="205740">
                <a:tc>
                  <a:txBody>
                    <a:bodyPr/>
                    <a:lstStyle/>
                    <a:p>
                      <a:r>
                        <a:rPr lang="en-GB" sz="900">
                          <a:solidFill>
                            <a:srgbClr val="544F40"/>
                          </a:solidFill>
                          <a:latin typeface="Arial" panose="020B0604020202020204" pitchFamily="34" charset="0"/>
                          <a:cs typeface="Arial" panose="020B0604020202020204" pitchFamily="34" charset="0"/>
                        </a:rPr>
                        <a:t>ORR</a:t>
                      </a:r>
                      <a:r>
                        <a:rPr lang="en-GB" sz="900" baseline="30000">
                          <a:solidFill>
                            <a:srgbClr val="544F40"/>
                          </a:solidFill>
                          <a:latin typeface="Arial" panose="020B0604020202020204" pitchFamily="34" charset="0"/>
                          <a:cs typeface="Arial" panose="020B0604020202020204" pitchFamily="34" charset="0"/>
                        </a:rPr>
                        <a:t>§ </a:t>
                      </a:r>
                      <a:r>
                        <a:rPr lang="en-GB" sz="900" baseline="0">
                          <a:solidFill>
                            <a:srgbClr val="544F40"/>
                          </a:solidFill>
                          <a:latin typeface="Arial" panose="020B0604020202020204" pitchFamily="34" charset="0"/>
                          <a:cs typeface="Arial" panose="020B0604020202020204" pitchFamily="34" charset="0"/>
                        </a:rPr>
                        <a:t>to the first regimen after T</a:t>
                      </a:r>
                      <a:r>
                        <a:rPr lang="en-GB" sz="900" baseline="-25000">
                          <a:solidFill>
                            <a:srgbClr val="544F40"/>
                          </a:solidFill>
                          <a:latin typeface="Arial" panose="020B0604020202020204" pitchFamily="34" charset="0"/>
                          <a:cs typeface="Arial" panose="020B0604020202020204" pitchFamily="34" charset="0"/>
                        </a:rPr>
                        <a:t>0</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1">
                          <a:solidFill>
                            <a:srgbClr val="544F40"/>
                          </a:solidFill>
                          <a:latin typeface="Arial" panose="020B0604020202020204" pitchFamily="34" charset="0"/>
                          <a:cs typeface="Arial" panose="020B0604020202020204" pitchFamily="34" charset="0"/>
                        </a:rPr>
                        <a:t>31%</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15293"/>
                  </a:ext>
                </a:extLst>
              </a:tr>
              <a:tr h="342900">
                <a:tc>
                  <a:txBody>
                    <a:bodyPr/>
                    <a:lstStyle/>
                    <a:p>
                      <a:r>
                        <a:rPr lang="en-GB" sz="900">
                          <a:solidFill>
                            <a:srgbClr val="544F40"/>
                          </a:solidFill>
                          <a:latin typeface="Arial" panose="020B0604020202020204" pitchFamily="34" charset="0"/>
                          <a:cs typeface="Arial" panose="020B0604020202020204" pitchFamily="34" charset="0"/>
                        </a:rPr>
                        <a:t>mPFS</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1">
                          <a:solidFill>
                            <a:srgbClr val="544F40"/>
                          </a:solidFill>
                          <a:latin typeface="Arial" panose="020B0604020202020204" pitchFamily="34" charset="0"/>
                          <a:cs typeface="Arial" panose="020B0604020202020204" pitchFamily="34" charset="0"/>
                        </a:rPr>
                        <a:t>3.4</a:t>
                      </a:r>
                      <a:r>
                        <a:rPr lang="en-GB" sz="900">
                          <a:solidFill>
                            <a:srgbClr val="544F40"/>
                          </a:solidFill>
                          <a:latin typeface="Arial" panose="020B0604020202020204" pitchFamily="34" charset="0"/>
                          <a:cs typeface="Arial" panose="020B0604020202020204" pitchFamily="34" charset="0"/>
                        </a:rPr>
                        <a:t> (2.8–4.0) months</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0808862"/>
                  </a:ext>
                </a:extLst>
              </a:tr>
              <a:tr h="342900">
                <a:tc>
                  <a:txBody>
                    <a:bodyPr/>
                    <a:lstStyle/>
                    <a:p>
                      <a:r>
                        <a:rPr lang="en-GB" sz="900">
                          <a:solidFill>
                            <a:srgbClr val="544F40"/>
                          </a:solidFill>
                          <a:latin typeface="Arial" panose="020B0604020202020204" pitchFamily="34" charset="0"/>
                          <a:cs typeface="Arial" panose="020B0604020202020204" pitchFamily="34" charset="0"/>
                        </a:rPr>
                        <a:t>mOS</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900" b="1">
                          <a:solidFill>
                            <a:srgbClr val="544F40"/>
                          </a:solidFill>
                          <a:latin typeface="Arial" panose="020B0604020202020204" pitchFamily="34" charset="0"/>
                          <a:cs typeface="Arial" panose="020B0604020202020204" pitchFamily="34" charset="0"/>
                        </a:rPr>
                        <a:t>9.3</a:t>
                      </a:r>
                      <a:r>
                        <a:rPr lang="en-GB" sz="900">
                          <a:solidFill>
                            <a:srgbClr val="544F40"/>
                          </a:solidFill>
                          <a:latin typeface="Arial" panose="020B0604020202020204" pitchFamily="34" charset="0"/>
                          <a:cs typeface="Arial" panose="020B0604020202020204" pitchFamily="34" charset="0"/>
                        </a:rPr>
                        <a:t> (8.1–10.6) months</a:t>
                      </a:r>
                    </a:p>
                  </a:txBody>
                  <a:tcPr marL="68580" marR="68580" marT="34290" marB="34290" anchor="ctr">
                    <a:lnL w="12700" cmpd="sng">
                      <a:noFill/>
                    </a:lnL>
                    <a:lnR w="12700" cmpd="sng">
                      <a:noFill/>
                    </a:lnR>
                    <a:lnT w="12700" cap="flat" cmpd="sng" algn="ctr">
                      <a:solidFill>
                        <a:srgbClr val="544F40"/>
                      </a:solidFill>
                      <a:prstDash val="solid"/>
                      <a:round/>
                      <a:headEnd type="none" w="med" len="med"/>
                      <a:tailEnd type="none" w="med" len="med"/>
                    </a:lnT>
                    <a:lnB w="12700" cap="flat" cmpd="sng" algn="ctr">
                      <a:solidFill>
                        <a:srgbClr val="544F4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9463604"/>
                  </a:ext>
                </a:extLst>
              </a:tr>
            </a:tbl>
          </a:graphicData>
        </a:graphic>
      </p:graphicFrame>
      <p:sp>
        <p:nvSpPr>
          <p:cNvPr id="363" name="TextBox 362">
            <a:extLst>
              <a:ext uri="{FF2B5EF4-FFF2-40B4-BE49-F238E27FC236}">
                <a16:creationId xmlns:a16="http://schemas.microsoft.com/office/drawing/2014/main" id="{3FAF93D8-C479-4786-9319-401FAFF0C7BD}"/>
              </a:ext>
            </a:extLst>
          </p:cNvPr>
          <p:cNvSpPr txBox="1"/>
          <p:nvPr/>
        </p:nvSpPr>
        <p:spPr>
          <a:xfrm>
            <a:off x="4874160" y="3424528"/>
            <a:ext cx="370294" cy="138499"/>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rtlCol="0" anchor="t" anchorCtr="1">
            <a:spAutoFit/>
          </a:bodyPr>
          <a:lstStyle/>
          <a:p>
            <a:pPr defTabSz="514350">
              <a:defRPr/>
            </a:pPr>
            <a:r>
              <a:rPr lang="en-GB" sz="900" i="1">
                <a:solidFill>
                  <a:srgbClr val="595454"/>
                </a:solidFill>
                <a:latin typeface="Calibri" panose="020F0502020204030204"/>
                <a:cs typeface="Arial" panose="020B0604020202020204" pitchFamily="34" charset="0"/>
              </a:rPr>
              <a:t>P</a:t>
            </a:r>
            <a:r>
              <a:rPr lang="en-GB" sz="900">
                <a:solidFill>
                  <a:srgbClr val="595454"/>
                </a:solidFill>
                <a:latin typeface="Calibri" panose="020F0502020204030204"/>
                <a:cs typeface="Arial" panose="020B0604020202020204" pitchFamily="34" charset="0"/>
              </a:rPr>
              <a:t> = .002</a:t>
            </a:r>
          </a:p>
        </p:txBody>
      </p:sp>
      <p:sp>
        <p:nvSpPr>
          <p:cNvPr id="364" name="TextBox 363">
            <a:extLst>
              <a:ext uri="{FF2B5EF4-FFF2-40B4-BE49-F238E27FC236}">
                <a16:creationId xmlns:a16="http://schemas.microsoft.com/office/drawing/2014/main" id="{72685745-0FAA-4D32-89CF-11B6FDA7EB64}"/>
              </a:ext>
            </a:extLst>
          </p:cNvPr>
          <p:cNvSpPr txBox="1"/>
          <p:nvPr/>
        </p:nvSpPr>
        <p:spPr>
          <a:xfrm>
            <a:off x="7375459" y="2521848"/>
            <a:ext cx="993862" cy="323165"/>
          </a:xfrm>
          <a:prstGeom prst="rect">
            <a:avLst/>
          </a:prstGeom>
          <a:noFill/>
          <a:ln>
            <a:noFill/>
          </a:ln>
        </p:spPr>
        <p:txBody>
          <a:bodyPr wrap="none" lIns="0" tIns="0" rIns="0" bIns="0" rtlCol="0" anchor="t" anchorCtr="1">
            <a:spAutoFit/>
          </a:bodyPr>
          <a:lstStyle/>
          <a:p>
            <a:pPr defTabSz="514350">
              <a:defRPr/>
            </a:pPr>
            <a:r>
              <a:rPr lang="en-GB" sz="1050">
                <a:solidFill>
                  <a:srgbClr val="262261"/>
                </a:solidFill>
                <a:latin typeface="Calibri" panose="020F0502020204030204"/>
                <a:cs typeface="Arial" panose="020B0604020202020204" pitchFamily="34" charset="0"/>
              </a:rPr>
              <a:t>Non triple </a:t>
            </a:r>
          </a:p>
          <a:p>
            <a:pPr defTabSz="514350">
              <a:defRPr/>
            </a:pPr>
            <a:r>
              <a:rPr lang="en-GB" sz="1050">
                <a:solidFill>
                  <a:srgbClr val="262261"/>
                </a:solidFill>
                <a:latin typeface="Calibri" panose="020F0502020204030204"/>
                <a:cs typeface="Arial" panose="020B0604020202020204" pitchFamily="34" charset="0"/>
              </a:rPr>
              <a:t>refractory (n = 57)</a:t>
            </a:r>
          </a:p>
        </p:txBody>
      </p:sp>
      <p:sp>
        <p:nvSpPr>
          <p:cNvPr id="365" name="TextBox 364">
            <a:extLst>
              <a:ext uri="{FF2B5EF4-FFF2-40B4-BE49-F238E27FC236}">
                <a16:creationId xmlns:a16="http://schemas.microsoft.com/office/drawing/2014/main" id="{5E69AF11-625E-4B8C-BDAD-16574054A0E6}"/>
              </a:ext>
            </a:extLst>
          </p:cNvPr>
          <p:cNvSpPr txBox="1"/>
          <p:nvPr/>
        </p:nvSpPr>
        <p:spPr>
          <a:xfrm>
            <a:off x="7375460" y="2927620"/>
            <a:ext cx="1062791" cy="323165"/>
          </a:xfrm>
          <a:prstGeom prst="rect">
            <a:avLst/>
          </a:prstGeom>
          <a:noFill/>
          <a:ln>
            <a:noFill/>
          </a:ln>
        </p:spPr>
        <p:txBody>
          <a:bodyPr wrap="none" lIns="0" tIns="0" rIns="0" bIns="0" rtlCol="0" anchor="t" anchorCtr="1">
            <a:spAutoFit/>
          </a:bodyPr>
          <a:lstStyle/>
          <a:p>
            <a:pPr defTabSz="514350">
              <a:defRPr/>
            </a:pPr>
            <a:r>
              <a:rPr lang="en-GB" sz="1050">
                <a:solidFill>
                  <a:srgbClr val="BE147D"/>
                </a:solidFill>
                <a:latin typeface="Calibri" panose="020F0502020204030204"/>
                <a:cs typeface="Arial" panose="020B0604020202020204" pitchFamily="34" charset="0"/>
              </a:rPr>
              <a:t>Triple and quad</a:t>
            </a:r>
          </a:p>
          <a:p>
            <a:pPr defTabSz="514350">
              <a:defRPr/>
            </a:pPr>
            <a:r>
              <a:rPr lang="en-GB" sz="1050">
                <a:solidFill>
                  <a:srgbClr val="BE147D"/>
                </a:solidFill>
                <a:latin typeface="Calibri" panose="020F0502020204030204"/>
                <a:cs typeface="Arial" panose="020B0604020202020204" pitchFamily="34" charset="0"/>
              </a:rPr>
              <a:t>refractory (n = 148)</a:t>
            </a:r>
          </a:p>
        </p:txBody>
      </p:sp>
      <p:sp>
        <p:nvSpPr>
          <p:cNvPr id="366" name="TextBox 365">
            <a:extLst>
              <a:ext uri="{FF2B5EF4-FFF2-40B4-BE49-F238E27FC236}">
                <a16:creationId xmlns:a16="http://schemas.microsoft.com/office/drawing/2014/main" id="{D7EF1615-8D53-4D9A-8368-7A9DE3F13EA4}"/>
              </a:ext>
            </a:extLst>
          </p:cNvPr>
          <p:cNvSpPr txBox="1"/>
          <p:nvPr/>
        </p:nvSpPr>
        <p:spPr>
          <a:xfrm>
            <a:off x="7375459" y="3387668"/>
            <a:ext cx="1340110" cy="161583"/>
          </a:xfrm>
          <a:prstGeom prst="rect">
            <a:avLst/>
          </a:prstGeom>
          <a:noFill/>
          <a:ln>
            <a:noFill/>
          </a:ln>
        </p:spPr>
        <p:txBody>
          <a:bodyPr wrap="none" lIns="0" tIns="0" rIns="0" bIns="0" rtlCol="0" anchor="t" anchorCtr="1">
            <a:spAutoFit/>
          </a:bodyPr>
          <a:lstStyle/>
          <a:p>
            <a:pPr defTabSz="514350">
              <a:defRPr/>
            </a:pPr>
            <a:r>
              <a:rPr lang="en-GB" sz="1050">
                <a:solidFill>
                  <a:srgbClr val="F36633"/>
                </a:solidFill>
                <a:latin typeface="Calibri" panose="020F0502020204030204"/>
                <a:cs typeface="Arial" panose="020B0604020202020204" pitchFamily="34" charset="0"/>
              </a:rPr>
              <a:t>Penta refractory (n = 70)</a:t>
            </a:r>
          </a:p>
        </p:txBody>
      </p:sp>
      <p:cxnSp>
        <p:nvCxnSpPr>
          <p:cNvPr id="375" name="Straight Connector 374">
            <a:extLst>
              <a:ext uri="{FF2B5EF4-FFF2-40B4-BE49-F238E27FC236}">
                <a16:creationId xmlns:a16="http://schemas.microsoft.com/office/drawing/2014/main" id="{02CDB640-D25D-4E6A-BC50-DF381AA51345}"/>
              </a:ext>
            </a:extLst>
          </p:cNvPr>
          <p:cNvCxnSpPr/>
          <p:nvPr/>
        </p:nvCxnSpPr>
        <p:spPr>
          <a:xfrm>
            <a:off x="5642519" y="3623436"/>
            <a:ext cx="0" cy="70133"/>
          </a:xfrm>
          <a:prstGeom prst="line">
            <a:avLst/>
          </a:prstGeom>
          <a:ln w="19050" cap="flat" cmpd="sng" algn="ctr">
            <a:solidFill>
              <a:schemeClr val="tx1">
                <a:lumMod val="20000"/>
                <a:lumOff val="8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C11AAAA4-6AE8-41ED-907D-307411EB8D9A}"/>
              </a:ext>
            </a:extLst>
          </p:cNvPr>
          <p:cNvCxnSpPr/>
          <p:nvPr/>
        </p:nvCxnSpPr>
        <p:spPr>
          <a:xfrm>
            <a:off x="6396572" y="3623436"/>
            <a:ext cx="0" cy="70133"/>
          </a:xfrm>
          <a:prstGeom prst="line">
            <a:avLst/>
          </a:prstGeom>
          <a:ln w="19050" cap="flat" cmpd="sng" algn="ctr">
            <a:solidFill>
              <a:schemeClr val="tx1">
                <a:lumMod val="20000"/>
                <a:lumOff val="8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B359E762-77E3-43AD-BA64-BCCDD43D3071}"/>
              </a:ext>
            </a:extLst>
          </p:cNvPr>
          <p:cNvCxnSpPr/>
          <p:nvPr/>
        </p:nvCxnSpPr>
        <p:spPr>
          <a:xfrm>
            <a:off x="7150625" y="3623436"/>
            <a:ext cx="0" cy="70133"/>
          </a:xfrm>
          <a:prstGeom prst="line">
            <a:avLst/>
          </a:prstGeom>
          <a:ln w="19050" cap="flat" cmpd="sng" algn="ctr">
            <a:solidFill>
              <a:schemeClr val="tx1">
                <a:lumMod val="20000"/>
                <a:lumOff val="8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144D469D-1772-4F67-A078-C28BFAC927FE}"/>
              </a:ext>
            </a:extLst>
          </p:cNvPr>
          <p:cNvCxnSpPr/>
          <p:nvPr/>
        </p:nvCxnSpPr>
        <p:spPr>
          <a:xfrm>
            <a:off x="7904679" y="3623436"/>
            <a:ext cx="0" cy="70133"/>
          </a:xfrm>
          <a:prstGeom prst="line">
            <a:avLst/>
          </a:prstGeom>
          <a:ln w="19050" cap="flat" cmpd="sng" algn="ctr">
            <a:solidFill>
              <a:schemeClr val="tx1">
                <a:lumMod val="20000"/>
                <a:lumOff val="8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77F2E9D5-B6AF-4809-8A89-3466E38DDF8E}"/>
              </a:ext>
            </a:extLst>
          </p:cNvPr>
          <p:cNvCxnSpPr/>
          <p:nvPr/>
        </p:nvCxnSpPr>
        <p:spPr>
          <a:xfrm>
            <a:off x="8658731" y="3623436"/>
            <a:ext cx="0" cy="70133"/>
          </a:xfrm>
          <a:prstGeom prst="line">
            <a:avLst/>
          </a:prstGeom>
          <a:ln w="19050" cap="flat" cmpd="sng" algn="ctr">
            <a:solidFill>
              <a:schemeClr val="tx1">
                <a:lumMod val="20000"/>
                <a:lumOff val="8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2" name="Group 391">
            <a:extLst>
              <a:ext uri="{FF2B5EF4-FFF2-40B4-BE49-F238E27FC236}">
                <a16:creationId xmlns:a16="http://schemas.microsoft.com/office/drawing/2014/main" id="{1A7E6014-168B-4E81-B814-04B9B8EFE86E}"/>
              </a:ext>
            </a:extLst>
          </p:cNvPr>
          <p:cNvGrpSpPr/>
          <p:nvPr/>
        </p:nvGrpSpPr>
        <p:grpSpPr>
          <a:xfrm>
            <a:off x="4852782" y="1604102"/>
            <a:ext cx="3207601" cy="1714870"/>
            <a:chOff x="1498600" y="1016000"/>
            <a:chExt cx="3215250" cy="3358125"/>
          </a:xfrm>
        </p:grpSpPr>
        <p:sp>
          <p:nvSpPr>
            <p:cNvPr id="511" name="Freeform 130">
              <a:extLst>
                <a:ext uri="{FF2B5EF4-FFF2-40B4-BE49-F238E27FC236}">
                  <a16:creationId xmlns:a16="http://schemas.microsoft.com/office/drawing/2014/main" id="{6A7A8BDC-91C4-4A63-9430-BC4F908C8DAA}"/>
                </a:ext>
              </a:extLst>
            </p:cNvPr>
            <p:cNvSpPr/>
            <p:nvPr/>
          </p:nvSpPr>
          <p:spPr>
            <a:xfrm>
              <a:off x="1539878" y="1054100"/>
              <a:ext cx="3130550" cy="3282950"/>
            </a:xfrm>
            <a:custGeom>
              <a:avLst/>
              <a:gdLst>
                <a:gd name="connsiteX0" fmla="*/ 3717925 w 3717925"/>
                <a:gd name="connsiteY0" fmla="*/ 3282950 h 3282950"/>
                <a:gd name="connsiteX1" fmla="*/ 2355850 w 3717925"/>
                <a:gd name="connsiteY1" fmla="*/ 3279775 h 3282950"/>
                <a:gd name="connsiteX2" fmla="*/ 2352675 w 3717925"/>
                <a:gd name="connsiteY2" fmla="*/ 3124200 h 3282950"/>
                <a:gd name="connsiteX3" fmla="*/ 2159000 w 3717925"/>
                <a:gd name="connsiteY3" fmla="*/ 3127375 h 3282950"/>
                <a:gd name="connsiteX4" fmla="*/ 2165350 w 3717925"/>
                <a:gd name="connsiteY4" fmla="*/ 3035300 h 3282950"/>
                <a:gd name="connsiteX5" fmla="*/ 2044700 w 3717925"/>
                <a:gd name="connsiteY5" fmla="*/ 3035300 h 3282950"/>
                <a:gd name="connsiteX6" fmla="*/ 2041525 w 3717925"/>
                <a:gd name="connsiteY6" fmla="*/ 2870200 h 3282950"/>
                <a:gd name="connsiteX7" fmla="*/ 1809750 w 3717925"/>
                <a:gd name="connsiteY7" fmla="*/ 2870200 h 3282950"/>
                <a:gd name="connsiteX8" fmla="*/ 1809750 w 3717925"/>
                <a:gd name="connsiteY8" fmla="*/ 2813050 h 3282950"/>
                <a:gd name="connsiteX9" fmla="*/ 1736725 w 3717925"/>
                <a:gd name="connsiteY9" fmla="*/ 2816225 h 3282950"/>
                <a:gd name="connsiteX10" fmla="*/ 1739900 w 3717925"/>
                <a:gd name="connsiteY10" fmla="*/ 2762250 h 3282950"/>
                <a:gd name="connsiteX11" fmla="*/ 1708150 w 3717925"/>
                <a:gd name="connsiteY11" fmla="*/ 2762250 h 3282950"/>
                <a:gd name="connsiteX12" fmla="*/ 1711325 w 3717925"/>
                <a:gd name="connsiteY12" fmla="*/ 2644775 h 3282950"/>
                <a:gd name="connsiteX13" fmla="*/ 1679575 w 3717925"/>
                <a:gd name="connsiteY13" fmla="*/ 2651125 h 3282950"/>
                <a:gd name="connsiteX14" fmla="*/ 1682750 w 3717925"/>
                <a:gd name="connsiteY14" fmla="*/ 2593975 h 3282950"/>
                <a:gd name="connsiteX15" fmla="*/ 1644650 w 3717925"/>
                <a:gd name="connsiteY15" fmla="*/ 2597150 h 3282950"/>
                <a:gd name="connsiteX16" fmla="*/ 1647825 w 3717925"/>
                <a:gd name="connsiteY16" fmla="*/ 2536825 h 3282950"/>
                <a:gd name="connsiteX17" fmla="*/ 1587500 w 3717925"/>
                <a:gd name="connsiteY17" fmla="*/ 2536825 h 3282950"/>
                <a:gd name="connsiteX18" fmla="*/ 1590675 w 3717925"/>
                <a:gd name="connsiteY18" fmla="*/ 2489200 h 3282950"/>
                <a:gd name="connsiteX19" fmla="*/ 1530350 w 3717925"/>
                <a:gd name="connsiteY19" fmla="*/ 2492375 h 3282950"/>
                <a:gd name="connsiteX20" fmla="*/ 1536700 w 3717925"/>
                <a:gd name="connsiteY20" fmla="*/ 2444750 h 3282950"/>
                <a:gd name="connsiteX21" fmla="*/ 1501775 w 3717925"/>
                <a:gd name="connsiteY21" fmla="*/ 2444750 h 3282950"/>
                <a:gd name="connsiteX22" fmla="*/ 1514475 w 3717925"/>
                <a:gd name="connsiteY22" fmla="*/ 2400300 h 3282950"/>
                <a:gd name="connsiteX23" fmla="*/ 1450975 w 3717925"/>
                <a:gd name="connsiteY23" fmla="*/ 2397125 h 3282950"/>
                <a:gd name="connsiteX24" fmla="*/ 1457325 w 3717925"/>
                <a:gd name="connsiteY24" fmla="*/ 2346325 h 3282950"/>
                <a:gd name="connsiteX25" fmla="*/ 1409700 w 3717925"/>
                <a:gd name="connsiteY25" fmla="*/ 2349500 h 3282950"/>
                <a:gd name="connsiteX26" fmla="*/ 1409700 w 3717925"/>
                <a:gd name="connsiteY26" fmla="*/ 2279650 h 3282950"/>
                <a:gd name="connsiteX27" fmla="*/ 1368425 w 3717925"/>
                <a:gd name="connsiteY27" fmla="*/ 2276475 h 3282950"/>
                <a:gd name="connsiteX28" fmla="*/ 1381125 w 3717925"/>
                <a:gd name="connsiteY28" fmla="*/ 2212975 h 3282950"/>
                <a:gd name="connsiteX29" fmla="*/ 1343025 w 3717925"/>
                <a:gd name="connsiteY29" fmla="*/ 2209800 h 3282950"/>
                <a:gd name="connsiteX30" fmla="*/ 1349375 w 3717925"/>
                <a:gd name="connsiteY30" fmla="*/ 2130425 h 3282950"/>
                <a:gd name="connsiteX31" fmla="*/ 1349375 w 3717925"/>
                <a:gd name="connsiteY31" fmla="*/ 2130425 h 3282950"/>
                <a:gd name="connsiteX32" fmla="*/ 762000 w 3717925"/>
                <a:gd name="connsiteY32" fmla="*/ 2365375 h 3282950"/>
                <a:gd name="connsiteX33" fmla="*/ 1330325 w 3717925"/>
                <a:gd name="connsiteY33" fmla="*/ 2124075 h 3282950"/>
                <a:gd name="connsiteX34" fmla="*/ 1336675 w 3717925"/>
                <a:gd name="connsiteY34" fmla="*/ 2035175 h 3282950"/>
                <a:gd name="connsiteX35" fmla="*/ 1266825 w 3717925"/>
                <a:gd name="connsiteY35" fmla="*/ 2035175 h 3282950"/>
                <a:gd name="connsiteX36" fmla="*/ 1276350 w 3717925"/>
                <a:gd name="connsiteY36" fmla="*/ 1958975 h 3282950"/>
                <a:gd name="connsiteX37" fmla="*/ 1266825 w 3717925"/>
                <a:gd name="connsiteY37" fmla="*/ 1933575 h 3282950"/>
                <a:gd name="connsiteX38" fmla="*/ 866775 w 3717925"/>
                <a:gd name="connsiteY38" fmla="*/ 2003425 h 3282950"/>
                <a:gd name="connsiteX39" fmla="*/ 1247775 w 3717925"/>
                <a:gd name="connsiteY39" fmla="*/ 1933575 h 3282950"/>
                <a:gd name="connsiteX40" fmla="*/ 1254125 w 3717925"/>
                <a:gd name="connsiteY40" fmla="*/ 1889125 h 3282950"/>
                <a:gd name="connsiteX41" fmla="*/ 1254125 w 3717925"/>
                <a:gd name="connsiteY41" fmla="*/ 1860550 h 3282950"/>
                <a:gd name="connsiteX42" fmla="*/ 612775 w 3717925"/>
                <a:gd name="connsiteY42" fmla="*/ 1930400 h 3282950"/>
                <a:gd name="connsiteX43" fmla="*/ 1235075 w 3717925"/>
                <a:gd name="connsiteY43" fmla="*/ 1863725 h 3282950"/>
                <a:gd name="connsiteX44" fmla="*/ 1241425 w 3717925"/>
                <a:gd name="connsiteY44" fmla="*/ 1831975 h 3282950"/>
                <a:gd name="connsiteX45" fmla="*/ 1212850 w 3717925"/>
                <a:gd name="connsiteY45" fmla="*/ 1828800 h 3282950"/>
                <a:gd name="connsiteX46" fmla="*/ 1212850 w 3717925"/>
                <a:gd name="connsiteY46" fmla="*/ 1774825 h 3282950"/>
                <a:gd name="connsiteX47" fmla="*/ 1184275 w 3717925"/>
                <a:gd name="connsiteY47" fmla="*/ 1774825 h 3282950"/>
                <a:gd name="connsiteX48" fmla="*/ 1187450 w 3717925"/>
                <a:gd name="connsiteY48" fmla="*/ 1736725 h 3282950"/>
                <a:gd name="connsiteX49" fmla="*/ 1146175 w 3717925"/>
                <a:gd name="connsiteY49" fmla="*/ 1733550 h 3282950"/>
                <a:gd name="connsiteX50" fmla="*/ 1152525 w 3717925"/>
                <a:gd name="connsiteY50" fmla="*/ 1673225 h 3282950"/>
                <a:gd name="connsiteX51" fmla="*/ 1152525 w 3717925"/>
                <a:gd name="connsiteY51" fmla="*/ 1673225 h 3282950"/>
                <a:gd name="connsiteX52" fmla="*/ 730250 w 3717925"/>
                <a:gd name="connsiteY52" fmla="*/ 1758950 h 3282950"/>
                <a:gd name="connsiteX53" fmla="*/ 1123950 w 3717925"/>
                <a:gd name="connsiteY53" fmla="*/ 1670050 h 3282950"/>
                <a:gd name="connsiteX54" fmla="*/ 1127125 w 3717925"/>
                <a:gd name="connsiteY54" fmla="*/ 1593850 h 3282950"/>
                <a:gd name="connsiteX55" fmla="*/ 1095375 w 3717925"/>
                <a:gd name="connsiteY55" fmla="*/ 1593850 h 3282950"/>
                <a:gd name="connsiteX56" fmla="*/ 1057275 w 3717925"/>
                <a:gd name="connsiteY56" fmla="*/ 1409700 h 3282950"/>
                <a:gd name="connsiteX57" fmla="*/ 1031875 w 3717925"/>
                <a:gd name="connsiteY57" fmla="*/ 1292225 h 3282950"/>
                <a:gd name="connsiteX58" fmla="*/ 1031875 w 3717925"/>
                <a:gd name="connsiteY58" fmla="*/ 1292225 h 3282950"/>
                <a:gd name="connsiteX59" fmla="*/ 984250 w 3717925"/>
                <a:gd name="connsiteY59" fmla="*/ 1266825 h 3282950"/>
                <a:gd name="connsiteX60" fmla="*/ 952500 w 3717925"/>
                <a:gd name="connsiteY60" fmla="*/ 1184275 h 3282950"/>
                <a:gd name="connsiteX61" fmla="*/ 955675 w 3717925"/>
                <a:gd name="connsiteY61" fmla="*/ 1095375 h 3282950"/>
                <a:gd name="connsiteX62" fmla="*/ 863600 w 3717925"/>
                <a:gd name="connsiteY62" fmla="*/ 1095375 h 3282950"/>
                <a:gd name="connsiteX63" fmla="*/ 873125 w 3717925"/>
                <a:gd name="connsiteY63" fmla="*/ 1047750 h 3282950"/>
                <a:gd name="connsiteX64" fmla="*/ 425450 w 3717925"/>
                <a:gd name="connsiteY64" fmla="*/ 1114425 h 3282950"/>
                <a:gd name="connsiteX65" fmla="*/ 860425 w 3717925"/>
                <a:gd name="connsiteY65" fmla="*/ 1047750 h 3282950"/>
                <a:gd name="connsiteX66" fmla="*/ 863600 w 3717925"/>
                <a:gd name="connsiteY66" fmla="*/ 958850 h 3282950"/>
                <a:gd name="connsiteX67" fmla="*/ 476250 w 3717925"/>
                <a:gd name="connsiteY67" fmla="*/ 1028700 h 3282950"/>
                <a:gd name="connsiteX68" fmla="*/ 841375 w 3717925"/>
                <a:gd name="connsiteY68" fmla="*/ 955675 h 3282950"/>
                <a:gd name="connsiteX69" fmla="*/ 844550 w 3717925"/>
                <a:gd name="connsiteY69" fmla="*/ 892175 h 3282950"/>
                <a:gd name="connsiteX70" fmla="*/ 784225 w 3717925"/>
                <a:gd name="connsiteY70" fmla="*/ 892175 h 3282950"/>
                <a:gd name="connsiteX71" fmla="*/ 787400 w 3717925"/>
                <a:gd name="connsiteY71" fmla="*/ 768350 h 3282950"/>
                <a:gd name="connsiteX72" fmla="*/ 771525 w 3717925"/>
                <a:gd name="connsiteY72" fmla="*/ 679450 h 3282950"/>
                <a:gd name="connsiteX73" fmla="*/ 768350 w 3717925"/>
                <a:gd name="connsiteY73" fmla="*/ 615950 h 3282950"/>
                <a:gd name="connsiteX74" fmla="*/ 733425 w 3717925"/>
                <a:gd name="connsiteY74" fmla="*/ 612775 h 3282950"/>
                <a:gd name="connsiteX75" fmla="*/ 736600 w 3717925"/>
                <a:gd name="connsiteY75" fmla="*/ 539750 h 3282950"/>
                <a:gd name="connsiteX76" fmla="*/ 352425 w 3717925"/>
                <a:gd name="connsiteY76" fmla="*/ 593725 h 3282950"/>
                <a:gd name="connsiteX77" fmla="*/ 717550 w 3717925"/>
                <a:gd name="connsiteY77" fmla="*/ 533400 h 3282950"/>
                <a:gd name="connsiteX78" fmla="*/ 720725 w 3717925"/>
                <a:gd name="connsiteY78" fmla="*/ 479425 h 3282950"/>
                <a:gd name="connsiteX79" fmla="*/ 260350 w 3717925"/>
                <a:gd name="connsiteY79" fmla="*/ 517525 h 3282950"/>
                <a:gd name="connsiteX80" fmla="*/ 708025 w 3717925"/>
                <a:gd name="connsiteY80" fmla="*/ 482600 h 3282950"/>
                <a:gd name="connsiteX81" fmla="*/ 704850 w 3717925"/>
                <a:gd name="connsiteY81" fmla="*/ 415925 h 3282950"/>
                <a:gd name="connsiteX82" fmla="*/ 412750 w 3717925"/>
                <a:gd name="connsiteY82" fmla="*/ 438150 h 3282950"/>
                <a:gd name="connsiteX83" fmla="*/ 695325 w 3717925"/>
                <a:gd name="connsiteY83" fmla="*/ 415925 h 3282950"/>
                <a:gd name="connsiteX84" fmla="*/ 688975 w 3717925"/>
                <a:gd name="connsiteY84" fmla="*/ 339725 h 3282950"/>
                <a:gd name="connsiteX85" fmla="*/ 149225 w 3717925"/>
                <a:gd name="connsiteY85" fmla="*/ 422275 h 3282950"/>
                <a:gd name="connsiteX86" fmla="*/ 673100 w 3717925"/>
                <a:gd name="connsiteY86" fmla="*/ 333375 h 3282950"/>
                <a:gd name="connsiteX87" fmla="*/ 679450 w 3717925"/>
                <a:gd name="connsiteY87" fmla="*/ 298450 h 3282950"/>
                <a:gd name="connsiteX88" fmla="*/ 187325 w 3717925"/>
                <a:gd name="connsiteY88" fmla="*/ 396875 h 3282950"/>
                <a:gd name="connsiteX89" fmla="*/ 673100 w 3717925"/>
                <a:gd name="connsiteY89" fmla="*/ 295275 h 3282950"/>
                <a:gd name="connsiteX90" fmla="*/ 673100 w 3717925"/>
                <a:gd name="connsiteY90" fmla="*/ 225425 h 3282950"/>
                <a:gd name="connsiteX91" fmla="*/ 28575 w 3717925"/>
                <a:gd name="connsiteY91" fmla="*/ 307975 h 3282950"/>
                <a:gd name="connsiteX92" fmla="*/ 654050 w 3717925"/>
                <a:gd name="connsiteY92" fmla="*/ 225425 h 3282950"/>
                <a:gd name="connsiteX93" fmla="*/ 657225 w 3717925"/>
                <a:gd name="connsiteY93" fmla="*/ 161925 h 3282950"/>
                <a:gd name="connsiteX94" fmla="*/ 0 w 3717925"/>
                <a:gd name="connsiteY94" fmla="*/ 254000 h 3282950"/>
                <a:gd name="connsiteX95" fmla="*/ 647700 w 3717925"/>
                <a:gd name="connsiteY95" fmla="*/ 161925 h 3282950"/>
                <a:gd name="connsiteX96" fmla="*/ 647700 w 3717925"/>
                <a:gd name="connsiteY96" fmla="*/ 133350 h 3282950"/>
                <a:gd name="connsiteX97" fmla="*/ 158750 w 3717925"/>
                <a:gd name="connsiteY97" fmla="*/ 158750 h 3282950"/>
                <a:gd name="connsiteX98" fmla="*/ 638175 w 3717925"/>
                <a:gd name="connsiteY98" fmla="*/ 136525 h 3282950"/>
                <a:gd name="connsiteX99" fmla="*/ 641350 w 3717925"/>
                <a:gd name="connsiteY99" fmla="*/ 104775 h 3282950"/>
                <a:gd name="connsiteX100" fmla="*/ 238125 w 3717925"/>
                <a:gd name="connsiteY100" fmla="*/ 117475 h 3282950"/>
                <a:gd name="connsiteX101" fmla="*/ 631825 w 3717925"/>
                <a:gd name="connsiteY101" fmla="*/ 104775 h 3282950"/>
                <a:gd name="connsiteX102" fmla="*/ 638175 w 3717925"/>
                <a:gd name="connsiteY102" fmla="*/ 76200 h 3282950"/>
                <a:gd name="connsiteX103" fmla="*/ 130175 w 3717925"/>
                <a:gd name="connsiteY103" fmla="*/ 92075 h 3282950"/>
                <a:gd name="connsiteX104" fmla="*/ 619125 w 3717925"/>
                <a:gd name="connsiteY104" fmla="*/ 73025 h 3282950"/>
                <a:gd name="connsiteX105" fmla="*/ 622300 w 3717925"/>
                <a:gd name="connsiteY105" fmla="*/ 38100 h 3282950"/>
                <a:gd name="connsiteX106" fmla="*/ 25400 w 3717925"/>
                <a:gd name="connsiteY106" fmla="*/ 73025 h 3282950"/>
                <a:gd name="connsiteX107" fmla="*/ 615950 w 3717925"/>
                <a:gd name="connsiteY107" fmla="*/ 31750 h 3282950"/>
                <a:gd name="connsiteX108" fmla="*/ 615950 w 3717925"/>
                <a:gd name="connsiteY108" fmla="*/ 0 h 3282950"/>
                <a:gd name="connsiteX109" fmla="*/ 587375 w 3717925"/>
                <a:gd name="connsiteY109" fmla="*/ 0 h 3282950"/>
                <a:gd name="connsiteX0" fmla="*/ 3717925 w 3717925"/>
                <a:gd name="connsiteY0" fmla="*/ 3282950 h 3282950"/>
                <a:gd name="connsiteX1" fmla="*/ 2355850 w 3717925"/>
                <a:gd name="connsiteY1" fmla="*/ 3279775 h 3282950"/>
                <a:gd name="connsiteX2" fmla="*/ 2352675 w 3717925"/>
                <a:gd name="connsiteY2" fmla="*/ 3124200 h 3282950"/>
                <a:gd name="connsiteX3" fmla="*/ 2159000 w 3717925"/>
                <a:gd name="connsiteY3" fmla="*/ 3127375 h 3282950"/>
                <a:gd name="connsiteX4" fmla="*/ 2165350 w 3717925"/>
                <a:gd name="connsiteY4" fmla="*/ 3035300 h 3282950"/>
                <a:gd name="connsiteX5" fmla="*/ 2044700 w 3717925"/>
                <a:gd name="connsiteY5" fmla="*/ 3035300 h 3282950"/>
                <a:gd name="connsiteX6" fmla="*/ 2041525 w 3717925"/>
                <a:gd name="connsiteY6" fmla="*/ 2870200 h 3282950"/>
                <a:gd name="connsiteX7" fmla="*/ 1809750 w 3717925"/>
                <a:gd name="connsiteY7" fmla="*/ 2870200 h 3282950"/>
                <a:gd name="connsiteX8" fmla="*/ 1809750 w 3717925"/>
                <a:gd name="connsiteY8" fmla="*/ 2813050 h 3282950"/>
                <a:gd name="connsiteX9" fmla="*/ 1736725 w 3717925"/>
                <a:gd name="connsiteY9" fmla="*/ 2816225 h 3282950"/>
                <a:gd name="connsiteX10" fmla="*/ 1739900 w 3717925"/>
                <a:gd name="connsiteY10" fmla="*/ 2762250 h 3282950"/>
                <a:gd name="connsiteX11" fmla="*/ 1708150 w 3717925"/>
                <a:gd name="connsiteY11" fmla="*/ 2762250 h 3282950"/>
                <a:gd name="connsiteX12" fmla="*/ 1711325 w 3717925"/>
                <a:gd name="connsiteY12" fmla="*/ 2644775 h 3282950"/>
                <a:gd name="connsiteX13" fmla="*/ 1679575 w 3717925"/>
                <a:gd name="connsiteY13" fmla="*/ 2651125 h 3282950"/>
                <a:gd name="connsiteX14" fmla="*/ 1682750 w 3717925"/>
                <a:gd name="connsiteY14" fmla="*/ 2593975 h 3282950"/>
                <a:gd name="connsiteX15" fmla="*/ 1644650 w 3717925"/>
                <a:gd name="connsiteY15" fmla="*/ 2597150 h 3282950"/>
                <a:gd name="connsiteX16" fmla="*/ 1647825 w 3717925"/>
                <a:gd name="connsiteY16" fmla="*/ 2536825 h 3282950"/>
                <a:gd name="connsiteX17" fmla="*/ 1587500 w 3717925"/>
                <a:gd name="connsiteY17" fmla="*/ 2536825 h 3282950"/>
                <a:gd name="connsiteX18" fmla="*/ 1590675 w 3717925"/>
                <a:gd name="connsiteY18" fmla="*/ 2489200 h 3282950"/>
                <a:gd name="connsiteX19" fmla="*/ 1530350 w 3717925"/>
                <a:gd name="connsiteY19" fmla="*/ 2492375 h 3282950"/>
                <a:gd name="connsiteX20" fmla="*/ 1536700 w 3717925"/>
                <a:gd name="connsiteY20" fmla="*/ 2444750 h 3282950"/>
                <a:gd name="connsiteX21" fmla="*/ 1501775 w 3717925"/>
                <a:gd name="connsiteY21" fmla="*/ 2444750 h 3282950"/>
                <a:gd name="connsiteX22" fmla="*/ 1514475 w 3717925"/>
                <a:gd name="connsiteY22" fmla="*/ 2400300 h 3282950"/>
                <a:gd name="connsiteX23" fmla="*/ 1450975 w 3717925"/>
                <a:gd name="connsiteY23" fmla="*/ 2397125 h 3282950"/>
                <a:gd name="connsiteX24" fmla="*/ 1457325 w 3717925"/>
                <a:gd name="connsiteY24" fmla="*/ 2346325 h 3282950"/>
                <a:gd name="connsiteX25" fmla="*/ 1409700 w 3717925"/>
                <a:gd name="connsiteY25" fmla="*/ 2349500 h 3282950"/>
                <a:gd name="connsiteX26" fmla="*/ 1409700 w 3717925"/>
                <a:gd name="connsiteY26" fmla="*/ 2279650 h 3282950"/>
                <a:gd name="connsiteX27" fmla="*/ 1368425 w 3717925"/>
                <a:gd name="connsiteY27" fmla="*/ 2276475 h 3282950"/>
                <a:gd name="connsiteX28" fmla="*/ 1381125 w 3717925"/>
                <a:gd name="connsiteY28" fmla="*/ 2212975 h 3282950"/>
                <a:gd name="connsiteX29" fmla="*/ 1343025 w 3717925"/>
                <a:gd name="connsiteY29" fmla="*/ 2209800 h 3282950"/>
                <a:gd name="connsiteX30" fmla="*/ 1349375 w 3717925"/>
                <a:gd name="connsiteY30" fmla="*/ 2130425 h 3282950"/>
                <a:gd name="connsiteX31" fmla="*/ 1349375 w 3717925"/>
                <a:gd name="connsiteY31" fmla="*/ 2130425 h 3282950"/>
                <a:gd name="connsiteX32" fmla="*/ 762000 w 3717925"/>
                <a:gd name="connsiteY32" fmla="*/ 2365375 h 3282950"/>
                <a:gd name="connsiteX33" fmla="*/ 1330325 w 3717925"/>
                <a:gd name="connsiteY33" fmla="*/ 2124075 h 3282950"/>
                <a:gd name="connsiteX34" fmla="*/ 1336675 w 3717925"/>
                <a:gd name="connsiteY34" fmla="*/ 2035175 h 3282950"/>
                <a:gd name="connsiteX35" fmla="*/ 1266825 w 3717925"/>
                <a:gd name="connsiteY35" fmla="*/ 2035175 h 3282950"/>
                <a:gd name="connsiteX36" fmla="*/ 1276350 w 3717925"/>
                <a:gd name="connsiteY36" fmla="*/ 1958975 h 3282950"/>
                <a:gd name="connsiteX37" fmla="*/ 1266825 w 3717925"/>
                <a:gd name="connsiteY37" fmla="*/ 1933575 h 3282950"/>
                <a:gd name="connsiteX38" fmla="*/ 866775 w 3717925"/>
                <a:gd name="connsiteY38" fmla="*/ 2003425 h 3282950"/>
                <a:gd name="connsiteX39" fmla="*/ 1247775 w 3717925"/>
                <a:gd name="connsiteY39" fmla="*/ 1933575 h 3282950"/>
                <a:gd name="connsiteX40" fmla="*/ 1254125 w 3717925"/>
                <a:gd name="connsiteY40" fmla="*/ 1889125 h 3282950"/>
                <a:gd name="connsiteX41" fmla="*/ 1254125 w 3717925"/>
                <a:gd name="connsiteY41" fmla="*/ 1860550 h 3282950"/>
                <a:gd name="connsiteX42" fmla="*/ 612775 w 3717925"/>
                <a:gd name="connsiteY42" fmla="*/ 1930400 h 3282950"/>
                <a:gd name="connsiteX43" fmla="*/ 1235075 w 3717925"/>
                <a:gd name="connsiteY43" fmla="*/ 1863725 h 3282950"/>
                <a:gd name="connsiteX44" fmla="*/ 1241425 w 3717925"/>
                <a:gd name="connsiteY44" fmla="*/ 1831975 h 3282950"/>
                <a:gd name="connsiteX45" fmla="*/ 1212850 w 3717925"/>
                <a:gd name="connsiteY45" fmla="*/ 1828800 h 3282950"/>
                <a:gd name="connsiteX46" fmla="*/ 1212850 w 3717925"/>
                <a:gd name="connsiteY46" fmla="*/ 1774825 h 3282950"/>
                <a:gd name="connsiteX47" fmla="*/ 1184275 w 3717925"/>
                <a:gd name="connsiteY47" fmla="*/ 1774825 h 3282950"/>
                <a:gd name="connsiteX48" fmla="*/ 1187450 w 3717925"/>
                <a:gd name="connsiteY48" fmla="*/ 1736725 h 3282950"/>
                <a:gd name="connsiteX49" fmla="*/ 1146175 w 3717925"/>
                <a:gd name="connsiteY49" fmla="*/ 1733550 h 3282950"/>
                <a:gd name="connsiteX50" fmla="*/ 1152525 w 3717925"/>
                <a:gd name="connsiteY50" fmla="*/ 1673225 h 3282950"/>
                <a:gd name="connsiteX51" fmla="*/ 1152525 w 3717925"/>
                <a:gd name="connsiteY51" fmla="*/ 1673225 h 3282950"/>
                <a:gd name="connsiteX52" fmla="*/ 730250 w 3717925"/>
                <a:gd name="connsiteY52" fmla="*/ 1758950 h 3282950"/>
                <a:gd name="connsiteX53" fmla="*/ 1123950 w 3717925"/>
                <a:gd name="connsiteY53" fmla="*/ 1670050 h 3282950"/>
                <a:gd name="connsiteX54" fmla="*/ 1127125 w 3717925"/>
                <a:gd name="connsiteY54" fmla="*/ 1593850 h 3282950"/>
                <a:gd name="connsiteX55" fmla="*/ 1095375 w 3717925"/>
                <a:gd name="connsiteY55" fmla="*/ 1593850 h 3282950"/>
                <a:gd name="connsiteX56" fmla="*/ 1057275 w 3717925"/>
                <a:gd name="connsiteY56" fmla="*/ 1409700 h 3282950"/>
                <a:gd name="connsiteX57" fmla="*/ 1031875 w 3717925"/>
                <a:gd name="connsiteY57" fmla="*/ 1292225 h 3282950"/>
                <a:gd name="connsiteX58" fmla="*/ 1031875 w 3717925"/>
                <a:gd name="connsiteY58" fmla="*/ 1292225 h 3282950"/>
                <a:gd name="connsiteX59" fmla="*/ 984250 w 3717925"/>
                <a:gd name="connsiteY59" fmla="*/ 1266825 h 3282950"/>
                <a:gd name="connsiteX60" fmla="*/ 952500 w 3717925"/>
                <a:gd name="connsiteY60" fmla="*/ 1184275 h 3282950"/>
                <a:gd name="connsiteX61" fmla="*/ 955675 w 3717925"/>
                <a:gd name="connsiteY61" fmla="*/ 1095375 h 3282950"/>
                <a:gd name="connsiteX62" fmla="*/ 863600 w 3717925"/>
                <a:gd name="connsiteY62" fmla="*/ 1095375 h 3282950"/>
                <a:gd name="connsiteX63" fmla="*/ 873125 w 3717925"/>
                <a:gd name="connsiteY63" fmla="*/ 1047750 h 3282950"/>
                <a:gd name="connsiteX64" fmla="*/ 425450 w 3717925"/>
                <a:gd name="connsiteY64" fmla="*/ 1114425 h 3282950"/>
                <a:gd name="connsiteX65" fmla="*/ 860425 w 3717925"/>
                <a:gd name="connsiteY65" fmla="*/ 1047750 h 3282950"/>
                <a:gd name="connsiteX66" fmla="*/ 863600 w 3717925"/>
                <a:gd name="connsiteY66" fmla="*/ 958850 h 3282950"/>
                <a:gd name="connsiteX67" fmla="*/ 476250 w 3717925"/>
                <a:gd name="connsiteY67" fmla="*/ 1028700 h 3282950"/>
                <a:gd name="connsiteX68" fmla="*/ 841375 w 3717925"/>
                <a:gd name="connsiteY68" fmla="*/ 955675 h 3282950"/>
                <a:gd name="connsiteX69" fmla="*/ 844550 w 3717925"/>
                <a:gd name="connsiteY69" fmla="*/ 892175 h 3282950"/>
                <a:gd name="connsiteX70" fmla="*/ 784225 w 3717925"/>
                <a:gd name="connsiteY70" fmla="*/ 892175 h 3282950"/>
                <a:gd name="connsiteX71" fmla="*/ 787400 w 3717925"/>
                <a:gd name="connsiteY71" fmla="*/ 768350 h 3282950"/>
                <a:gd name="connsiteX72" fmla="*/ 771525 w 3717925"/>
                <a:gd name="connsiteY72" fmla="*/ 679450 h 3282950"/>
                <a:gd name="connsiteX73" fmla="*/ 768350 w 3717925"/>
                <a:gd name="connsiteY73" fmla="*/ 615950 h 3282950"/>
                <a:gd name="connsiteX74" fmla="*/ 733425 w 3717925"/>
                <a:gd name="connsiteY74" fmla="*/ 612775 h 3282950"/>
                <a:gd name="connsiteX75" fmla="*/ 736600 w 3717925"/>
                <a:gd name="connsiteY75" fmla="*/ 539750 h 3282950"/>
                <a:gd name="connsiteX76" fmla="*/ 352425 w 3717925"/>
                <a:gd name="connsiteY76" fmla="*/ 593725 h 3282950"/>
                <a:gd name="connsiteX77" fmla="*/ 717550 w 3717925"/>
                <a:gd name="connsiteY77" fmla="*/ 533400 h 3282950"/>
                <a:gd name="connsiteX78" fmla="*/ 720725 w 3717925"/>
                <a:gd name="connsiteY78" fmla="*/ 479425 h 3282950"/>
                <a:gd name="connsiteX79" fmla="*/ 260350 w 3717925"/>
                <a:gd name="connsiteY79" fmla="*/ 517525 h 3282950"/>
                <a:gd name="connsiteX80" fmla="*/ 708025 w 3717925"/>
                <a:gd name="connsiteY80" fmla="*/ 482600 h 3282950"/>
                <a:gd name="connsiteX81" fmla="*/ 704850 w 3717925"/>
                <a:gd name="connsiteY81" fmla="*/ 415925 h 3282950"/>
                <a:gd name="connsiteX82" fmla="*/ 412750 w 3717925"/>
                <a:gd name="connsiteY82" fmla="*/ 438150 h 3282950"/>
                <a:gd name="connsiteX83" fmla="*/ 695325 w 3717925"/>
                <a:gd name="connsiteY83" fmla="*/ 415925 h 3282950"/>
                <a:gd name="connsiteX84" fmla="*/ 688975 w 3717925"/>
                <a:gd name="connsiteY84" fmla="*/ 339725 h 3282950"/>
                <a:gd name="connsiteX85" fmla="*/ 149225 w 3717925"/>
                <a:gd name="connsiteY85" fmla="*/ 422275 h 3282950"/>
                <a:gd name="connsiteX86" fmla="*/ 673100 w 3717925"/>
                <a:gd name="connsiteY86" fmla="*/ 333375 h 3282950"/>
                <a:gd name="connsiteX87" fmla="*/ 679450 w 3717925"/>
                <a:gd name="connsiteY87" fmla="*/ 298450 h 3282950"/>
                <a:gd name="connsiteX88" fmla="*/ 187325 w 3717925"/>
                <a:gd name="connsiteY88" fmla="*/ 396875 h 3282950"/>
                <a:gd name="connsiteX89" fmla="*/ 673100 w 3717925"/>
                <a:gd name="connsiteY89" fmla="*/ 295275 h 3282950"/>
                <a:gd name="connsiteX90" fmla="*/ 673100 w 3717925"/>
                <a:gd name="connsiteY90" fmla="*/ 225425 h 3282950"/>
                <a:gd name="connsiteX91" fmla="*/ 28575 w 3717925"/>
                <a:gd name="connsiteY91" fmla="*/ 307975 h 3282950"/>
                <a:gd name="connsiteX92" fmla="*/ 654050 w 3717925"/>
                <a:gd name="connsiteY92" fmla="*/ 225425 h 3282950"/>
                <a:gd name="connsiteX93" fmla="*/ 657225 w 3717925"/>
                <a:gd name="connsiteY93" fmla="*/ 161925 h 3282950"/>
                <a:gd name="connsiteX94" fmla="*/ 0 w 3717925"/>
                <a:gd name="connsiteY94" fmla="*/ 254000 h 3282950"/>
                <a:gd name="connsiteX95" fmla="*/ 647700 w 3717925"/>
                <a:gd name="connsiteY95" fmla="*/ 161925 h 3282950"/>
                <a:gd name="connsiteX96" fmla="*/ 647700 w 3717925"/>
                <a:gd name="connsiteY96" fmla="*/ 133350 h 3282950"/>
                <a:gd name="connsiteX97" fmla="*/ 158750 w 3717925"/>
                <a:gd name="connsiteY97" fmla="*/ 158750 h 3282950"/>
                <a:gd name="connsiteX98" fmla="*/ 638175 w 3717925"/>
                <a:gd name="connsiteY98" fmla="*/ 136525 h 3282950"/>
                <a:gd name="connsiteX99" fmla="*/ 641350 w 3717925"/>
                <a:gd name="connsiteY99" fmla="*/ 104775 h 3282950"/>
                <a:gd name="connsiteX100" fmla="*/ 238125 w 3717925"/>
                <a:gd name="connsiteY100" fmla="*/ 117475 h 3282950"/>
                <a:gd name="connsiteX101" fmla="*/ 631825 w 3717925"/>
                <a:gd name="connsiteY101" fmla="*/ 104775 h 3282950"/>
                <a:gd name="connsiteX102" fmla="*/ 638175 w 3717925"/>
                <a:gd name="connsiteY102" fmla="*/ 76200 h 3282950"/>
                <a:gd name="connsiteX103" fmla="*/ 130175 w 3717925"/>
                <a:gd name="connsiteY103" fmla="*/ 92075 h 3282950"/>
                <a:gd name="connsiteX104" fmla="*/ 619125 w 3717925"/>
                <a:gd name="connsiteY104" fmla="*/ 73025 h 3282950"/>
                <a:gd name="connsiteX105" fmla="*/ 622300 w 3717925"/>
                <a:gd name="connsiteY105" fmla="*/ 38100 h 3282950"/>
                <a:gd name="connsiteX106" fmla="*/ 615950 w 3717925"/>
                <a:gd name="connsiteY106" fmla="*/ 31750 h 3282950"/>
                <a:gd name="connsiteX107" fmla="*/ 615950 w 3717925"/>
                <a:gd name="connsiteY107" fmla="*/ 0 h 3282950"/>
                <a:gd name="connsiteX108" fmla="*/ 587375 w 3717925"/>
                <a:gd name="connsiteY108" fmla="*/ 0 h 3282950"/>
                <a:gd name="connsiteX0" fmla="*/ 3717925 w 3717925"/>
                <a:gd name="connsiteY0" fmla="*/ 3282950 h 3282950"/>
                <a:gd name="connsiteX1" fmla="*/ 2355850 w 3717925"/>
                <a:gd name="connsiteY1" fmla="*/ 3279775 h 3282950"/>
                <a:gd name="connsiteX2" fmla="*/ 2352675 w 3717925"/>
                <a:gd name="connsiteY2" fmla="*/ 3124200 h 3282950"/>
                <a:gd name="connsiteX3" fmla="*/ 2159000 w 3717925"/>
                <a:gd name="connsiteY3" fmla="*/ 3127375 h 3282950"/>
                <a:gd name="connsiteX4" fmla="*/ 2165350 w 3717925"/>
                <a:gd name="connsiteY4" fmla="*/ 3035300 h 3282950"/>
                <a:gd name="connsiteX5" fmla="*/ 2044700 w 3717925"/>
                <a:gd name="connsiteY5" fmla="*/ 3035300 h 3282950"/>
                <a:gd name="connsiteX6" fmla="*/ 2041525 w 3717925"/>
                <a:gd name="connsiteY6" fmla="*/ 2870200 h 3282950"/>
                <a:gd name="connsiteX7" fmla="*/ 1809750 w 3717925"/>
                <a:gd name="connsiteY7" fmla="*/ 2870200 h 3282950"/>
                <a:gd name="connsiteX8" fmla="*/ 1809750 w 3717925"/>
                <a:gd name="connsiteY8" fmla="*/ 2813050 h 3282950"/>
                <a:gd name="connsiteX9" fmla="*/ 1736725 w 3717925"/>
                <a:gd name="connsiteY9" fmla="*/ 2816225 h 3282950"/>
                <a:gd name="connsiteX10" fmla="*/ 1739900 w 3717925"/>
                <a:gd name="connsiteY10" fmla="*/ 2762250 h 3282950"/>
                <a:gd name="connsiteX11" fmla="*/ 1708150 w 3717925"/>
                <a:gd name="connsiteY11" fmla="*/ 2762250 h 3282950"/>
                <a:gd name="connsiteX12" fmla="*/ 1711325 w 3717925"/>
                <a:gd name="connsiteY12" fmla="*/ 2644775 h 3282950"/>
                <a:gd name="connsiteX13" fmla="*/ 1679575 w 3717925"/>
                <a:gd name="connsiteY13" fmla="*/ 2651125 h 3282950"/>
                <a:gd name="connsiteX14" fmla="*/ 1682750 w 3717925"/>
                <a:gd name="connsiteY14" fmla="*/ 2593975 h 3282950"/>
                <a:gd name="connsiteX15" fmla="*/ 1644650 w 3717925"/>
                <a:gd name="connsiteY15" fmla="*/ 2597150 h 3282950"/>
                <a:gd name="connsiteX16" fmla="*/ 1647825 w 3717925"/>
                <a:gd name="connsiteY16" fmla="*/ 2536825 h 3282950"/>
                <a:gd name="connsiteX17" fmla="*/ 1587500 w 3717925"/>
                <a:gd name="connsiteY17" fmla="*/ 2536825 h 3282950"/>
                <a:gd name="connsiteX18" fmla="*/ 1590675 w 3717925"/>
                <a:gd name="connsiteY18" fmla="*/ 2489200 h 3282950"/>
                <a:gd name="connsiteX19" fmla="*/ 1530350 w 3717925"/>
                <a:gd name="connsiteY19" fmla="*/ 2492375 h 3282950"/>
                <a:gd name="connsiteX20" fmla="*/ 1536700 w 3717925"/>
                <a:gd name="connsiteY20" fmla="*/ 2444750 h 3282950"/>
                <a:gd name="connsiteX21" fmla="*/ 1501775 w 3717925"/>
                <a:gd name="connsiteY21" fmla="*/ 2444750 h 3282950"/>
                <a:gd name="connsiteX22" fmla="*/ 1514475 w 3717925"/>
                <a:gd name="connsiteY22" fmla="*/ 2400300 h 3282950"/>
                <a:gd name="connsiteX23" fmla="*/ 1450975 w 3717925"/>
                <a:gd name="connsiteY23" fmla="*/ 2397125 h 3282950"/>
                <a:gd name="connsiteX24" fmla="*/ 1457325 w 3717925"/>
                <a:gd name="connsiteY24" fmla="*/ 2346325 h 3282950"/>
                <a:gd name="connsiteX25" fmla="*/ 1409700 w 3717925"/>
                <a:gd name="connsiteY25" fmla="*/ 2349500 h 3282950"/>
                <a:gd name="connsiteX26" fmla="*/ 1409700 w 3717925"/>
                <a:gd name="connsiteY26" fmla="*/ 2279650 h 3282950"/>
                <a:gd name="connsiteX27" fmla="*/ 1368425 w 3717925"/>
                <a:gd name="connsiteY27" fmla="*/ 2276475 h 3282950"/>
                <a:gd name="connsiteX28" fmla="*/ 1381125 w 3717925"/>
                <a:gd name="connsiteY28" fmla="*/ 2212975 h 3282950"/>
                <a:gd name="connsiteX29" fmla="*/ 1343025 w 3717925"/>
                <a:gd name="connsiteY29" fmla="*/ 2209800 h 3282950"/>
                <a:gd name="connsiteX30" fmla="*/ 1349375 w 3717925"/>
                <a:gd name="connsiteY30" fmla="*/ 2130425 h 3282950"/>
                <a:gd name="connsiteX31" fmla="*/ 1349375 w 3717925"/>
                <a:gd name="connsiteY31" fmla="*/ 2130425 h 3282950"/>
                <a:gd name="connsiteX32" fmla="*/ 762000 w 3717925"/>
                <a:gd name="connsiteY32" fmla="*/ 2365375 h 3282950"/>
                <a:gd name="connsiteX33" fmla="*/ 1330325 w 3717925"/>
                <a:gd name="connsiteY33" fmla="*/ 2124075 h 3282950"/>
                <a:gd name="connsiteX34" fmla="*/ 1336675 w 3717925"/>
                <a:gd name="connsiteY34" fmla="*/ 2035175 h 3282950"/>
                <a:gd name="connsiteX35" fmla="*/ 1266825 w 3717925"/>
                <a:gd name="connsiteY35" fmla="*/ 2035175 h 3282950"/>
                <a:gd name="connsiteX36" fmla="*/ 1276350 w 3717925"/>
                <a:gd name="connsiteY36" fmla="*/ 1958975 h 3282950"/>
                <a:gd name="connsiteX37" fmla="*/ 1266825 w 3717925"/>
                <a:gd name="connsiteY37" fmla="*/ 1933575 h 3282950"/>
                <a:gd name="connsiteX38" fmla="*/ 866775 w 3717925"/>
                <a:gd name="connsiteY38" fmla="*/ 2003425 h 3282950"/>
                <a:gd name="connsiteX39" fmla="*/ 1247775 w 3717925"/>
                <a:gd name="connsiteY39" fmla="*/ 1933575 h 3282950"/>
                <a:gd name="connsiteX40" fmla="*/ 1254125 w 3717925"/>
                <a:gd name="connsiteY40" fmla="*/ 1889125 h 3282950"/>
                <a:gd name="connsiteX41" fmla="*/ 1254125 w 3717925"/>
                <a:gd name="connsiteY41" fmla="*/ 1860550 h 3282950"/>
                <a:gd name="connsiteX42" fmla="*/ 612775 w 3717925"/>
                <a:gd name="connsiteY42" fmla="*/ 1930400 h 3282950"/>
                <a:gd name="connsiteX43" fmla="*/ 1235075 w 3717925"/>
                <a:gd name="connsiteY43" fmla="*/ 1863725 h 3282950"/>
                <a:gd name="connsiteX44" fmla="*/ 1241425 w 3717925"/>
                <a:gd name="connsiteY44" fmla="*/ 1831975 h 3282950"/>
                <a:gd name="connsiteX45" fmla="*/ 1212850 w 3717925"/>
                <a:gd name="connsiteY45" fmla="*/ 1828800 h 3282950"/>
                <a:gd name="connsiteX46" fmla="*/ 1212850 w 3717925"/>
                <a:gd name="connsiteY46" fmla="*/ 1774825 h 3282950"/>
                <a:gd name="connsiteX47" fmla="*/ 1184275 w 3717925"/>
                <a:gd name="connsiteY47" fmla="*/ 1774825 h 3282950"/>
                <a:gd name="connsiteX48" fmla="*/ 1187450 w 3717925"/>
                <a:gd name="connsiteY48" fmla="*/ 1736725 h 3282950"/>
                <a:gd name="connsiteX49" fmla="*/ 1146175 w 3717925"/>
                <a:gd name="connsiteY49" fmla="*/ 1733550 h 3282950"/>
                <a:gd name="connsiteX50" fmla="*/ 1152525 w 3717925"/>
                <a:gd name="connsiteY50" fmla="*/ 1673225 h 3282950"/>
                <a:gd name="connsiteX51" fmla="*/ 1152525 w 3717925"/>
                <a:gd name="connsiteY51" fmla="*/ 1673225 h 3282950"/>
                <a:gd name="connsiteX52" fmla="*/ 730250 w 3717925"/>
                <a:gd name="connsiteY52" fmla="*/ 1758950 h 3282950"/>
                <a:gd name="connsiteX53" fmla="*/ 1123950 w 3717925"/>
                <a:gd name="connsiteY53" fmla="*/ 1670050 h 3282950"/>
                <a:gd name="connsiteX54" fmla="*/ 1127125 w 3717925"/>
                <a:gd name="connsiteY54" fmla="*/ 1593850 h 3282950"/>
                <a:gd name="connsiteX55" fmla="*/ 1095375 w 3717925"/>
                <a:gd name="connsiteY55" fmla="*/ 1593850 h 3282950"/>
                <a:gd name="connsiteX56" fmla="*/ 1057275 w 3717925"/>
                <a:gd name="connsiteY56" fmla="*/ 1409700 h 3282950"/>
                <a:gd name="connsiteX57" fmla="*/ 1031875 w 3717925"/>
                <a:gd name="connsiteY57" fmla="*/ 1292225 h 3282950"/>
                <a:gd name="connsiteX58" fmla="*/ 1031875 w 3717925"/>
                <a:gd name="connsiteY58" fmla="*/ 1292225 h 3282950"/>
                <a:gd name="connsiteX59" fmla="*/ 984250 w 3717925"/>
                <a:gd name="connsiteY59" fmla="*/ 1266825 h 3282950"/>
                <a:gd name="connsiteX60" fmla="*/ 952500 w 3717925"/>
                <a:gd name="connsiteY60" fmla="*/ 1184275 h 3282950"/>
                <a:gd name="connsiteX61" fmla="*/ 955675 w 3717925"/>
                <a:gd name="connsiteY61" fmla="*/ 1095375 h 3282950"/>
                <a:gd name="connsiteX62" fmla="*/ 863600 w 3717925"/>
                <a:gd name="connsiteY62" fmla="*/ 1095375 h 3282950"/>
                <a:gd name="connsiteX63" fmla="*/ 873125 w 3717925"/>
                <a:gd name="connsiteY63" fmla="*/ 1047750 h 3282950"/>
                <a:gd name="connsiteX64" fmla="*/ 425450 w 3717925"/>
                <a:gd name="connsiteY64" fmla="*/ 1114425 h 3282950"/>
                <a:gd name="connsiteX65" fmla="*/ 860425 w 3717925"/>
                <a:gd name="connsiteY65" fmla="*/ 1047750 h 3282950"/>
                <a:gd name="connsiteX66" fmla="*/ 863600 w 3717925"/>
                <a:gd name="connsiteY66" fmla="*/ 958850 h 3282950"/>
                <a:gd name="connsiteX67" fmla="*/ 476250 w 3717925"/>
                <a:gd name="connsiteY67" fmla="*/ 1028700 h 3282950"/>
                <a:gd name="connsiteX68" fmla="*/ 841375 w 3717925"/>
                <a:gd name="connsiteY68" fmla="*/ 955675 h 3282950"/>
                <a:gd name="connsiteX69" fmla="*/ 844550 w 3717925"/>
                <a:gd name="connsiteY69" fmla="*/ 892175 h 3282950"/>
                <a:gd name="connsiteX70" fmla="*/ 784225 w 3717925"/>
                <a:gd name="connsiteY70" fmla="*/ 892175 h 3282950"/>
                <a:gd name="connsiteX71" fmla="*/ 787400 w 3717925"/>
                <a:gd name="connsiteY71" fmla="*/ 768350 h 3282950"/>
                <a:gd name="connsiteX72" fmla="*/ 771525 w 3717925"/>
                <a:gd name="connsiteY72" fmla="*/ 679450 h 3282950"/>
                <a:gd name="connsiteX73" fmla="*/ 768350 w 3717925"/>
                <a:gd name="connsiteY73" fmla="*/ 615950 h 3282950"/>
                <a:gd name="connsiteX74" fmla="*/ 733425 w 3717925"/>
                <a:gd name="connsiteY74" fmla="*/ 612775 h 3282950"/>
                <a:gd name="connsiteX75" fmla="*/ 736600 w 3717925"/>
                <a:gd name="connsiteY75" fmla="*/ 539750 h 3282950"/>
                <a:gd name="connsiteX76" fmla="*/ 352425 w 3717925"/>
                <a:gd name="connsiteY76" fmla="*/ 593725 h 3282950"/>
                <a:gd name="connsiteX77" fmla="*/ 717550 w 3717925"/>
                <a:gd name="connsiteY77" fmla="*/ 533400 h 3282950"/>
                <a:gd name="connsiteX78" fmla="*/ 720725 w 3717925"/>
                <a:gd name="connsiteY78" fmla="*/ 479425 h 3282950"/>
                <a:gd name="connsiteX79" fmla="*/ 260350 w 3717925"/>
                <a:gd name="connsiteY79" fmla="*/ 517525 h 3282950"/>
                <a:gd name="connsiteX80" fmla="*/ 708025 w 3717925"/>
                <a:gd name="connsiteY80" fmla="*/ 482600 h 3282950"/>
                <a:gd name="connsiteX81" fmla="*/ 704850 w 3717925"/>
                <a:gd name="connsiteY81" fmla="*/ 415925 h 3282950"/>
                <a:gd name="connsiteX82" fmla="*/ 412750 w 3717925"/>
                <a:gd name="connsiteY82" fmla="*/ 438150 h 3282950"/>
                <a:gd name="connsiteX83" fmla="*/ 695325 w 3717925"/>
                <a:gd name="connsiteY83" fmla="*/ 415925 h 3282950"/>
                <a:gd name="connsiteX84" fmla="*/ 688975 w 3717925"/>
                <a:gd name="connsiteY84" fmla="*/ 339725 h 3282950"/>
                <a:gd name="connsiteX85" fmla="*/ 149225 w 3717925"/>
                <a:gd name="connsiteY85" fmla="*/ 422275 h 3282950"/>
                <a:gd name="connsiteX86" fmla="*/ 673100 w 3717925"/>
                <a:gd name="connsiteY86" fmla="*/ 333375 h 3282950"/>
                <a:gd name="connsiteX87" fmla="*/ 679450 w 3717925"/>
                <a:gd name="connsiteY87" fmla="*/ 298450 h 3282950"/>
                <a:gd name="connsiteX88" fmla="*/ 187325 w 3717925"/>
                <a:gd name="connsiteY88" fmla="*/ 396875 h 3282950"/>
                <a:gd name="connsiteX89" fmla="*/ 673100 w 3717925"/>
                <a:gd name="connsiteY89" fmla="*/ 295275 h 3282950"/>
                <a:gd name="connsiteX90" fmla="*/ 673100 w 3717925"/>
                <a:gd name="connsiteY90" fmla="*/ 225425 h 3282950"/>
                <a:gd name="connsiteX91" fmla="*/ 28575 w 3717925"/>
                <a:gd name="connsiteY91" fmla="*/ 307975 h 3282950"/>
                <a:gd name="connsiteX92" fmla="*/ 654050 w 3717925"/>
                <a:gd name="connsiteY92" fmla="*/ 225425 h 3282950"/>
                <a:gd name="connsiteX93" fmla="*/ 657225 w 3717925"/>
                <a:gd name="connsiteY93" fmla="*/ 161925 h 3282950"/>
                <a:gd name="connsiteX94" fmla="*/ 0 w 3717925"/>
                <a:gd name="connsiteY94" fmla="*/ 254000 h 3282950"/>
                <a:gd name="connsiteX95" fmla="*/ 647700 w 3717925"/>
                <a:gd name="connsiteY95" fmla="*/ 161925 h 3282950"/>
                <a:gd name="connsiteX96" fmla="*/ 647700 w 3717925"/>
                <a:gd name="connsiteY96" fmla="*/ 133350 h 3282950"/>
                <a:gd name="connsiteX97" fmla="*/ 158750 w 3717925"/>
                <a:gd name="connsiteY97" fmla="*/ 158750 h 3282950"/>
                <a:gd name="connsiteX98" fmla="*/ 638175 w 3717925"/>
                <a:gd name="connsiteY98" fmla="*/ 136525 h 3282950"/>
                <a:gd name="connsiteX99" fmla="*/ 641350 w 3717925"/>
                <a:gd name="connsiteY99" fmla="*/ 104775 h 3282950"/>
                <a:gd name="connsiteX100" fmla="*/ 238125 w 3717925"/>
                <a:gd name="connsiteY100" fmla="*/ 117475 h 3282950"/>
                <a:gd name="connsiteX101" fmla="*/ 631825 w 3717925"/>
                <a:gd name="connsiteY101" fmla="*/ 104775 h 3282950"/>
                <a:gd name="connsiteX102" fmla="*/ 638175 w 3717925"/>
                <a:gd name="connsiteY102" fmla="*/ 76200 h 3282950"/>
                <a:gd name="connsiteX103" fmla="*/ 619125 w 3717925"/>
                <a:gd name="connsiteY103" fmla="*/ 73025 h 3282950"/>
                <a:gd name="connsiteX104" fmla="*/ 622300 w 3717925"/>
                <a:gd name="connsiteY104" fmla="*/ 38100 h 3282950"/>
                <a:gd name="connsiteX105" fmla="*/ 615950 w 3717925"/>
                <a:gd name="connsiteY105" fmla="*/ 31750 h 3282950"/>
                <a:gd name="connsiteX106" fmla="*/ 615950 w 3717925"/>
                <a:gd name="connsiteY106" fmla="*/ 0 h 3282950"/>
                <a:gd name="connsiteX107" fmla="*/ 587375 w 3717925"/>
                <a:gd name="connsiteY107" fmla="*/ 0 h 3282950"/>
                <a:gd name="connsiteX0" fmla="*/ 3717925 w 3717925"/>
                <a:gd name="connsiteY0" fmla="*/ 3282950 h 3282950"/>
                <a:gd name="connsiteX1" fmla="*/ 2355850 w 3717925"/>
                <a:gd name="connsiteY1" fmla="*/ 3279775 h 3282950"/>
                <a:gd name="connsiteX2" fmla="*/ 2352675 w 3717925"/>
                <a:gd name="connsiteY2" fmla="*/ 3124200 h 3282950"/>
                <a:gd name="connsiteX3" fmla="*/ 2159000 w 3717925"/>
                <a:gd name="connsiteY3" fmla="*/ 3127375 h 3282950"/>
                <a:gd name="connsiteX4" fmla="*/ 2165350 w 3717925"/>
                <a:gd name="connsiteY4" fmla="*/ 3035300 h 3282950"/>
                <a:gd name="connsiteX5" fmla="*/ 2044700 w 3717925"/>
                <a:gd name="connsiteY5" fmla="*/ 3035300 h 3282950"/>
                <a:gd name="connsiteX6" fmla="*/ 2041525 w 3717925"/>
                <a:gd name="connsiteY6" fmla="*/ 2870200 h 3282950"/>
                <a:gd name="connsiteX7" fmla="*/ 1809750 w 3717925"/>
                <a:gd name="connsiteY7" fmla="*/ 2870200 h 3282950"/>
                <a:gd name="connsiteX8" fmla="*/ 1809750 w 3717925"/>
                <a:gd name="connsiteY8" fmla="*/ 2813050 h 3282950"/>
                <a:gd name="connsiteX9" fmla="*/ 1736725 w 3717925"/>
                <a:gd name="connsiteY9" fmla="*/ 2816225 h 3282950"/>
                <a:gd name="connsiteX10" fmla="*/ 1739900 w 3717925"/>
                <a:gd name="connsiteY10" fmla="*/ 2762250 h 3282950"/>
                <a:gd name="connsiteX11" fmla="*/ 1708150 w 3717925"/>
                <a:gd name="connsiteY11" fmla="*/ 2762250 h 3282950"/>
                <a:gd name="connsiteX12" fmla="*/ 1711325 w 3717925"/>
                <a:gd name="connsiteY12" fmla="*/ 2644775 h 3282950"/>
                <a:gd name="connsiteX13" fmla="*/ 1679575 w 3717925"/>
                <a:gd name="connsiteY13" fmla="*/ 2651125 h 3282950"/>
                <a:gd name="connsiteX14" fmla="*/ 1682750 w 3717925"/>
                <a:gd name="connsiteY14" fmla="*/ 2593975 h 3282950"/>
                <a:gd name="connsiteX15" fmla="*/ 1644650 w 3717925"/>
                <a:gd name="connsiteY15" fmla="*/ 2597150 h 3282950"/>
                <a:gd name="connsiteX16" fmla="*/ 1647825 w 3717925"/>
                <a:gd name="connsiteY16" fmla="*/ 2536825 h 3282950"/>
                <a:gd name="connsiteX17" fmla="*/ 1587500 w 3717925"/>
                <a:gd name="connsiteY17" fmla="*/ 2536825 h 3282950"/>
                <a:gd name="connsiteX18" fmla="*/ 1590675 w 3717925"/>
                <a:gd name="connsiteY18" fmla="*/ 2489200 h 3282950"/>
                <a:gd name="connsiteX19" fmla="*/ 1530350 w 3717925"/>
                <a:gd name="connsiteY19" fmla="*/ 2492375 h 3282950"/>
                <a:gd name="connsiteX20" fmla="*/ 1536700 w 3717925"/>
                <a:gd name="connsiteY20" fmla="*/ 2444750 h 3282950"/>
                <a:gd name="connsiteX21" fmla="*/ 1501775 w 3717925"/>
                <a:gd name="connsiteY21" fmla="*/ 2444750 h 3282950"/>
                <a:gd name="connsiteX22" fmla="*/ 1514475 w 3717925"/>
                <a:gd name="connsiteY22" fmla="*/ 2400300 h 3282950"/>
                <a:gd name="connsiteX23" fmla="*/ 1450975 w 3717925"/>
                <a:gd name="connsiteY23" fmla="*/ 2397125 h 3282950"/>
                <a:gd name="connsiteX24" fmla="*/ 1457325 w 3717925"/>
                <a:gd name="connsiteY24" fmla="*/ 2346325 h 3282950"/>
                <a:gd name="connsiteX25" fmla="*/ 1409700 w 3717925"/>
                <a:gd name="connsiteY25" fmla="*/ 2349500 h 3282950"/>
                <a:gd name="connsiteX26" fmla="*/ 1409700 w 3717925"/>
                <a:gd name="connsiteY26" fmla="*/ 2279650 h 3282950"/>
                <a:gd name="connsiteX27" fmla="*/ 1368425 w 3717925"/>
                <a:gd name="connsiteY27" fmla="*/ 2276475 h 3282950"/>
                <a:gd name="connsiteX28" fmla="*/ 1381125 w 3717925"/>
                <a:gd name="connsiteY28" fmla="*/ 2212975 h 3282950"/>
                <a:gd name="connsiteX29" fmla="*/ 1343025 w 3717925"/>
                <a:gd name="connsiteY29" fmla="*/ 2209800 h 3282950"/>
                <a:gd name="connsiteX30" fmla="*/ 1349375 w 3717925"/>
                <a:gd name="connsiteY30" fmla="*/ 2130425 h 3282950"/>
                <a:gd name="connsiteX31" fmla="*/ 1349375 w 3717925"/>
                <a:gd name="connsiteY31" fmla="*/ 2130425 h 3282950"/>
                <a:gd name="connsiteX32" fmla="*/ 762000 w 3717925"/>
                <a:gd name="connsiteY32" fmla="*/ 2365375 h 3282950"/>
                <a:gd name="connsiteX33" fmla="*/ 1330325 w 3717925"/>
                <a:gd name="connsiteY33" fmla="*/ 2124075 h 3282950"/>
                <a:gd name="connsiteX34" fmla="*/ 1336675 w 3717925"/>
                <a:gd name="connsiteY34" fmla="*/ 2035175 h 3282950"/>
                <a:gd name="connsiteX35" fmla="*/ 1266825 w 3717925"/>
                <a:gd name="connsiteY35" fmla="*/ 2035175 h 3282950"/>
                <a:gd name="connsiteX36" fmla="*/ 1276350 w 3717925"/>
                <a:gd name="connsiteY36" fmla="*/ 1958975 h 3282950"/>
                <a:gd name="connsiteX37" fmla="*/ 1266825 w 3717925"/>
                <a:gd name="connsiteY37" fmla="*/ 1933575 h 3282950"/>
                <a:gd name="connsiteX38" fmla="*/ 866775 w 3717925"/>
                <a:gd name="connsiteY38" fmla="*/ 2003425 h 3282950"/>
                <a:gd name="connsiteX39" fmla="*/ 1247775 w 3717925"/>
                <a:gd name="connsiteY39" fmla="*/ 1933575 h 3282950"/>
                <a:gd name="connsiteX40" fmla="*/ 1254125 w 3717925"/>
                <a:gd name="connsiteY40" fmla="*/ 1889125 h 3282950"/>
                <a:gd name="connsiteX41" fmla="*/ 1254125 w 3717925"/>
                <a:gd name="connsiteY41" fmla="*/ 1860550 h 3282950"/>
                <a:gd name="connsiteX42" fmla="*/ 612775 w 3717925"/>
                <a:gd name="connsiteY42" fmla="*/ 1930400 h 3282950"/>
                <a:gd name="connsiteX43" fmla="*/ 1235075 w 3717925"/>
                <a:gd name="connsiteY43" fmla="*/ 1863725 h 3282950"/>
                <a:gd name="connsiteX44" fmla="*/ 1241425 w 3717925"/>
                <a:gd name="connsiteY44" fmla="*/ 1831975 h 3282950"/>
                <a:gd name="connsiteX45" fmla="*/ 1212850 w 3717925"/>
                <a:gd name="connsiteY45" fmla="*/ 1828800 h 3282950"/>
                <a:gd name="connsiteX46" fmla="*/ 1212850 w 3717925"/>
                <a:gd name="connsiteY46" fmla="*/ 1774825 h 3282950"/>
                <a:gd name="connsiteX47" fmla="*/ 1184275 w 3717925"/>
                <a:gd name="connsiteY47" fmla="*/ 1774825 h 3282950"/>
                <a:gd name="connsiteX48" fmla="*/ 1187450 w 3717925"/>
                <a:gd name="connsiteY48" fmla="*/ 1736725 h 3282950"/>
                <a:gd name="connsiteX49" fmla="*/ 1146175 w 3717925"/>
                <a:gd name="connsiteY49" fmla="*/ 1733550 h 3282950"/>
                <a:gd name="connsiteX50" fmla="*/ 1152525 w 3717925"/>
                <a:gd name="connsiteY50" fmla="*/ 1673225 h 3282950"/>
                <a:gd name="connsiteX51" fmla="*/ 1152525 w 3717925"/>
                <a:gd name="connsiteY51" fmla="*/ 1673225 h 3282950"/>
                <a:gd name="connsiteX52" fmla="*/ 730250 w 3717925"/>
                <a:gd name="connsiteY52" fmla="*/ 1758950 h 3282950"/>
                <a:gd name="connsiteX53" fmla="*/ 1123950 w 3717925"/>
                <a:gd name="connsiteY53" fmla="*/ 1670050 h 3282950"/>
                <a:gd name="connsiteX54" fmla="*/ 1127125 w 3717925"/>
                <a:gd name="connsiteY54" fmla="*/ 1593850 h 3282950"/>
                <a:gd name="connsiteX55" fmla="*/ 1095375 w 3717925"/>
                <a:gd name="connsiteY55" fmla="*/ 1593850 h 3282950"/>
                <a:gd name="connsiteX56" fmla="*/ 1057275 w 3717925"/>
                <a:gd name="connsiteY56" fmla="*/ 1409700 h 3282950"/>
                <a:gd name="connsiteX57" fmla="*/ 1031875 w 3717925"/>
                <a:gd name="connsiteY57" fmla="*/ 1292225 h 3282950"/>
                <a:gd name="connsiteX58" fmla="*/ 1031875 w 3717925"/>
                <a:gd name="connsiteY58" fmla="*/ 1292225 h 3282950"/>
                <a:gd name="connsiteX59" fmla="*/ 984250 w 3717925"/>
                <a:gd name="connsiteY59" fmla="*/ 1266825 h 3282950"/>
                <a:gd name="connsiteX60" fmla="*/ 952500 w 3717925"/>
                <a:gd name="connsiteY60" fmla="*/ 1184275 h 3282950"/>
                <a:gd name="connsiteX61" fmla="*/ 955675 w 3717925"/>
                <a:gd name="connsiteY61" fmla="*/ 1095375 h 3282950"/>
                <a:gd name="connsiteX62" fmla="*/ 863600 w 3717925"/>
                <a:gd name="connsiteY62" fmla="*/ 1095375 h 3282950"/>
                <a:gd name="connsiteX63" fmla="*/ 873125 w 3717925"/>
                <a:gd name="connsiteY63" fmla="*/ 1047750 h 3282950"/>
                <a:gd name="connsiteX64" fmla="*/ 425450 w 3717925"/>
                <a:gd name="connsiteY64" fmla="*/ 1114425 h 3282950"/>
                <a:gd name="connsiteX65" fmla="*/ 860425 w 3717925"/>
                <a:gd name="connsiteY65" fmla="*/ 1047750 h 3282950"/>
                <a:gd name="connsiteX66" fmla="*/ 863600 w 3717925"/>
                <a:gd name="connsiteY66" fmla="*/ 958850 h 3282950"/>
                <a:gd name="connsiteX67" fmla="*/ 476250 w 3717925"/>
                <a:gd name="connsiteY67" fmla="*/ 1028700 h 3282950"/>
                <a:gd name="connsiteX68" fmla="*/ 841375 w 3717925"/>
                <a:gd name="connsiteY68" fmla="*/ 955675 h 3282950"/>
                <a:gd name="connsiteX69" fmla="*/ 844550 w 3717925"/>
                <a:gd name="connsiteY69" fmla="*/ 892175 h 3282950"/>
                <a:gd name="connsiteX70" fmla="*/ 784225 w 3717925"/>
                <a:gd name="connsiteY70" fmla="*/ 892175 h 3282950"/>
                <a:gd name="connsiteX71" fmla="*/ 787400 w 3717925"/>
                <a:gd name="connsiteY71" fmla="*/ 768350 h 3282950"/>
                <a:gd name="connsiteX72" fmla="*/ 771525 w 3717925"/>
                <a:gd name="connsiteY72" fmla="*/ 679450 h 3282950"/>
                <a:gd name="connsiteX73" fmla="*/ 768350 w 3717925"/>
                <a:gd name="connsiteY73" fmla="*/ 615950 h 3282950"/>
                <a:gd name="connsiteX74" fmla="*/ 733425 w 3717925"/>
                <a:gd name="connsiteY74" fmla="*/ 612775 h 3282950"/>
                <a:gd name="connsiteX75" fmla="*/ 736600 w 3717925"/>
                <a:gd name="connsiteY75" fmla="*/ 539750 h 3282950"/>
                <a:gd name="connsiteX76" fmla="*/ 352425 w 3717925"/>
                <a:gd name="connsiteY76" fmla="*/ 593725 h 3282950"/>
                <a:gd name="connsiteX77" fmla="*/ 717550 w 3717925"/>
                <a:gd name="connsiteY77" fmla="*/ 533400 h 3282950"/>
                <a:gd name="connsiteX78" fmla="*/ 720725 w 3717925"/>
                <a:gd name="connsiteY78" fmla="*/ 479425 h 3282950"/>
                <a:gd name="connsiteX79" fmla="*/ 260350 w 3717925"/>
                <a:gd name="connsiteY79" fmla="*/ 517525 h 3282950"/>
                <a:gd name="connsiteX80" fmla="*/ 708025 w 3717925"/>
                <a:gd name="connsiteY80" fmla="*/ 482600 h 3282950"/>
                <a:gd name="connsiteX81" fmla="*/ 704850 w 3717925"/>
                <a:gd name="connsiteY81" fmla="*/ 415925 h 3282950"/>
                <a:gd name="connsiteX82" fmla="*/ 412750 w 3717925"/>
                <a:gd name="connsiteY82" fmla="*/ 438150 h 3282950"/>
                <a:gd name="connsiteX83" fmla="*/ 695325 w 3717925"/>
                <a:gd name="connsiteY83" fmla="*/ 415925 h 3282950"/>
                <a:gd name="connsiteX84" fmla="*/ 688975 w 3717925"/>
                <a:gd name="connsiteY84" fmla="*/ 339725 h 3282950"/>
                <a:gd name="connsiteX85" fmla="*/ 149225 w 3717925"/>
                <a:gd name="connsiteY85" fmla="*/ 422275 h 3282950"/>
                <a:gd name="connsiteX86" fmla="*/ 673100 w 3717925"/>
                <a:gd name="connsiteY86" fmla="*/ 333375 h 3282950"/>
                <a:gd name="connsiteX87" fmla="*/ 679450 w 3717925"/>
                <a:gd name="connsiteY87" fmla="*/ 298450 h 3282950"/>
                <a:gd name="connsiteX88" fmla="*/ 187325 w 3717925"/>
                <a:gd name="connsiteY88" fmla="*/ 396875 h 3282950"/>
                <a:gd name="connsiteX89" fmla="*/ 673100 w 3717925"/>
                <a:gd name="connsiteY89" fmla="*/ 295275 h 3282950"/>
                <a:gd name="connsiteX90" fmla="*/ 673100 w 3717925"/>
                <a:gd name="connsiteY90" fmla="*/ 225425 h 3282950"/>
                <a:gd name="connsiteX91" fmla="*/ 28575 w 3717925"/>
                <a:gd name="connsiteY91" fmla="*/ 307975 h 3282950"/>
                <a:gd name="connsiteX92" fmla="*/ 654050 w 3717925"/>
                <a:gd name="connsiteY92" fmla="*/ 225425 h 3282950"/>
                <a:gd name="connsiteX93" fmla="*/ 657225 w 3717925"/>
                <a:gd name="connsiteY93" fmla="*/ 161925 h 3282950"/>
                <a:gd name="connsiteX94" fmla="*/ 0 w 3717925"/>
                <a:gd name="connsiteY94" fmla="*/ 254000 h 3282950"/>
                <a:gd name="connsiteX95" fmla="*/ 647700 w 3717925"/>
                <a:gd name="connsiteY95" fmla="*/ 161925 h 3282950"/>
                <a:gd name="connsiteX96" fmla="*/ 647700 w 3717925"/>
                <a:gd name="connsiteY96" fmla="*/ 133350 h 3282950"/>
                <a:gd name="connsiteX97" fmla="*/ 158750 w 3717925"/>
                <a:gd name="connsiteY97" fmla="*/ 158750 h 3282950"/>
                <a:gd name="connsiteX98" fmla="*/ 638175 w 3717925"/>
                <a:gd name="connsiteY98" fmla="*/ 136525 h 3282950"/>
                <a:gd name="connsiteX99" fmla="*/ 641350 w 3717925"/>
                <a:gd name="connsiteY99" fmla="*/ 104775 h 3282950"/>
                <a:gd name="connsiteX100" fmla="*/ 631825 w 3717925"/>
                <a:gd name="connsiteY100" fmla="*/ 104775 h 3282950"/>
                <a:gd name="connsiteX101" fmla="*/ 638175 w 3717925"/>
                <a:gd name="connsiteY101" fmla="*/ 76200 h 3282950"/>
                <a:gd name="connsiteX102" fmla="*/ 619125 w 3717925"/>
                <a:gd name="connsiteY102" fmla="*/ 73025 h 3282950"/>
                <a:gd name="connsiteX103" fmla="*/ 622300 w 3717925"/>
                <a:gd name="connsiteY103" fmla="*/ 38100 h 3282950"/>
                <a:gd name="connsiteX104" fmla="*/ 615950 w 3717925"/>
                <a:gd name="connsiteY104" fmla="*/ 31750 h 3282950"/>
                <a:gd name="connsiteX105" fmla="*/ 615950 w 3717925"/>
                <a:gd name="connsiteY105" fmla="*/ 0 h 3282950"/>
                <a:gd name="connsiteX106" fmla="*/ 587375 w 3717925"/>
                <a:gd name="connsiteY106" fmla="*/ 0 h 3282950"/>
                <a:gd name="connsiteX0" fmla="*/ 3717925 w 3717925"/>
                <a:gd name="connsiteY0" fmla="*/ 3282950 h 3282950"/>
                <a:gd name="connsiteX1" fmla="*/ 2355850 w 3717925"/>
                <a:gd name="connsiteY1" fmla="*/ 3279775 h 3282950"/>
                <a:gd name="connsiteX2" fmla="*/ 2352675 w 3717925"/>
                <a:gd name="connsiteY2" fmla="*/ 3124200 h 3282950"/>
                <a:gd name="connsiteX3" fmla="*/ 2159000 w 3717925"/>
                <a:gd name="connsiteY3" fmla="*/ 3127375 h 3282950"/>
                <a:gd name="connsiteX4" fmla="*/ 2165350 w 3717925"/>
                <a:gd name="connsiteY4" fmla="*/ 3035300 h 3282950"/>
                <a:gd name="connsiteX5" fmla="*/ 2044700 w 3717925"/>
                <a:gd name="connsiteY5" fmla="*/ 3035300 h 3282950"/>
                <a:gd name="connsiteX6" fmla="*/ 2041525 w 3717925"/>
                <a:gd name="connsiteY6" fmla="*/ 2870200 h 3282950"/>
                <a:gd name="connsiteX7" fmla="*/ 1809750 w 3717925"/>
                <a:gd name="connsiteY7" fmla="*/ 2870200 h 3282950"/>
                <a:gd name="connsiteX8" fmla="*/ 1809750 w 3717925"/>
                <a:gd name="connsiteY8" fmla="*/ 2813050 h 3282950"/>
                <a:gd name="connsiteX9" fmla="*/ 1736725 w 3717925"/>
                <a:gd name="connsiteY9" fmla="*/ 2816225 h 3282950"/>
                <a:gd name="connsiteX10" fmla="*/ 1739900 w 3717925"/>
                <a:gd name="connsiteY10" fmla="*/ 2762250 h 3282950"/>
                <a:gd name="connsiteX11" fmla="*/ 1708150 w 3717925"/>
                <a:gd name="connsiteY11" fmla="*/ 2762250 h 3282950"/>
                <a:gd name="connsiteX12" fmla="*/ 1711325 w 3717925"/>
                <a:gd name="connsiteY12" fmla="*/ 2644775 h 3282950"/>
                <a:gd name="connsiteX13" fmla="*/ 1679575 w 3717925"/>
                <a:gd name="connsiteY13" fmla="*/ 2651125 h 3282950"/>
                <a:gd name="connsiteX14" fmla="*/ 1682750 w 3717925"/>
                <a:gd name="connsiteY14" fmla="*/ 2593975 h 3282950"/>
                <a:gd name="connsiteX15" fmla="*/ 1644650 w 3717925"/>
                <a:gd name="connsiteY15" fmla="*/ 2597150 h 3282950"/>
                <a:gd name="connsiteX16" fmla="*/ 1647825 w 3717925"/>
                <a:gd name="connsiteY16" fmla="*/ 2536825 h 3282950"/>
                <a:gd name="connsiteX17" fmla="*/ 1587500 w 3717925"/>
                <a:gd name="connsiteY17" fmla="*/ 2536825 h 3282950"/>
                <a:gd name="connsiteX18" fmla="*/ 1590675 w 3717925"/>
                <a:gd name="connsiteY18" fmla="*/ 2489200 h 3282950"/>
                <a:gd name="connsiteX19" fmla="*/ 1530350 w 3717925"/>
                <a:gd name="connsiteY19" fmla="*/ 2492375 h 3282950"/>
                <a:gd name="connsiteX20" fmla="*/ 1536700 w 3717925"/>
                <a:gd name="connsiteY20" fmla="*/ 2444750 h 3282950"/>
                <a:gd name="connsiteX21" fmla="*/ 1501775 w 3717925"/>
                <a:gd name="connsiteY21" fmla="*/ 2444750 h 3282950"/>
                <a:gd name="connsiteX22" fmla="*/ 1514475 w 3717925"/>
                <a:gd name="connsiteY22" fmla="*/ 2400300 h 3282950"/>
                <a:gd name="connsiteX23" fmla="*/ 1450975 w 3717925"/>
                <a:gd name="connsiteY23" fmla="*/ 2397125 h 3282950"/>
                <a:gd name="connsiteX24" fmla="*/ 1457325 w 3717925"/>
                <a:gd name="connsiteY24" fmla="*/ 2346325 h 3282950"/>
                <a:gd name="connsiteX25" fmla="*/ 1409700 w 3717925"/>
                <a:gd name="connsiteY25" fmla="*/ 2349500 h 3282950"/>
                <a:gd name="connsiteX26" fmla="*/ 1409700 w 3717925"/>
                <a:gd name="connsiteY26" fmla="*/ 2279650 h 3282950"/>
                <a:gd name="connsiteX27" fmla="*/ 1368425 w 3717925"/>
                <a:gd name="connsiteY27" fmla="*/ 2276475 h 3282950"/>
                <a:gd name="connsiteX28" fmla="*/ 1381125 w 3717925"/>
                <a:gd name="connsiteY28" fmla="*/ 2212975 h 3282950"/>
                <a:gd name="connsiteX29" fmla="*/ 1343025 w 3717925"/>
                <a:gd name="connsiteY29" fmla="*/ 2209800 h 3282950"/>
                <a:gd name="connsiteX30" fmla="*/ 1349375 w 3717925"/>
                <a:gd name="connsiteY30" fmla="*/ 2130425 h 3282950"/>
                <a:gd name="connsiteX31" fmla="*/ 1349375 w 3717925"/>
                <a:gd name="connsiteY31" fmla="*/ 2130425 h 3282950"/>
                <a:gd name="connsiteX32" fmla="*/ 762000 w 3717925"/>
                <a:gd name="connsiteY32" fmla="*/ 2365375 h 3282950"/>
                <a:gd name="connsiteX33" fmla="*/ 1330325 w 3717925"/>
                <a:gd name="connsiteY33" fmla="*/ 2124075 h 3282950"/>
                <a:gd name="connsiteX34" fmla="*/ 1336675 w 3717925"/>
                <a:gd name="connsiteY34" fmla="*/ 2035175 h 3282950"/>
                <a:gd name="connsiteX35" fmla="*/ 1266825 w 3717925"/>
                <a:gd name="connsiteY35" fmla="*/ 2035175 h 3282950"/>
                <a:gd name="connsiteX36" fmla="*/ 1276350 w 3717925"/>
                <a:gd name="connsiteY36" fmla="*/ 1958975 h 3282950"/>
                <a:gd name="connsiteX37" fmla="*/ 1266825 w 3717925"/>
                <a:gd name="connsiteY37" fmla="*/ 1933575 h 3282950"/>
                <a:gd name="connsiteX38" fmla="*/ 866775 w 3717925"/>
                <a:gd name="connsiteY38" fmla="*/ 2003425 h 3282950"/>
                <a:gd name="connsiteX39" fmla="*/ 1247775 w 3717925"/>
                <a:gd name="connsiteY39" fmla="*/ 1933575 h 3282950"/>
                <a:gd name="connsiteX40" fmla="*/ 1254125 w 3717925"/>
                <a:gd name="connsiteY40" fmla="*/ 1889125 h 3282950"/>
                <a:gd name="connsiteX41" fmla="*/ 1254125 w 3717925"/>
                <a:gd name="connsiteY41" fmla="*/ 1860550 h 3282950"/>
                <a:gd name="connsiteX42" fmla="*/ 612775 w 3717925"/>
                <a:gd name="connsiteY42" fmla="*/ 1930400 h 3282950"/>
                <a:gd name="connsiteX43" fmla="*/ 1235075 w 3717925"/>
                <a:gd name="connsiteY43" fmla="*/ 1863725 h 3282950"/>
                <a:gd name="connsiteX44" fmla="*/ 1241425 w 3717925"/>
                <a:gd name="connsiteY44" fmla="*/ 1831975 h 3282950"/>
                <a:gd name="connsiteX45" fmla="*/ 1212850 w 3717925"/>
                <a:gd name="connsiteY45" fmla="*/ 1828800 h 3282950"/>
                <a:gd name="connsiteX46" fmla="*/ 1212850 w 3717925"/>
                <a:gd name="connsiteY46" fmla="*/ 1774825 h 3282950"/>
                <a:gd name="connsiteX47" fmla="*/ 1184275 w 3717925"/>
                <a:gd name="connsiteY47" fmla="*/ 1774825 h 3282950"/>
                <a:gd name="connsiteX48" fmla="*/ 1187450 w 3717925"/>
                <a:gd name="connsiteY48" fmla="*/ 1736725 h 3282950"/>
                <a:gd name="connsiteX49" fmla="*/ 1146175 w 3717925"/>
                <a:gd name="connsiteY49" fmla="*/ 1733550 h 3282950"/>
                <a:gd name="connsiteX50" fmla="*/ 1152525 w 3717925"/>
                <a:gd name="connsiteY50" fmla="*/ 1673225 h 3282950"/>
                <a:gd name="connsiteX51" fmla="*/ 1152525 w 3717925"/>
                <a:gd name="connsiteY51" fmla="*/ 1673225 h 3282950"/>
                <a:gd name="connsiteX52" fmla="*/ 730250 w 3717925"/>
                <a:gd name="connsiteY52" fmla="*/ 1758950 h 3282950"/>
                <a:gd name="connsiteX53" fmla="*/ 1123950 w 3717925"/>
                <a:gd name="connsiteY53" fmla="*/ 1670050 h 3282950"/>
                <a:gd name="connsiteX54" fmla="*/ 1127125 w 3717925"/>
                <a:gd name="connsiteY54" fmla="*/ 1593850 h 3282950"/>
                <a:gd name="connsiteX55" fmla="*/ 1095375 w 3717925"/>
                <a:gd name="connsiteY55" fmla="*/ 1593850 h 3282950"/>
                <a:gd name="connsiteX56" fmla="*/ 1057275 w 3717925"/>
                <a:gd name="connsiteY56" fmla="*/ 1409700 h 3282950"/>
                <a:gd name="connsiteX57" fmla="*/ 1031875 w 3717925"/>
                <a:gd name="connsiteY57" fmla="*/ 1292225 h 3282950"/>
                <a:gd name="connsiteX58" fmla="*/ 1031875 w 3717925"/>
                <a:gd name="connsiteY58" fmla="*/ 1292225 h 3282950"/>
                <a:gd name="connsiteX59" fmla="*/ 984250 w 3717925"/>
                <a:gd name="connsiteY59" fmla="*/ 1266825 h 3282950"/>
                <a:gd name="connsiteX60" fmla="*/ 952500 w 3717925"/>
                <a:gd name="connsiteY60" fmla="*/ 1184275 h 3282950"/>
                <a:gd name="connsiteX61" fmla="*/ 955675 w 3717925"/>
                <a:gd name="connsiteY61" fmla="*/ 1095375 h 3282950"/>
                <a:gd name="connsiteX62" fmla="*/ 863600 w 3717925"/>
                <a:gd name="connsiteY62" fmla="*/ 1095375 h 3282950"/>
                <a:gd name="connsiteX63" fmla="*/ 873125 w 3717925"/>
                <a:gd name="connsiteY63" fmla="*/ 1047750 h 3282950"/>
                <a:gd name="connsiteX64" fmla="*/ 425450 w 3717925"/>
                <a:gd name="connsiteY64" fmla="*/ 1114425 h 3282950"/>
                <a:gd name="connsiteX65" fmla="*/ 860425 w 3717925"/>
                <a:gd name="connsiteY65" fmla="*/ 1047750 h 3282950"/>
                <a:gd name="connsiteX66" fmla="*/ 863600 w 3717925"/>
                <a:gd name="connsiteY66" fmla="*/ 958850 h 3282950"/>
                <a:gd name="connsiteX67" fmla="*/ 476250 w 3717925"/>
                <a:gd name="connsiteY67" fmla="*/ 1028700 h 3282950"/>
                <a:gd name="connsiteX68" fmla="*/ 841375 w 3717925"/>
                <a:gd name="connsiteY68" fmla="*/ 955675 h 3282950"/>
                <a:gd name="connsiteX69" fmla="*/ 844550 w 3717925"/>
                <a:gd name="connsiteY69" fmla="*/ 892175 h 3282950"/>
                <a:gd name="connsiteX70" fmla="*/ 784225 w 3717925"/>
                <a:gd name="connsiteY70" fmla="*/ 892175 h 3282950"/>
                <a:gd name="connsiteX71" fmla="*/ 787400 w 3717925"/>
                <a:gd name="connsiteY71" fmla="*/ 768350 h 3282950"/>
                <a:gd name="connsiteX72" fmla="*/ 771525 w 3717925"/>
                <a:gd name="connsiteY72" fmla="*/ 679450 h 3282950"/>
                <a:gd name="connsiteX73" fmla="*/ 768350 w 3717925"/>
                <a:gd name="connsiteY73" fmla="*/ 615950 h 3282950"/>
                <a:gd name="connsiteX74" fmla="*/ 733425 w 3717925"/>
                <a:gd name="connsiteY74" fmla="*/ 612775 h 3282950"/>
                <a:gd name="connsiteX75" fmla="*/ 736600 w 3717925"/>
                <a:gd name="connsiteY75" fmla="*/ 539750 h 3282950"/>
                <a:gd name="connsiteX76" fmla="*/ 352425 w 3717925"/>
                <a:gd name="connsiteY76" fmla="*/ 593725 h 3282950"/>
                <a:gd name="connsiteX77" fmla="*/ 717550 w 3717925"/>
                <a:gd name="connsiteY77" fmla="*/ 533400 h 3282950"/>
                <a:gd name="connsiteX78" fmla="*/ 720725 w 3717925"/>
                <a:gd name="connsiteY78" fmla="*/ 479425 h 3282950"/>
                <a:gd name="connsiteX79" fmla="*/ 260350 w 3717925"/>
                <a:gd name="connsiteY79" fmla="*/ 517525 h 3282950"/>
                <a:gd name="connsiteX80" fmla="*/ 708025 w 3717925"/>
                <a:gd name="connsiteY80" fmla="*/ 482600 h 3282950"/>
                <a:gd name="connsiteX81" fmla="*/ 704850 w 3717925"/>
                <a:gd name="connsiteY81" fmla="*/ 415925 h 3282950"/>
                <a:gd name="connsiteX82" fmla="*/ 412750 w 3717925"/>
                <a:gd name="connsiteY82" fmla="*/ 438150 h 3282950"/>
                <a:gd name="connsiteX83" fmla="*/ 695325 w 3717925"/>
                <a:gd name="connsiteY83" fmla="*/ 415925 h 3282950"/>
                <a:gd name="connsiteX84" fmla="*/ 688975 w 3717925"/>
                <a:gd name="connsiteY84" fmla="*/ 339725 h 3282950"/>
                <a:gd name="connsiteX85" fmla="*/ 149225 w 3717925"/>
                <a:gd name="connsiteY85" fmla="*/ 422275 h 3282950"/>
                <a:gd name="connsiteX86" fmla="*/ 673100 w 3717925"/>
                <a:gd name="connsiteY86" fmla="*/ 333375 h 3282950"/>
                <a:gd name="connsiteX87" fmla="*/ 679450 w 3717925"/>
                <a:gd name="connsiteY87" fmla="*/ 298450 h 3282950"/>
                <a:gd name="connsiteX88" fmla="*/ 187325 w 3717925"/>
                <a:gd name="connsiteY88" fmla="*/ 396875 h 3282950"/>
                <a:gd name="connsiteX89" fmla="*/ 673100 w 3717925"/>
                <a:gd name="connsiteY89" fmla="*/ 295275 h 3282950"/>
                <a:gd name="connsiteX90" fmla="*/ 673100 w 3717925"/>
                <a:gd name="connsiteY90" fmla="*/ 225425 h 3282950"/>
                <a:gd name="connsiteX91" fmla="*/ 28575 w 3717925"/>
                <a:gd name="connsiteY91" fmla="*/ 307975 h 3282950"/>
                <a:gd name="connsiteX92" fmla="*/ 654050 w 3717925"/>
                <a:gd name="connsiteY92" fmla="*/ 225425 h 3282950"/>
                <a:gd name="connsiteX93" fmla="*/ 657225 w 3717925"/>
                <a:gd name="connsiteY93" fmla="*/ 161925 h 3282950"/>
                <a:gd name="connsiteX94" fmla="*/ 0 w 3717925"/>
                <a:gd name="connsiteY94" fmla="*/ 254000 h 3282950"/>
                <a:gd name="connsiteX95" fmla="*/ 647700 w 3717925"/>
                <a:gd name="connsiteY95" fmla="*/ 161925 h 3282950"/>
                <a:gd name="connsiteX96" fmla="*/ 647700 w 3717925"/>
                <a:gd name="connsiteY96" fmla="*/ 133350 h 3282950"/>
                <a:gd name="connsiteX97" fmla="*/ 638175 w 3717925"/>
                <a:gd name="connsiteY97" fmla="*/ 136525 h 3282950"/>
                <a:gd name="connsiteX98" fmla="*/ 641350 w 3717925"/>
                <a:gd name="connsiteY98" fmla="*/ 104775 h 3282950"/>
                <a:gd name="connsiteX99" fmla="*/ 631825 w 3717925"/>
                <a:gd name="connsiteY99" fmla="*/ 104775 h 3282950"/>
                <a:gd name="connsiteX100" fmla="*/ 638175 w 3717925"/>
                <a:gd name="connsiteY100" fmla="*/ 76200 h 3282950"/>
                <a:gd name="connsiteX101" fmla="*/ 619125 w 3717925"/>
                <a:gd name="connsiteY101" fmla="*/ 73025 h 3282950"/>
                <a:gd name="connsiteX102" fmla="*/ 622300 w 3717925"/>
                <a:gd name="connsiteY102" fmla="*/ 38100 h 3282950"/>
                <a:gd name="connsiteX103" fmla="*/ 615950 w 3717925"/>
                <a:gd name="connsiteY103" fmla="*/ 31750 h 3282950"/>
                <a:gd name="connsiteX104" fmla="*/ 615950 w 3717925"/>
                <a:gd name="connsiteY104" fmla="*/ 0 h 3282950"/>
                <a:gd name="connsiteX105" fmla="*/ 587375 w 3717925"/>
                <a:gd name="connsiteY105" fmla="*/ 0 h 3282950"/>
                <a:gd name="connsiteX0" fmla="*/ 3689350 w 3689350"/>
                <a:gd name="connsiteY0" fmla="*/ 3282950 h 3282950"/>
                <a:gd name="connsiteX1" fmla="*/ 2327275 w 3689350"/>
                <a:gd name="connsiteY1" fmla="*/ 3279775 h 3282950"/>
                <a:gd name="connsiteX2" fmla="*/ 2324100 w 3689350"/>
                <a:gd name="connsiteY2" fmla="*/ 3124200 h 3282950"/>
                <a:gd name="connsiteX3" fmla="*/ 2130425 w 3689350"/>
                <a:gd name="connsiteY3" fmla="*/ 3127375 h 3282950"/>
                <a:gd name="connsiteX4" fmla="*/ 2136775 w 3689350"/>
                <a:gd name="connsiteY4" fmla="*/ 3035300 h 3282950"/>
                <a:gd name="connsiteX5" fmla="*/ 2016125 w 3689350"/>
                <a:gd name="connsiteY5" fmla="*/ 3035300 h 3282950"/>
                <a:gd name="connsiteX6" fmla="*/ 2012950 w 3689350"/>
                <a:gd name="connsiteY6" fmla="*/ 2870200 h 3282950"/>
                <a:gd name="connsiteX7" fmla="*/ 1781175 w 3689350"/>
                <a:gd name="connsiteY7" fmla="*/ 2870200 h 3282950"/>
                <a:gd name="connsiteX8" fmla="*/ 1781175 w 3689350"/>
                <a:gd name="connsiteY8" fmla="*/ 2813050 h 3282950"/>
                <a:gd name="connsiteX9" fmla="*/ 1708150 w 3689350"/>
                <a:gd name="connsiteY9" fmla="*/ 2816225 h 3282950"/>
                <a:gd name="connsiteX10" fmla="*/ 1711325 w 3689350"/>
                <a:gd name="connsiteY10" fmla="*/ 2762250 h 3282950"/>
                <a:gd name="connsiteX11" fmla="*/ 1679575 w 3689350"/>
                <a:gd name="connsiteY11" fmla="*/ 2762250 h 3282950"/>
                <a:gd name="connsiteX12" fmla="*/ 1682750 w 3689350"/>
                <a:gd name="connsiteY12" fmla="*/ 2644775 h 3282950"/>
                <a:gd name="connsiteX13" fmla="*/ 1651000 w 3689350"/>
                <a:gd name="connsiteY13" fmla="*/ 2651125 h 3282950"/>
                <a:gd name="connsiteX14" fmla="*/ 1654175 w 3689350"/>
                <a:gd name="connsiteY14" fmla="*/ 2593975 h 3282950"/>
                <a:gd name="connsiteX15" fmla="*/ 1616075 w 3689350"/>
                <a:gd name="connsiteY15" fmla="*/ 2597150 h 3282950"/>
                <a:gd name="connsiteX16" fmla="*/ 1619250 w 3689350"/>
                <a:gd name="connsiteY16" fmla="*/ 2536825 h 3282950"/>
                <a:gd name="connsiteX17" fmla="*/ 1558925 w 3689350"/>
                <a:gd name="connsiteY17" fmla="*/ 2536825 h 3282950"/>
                <a:gd name="connsiteX18" fmla="*/ 1562100 w 3689350"/>
                <a:gd name="connsiteY18" fmla="*/ 2489200 h 3282950"/>
                <a:gd name="connsiteX19" fmla="*/ 1501775 w 3689350"/>
                <a:gd name="connsiteY19" fmla="*/ 2492375 h 3282950"/>
                <a:gd name="connsiteX20" fmla="*/ 1508125 w 3689350"/>
                <a:gd name="connsiteY20" fmla="*/ 2444750 h 3282950"/>
                <a:gd name="connsiteX21" fmla="*/ 1473200 w 3689350"/>
                <a:gd name="connsiteY21" fmla="*/ 2444750 h 3282950"/>
                <a:gd name="connsiteX22" fmla="*/ 1485900 w 3689350"/>
                <a:gd name="connsiteY22" fmla="*/ 2400300 h 3282950"/>
                <a:gd name="connsiteX23" fmla="*/ 1422400 w 3689350"/>
                <a:gd name="connsiteY23" fmla="*/ 2397125 h 3282950"/>
                <a:gd name="connsiteX24" fmla="*/ 1428750 w 3689350"/>
                <a:gd name="connsiteY24" fmla="*/ 2346325 h 3282950"/>
                <a:gd name="connsiteX25" fmla="*/ 1381125 w 3689350"/>
                <a:gd name="connsiteY25" fmla="*/ 2349500 h 3282950"/>
                <a:gd name="connsiteX26" fmla="*/ 1381125 w 3689350"/>
                <a:gd name="connsiteY26" fmla="*/ 2279650 h 3282950"/>
                <a:gd name="connsiteX27" fmla="*/ 1339850 w 3689350"/>
                <a:gd name="connsiteY27" fmla="*/ 2276475 h 3282950"/>
                <a:gd name="connsiteX28" fmla="*/ 1352550 w 3689350"/>
                <a:gd name="connsiteY28" fmla="*/ 2212975 h 3282950"/>
                <a:gd name="connsiteX29" fmla="*/ 1314450 w 3689350"/>
                <a:gd name="connsiteY29" fmla="*/ 2209800 h 3282950"/>
                <a:gd name="connsiteX30" fmla="*/ 1320800 w 3689350"/>
                <a:gd name="connsiteY30" fmla="*/ 2130425 h 3282950"/>
                <a:gd name="connsiteX31" fmla="*/ 1320800 w 3689350"/>
                <a:gd name="connsiteY31" fmla="*/ 2130425 h 3282950"/>
                <a:gd name="connsiteX32" fmla="*/ 733425 w 3689350"/>
                <a:gd name="connsiteY32" fmla="*/ 2365375 h 3282950"/>
                <a:gd name="connsiteX33" fmla="*/ 1301750 w 3689350"/>
                <a:gd name="connsiteY33" fmla="*/ 2124075 h 3282950"/>
                <a:gd name="connsiteX34" fmla="*/ 1308100 w 3689350"/>
                <a:gd name="connsiteY34" fmla="*/ 2035175 h 3282950"/>
                <a:gd name="connsiteX35" fmla="*/ 1238250 w 3689350"/>
                <a:gd name="connsiteY35" fmla="*/ 2035175 h 3282950"/>
                <a:gd name="connsiteX36" fmla="*/ 1247775 w 3689350"/>
                <a:gd name="connsiteY36" fmla="*/ 1958975 h 3282950"/>
                <a:gd name="connsiteX37" fmla="*/ 1238250 w 3689350"/>
                <a:gd name="connsiteY37" fmla="*/ 1933575 h 3282950"/>
                <a:gd name="connsiteX38" fmla="*/ 838200 w 3689350"/>
                <a:gd name="connsiteY38" fmla="*/ 2003425 h 3282950"/>
                <a:gd name="connsiteX39" fmla="*/ 1219200 w 3689350"/>
                <a:gd name="connsiteY39" fmla="*/ 1933575 h 3282950"/>
                <a:gd name="connsiteX40" fmla="*/ 1225550 w 3689350"/>
                <a:gd name="connsiteY40" fmla="*/ 1889125 h 3282950"/>
                <a:gd name="connsiteX41" fmla="*/ 1225550 w 3689350"/>
                <a:gd name="connsiteY41" fmla="*/ 1860550 h 3282950"/>
                <a:gd name="connsiteX42" fmla="*/ 584200 w 3689350"/>
                <a:gd name="connsiteY42" fmla="*/ 1930400 h 3282950"/>
                <a:gd name="connsiteX43" fmla="*/ 1206500 w 3689350"/>
                <a:gd name="connsiteY43" fmla="*/ 1863725 h 3282950"/>
                <a:gd name="connsiteX44" fmla="*/ 1212850 w 3689350"/>
                <a:gd name="connsiteY44" fmla="*/ 1831975 h 3282950"/>
                <a:gd name="connsiteX45" fmla="*/ 1184275 w 3689350"/>
                <a:gd name="connsiteY45" fmla="*/ 1828800 h 3282950"/>
                <a:gd name="connsiteX46" fmla="*/ 1184275 w 3689350"/>
                <a:gd name="connsiteY46" fmla="*/ 1774825 h 3282950"/>
                <a:gd name="connsiteX47" fmla="*/ 1155700 w 3689350"/>
                <a:gd name="connsiteY47" fmla="*/ 1774825 h 3282950"/>
                <a:gd name="connsiteX48" fmla="*/ 1158875 w 3689350"/>
                <a:gd name="connsiteY48" fmla="*/ 1736725 h 3282950"/>
                <a:gd name="connsiteX49" fmla="*/ 1117600 w 3689350"/>
                <a:gd name="connsiteY49" fmla="*/ 1733550 h 3282950"/>
                <a:gd name="connsiteX50" fmla="*/ 1123950 w 3689350"/>
                <a:gd name="connsiteY50" fmla="*/ 1673225 h 3282950"/>
                <a:gd name="connsiteX51" fmla="*/ 1123950 w 3689350"/>
                <a:gd name="connsiteY51" fmla="*/ 1673225 h 3282950"/>
                <a:gd name="connsiteX52" fmla="*/ 701675 w 3689350"/>
                <a:gd name="connsiteY52" fmla="*/ 1758950 h 3282950"/>
                <a:gd name="connsiteX53" fmla="*/ 1095375 w 3689350"/>
                <a:gd name="connsiteY53" fmla="*/ 1670050 h 3282950"/>
                <a:gd name="connsiteX54" fmla="*/ 1098550 w 3689350"/>
                <a:gd name="connsiteY54" fmla="*/ 1593850 h 3282950"/>
                <a:gd name="connsiteX55" fmla="*/ 1066800 w 3689350"/>
                <a:gd name="connsiteY55" fmla="*/ 1593850 h 3282950"/>
                <a:gd name="connsiteX56" fmla="*/ 1028700 w 3689350"/>
                <a:gd name="connsiteY56" fmla="*/ 1409700 h 3282950"/>
                <a:gd name="connsiteX57" fmla="*/ 1003300 w 3689350"/>
                <a:gd name="connsiteY57" fmla="*/ 1292225 h 3282950"/>
                <a:gd name="connsiteX58" fmla="*/ 1003300 w 3689350"/>
                <a:gd name="connsiteY58" fmla="*/ 1292225 h 3282950"/>
                <a:gd name="connsiteX59" fmla="*/ 955675 w 3689350"/>
                <a:gd name="connsiteY59" fmla="*/ 1266825 h 3282950"/>
                <a:gd name="connsiteX60" fmla="*/ 923925 w 3689350"/>
                <a:gd name="connsiteY60" fmla="*/ 1184275 h 3282950"/>
                <a:gd name="connsiteX61" fmla="*/ 927100 w 3689350"/>
                <a:gd name="connsiteY61" fmla="*/ 1095375 h 3282950"/>
                <a:gd name="connsiteX62" fmla="*/ 835025 w 3689350"/>
                <a:gd name="connsiteY62" fmla="*/ 1095375 h 3282950"/>
                <a:gd name="connsiteX63" fmla="*/ 844550 w 3689350"/>
                <a:gd name="connsiteY63" fmla="*/ 1047750 h 3282950"/>
                <a:gd name="connsiteX64" fmla="*/ 396875 w 3689350"/>
                <a:gd name="connsiteY64" fmla="*/ 1114425 h 3282950"/>
                <a:gd name="connsiteX65" fmla="*/ 831850 w 3689350"/>
                <a:gd name="connsiteY65" fmla="*/ 1047750 h 3282950"/>
                <a:gd name="connsiteX66" fmla="*/ 835025 w 3689350"/>
                <a:gd name="connsiteY66" fmla="*/ 958850 h 3282950"/>
                <a:gd name="connsiteX67" fmla="*/ 447675 w 3689350"/>
                <a:gd name="connsiteY67" fmla="*/ 1028700 h 3282950"/>
                <a:gd name="connsiteX68" fmla="*/ 812800 w 3689350"/>
                <a:gd name="connsiteY68" fmla="*/ 955675 h 3282950"/>
                <a:gd name="connsiteX69" fmla="*/ 815975 w 3689350"/>
                <a:gd name="connsiteY69" fmla="*/ 892175 h 3282950"/>
                <a:gd name="connsiteX70" fmla="*/ 755650 w 3689350"/>
                <a:gd name="connsiteY70" fmla="*/ 892175 h 3282950"/>
                <a:gd name="connsiteX71" fmla="*/ 758825 w 3689350"/>
                <a:gd name="connsiteY71" fmla="*/ 768350 h 3282950"/>
                <a:gd name="connsiteX72" fmla="*/ 742950 w 3689350"/>
                <a:gd name="connsiteY72" fmla="*/ 679450 h 3282950"/>
                <a:gd name="connsiteX73" fmla="*/ 739775 w 3689350"/>
                <a:gd name="connsiteY73" fmla="*/ 615950 h 3282950"/>
                <a:gd name="connsiteX74" fmla="*/ 704850 w 3689350"/>
                <a:gd name="connsiteY74" fmla="*/ 612775 h 3282950"/>
                <a:gd name="connsiteX75" fmla="*/ 708025 w 3689350"/>
                <a:gd name="connsiteY75" fmla="*/ 539750 h 3282950"/>
                <a:gd name="connsiteX76" fmla="*/ 323850 w 3689350"/>
                <a:gd name="connsiteY76" fmla="*/ 593725 h 3282950"/>
                <a:gd name="connsiteX77" fmla="*/ 688975 w 3689350"/>
                <a:gd name="connsiteY77" fmla="*/ 533400 h 3282950"/>
                <a:gd name="connsiteX78" fmla="*/ 692150 w 3689350"/>
                <a:gd name="connsiteY78" fmla="*/ 479425 h 3282950"/>
                <a:gd name="connsiteX79" fmla="*/ 231775 w 3689350"/>
                <a:gd name="connsiteY79" fmla="*/ 517525 h 3282950"/>
                <a:gd name="connsiteX80" fmla="*/ 679450 w 3689350"/>
                <a:gd name="connsiteY80" fmla="*/ 482600 h 3282950"/>
                <a:gd name="connsiteX81" fmla="*/ 676275 w 3689350"/>
                <a:gd name="connsiteY81" fmla="*/ 415925 h 3282950"/>
                <a:gd name="connsiteX82" fmla="*/ 384175 w 3689350"/>
                <a:gd name="connsiteY82" fmla="*/ 438150 h 3282950"/>
                <a:gd name="connsiteX83" fmla="*/ 666750 w 3689350"/>
                <a:gd name="connsiteY83" fmla="*/ 415925 h 3282950"/>
                <a:gd name="connsiteX84" fmla="*/ 660400 w 3689350"/>
                <a:gd name="connsiteY84" fmla="*/ 339725 h 3282950"/>
                <a:gd name="connsiteX85" fmla="*/ 120650 w 3689350"/>
                <a:gd name="connsiteY85" fmla="*/ 422275 h 3282950"/>
                <a:gd name="connsiteX86" fmla="*/ 644525 w 3689350"/>
                <a:gd name="connsiteY86" fmla="*/ 333375 h 3282950"/>
                <a:gd name="connsiteX87" fmla="*/ 650875 w 3689350"/>
                <a:gd name="connsiteY87" fmla="*/ 298450 h 3282950"/>
                <a:gd name="connsiteX88" fmla="*/ 158750 w 3689350"/>
                <a:gd name="connsiteY88" fmla="*/ 396875 h 3282950"/>
                <a:gd name="connsiteX89" fmla="*/ 644525 w 3689350"/>
                <a:gd name="connsiteY89" fmla="*/ 295275 h 3282950"/>
                <a:gd name="connsiteX90" fmla="*/ 644525 w 3689350"/>
                <a:gd name="connsiteY90" fmla="*/ 225425 h 3282950"/>
                <a:gd name="connsiteX91" fmla="*/ 0 w 3689350"/>
                <a:gd name="connsiteY91" fmla="*/ 307975 h 3282950"/>
                <a:gd name="connsiteX92" fmla="*/ 625475 w 3689350"/>
                <a:gd name="connsiteY92" fmla="*/ 225425 h 3282950"/>
                <a:gd name="connsiteX93" fmla="*/ 628650 w 3689350"/>
                <a:gd name="connsiteY93" fmla="*/ 161925 h 3282950"/>
                <a:gd name="connsiteX94" fmla="*/ 619125 w 3689350"/>
                <a:gd name="connsiteY94" fmla="*/ 161925 h 3282950"/>
                <a:gd name="connsiteX95" fmla="*/ 619125 w 3689350"/>
                <a:gd name="connsiteY95" fmla="*/ 133350 h 3282950"/>
                <a:gd name="connsiteX96" fmla="*/ 609600 w 3689350"/>
                <a:gd name="connsiteY96" fmla="*/ 136525 h 3282950"/>
                <a:gd name="connsiteX97" fmla="*/ 612775 w 3689350"/>
                <a:gd name="connsiteY97" fmla="*/ 104775 h 3282950"/>
                <a:gd name="connsiteX98" fmla="*/ 603250 w 3689350"/>
                <a:gd name="connsiteY98" fmla="*/ 104775 h 3282950"/>
                <a:gd name="connsiteX99" fmla="*/ 609600 w 3689350"/>
                <a:gd name="connsiteY99" fmla="*/ 76200 h 3282950"/>
                <a:gd name="connsiteX100" fmla="*/ 590550 w 3689350"/>
                <a:gd name="connsiteY100" fmla="*/ 73025 h 3282950"/>
                <a:gd name="connsiteX101" fmla="*/ 593725 w 3689350"/>
                <a:gd name="connsiteY101" fmla="*/ 38100 h 3282950"/>
                <a:gd name="connsiteX102" fmla="*/ 587375 w 3689350"/>
                <a:gd name="connsiteY102" fmla="*/ 31750 h 3282950"/>
                <a:gd name="connsiteX103" fmla="*/ 587375 w 3689350"/>
                <a:gd name="connsiteY103" fmla="*/ 0 h 3282950"/>
                <a:gd name="connsiteX104" fmla="*/ 558800 w 3689350"/>
                <a:gd name="connsiteY104" fmla="*/ 0 h 3282950"/>
                <a:gd name="connsiteX0" fmla="*/ 3568700 w 3568700"/>
                <a:gd name="connsiteY0" fmla="*/ 3282950 h 3282950"/>
                <a:gd name="connsiteX1" fmla="*/ 2206625 w 3568700"/>
                <a:gd name="connsiteY1" fmla="*/ 3279775 h 3282950"/>
                <a:gd name="connsiteX2" fmla="*/ 2203450 w 3568700"/>
                <a:gd name="connsiteY2" fmla="*/ 3124200 h 3282950"/>
                <a:gd name="connsiteX3" fmla="*/ 2009775 w 3568700"/>
                <a:gd name="connsiteY3" fmla="*/ 3127375 h 3282950"/>
                <a:gd name="connsiteX4" fmla="*/ 2016125 w 3568700"/>
                <a:gd name="connsiteY4" fmla="*/ 3035300 h 3282950"/>
                <a:gd name="connsiteX5" fmla="*/ 1895475 w 3568700"/>
                <a:gd name="connsiteY5" fmla="*/ 3035300 h 3282950"/>
                <a:gd name="connsiteX6" fmla="*/ 1892300 w 3568700"/>
                <a:gd name="connsiteY6" fmla="*/ 2870200 h 3282950"/>
                <a:gd name="connsiteX7" fmla="*/ 1660525 w 3568700"/>
                <a:gd name="connsiteY7" fmla="*/ 2870200 h 3282950"/>
                <a:gd name="connsiteX8" fmla="*/ 1660525 w 3568700"/>
                <a:gd name="connsiteY8" fmla="*/ 2813050 h 3282950"/>
                <a:gd name="connsiteX9" fmla="*/ 1587500 w 3568700"/>
                <a:gd name="connsiteY9" fmla="*/ 2816225 h 3282950"/>
                <a:gd name="connsiteX10" fmla="*/ 1590675 w 3568700"/>
                <a:gd name="connsiteY10" fmla="*/ 2762250 h 3282950"/>
                <a:gd name="connsiteX11" fmla="*/ 1558925 w 3568700"/>
                <a:gd name="connsiteY11" fmla="*/ 2762250 h 3282950"/>
                <a:gd name="connsiteX12" fmla="*/ 1562100 w 3568700"/>
                <a:gd name="connsiteY12" fmla="*/ 2644775 h 3282950"/>
                <a:gd name="connsiteX13" fmla="*/ 1530350 w 3568700"/>
                <a:gd name="connsiteY13" fmla="*/ 2651125 h 3282950"/>
                <a:gd name="connsiteX14" fmla="*/ 1533525 w 3568700"/>
                <a:gd name="connsiteY14" fmla="*/ 2593975 h 3282950"/>
                <a:gd name="connsiteX15" fmla="*/ 1495425 w 3568700"/>
                <a:gd name="connsiteY15" fmla="*/ 2597150 h 3282950"/>
                <a:gd name="connsiteX16" fmla="*/ 1498600 w 3568700"/>
                <a:gd name="connsiteY16" fmla="*/ 2536825 h 3282950"/>
                <a:gd name="connsiteX17" fmla="*/ 1438275 w 3568700"/>
                <a:gd name="connsiteY17" fmla="*/ 2536825 h 3282950"/>
                <a:gd name="connsiteX18" fmla="*/ 1441450 w 3568700"/>
                <a:gd name="connsiteY18" fmla="*/ 2489200 h 3282950"/>
                <a:gd name="connsiteX19" fmla="*/ 1381125 w 3568700"/>
                <a:gd name="connsiteY19" fmla="*/ 2492375 h 3282950"/>
                <a:gd name="connsiteX20" fmla="*/ 1387475 w 3568700"/>
                <a:gd name="connsiteY20" fmla="*/ 2444750 h 3282950"/>
                <a:gd name="connsiteX21" fmla="*/ 1352550 w 3568700"/>
                <a:gd name="connsiteY21" fmla="*/ 2444750 h 3282950"/>
                <a:gd name="connsiteX22" fmla="*/ 1365250 w 3568700"/>
                <a:gd name="connsiteY22" fmla="*/ 2400300 h 3282950"/>
                <a:gd name="connsiteX23" fmla="*/ 1301750 w 3568700"/>
                <a:gd name="connsiteY23" fmla="*/ 2397125 h 3282950"/>
                <a:gd name="connsiteX24" fmla="*/ 1308100 w 3568700"/>
                <a:gd name="connsiteY24" fmla="*/ 2346325 h 3282950"/>
                <a:gd name="connsiteX25" fmla="*/ 1260475 w 3568700"/>
                <a:gd name="connsiteY25" fmla="*/ 2349500 h 3282950"/>
                <a:gd name="connsiteX26" fmla="*/ 1260475 w 3568700"/>
                <a:gd name="connsiteY26" fmla="*/ 2279650 h 3282950"/>
                <a:gd name="connsiteX27" fmla="*/ 1219200 w 3568700"/>
                <a:gd name="connsiteY27" fmla="*/ 2276475 h 3282950"/>
                <a:gd name="connsiteX28" fmla="*/ 1231900 w 3568700"/>
                <a:gd name="connsiteY28" fmla="*/ 2212975 h 3282950"/>
                <a:gd name="connsiteX29" fmla="*/ 1193800 w 3568700"/>
                <a:gd name="connsiteY29" fmla="*/ 2209800 h 3282950"/>
                <a:gd name="connsiteX30" fmla="*/ 1200150 w 3568700"/>
                <a:gd name="connsiteY30" fmla="*/ 2130425 h 3282950"/>
                <a:gd name="connsiteX31" fmla="*/ 1200150 w 3568700"/>
                <a:gd name="connsiteY31" fmla="*/ 2130425 h 3282950"/>
                <a:gd name="connsiteX32" fmla="*/ 612775 w 3568700"/>
                <a:gd name="connsiteY32" fmla="*/ 2365375 h 3282950"/>
                <a:gd name="connsiteX33" fmla="*/ 1181100 w 3568700"/>
                <a:gd name="connsiteY33" fmla="*/ 2124075 h 3282950"/>
                <a:gd name="connsiteX34" fmla="*/ 1187450 w 3568700"/>
                <a:gd name="connsiteY34" fmla="*/ 2035175 h 3282950"/>
                <a:gd name="connsiteX35" fmla="*/ 1117600 w 3568700"/>
                <a:gd name="connsiteY35" fmla="*/ 2035175 h 3282950"/>
                <a:gd name="connsiteX36" fmla="*/ 1127125 w 3568700"/>
                <a:gd name="connsiteY36" fmla="*/ 1958975 h 3282950"/>
                <a:gd name="connsiteX37" fmla="*/ 1117600 w 3568700"/>
                <a:gd name="connsiteY37" fmla="*/ 1933575 h 3282950"/>
                <a:gd name="connsiteX38" fmla="*/ 717550 w 3568700"/>
                <a:gd name="connsiteY38" fmla="*/ 2003425 h 3282950"/>
                <a:gd name="connsiteX39" fmla="*/ 1098550 w 3568700"/>
                <a:gd name="connsiteY39" fmla="*/ 1933575 h 3282950"/>
                <a:gd name="connsiteX40" fmla="*/ 1104900 w 3568700"/>
                <a:gd name="connsiteY40" fmla="*/ 1889125 h 3282950"/>
                <a:gd name="connsiteX41" fmla="*/ 1104900 w 3568700"/>
                <a:gd name="connsiteY41" fmla="*/ 1860550 h 3282950"/>
                <a:gd name="connsiteX42" fmla="*/ 463550 w 3568700"/>
                <a:gd name="connsiteY42" fmla="*/ 1930400 h 3282950"/>
                <a:gd name="connsiteX43" fmla="*/ 1085850 w 3568700"/>
                <a:gd name="connsiteY43" fmla="*/ 1863725 h 3282950"/>
                <a:gd name="connsiteX44" fmla="*/ 1092200 w 3568700"/>
                <a:gd name="connsiteY44" fmla="*/ 1831975 h 3282950"/>
                <a:gd name="connsiteX45" fmla="*/ 1063625 w 3568700"/>
                <a:gd name="connsiteY45" fmla="*/ 1828800 h 3282950"/>
                <a:gd name="connsiteX46" fmla="*/ 1063625 w 3568700"/>
                <a:gd name="connsiteY46" fmla="*/ 1774825 h 3282950"/>
                <a:gd name="connsiteX47" fmla="*/ 1035050 w 3568700"/>
                <a:gd name="connsiteY47" fmla="*/ 1774825 h 3282950"/>
                <a:gd name="connsiteX48" fmla="*/ 1038225 w 3568700"/>
                <a:gd name="connsiteY48" fmla="*/ 1736725 h 3282950"/>
                <a:gd name="connsiteX49" fmla="*/ 996950 w 3568700"/>
                <a:gd name="connsiteY49" fmla="*/ 1733550 h 3282950"/>
                <a:gd name="connsiteX50" fmla="*/ 1003300 w 3568700"/>
                <a:gd name="connsiteY50" fmla="*/ 1673225 h 3282950"/>
                <a:gd name="connsiteX51" fmla="*/ 1003300 w 3568700"/>
                <a:gd name="connsiteY51" fmla="*/ 1673225 h 3282950"/>
                <a:gd name="connsiteX52" fmla="*/ 581025 w 3568700"/>
                <a:gd name="connsiteY52" fmla="*/ 1758950 h 3282950"/>
                <a:gd name="connsiteX53" fmla="*/ 974725 w 3568700"/>
                <a:gd name="connsiteY53" fmla="*/ 1670050 h 3282950"/>
                <a:gd name="connsiteX54" fmla="*/ 977900 w 3568700"/>
                <a:gd name="connsiteY54" fmla="*/ 1593850 h 3282950"/>
                <a:gd name="connsiteX55" fmla="*/ 946150 w 3568700"/>
                <a:gd name="connsiteY55" fmla="*/ 1593850 h 3282950"/>
                <a:gd name="connsiteX56" fmla="*/ 908050 w 3568700"/>
                <a:gd name="connsiteY56" fmla="*/ 1409700 h 3282950"/>
                <a:gd name="connsiteX57" fmla="*/ 882650 w 3568700"/>
                <a:gd name="connsiteY57" fmla="*/ 1292225 h 3282950"/>
                <a:gd name="connsiteX58" fmla="*/ 882650 w 3568700"/>
                <a:gd name="connsiteY58" fmla="*/ 1292225 h 3282950"/>
                <a:gd name="connsiteX59" fmla="*/ 835025 w 3568700"/>
                <a:gd name="connsiteY59" fmla="*/ 1266825 h 3282950"/>
                <a:gd name="connsiteX60" fmla="*/ 803275 w 3568700"/>
                <a:gd name="connsiteY60" fmla="*/ 1184275 h 3282950"/>
                <a:gd name="connsiteX61" fmla="*/ 806450 w 3568700"/>
                <a:gd name="connsiteY61" fmla="*/ 1095375 h 3282950"/>
                <a:gd name="connsiteX62" fmla="*/ 714375 w 3568700"/>
                <a:gd name="connsiteY62" fmla="*/ 1095375 h 3282950"/>
                <a:gd name="connsiteX63" fmla="*/ 723900 w 3568700"/>
                <a:gd name="connsiteY63" fmla="*/ 1047750 h 3282950"/>
                <a:gd name="connsiteX64" fmla="*/ 276225 w 3568700"/>
                <a:gd name="connsiteY64" fmla="*/ 1114425 h 3282950"/>
                <a:gd name="connsiteX65" fmla="*/ 711200 w 3568700"/>
                <a:gd name="connsiteY65" fmla="*/ 1047750 h 3282950"/>
                <a:gd name="connsiteX66" fmla="*/ 714375 w 3568700"/>
                <a:gd name="connsiteY66" fmla="*/ 958850 h 3282950"/>
                <a:gd name="connsiteX67" fmla="*/ 327025 w 3568700"/>
                <a:gd name="connsiteY67" fmla="*/ 1028700 h 3282950"/>
                <a:gd name="connsiteX68" fmla="*/ 692150 w 3568700"/>
                <a:gd name="connsiteY68" fmla="*/ 955675 h 3282950"/>
                <a:gd name="connsiteX69" fmla="*/ 695325 w 3568700"/>
                <a:gd name="connsiteY69" fmla="*/ 892175 h 3282950"/>
                <a:gd name="connsiteX70" fmla="*/ 635000 w 3568700"/>
                <a:gd name="connsiteY70" fmla="*/ 892175 h 3282950"/>
                <a:gd name="connsiteX71" fmla="*/ 638175 w 3568700"/>
                <a:gd name="connsiteY71" fmla="*/ 768350 h 3282950"/>
                <a:gd name="connsiteX72" fmla="*/ 622300 w 3568700"/>
                <a:gd name="connsiteY72" fmla="*/ 679450 h 3282950"/>
                <a:gd name="connsiteX73" fmla="*/ 619125 w 3568700"/>
                <a:gd name="connsiteY73" fmla="*/ 615950 h 3282950"/>
                <a:gd name="connsiteX74" fmla="*/ 584200 w 3568700"/>
                <a:gd name="connsiteY74" fmla="*/ 612775 h 3282950"/>
                <a:gd name="connsiteX75" fmla="*/ 587375 w 3568700"/>
                <a:gd name="connsiteY75" fmla="*/ 539750 h 3282950"/>
                <a:gd name="connsiteX76" fmla="*/ 203200 w 3568700"/>
                <a:gd name="connsiteY76" fmla="*/ 593725 h 3282950"/>
                <a:gd name="connsiteX77" fmla="*/ 568325 w 3568700"/>
                <a:gd name="connsiteY77" fmla="*/ 533400 h 3282950"/>
                <a:gd name="connsiteX78" fmla="*/ 571500 w 3568700"/>
                <a:gd name="connsiteY78" fmla="*/ 479425 h 3282950"/>
                <a:gd name="connsiteX79" fmla="*/ 111125 w 3568700"/>
                <a:gd name="connsiteY79" fmla="*/ 517525 h 3282950"/>
                <a:gd name="connsiteX80" fmla="*/ 558800 w 3568700"/>
                <a:gd name="connsiteY80" fmla="*/ 482600 h 3282950"/>
                <a:gd name="connsiteX81" fmla="*/ 555625 w 3568700"/>
                <a:gd name="connsiteY81" fmla="*/ 415925 h 3282950"/>
                <a:gd name="connsiteX82" fmla="*/ 263525 w 3568700"/>
                <a:gd name="connsiteY82" fmla="*/ 438150 h 3282950"/>
                <a:gd name="connsiteX83" fmla="*/ 546100 w 3568700"/>
                <a:gd name="connsiteY83" fmla="*/ 415925 h 3282950"/>
                <a:gd name="connsiteX84" fmla="*/ 539750 w 3568700"/>
                <a:gd name="connsiteY84" fmla="*/ 339725 h 3282950"/>
                <a:gd name="connsiteX85" fmla="*/ 0 w 3568700"/>
                <a:gd name="connsiteY85" fmla="*/ 422275 h 3282950"/>
                <a:gd name="connsiteX86" fmla="*/ 523875 w 3568700"/>
                <a:gd name="connsiteY86" fmla="*/ 333375 h 3282950"/>
                <a:gd name="connsiteX87" fmla="*/ 530225 w 3568700"/>
                <a:gd name="connsiteY87" fmla="*/ 298450 h 3282950"/>
                <a:gd name="connsiteX88" fmla="*/ 38100 w 3568700"/>
                <a:gd name="connsiteY88" fmla="*/ 396875 h 3282950"/>
                <a:gd name="connsiteX89" fmla="*/ 523875 w 3568700"/>
                <a:gd name="connsiteY89" fmla="*/ 295275 h 3282950"/>
                <a:gd name="connsiteX90" fmla="*/ 523875 w 3568700"/>
                <a:gd name="connsiteY90" fmla="*/ 225425 h 3282950"/>
                <a:gd name="connsiteX91" fmla="*/ 504825 w 3568700"/>
                <a:gd name="connsiteY91" fmla="*/ 225425 h 3282950"/>
                <a:gd name="connsiteX92" fmla="*/ 508000 w 3568700"/>
                <a:gd name="connsiteY92" fmla="*/ 161925 h 3282950"/>
                <a:gd name="connsiteX93" fmla="*/ 498475 w 3568700"/>
                <a:gd name="connsiteY93" fmla="*/ 161925 h 3282950"/>
                <a:gd name="connsiteX94" fmla="*/ 498475 w 3568700"/>
                <a:gd name="connsiteY94" fmla="*/ 133350 h 3282950"/>
                <a:gd name="connsiteX95" fmla="*/ 488950 w 3568700"/>
                <a:gd name="connsiteY95" fmla="*/ 136525 h 3282950"/>
                <a:gd name="connsiteX96" fmla="*/ 492125 w 3568700"/>
                <a:gd name="connsiteY96" fmla="*/ 104775 h 3282950"/>
                <a:gd name="connsiteX97" fmla="*/ 482600 w 3568700"/>
                <a:gd name="connsiteY97" fmla="*/ 104775 h 3282950"/>
                <a:gd name="connsiteX98" fmla="*/ 488950 w 3568700"/>
                <a:gd name="connsiteY98" fmla="*/ 76200 h 3282950"/>
                <a:gd name="connsiteX99" fmla="*/ 469900 w 3568700"/>
                <a:gd name="connsiteY99" fmla="*/ 73025 h 3282950"/>
                <a:gd name="connsiteX100" fmla="*/ 473075 w 3568700"/>
                <a:gd name="connsiteY100" fmla="*/ 38100 h 3282950"/>
                <a:gd name="connsiteX101" fmla="*/ 466725 w 3568700"/>
                <a:gd name="connsiteY101" fmla="*/ 31750 h 3282950"/>
                <a:gd name="connsiteX102" fmla="*/ 466725 w 3568700"/>
                <a:gd name="connsiteY102" fmla="*/ 0 h 3282950"/>
                <a:gd name="connsiteX103" fmla="*/ 438150 w 3568700"/>
                <a:gd name="connsiteY103" fmla="*/ 0 h 3282950"/>
                <a:gd name="connsiteX0" fmla="*/ 3568700 w 3568700"/>
                <a:gd name="connsiteY0" fmla="*/ 3282950 h 3282950"/>
                <a:gd name="connsiteX1" fmla="*/ 2206625 w 3568700"/>
                <a:gd name="connsiteY1" fmla="*/ 3279775 h 3282950"/>
                <a:gd name="connsiteX2" fmla="*/ 2203450 w 3568700"/>
                <a:gd name="connsiteY2" fmla="*/ 3124200 h 3282950"/>
                <a:gd name="connsiteX3" fmla="*/ 2009775 w 3568700"/>
                <a:gd name="connsiteY3" fmla="*/ 3127375 h 3282950"/>
                <a:gd name="connsiteX4" fmla="*/ 2016125 w 3568700"/>
                <a:gd name="connsiteY4" fmla="*/ 3035300 h 3282950"/>
                <a:gd name="connsiteX5" fmla="*/ 1895475 w 3568700"/>
                <a:gd name="connsiteY5" fmla="*/ 3035300 h 3282950"/>
                <a:gd name="connsiteX6" fmla="*/ 1892300 w 3568700"/>
                <a:gd name="connsiteY6" fmla="*/ 2870200 h 3282950"/>
                <a:gd name="connsiteX7" fmla="*/ 1660525 w 3568700"/>
                <a:gd name="connsiteY7" fmla="*/ 2870200 h 3282950"/>
                <a:gd name="connsiteX8" fmla="*/ 1660525 w 3568700"/>
                <a:gd name="connsiteY8" fmla="*/ 2813050 h 3282950"/>
                <a:gd name="connsiteX9" fmla="*/ 1587500 w 3568700"/>
                <a:gd name="connsiteY9" fmla="*/ 2816225 h 3282950"/>
                <a:gd name="connsiteX10" fmla="*/ 1590675 w 3568700"/>
                <a:gd name="connsiteY10" fmla="*/ 2762250 h 3282950"/>
                <a:gd name="connsiteX11" fmla="*/ 1558925 w 3568700"/>
                <a:gd name="connsiteY11" fmla="*/ 2762250 h 3282950"/>
                <a:gd name="connsiteX12" fmla="*/ 1562100 w 3568700"/>
                <a:gd name="connsiteY12" fmla="*/ 2644775 h 3282950"/>
                <a:gd name="connsiteX13" fmla="*/ 1530350 w 3568700"/>
                <a:gd name="connsiteY13" fmla="*/ 2651125 h 3282950"/>
                <a:gd name="connsiteX14" fmla="*/ 1533525 w 3568700"/>
                <a:gd name="connsiteY14" fmla="*/ 2593975 h 3282950"/>
                <a:gd name="connsiteX15" fmla="*/ 1495425 w 3568700"/>
                <a:gd name="connsiteY15" fmla="*/ 2597150 h 3282950"/>
                <a:gd name="connsiteX16" fmla="*/ 1498600 w 3568700"/>
                <a:gd name="connsiteY16" fmla="*/ 2536825 h 3282950"/>
                <a:gd name="connsiteX17" fmla="*/ 1438275 w 3568700"/>
                <a:gd name="connsiteY17" fmla="*/ 2536825 h 3282950"/>
                <a:gd name="connsiteX18" fmla="*/ 1441450 w 3568700"/>
                <a:gd name="connsiteY18" fmla="*/ 2489200 h 3282950"/>
                <a:gd name="connsiteX19" fmla="*/ 1381125 w 3568700"/>
                <a:gd name="connsiteY19" fmla="*/ 2492375 h 3282950"/>
                <a:gd name="connsiteX20" fmla="*/ 1387475 w 3568700"/>
                <a:gd name="connsiteY20" fmla="*/ 2444750 h 3282950"/>
                <a:gd name="connsiteX21" fmla="*/ 1352550 w 3568700"/>
                <a:gd name="connsiteY21" fmla="*/ 2444750 h 3282950"/>
                <a:gd name="connsiteX22" fmla="*/ 1365250 w 3568700"/>
                <a:gd name="connsiteY22" fmla="*/ 2400300 h 3282950"/>
                <a:gd name="connsiteX23" fmla="*/ 1301750 w 3568700"/>
                <a:gd name="connsiteY23" fmla="*/ 2397125 h 3282950"/>
                <a:gd name="connsiteX24" fmla="*/ 1308100 w 3568700"/>
                <a:gd name="connsiteY24" fmla="*/ 2346325 h 3282950"/>
                <a:gd name="connsiteX25" fmla="*/ 1260475 w 3568700"/>
                <a:gd name="connsiteY25" fmla="*/ 2349500 h 3282950"/>
                <a:gd name="connsiteX26" fmla="*/ 1260475 w 3568700"/>
                <a:gd name="connsiteY26" fmla="*/ 2279650 h 3282950"/>
                <a:gd name="connsiteX27" fmla="*/ 1219200 w 3568700"/>
                <a:gd name="connsiteY27" fmla="*/ 2276475 h 3282950"/>
                <a:gd name="connsiteX28" fmla="*/ 1231900 w 3568700"/>
                <a:gd name="connsiteY28" fmla="*/ 2212975 h 3282950"/>
                <a:gd name="connsiteX29" fmla="*/ 1193800 w 3568700"/>
                <a:gd name="connsiteY29" fmla="*/ 2209800 h 3282950"/>
                <a:gd name="connsiteX30" fmla="*/ 1200150 w 3568700"/>
                <a:gd name="connsiteY30" fmla="*/ 2130425 h 3282950"/>
                <a:gd name="connsiteX31" fmla="*/ 1200150 w 3568700"/>
                <a:gd name="connsiteY31" fmla="*/ 2130425 h 3282950"/>
                <a:gd name="connsiteX32" fmla="*/ 612775 w 3568700"/>
                <a:gd name="connsiteY32" fmla="*/ 2365375 h 3282950"/>
                <a:gd name="connsiteX33" fmla="*/ 1181100 w 3568700"/>
                <a:gd name="connsiteY33" fmla="*/ 2124075 h 3282950"/>
                <a:gd name="connsiteX34" fmla="*/ 1187450 w 3568700"/>
                <a:gd name="connsiteY34" fmla="*/ 2035175 h 3282950"/>
                <a:gd name="connsiteX35" fmla="*/ 1117600 w 3568700"/>
                <a:gd name="connsiteY35" fmla="*/ 2035175 h 3282950"/>
                <a:gd name="connsiteX36" fmla="*/ 1127125 w 3568700"/>
                <a:gd name="connsiteY36" fmla="*/ 1958975 h 3282950"/>
                <a:gd name="connsiteX37" fmla="*/ 1117600 w 3568700"/>
                <a:gd name="connsiteY37" fmla="*/ 1933575 h 3282950"/>
                <a:gd name="connsiteX38" fmla="*/ 717550 w 3568700"/>
                <a:gd name="connsiteY38" fmla="*/ 2003425 h 3282950"/>
                <a:gd name="connsiteX39" fmla="*/ 1098550 w 3568700"/>
                <a:gd name="connsiteY39" fmla="*/ 1933575 h 3282950"/>
                <a:gd name="connsiteX40" fmla="*/ 1104900 w 3568700"/>
                <a:gd name="connsiteY40" fmla="*/ 1889125 h 3282950"/>
                <a:gd name="connsiteX41" fmla="*/ 1104900 w 3568700"/>
                <a:gd name="connsiteY41" fmla="*/ 1860550 h 3282950"/>
                <a:gd name="connsiteX42" fmla="*/ 463550 w 3568700"/>
                <a:gd name="connsiteY42" fmla="*/ 1930400 h 3282950"/>
                <a:gd name="connsiteX43" fmla="*/ 1085850 w 3568700"/>
                <a:gd name="connsiteY43" fmla="*/ 1863725 h 3282950"/>
                <a:gd name="connsiteX44" fmla="*/ 1092200 w 3568700"/>
                <a:gd name="connsiteY44" fmla="*/ 1831975 h 3282950"/>
                <a:gd name="connsiteX45" fmla="*/ 1063625 w 3568700"/>
                <a:gd name="connsiteY45" fmla="*/ 1828800 h 3282950"/>
                <a:gd name="connsiteX46" fmla="*/ 1063625 w 3568700"/>
                <a:gd name="connsiteY46" fmla="*/ 1774825 h 3282950"/>
                <a:gd name="connsiteX47" fmla="*/ 1035050 w 3568700"/>
                <a:gd name="connsiteY47" fmla="*/ 1774825 h 3282950"/>
                <a:gd name="connsiteX48" fmla="*/ 1038225 w 3568700"/>
                <a:gd name="connsiteY48" fmla="*/ 1736725 h 3282950"/>
                <a:gd name="connsiteX49" fmla="*/ 996950 w 3568700"/>
                <a:gd name="connsiteY49" fmla="*/ 1733550 h 3282950"/>
                <a:gd name="connsiteX50" fmla="*/ 1003300 w 3568700"/>
                <a:gd name="connsiteY50" fmla="*/ 1673225 h 3282950"/>
                <a:gd name="connsiteX51" fmla="*/ 1003300 w 3568700"/>
                <a:gd name="connsiteY51" fmla="*/ 1673225 h 3282950"/>
                <a:gd name="connsiteX52" fmla="*/ 581025 w 3568700"/>
                <a:gd name="connsiteY52" fmla="*/ 1758950 h 3282950"/>
                <a:gd name="connsiteX53" fmla="*/ 974725 w 3568700"/>
                <a:gd name="connsiteY53" fmla="*/ 1670050 h 3282950"/>
                <a:gd name="connsiteX54" fmla="*/ 977900 w 3568700"/>
                <a:gd name="connsiteY54" fmla="*/ 1593850 h 3282950"/>
                <a:gd name="connsiteX55" fmla="*/ 946150 w 3568700"/>
                <a:gd name="connsiteY55" fmla="*/ 1593850 h 3282950"/>
                <a:gd name="connsiteX56" fmla="*/ 908050 w 3568700"/>
                <a:gd name="connsiteY56" fmla="*/ 1409700 h 3282950"/>
                <a:gd name="connsiteX57" fmla="*/ 882650 w 3568700"/>
                <a:gd name="connsiteY57" fmla="*/ 1292225 h 3282950"/>
                <a:gd name="connsiteX58" fmla="*/ 882650 w 3568700"/>
                <a:gd name="connsiteY58" fmla="*/ 1292225 h 3282950"/>
                <a:gd name="connsiteX59" fmla="*/ 835025 w 3568700"/>
                <a:gd name="connsiteY59" fmla="*/ 1266825 h 3282950"/>
                <a:gd name="connsiteX60" fmla="*/ 803275 w 3568700"/>
                <a:gd name="connsiteY60" fmla="*/ 1184275 h 3282950"/>
                <a:gd name="connsiteX61" fmla="*/ 806450 w 3568700"/>
                <a:gd name="connsiteY61" fmla="*/ 1095375 h 3282950"/>
                <a:gd name="connsiteX62" fmla="*/ 714375 w 3568700"/>
                <a:gd name="connsiteY62" fmla="*/ 1095375 h 3282950"/>
                <a:gd name="connsiteX63" fmla="*/ 723900 w 3568700"/>
                <a:gd name="connsiteY63" fmla="*/ 1047750 h 3282950"/>
                <a:gd name="connsiteX64" fmla="*/ 276225 w 3568700"/>
                <a:gd name="connsiteY64" fmla="*/ 1114425 h 3282950"/>
                <a:gd name="connsiteX65" fmla="*/ 711200 w 3568700"/>
                <a:gd name="connsiteY65" fmla="*/ 1047750 h 3282950"/>
                <a:gd name="connsiteX66" fmla="*/ 714375 w 3568700"/>
                <a:gd name="connsiteY66" fmla="*/ 958850 h 3282950"/>
                <a:gd name="connsiteX67" fmla="*/ 327025 w 3568700"/>
                <a:gd name="connsiteY67" fmla="*/ 1028700 h 3282950"/>
                <a:gd name="connsiteX68" fmla="*/ 692150 w 3568700"/>
                <a:gd name="connsiteY68" fmla="*/ 955675 h 3282950"/>
                <a:gd name="connsiteX69" fmla="*/ 695325 w 3568700"/>
                <a:gd name="connsiteY69" fmla="*/ 892175 h 3282950"/>
                <a:gd name="connsiteX70" fmla="*/ 635000 w 3568700"/>
                <a:gd name="connsiteY70" fmla="*/ 892175 h 3282950"/>
                <a:gd name="connsiteX71" fmla="*/ 638175 w 3568700"/>
                <a:gd name="connsiteY71" fmla="*/ 768350 h 3282950"/>
                <a:gd name="connsiteX72" fmla="*/ 622300 w 3568700"/>
                <a:gd name="connsiteY72" fmla="*/ 679450 h 3282950"/>
                <a:gd name="connsiteX73" fmla="*/ 619125 w 3568700"/>
                <a:gd name="connsiteY73" fmla="*/ 615950 h 3282950"/>
                <a:gd name="connsiteX74" fmla="*/ 584200 w 3568700"/>
                <a:gd name="connsiteY74" fmla="*/ 612775 h 3282950"/>
                <a:gd name="connsiteX75" fmla="*/ 587375 w 3568700"/>
                <a:gd name="connsiteY75" fmla="*/ 539750 h 3282950"/>
                <a:gd name="connsiteX76" fmla="*/ 203200 w 3568700"/>
                <a:gd name="connsiteY76" fmla="*/ 593725 h 3282950"/>
                <a:gd name="connsiteX77" fmla="*/ 568325 w 3568700"/>
                <a:gd name="connsiteY77" fmla="*/ 533400 h 3282950"/>
                <a:gd name="connsiteX78" fmla="*/ 571500 w 3568700"/>
                <a:gd name="connsiteY78" fmla="*/ 479425 h 3282950"/>
                <a:gd name="connsiteX79" fmla="*/ 111125 w 3568700"/>
                <a:gd name="connsiteY79" fmla="*/ 517525 h 3282950"/>
                <a:gd name="connsiteX80" fmla="*/ 558800 w 3568700"/>
                <a:gd name="connsiteY80" fmla="*/ 482600 h 3282950"/>
                <a:gd name="connsiteX81" fmla="*/ 555625 w 3568700"/>
                <a:gd name="connsiteY81" fmla="*/ 415925 h 3282950"/>
                <a:gd name="connsiteX82" fmla="*/ 263525 w 3568700"/>
                <a:gd name="connsiteY82" fmla="*/ 438150 h 3282950"/>
                <a:gd name="connsiteX83" fmla="*/ 546100 w 3568700"/>
                <a:gd name="connsiteY83" fmla="*/ 415925 h 3282950"/>
                <a:gd name="connsiteX84" fmla="*/ 539750 w 3568700"/>
                <a:gd name="connsiteY84" fmla="*/ 339725 h 3282950"/>
                <a:gd name="connsiteX85" fmla="*/ 0 w 3568700"/>
                <a:gd name="connsiteY85" fmla="*/ 422275 h 3282950"/>
                <a:gd name="connsiteX86" fmla="*/ 523875 w 3568700"/>
                <a:gd name="connsiteY86" fmla="*/ 333375 h 3282950"/>
                <a:gd name="connsiteX87" fmla="*/ 530225 w 3568700"/>
                <a:gd name="connsiteY87" fmla="*/ 298450 h 3282950"/>
                <a:gd name="connsiteX88" fmla="*/ 523875 w 3568700"/>
                <a:gd name="connsiteY88" fmla="*/ 295275 h 3282950"/>
                <a:gd name="connsiteX89" fmla="*/ 523875 w 3568700"/>
                <a:gd name="connsiteY89" fmla="*/ 225425 h 3282950"/>
                <a:gd name="connsiteX90" fmla="*/ 504825 w 3568700"/>
                <a:gd name="connsiteY90" fmla="*/ 225425 h 3282950"/>
                <a:gd name="connsiteX91" fmla="*/ 508000 w 3568700"/>
                <a:gd name="connsiteY91" fmla="*/ 161925 h 3282950"/>
                <a:gd name="connsiteX92" fmla="*/ 498475 w 3568700"/>
                <a:gd name="connsiteY92" fmla="*/ 161925 h 3282950"/>
                <a:gd name="connsiteX93" fmla="*/ 498475 w 3568700"/>
                <a:gd name="connsiteY93" fmla="*/ 133350 h 3282950"/>
                <a:gd name="connsiteX94" fmla="*/ 488950 w 3568700"/>
                <a:gd name="connsiteY94" fmla="*/ 136525 h 3282950"/>
                <a:gd name="connsiteX95" fmla="*/ 492125 w 3568700"/>
                <a:gd name="connsiteY95" fmla="*/ 104775 h 3282950"/>
                <a:gd name="connsiteX96" fmla="*/ 482600 w 3568700"/>
                <a:gd name="connsiteY96" fmla="*/ 104775 h 3282950"/>
                <a:gd name="connsiteX97" fmla="*/ 488950 w 3568700"/>
                <a:gd name="connsiteY97" fmla="*/ 76200 h 3282950"/>
                <a:gd name="connsiteX98" fmla="*/ 469900 w 3568700"/>
                <a:gd name="connsiteY98" fmla="*/ 73025 h 3282950"/>
                <a:gd name="connsiteX99" fmla="*/ 473075 w 3568700"/>
                <a:gd name="connsiteY99" fmla="*/ 38100 h 3282950"/>
                <a:gd name="connsiteX100" fmla="*/ 466725 w 3568700"/>
                <a:gd name="connsiteY100" fmla="*/ 31750 h 3282950"/>
                <a:gd name="connsiteX101" fmla="*/ 466725 w 3568700"/>
                <a:gd name="connsiteY101" fmla="*/ 0 h 3282950"/>
                <a:gd name="connsiteX102" fmla="*/ 438150 w 3568700"/>
                <a:gd name="connsiteY102" fmla="*/ 0 h 3282950"/>
                <a:gd name="connsiteX0" fmla="*/ 3457575 w 3457575"/>
                <a:gd name="connsiteY0" fmla="*/ 3282950 h 3282950"/>
                <a:gd name="connsiteX1" fmla="*/ 2095500 w 3457575"/>
                <a:gd name="connsiteY1" fmla="*/ 3279775 h 3282950"/>
                <a:gd name="connsiteX2" fmla="*/ 2092325 w 3457575"/>
                <a:gd name="connsiteY2" fmla="*/ 3124200 h 3282950"/>
                <a:gd name="connsiteX3" fmla="*/ 1898650 w 3457575"/>
                <a:gd name="connsiteY3" fmla="*/ 3127375 h 3282950"/>
                <a:gd name="connsiteX4" fmla="*/ 1905000 w 3457575"/>
                <a:gd name="connsiteY4" fmla="*/ 3035300 h 3282950"/>
                <a:gd name="connsiteX5" fmla="*/ 1784350 w 3457575"/>
                <a:gd name="connsiteY5" fmla="*/ 3035300 h 3282950"/>
                <a:gd name="connsiteX6" fmla="*/ 1781175 w 3457575"/>
                <a:gd name="connsiteY6" fmla="*/ 2870200 h 3282950"/>
                <a:gd name="connsiteX7" fmla="*/ 1549400 w 3457575"/>
                <a:gd name="connsiteY7" fmla="*/ 2870200 h 3282950"/>
                <a:gd name="connsiteX8" fmla="*/ 1549400 w 3457575"/>
                <a:gd name="connsiteY8" fmla="*/ 2813050 h 3282950"/>
                <a:gd name="connsiteX9" fmla="*/ 1476375 w 3457575"/>
                <a:gd name="connsiteY9" fmla="*/ 2816225 h 3282950"/>
                <a:gd name="connsiteX10" fmla="*/ 1479550 w 3457575"/>
                <a:gd name="connsiteY10" fmla="*/ 2762250 h 3282950"/>
                <a:gd name="connsiteX11" fmla="*/ 1447800 w 3457575"/>
                <a:gd name="connsiteY11" fmla="*/ 2762250 h 3282950"/>
                <a:gd name="connsiteX12" fmla="*/ 1450975 w 3457575"/>
                <a:gd name="connsiteY12" fmla="*/ 2644775 h 3282950"/>
                <a:gd name="connsiteX13" fmla="*/ 1419225 w 3457575"/>
                <a:gd name="connsiteY13" fmla="*/ 2651125 h 3282950"/>
                <a:gd name="connsiteX14" fmla="*/ 1422400 w 3457575"/>
                <a:gd name="connsiteY14" fmla="*/ 2593975 h 3282950"/>
                <a:gd name="connsiteX15" fmla="*/ 1384300 w 3457575"/>
                <a:gd name="connsiteY15" fmla="*/ 2597150 h 3282950"/>
                <a:gd name="connsiteX16" fmla="*/ 1387475 w 3457575"/>
                <a:gd name="connsiteY16" fmla="*/ 2536825 h 3282950"/>
                <a:gd name="connsiteX17" fmla="*/ 1327150 w 3457575"/>
                <a:gd name="connsiteY17" fmla="*/ 2536825 h 3282950"/>
                <a:gd name="connsiteX18" fmla="*/ 1330325 w 3457575"/>
                <a:gd name="connsiteY18" fmla="*/ 2489200 h 3282950"/>
                <a:gd name="connsiteX19" fmla="*/ 1270000 w 3457575"/>
                <a:gd name="connsiteY19" fmla="*/ 2492375 h 3282950"/>
                <a:gd name="connsiteX20" fmla="*/ 1276350 w 3457575"/>
                <a:gd name="connsiteY20" fmla="*/ 2444750 h 3282950"/>
                <a:gd name="connsiteX21" fmla="*/ 1241425 w 3457575"/>
                <a:gd name="connsiteY21" fmla="*/ 2444750 h 3282950"/>
                <a:gd name="connsiteX22" fmla="*/ 1254125 w 3457575"/>
                <a:gd name="connsiteY22" fmla="*/ 2400300 h 3282950"/>
                <a:gd name="connsiteX23" fmla="*/ 1190625 w 3457575"/>
                <a:gd name="connsiteY23" fmla="*/ 2397125 h 3282950"/>
                <a:gd name="connsiteX24" fmla="*/ 1196975 w 3457575"/>
                <a:gd name="connsiteY24" fmla="*/ 2346325 h 3282950"/>
                <a:gd name="connsiteX25" fmla="*/ 1149350 w 3457575"/>
                <a:gd name="connsiteY25" fmla="*/ 2349500 h 3282950"/>
                <a:gd name="connsiteX26" fmla="*/ 1149350 w 3457575"/>
                <a:gd name="connsiteY26" fmla="*/ 2279650 h 3282950"/>
                <a:gd name="connsiteX27" fmla="*/ 1108075 w 3457575"/>
                <a:gd name="connsiteY27" fmla="*/ 2276475 h 3282950"/>
                <a:gd name="connsiteX28" fmla="*/ 1120775 w 3457575"/>
                <a:gd name="connsiteY28" fmla="*/ 2212975 h 3282950"/>
                <a:gd name="connsiteX29" fmla="*/ 1082675 w 3457575"/>
                <a:gd name="connsiteY29" fmla="*/ 2209800 h 3282950"/>
                <a:gd name="connsiteX30" fmla="*/ 1089025 w 3457575"/>
                <a:gd name="connsiteY30" fmla="*/ 2130425 h 3282950"/>
                <a:gd name="connsiteX31" fmla="*/ 1089025 w 3457575"/>
                <a:gd name="connsiteY31" fmla="*/ 2130425 h 3282950"/>
                <a:gd name="connsiteX32" fmla="*/ 501650 w 3457575"/>
                <a:gd name="connsiteY32" fmla="*/ 2365375 h 3282950"/>
                <a:gd name="connsiteX33" fmla="*/ 1069975 w 3457575"/>
                <a:gd name="connsiteY33" fmla="*/ 2124075 h 3282950"/>
                <a:gd name="connsiteX34" fmla="*/ 1076325 w 3457575"/>
                <a:gd name="connsiteY34" fmla="*/ 2035175 h 3282950"/>
                <a:gd name="connsiteX35" fmla="*/ 1006475 w 3457575"/>
                <a:gd name="connsiteY35" fmla="*/ 2035175 h 3282950"/>
                <a:gd name="connsiteX36" fmla="*/ 1016000 w 3457575"/>
                <a:gd name="connsiteY36" fmla="*/ 1958975 h 3282950"/>
                <a:gd name="connsiteX37" fmla="*/ 1006475 w 3457575"/>
                <a:gd name="connsiteY37" fmla="*/ 1933575 h 3282950"/>
                <a:gd name="connsiteX38" fmla="*/ 606425 w 3457575"/>
                <a:gd name="connsiteY38" fmla="*/ 2003425 h 3282950"/>
                <a:gd name="connsiteX39" fmla="*/ 987425 w 3457575"/>
                <a:gd name="connsiteY39" fmla="*/ 1933575 h 3282950"/>
                <a:gd name="connsiteX40" fmla="*/ 993775 w 3457575"/>
                <a:gd name="connsiteY40" fmla="*/ 1889125 h 3282950"/>
                <a:gd name="connsiteX41" fmla="*/ 993775 w 3457575"/>
                <a:gd name="connsiteY41" fmla="*/ 1860550 h 3282950"/>
                <a:gd name="connsiteX42" fmla="*/ 352425 w 3457575"/>
                <a:gd name="connsiteY42" fmla="*/ 1930400 h 3282950"/>
                <a:gd name="connsiteX43" fmla="*/ 974725 w 3457575"/>
                <a:gd name="connsiteY43" fmla="*/ 1863725 h 3282950"/>
                <a:gd name="connsiteX44" fmla="*/ 981075 w 3457575"/>
                <a:gd name="connsiteY44" fmla="*/ 1831975 h 3282950"/>
                <a:gd name="connsiteX45" fmla="*/ 952500 w 3457575"/>
                <a:gd name="connsiteY45" fmla="*/ 1828800 h 3282950"/>
                <a:gd name="connsiteX46" fmla="*/ 952500 w 3457575"/>
                <a:gd name="connsiteY46" fmla="*/ 1774825 h 3282950"/>
                <a:gd name="connsiteX47" fmla="*/ 923925 w 3457575"/>
                <a:gd name="connsiteY47" fmla="*/ 1774825 h 3282950"/>
                <a:gd name="connsiteX48" fmla="*/ 927100 w 3457575"/>
                <a:gd name="connsiteY48" fmla="*/ 1736725 h 3282950"/>
                <a:gd name="connsiteX49" fmla="*/ 885825 w 3457575"/>
                <a:gd name="connsiteY49" fmla="*/ 1733550 h 3282950"/>
                <a:gd name="connsiteX50" fmla="*/ 892175 w 3457575"/>
                <a:gd name="connsiteY50" fmla="*/ 1673225 h 3282950"/>
                <a:gd name="connsiteX51" fmla="*/ 892175 w 3457575"/>
                <a:gd name="connsiteY51" fmla="*/ 1673225 h 3282950"/>
                <a:gd name="connsiteX52" fmla="*/ 469900 w 3457575"/>
                <a:gd name="connsiteY52" fmla="*/ 1758950 h 3282950"/>
                <a:gd name="connsiteX53" fmla="*/ 863600 w 3457575"/>
                <a:gd name="connsiteY53" fmla="*/ 1670050 h 3282950"/>
                <a:gd name="connsiteX54" fmla="*/ 866775 w 3457575"/>
                <a:gd name="connsiteY54" fmla="*/ 1593850 h 3282950"/>
                <a:gd name="connsiteX55" fmla="*/ 835025 w 3457575"/>
                <a:gd name="connsiteY55" fmla="*/ 1593850 h 3282950"/>
                <a:gd name="connsiteX56" fmla="*/ 796925 w 3457575"/>
                <a:gd name="connsiteY56" fmla="*/ 1409700 h 3282950"/>
                <a:gd name="connsiteX57" fmla="*/ 771525 w 3457575"/>
                <a:gd name="connsiteY57" fmla="*/ 1292225 h 3282950"/>
                <a:gd name="connsiteX58" fmla="*/ 771525 w 3457575"/>
                <a:gd name="connsiteY58" fmla="*/ 1292225 h 3282950"/>
                <a:gd name="connsiteX59" fmla="*/ 723900 w 3457575"/>
                <a:gd name="connsiteY59" fmla="*/ 1266825 h 3282950"/>
                <a:gd name="connsiteX60" fmla="*/ 692150 w 3457575"/>
                <a:gd name="connsiteY60" fmla="*/ 1184275 h 3282950"/>
                <a:gd name="connsiteX61" fmla="*/ 695325 w 3457575"/>
                <a:gd name="connsiteY61" fmla="*/ 1095375 h 3282950"/>
                <a:gd name="connsiteX62" fmla="*/ 603250 w 3457575"/>
                <a:gd name="connsiteY62" fmla="*/ 1095375 h 3282950"/>
                <a:gd name="connsiteX63" fmla="*/ 612775 w 3457575"/>
                <a:gd name="connsiteY63" fmla="*/ 1047750 h 3282950"/>
                <a:gd name="connsiteX64" fmla="*/ 165100 w 3457575"/>
                <a:gd name="connsiteY64" fmla="*/ 1114425 h 3282950"/>
                <a:gd name="connsiteX65" fmla="*/ 600075 w 3457575"/>
                <a:gd name="connsiteY65" fmla="*/ 1047750 h 3282950"/>
                <a:gd name="connsiteX66" fmla="*/ 603250 w 3457575"/>
                <a:gd name="connsiteY66" fmla="*/ 958850 h 3282950"/>
                <a:gd name="connsiteX67" fmla="*/ 215900 w 3457575"/>
                <a:gd name="connsiteY67" fmla="*/ 1028700 h 3282950"/>
                <a:gd name="connsiteX68" fmla="*/ 581025 w 3457575"/>
                <a:gd name="connsiteY68" fmla="*/ 955675 h 3282950"/>
                <a:gd name="connsiteX69" fmla="*/ 584200 w 3457575"/>
                <a:gd name="connsiteY69" fmla="*/ 892175 h 3282950"/>
                <a:gd name="connsiteX70" fmla="*/ 523875 w 3457575"/>
                <a:gd name="connsiteY70" fmla="*/ 892175 h 3282950"/>
                <a:gd name="connsiteX71" fmla="*/ 527050 w 3457575"/>
                <a:gd name="connsiteY71" fmla="*/ 768350 h 3282950"/>
                <a:gd name="connsiteX72" fmla="*/ 511175 w 3457575"/>
                <a:gd name="connsiteY72" fmla="*/ 679450 h 3282950"/>
                <a:gd name="connsiteX73" fmla="*/ 508000 w 3457575"/>
                <a:gd name="connsiteY73" fmla="*/ 615950 h 3282950"/>
                <a:gd name="connsiteX74" fmla="*/ 473075 w 3457575"/>
                <a:gd name="connsiteY74" fmla="*/ 612775 h 3282950"/>
                <a:gd name="connsiteX75" fmla="*/ 476250 w 3457575"/>
                <a:gd name="connsiteY75" fmla="*/ 539750 h 3282950"/>
                <a:gd name="connsiteX76" fmla="*/ 92075 w 3457575"/>
                <a:gd name="connsiteY76" fmla="*/ 593725 h 3282950"/>
                <a:gd name="connsiteX77" fmla="*/ 457200 w 3457575"/>
                <a:gd name="connsiteY77" fmla="*/ 533400 h 3282950"/>
                <a:gd name="connsiteX78" fmla="*/ 460375 w 3457575"/>
                <a:gd name="connsiteY78" fmla="*/ 479425 h 3282950"/>
                <a:gd name="connsiteX79" fmla="*/ 0 w 3457575"/>
                <a:gd name="connsiteY79" fmla="*/ 517525 h 3282950"/>
                <a:gd name="connsiteX80" fmla="*/ 447675 w 3457575"/>
                <a:gd name="connsiteY80" fmla="*/ 482600 h 3282950"/>
                <a:gd name="connsiteX81" fmla="*/ 444500 w 3457575"/>
                <a:gd name="connsiteY81" fmla="*/ 415925 h 3282950"/>
                <a:gd name="connsiteX82" fmla="*/ 152400 w 3457575"/>
                <a:gd name="connsiteY82" fmla="*/ 438150 h 3282950"/>
                <a:gd name="connsiteX83" fmla="*/ 434975 w 3457575"/>
                <a:gd name="connsiteY83" fmla="*/ 415925 h 3282950"/>
                <a:gd name="connsiteX84" fmla="*/ 428625 w 3457575"/>
                <a:gd name="connsiteY84" fmla="*/ 339725 h 3282950"/>
                <a:gd name="connsiteX85" fmla="*/ 412750 w 3457575"/>
                <a:gd name="connsiteY85" fmla="*/ 333375 h 3282950"/>
                <a:gd name="connsiteX86" fmla="*/ 419100 w 3457575"/>
                <a:gd name="connsiteY86" fmla="*/ 298450 h 3282950"/>
                <a:gd name="connsiteX87" fmla="*/ 412750 w 3457575"/>
                <a:gd name="connsiteY87" fmla="*/ 295275 h 3282950"/>
                <a:gd name="connsiteX88" fmla="*/ 412750 w 3457575"/>
                <a:gd name="connsiteY88" fmla="*/ 225425 h 3282950"/>
                <a:gd name="connsiteX89" fmla="*/ 393700 w 3457575"/>
                <a:gd name="connsiteY89" fmla="*/ 225425 h 3282950"/>
                <a:gd name="connsiteX90" fmla="*/ 396875 w 3457575"/>
                <a:gd name="connsiteY90" fmla="*/ 161925 h 3282950"/>
                <a:gd name="connsiteX91" fmla="*/ 387350 w 3457575"/>
                <a:gd name="connsiteY91" fmla="*/ 161925 h 3282950"/>
                <a:gd name="connsiteX92" fmla="*/ 387350 w 3457575"/>
                <a:gd name="connsiteY92" fmla="*/ 133350 h 3282950"/>
                <a:gd name="connsiteX93" fmla="*/ 377825 w 3457575"/>
                <a:gd name="connsiteY93" fmla="*/ 136525 h 3282950"/>
                <a:gd name="connsiteX94" fmla="*/ 381000 w 3457575"/>
                <a:gd name="connsiteY94" fmla="*/ 104775 h 3282950"/>
                <a:gd name="connsiteX95" fmla="*/ 371475 w 3457575"/>
                <a:gd name="connsiteY95" fmla="*/ 104775 h 3282950"/>
                <a:gd name="connsiteX96" fmla="*/ 377825 w 3457575"/>
                <a:gd name="connsiteY96" fmla="*/ 76200 h 3282950"/>
                <a:gd name="connsiteX97" fmla="*/ 358775 w 3457575"/>
                <a:gd name="connsiteY97" fmla="*/ 73025 h 3282950"/>
                <a:gd name="connsiteX98" fmla="*/ 361950 w 3457575"/>
                <a:gd name="connsiteY98" fmla="*/ 38100 h 3282950"/>
                <a:gd name="connsiteX99" fmla="*/ 355600 w 3457575"/>
                <a:gd name="connsiteY99" fmla="*/ 31750 h 3282950"/>
                <a:gd name="connsiteX100" fmla="*/ 355600 w 3457575"/>
                <a:gd name="connsiteY100" fmla="*/ 0 h 3282950"/>
                <a:gd name="connsiteX101" fmla="*/ 327025 w 3457575"/>
                <a:gd name="connsiteY101" fmla="*/ 0 h 3282950"/>
                <a:gd name="connsiteX0" fmla="*/ 3457575 w 3457575"/>
                <a:gd name="connsiteY0" fmla="*/ 3282950 h 3282950"/>
                <a:gd name="connsiteX1" fmla="*/ 2095500 w 3457575"/>
                <a:gd name="connsiteY1" fmla="*/ 3279775 h 3282950"/>
                <a:gd name="connsiteX2" fmla="*/ 2092325 w 3457575"/>
                <a:gd name="connsiteY2" fmla="*/ 3124200 h 3282950"/>
                <a:gd name="connsiteX3" fmla="*/ 1898650 w 3457575"/>
                <a:gd name="connsiteY3" fmla="*/ 3127375 h 3282950"/>
                <a:gd name="connsiteX4" fmla="*/ 1905000 w 3457575"/>
                <a:gd name="connsiteY4" fmla="*/ 3035300 h 3282950"/>
                <a:gd name="connsiteX5" fmla="*/ 1784350 w 3457575"/>
                <a:gd name="connsiteY5" fmla="*/ 3035300 h 3282950"/>
                <a:gd name="connsiteX6" fmla="*/ 1781175 w 3457575"/>
                <a:gd name="connsiteY6" fmla="*/ 2870200 h 3282950"/>
                <a:gd name="connsiteX7" fmla="*/ 1549400 w 3457575"/>
                <a:gd name="connsiteY7" fmla="*/ 2870200 h 3282950"/>
                <a:gd name="connsiteX8" fmla="*/ 1549400 w 3457575"/>
                <a:gd name="connsiteY8" fmla="*/ 2813050 h 3282950"/>
                <a:gd name="connsiteX9" fmla="*/ 1476375 w 3457575"/>
                <a:gd name="connsiteY9" fmla="*/ 2816225 h 3282950"/>
                <a:gd name="connsiteX10" fmla="*/ 1479550 w 3457575"/>
                <a:gd name="connsiteY10" fmla="*/ 2762250 h 3282950"/>
                <a:gd name="connsiteX11" fmla="*/ 1447800 w 3457575"/>
                <a:gd name="connsiteY11" fmla="*/ 2762250 h 3282950"/>
                <a:gd name="connsiteX12" fmla="*/ 1450975 w 3457575"/>
                <a:gd name="connsiteY12" fmla="*/ 2644775 h 3282950"/>
                <a:gd name="connsiteX13" fmla="*/ 1419225 w 3457575"/>
                <a:gd name="connsiteY13" fmla="*/ 2651125 h 3282950"/>
                <a:gd name="connsiteX14" fmla="*/ 1422400 w 3457575"/>
                <a:gd name="connsiteY14" fmla="*/ 2593975 h 3282950"/>
                <a:gd name="connsiteX15" fmla="*/ 1384300 w 3457575"/>
                <a:gd name="connsiteY15" fmla="*/ 2597150 h 3282950"/>
                <a:gd name="connsiteX16" fmla="*/ 1387475 w 3457575"/>
                <a:gd name="connsiteY16" fmla="*/ 2536825 h 3282950"/>
                <a:gd name="connsiteX17" fmla="*/ 1327150 w 3457575"/>
                <a:gd name="connsiteY17" fmla="*/ 2536825 h 3282950"/>
                <a:gd name="connsiteX18" fmla="*/ 1330325 w 3457575"/>
                <a:gd name="connsiteY18" fmla="*/ 2489200 h 3282950"/>
                <a:gd name="connsiteX19" fmla="*/ 1270000 w 3457575"/>
                <a:gd name="connsiteY19" fmla="*/ 2492375 h 3282950"/>
                <a:gd name="connsiteX20" fmla="*/ 1276350 w 3457575"/>
                <a:gd name="connsiteY20" fmla="*/ 2444750 h 3282950"/>
                <a:gd name="connsiteX21" fmla="*/ 1241425 w 3457575"/>
                <a:gd name="connsiteY21" fmla="*/ 2444750 h 3282950"/>
                <a:gd name="connsiteX22" fmla="*/ 1254125 w 3457575"/>
                <a:gd name="connsiteY22" fmla="*/ 2400300 h 3282950"/>
                <a:gd name="connsiteX23" fmla="*/ 1190625 w 3457575"/>
                <a:gd name="connsiteY23" fmla="*/ 2397125 h 3282950"/>
                <a:gd name="connsiteX24" fmla="*/ 1196975 w 3457575"/>
                <a:gd name="connsiteY24" fmla="*/ 2346325 h 3282950"/>
                <a:gd name="connsiteX25" fmla="*/ 1149350 w 3457575"/>
                <a:gd name="connsiteY25" fmla="*/ 2349500 h 3282950"/>
                <a:gd name="connsiteX26" fmla="*/ 1149350 w 3457575"/>
                <a:gd name="connsiteY26" fmla="*/ 2279650 h 3282950"/>
                <a:gd name="connsiteX27" fmla="*/ 1108075 w 3457575"/>
                <a:gd name="connsiteY27" fmla="*/ 2276475 h 3282950"/>
                <a:gd name="connsiteX28" fmla="*/ 1120775 w 3457575"/>
                <a:gd name="connsiteY28" fmla="*/ 2212975 h 3282950"/>
                <a:gd name="connsiteX29" fmla="*/ 1082675 w 3457575"/>
                <a:gd name="connsiteY29" fmla="*/ 2209800 h 3282950"/>
                <a:gd name="connsiteX30" fmla="*/ 1089025 w 3457575"/>
                <a:gd name="connsiteY30" fmla="*/ 2130425 h 3282950"/>
                <a:gd name="connsiteX31" fmla="*/ 1089025 w 3457575"/>
                <a:gd name="connsiteY31" fmla="*/ 2130425 h 3282950"/>
                <a:gd name="connsiteX32" fmla="*/ 501650 w 3457575"/>
                <a:gd name="connsiteY32" fmla="*/ 2365375 h 3282950"/>
                <a:gd name="connsiteX33" fmla="*/ 1069975 w 3457575"/>
                <a:gd name="connsiteY33" fmla="*/ 2124075 h 3282950"/>
                <a:gd name="connsiteX34" fmla="*/ 1076325 w 3457575"/>
                <a:gd name="connsiteY34" fmla="*/ 2035175 h 3282950"/>
                <a:gd name="connsiteX35" fmla="*/ 1006475 w 3457575"/>
                <a:gd name="connsiteY35" fmla="*/ 2035175 h 3282950"/>
                <a:gd name="connsiteX36" fmla="*/ 1016000 w 3457575"/>
                <a:gd name="connsiteY36" fmla="*/ 1958975 h 3282950"/>
                <a:gd name="connsiteX37" fmla="*/ 1006475 w 3457575"/>
                <a:gd name="connsiteY37" fmla="*/ 1933575 h 3282950"/>
                <a:gd name="connsiteX38" fmla="*/ 606425 w 3457575"/>
                <a:gd name="connsiteY38" fmla="*/ 2003425 h 3282950"/>
                <a:gd name="connsiteX39" fmla="*/ 987425 w 3457575"/>
                <a:gd name="connsiteY39" fmla="*/ 1933575 h 3282950"/>
                <a:gd name="connsiteX40" fmla="*/ 993775 w 3457575"/>
                <a:gd name="connsiteY40" fmla="*/ 1889125 h 3282950"/>
                <a:gd name="connsiteX41" fmla="*/ 993775 w 3457575"/>
                <a:gd name="connsiteY41" fmla="*/ 1860550 h 3282950"/>
                <a:gd name="connsiteX42" fmla="*/ 352425 w 3457575"/>
                <a:gd name="connsiteY42" fmla="*/ 1930400 h 3282950"/>
                <a:gd name="connsiteX43" fmla="*/ 974725 w 3457575"/>
                <a:gd name="connsiteY43" fmla="*/ 1863725 h 3282950"/>
                <a:gd name="connsiteX44" fmla="*/ 981075 w 3457575"/>
                <a:gd name="connsiteY44" fmla="*/ 1831975 h 3282950"/>
                <a:gd name="connsiteX45" fmla="*/ 952500 w 3457575"/>
                <a:gd name="connsiteY45" fmla="*/ 1828800 h 3282950"/>
                <a:gd name="connsiteX46" fmla="*/ 952500 w 3457575"/>
                <a:gd name="connsiteY46" fmla="*/ 1774825 h 3282950"/>
                <a:gd name="connsiteX47" fmla="*/ 923925 w 3457575"/>
                <a:gd name="connsiteY47" fmla="*/ 1774825 h 3282950"/>
                <a:gd name="connsiteX48" fmla="*/ 927100 w 3457575"/>
                <a:gd name="connsiteY48" fmla="*/ 1736725 h 3282950"/>
                <a:gd name="connsiteX49" fmla="*/ 885825 w 3457575"/>
                <a:gd name="connsiteY49" fmla="*/ 1733550 h 3282950"/>
                <a:gd name="connsiteX50" fmla="*/ 892175 w 3457575"/>
                <a:gd name="connsiteY50" fmla="*/ 1673225 h 3282950"/>
                <a:gd name="connsiteX51" fmla="*/ 892175 w 3457575"/>
                <a:gd name="connsiteY51" fmla="*/ 1673225 h 3282950"/>
                <a:gd name="connsiteX52" fmla="*/ 469900 w 3457575"/>
                <a:gd name="connsiteY52" fmla="*/ 1758950 h 3282950"/>
                <a:gd name="connsiteX53" fmla="*/ 863600 w 3457575"/>
                <a:gd name="connsiteY53" fmla="*/ 1670050 h 3282950"/>
                <a:gd name="connsiteX54" fmla="*/ 866775 w 3457575"/>
                <a:gd name="connsiteY54" fmla="*/ 1593850 h 3282950"/>
                <a:gd name="connsiteX55" fmla="*/ 835025 w 3457575"/>
                <a:gd name="connsiteY55" fmla="*/ 1593850 h 3282950"/>
                <a:gd name="connsiteX56" fmla="*/ 796925 w 3457575"/>
                <a:gd name="connsiteY56" fmla="*/ 1409700 h 3282950"/>
                <a:gd name="connsiteX57" fmla="*/ 771525 w 3457575"/>
                <a:gd name="connsiteY57" fmla="*/ 1292225 h 3282950"/>
                <a:gd name="connsiteX58" fmla="*/ 771525 w 3457575"/>
                <a:gd name="connsiteY58" fmla="*/ 1292225 h 3282950"/>
                <a:gd name="connsiteX59" fmla="*/ 723900 w 3457575"/>
                <a:gd name="connsiteY59" fmla="*/ 1266825 h 3282950"/>
                <a:gd name="connsiteX60" fmla="*/ 692150 w 3457575"/>
                <a:gd name="connsiteY60" fmla="*/ 1184275 h 3282950"/>
                <a:gd name="connsiteX61" fmla="*/ 695325 w 3457575"/>
                <a:gd name="connsiteY61" fmla="*/ 1095375 h 3282950"/>
                <a:gd name="connsiteX62" fmla="*/ 603250 w 3457575"/>
                <a:gd name="connsiteY62" fmla="*/ 1095375 h 3282950"/>
                <a:gd name="connsiteX63" fmla="*/ 612775 w 3457575"/>
                <a:gd name="connsiteY63" fmla="*/ 1047750 h 3282950"/>
                <a:gd name="connsiteX64" fmla="*/ 165100 w 3457575"/>
                <a:gd name="connsiteY64" fmla="*/ 1114425 h 3282950"/>
                <a:gd name="connsiteX65" fmla="*/ 600075 w 3457575"/>
                <a:gd name="connsiteY65" fmla="*/ 1047750 h 3282950"/>
                <a:gd name="connsiteX66" fmla="*/ 603250 w 3457575"/>
                <a:gd name="connsiteY66" fmla="*/ 958850 h 3282950"/>
                <a:gd name="connsiteX67" fmla="*/ 215900 w 3457575"/>
                <a:gd name="connsiteY67" fmla="*/ 1028700 h 3282950"/>
                <a:gd name="connsiteX68" fmla="*/ 581025 w 3457575"/>
                <a:gd name="connsiteY68" fmla="*/ 955675 h 3282950"/>
                <a:gd name="connsiteX69" fmla="*/ 584200 w 3457575"/>
                <a:gd name="connsiteY69" fmla="*/ 892175 h 3282950"/>
                <a:gd name="connsiteX70" fmla="*/ 523875 w 3457575"/>
                <a:gd name="connsiteY70" fmla="*/ 892175 h 3282950"/>
                <a:gd name="connsiteX71" fmla="*/ 527050 w 3457575"/>
                <a:gd name="connsiteY71" fmla="*/ 768350 h 3282950"/>
                <a:gd name="connsiteX72" fmla="*/ 511175 w 3457575"/>
                <a:gd name="connsiteY72" fmla="*/ 679450 h 3282950"/>
                <a:gd name="connsiteX73" fmla="*/ 508000 w 3457575"/>
                <a:gd name="connsiteY73" fmla="*/ 615950 h 3282950"/>
                <a:gd name="connsiteX74" fmla="*/ 473075 w 3457575"/>
                <a:gd name="connsiteY74" fmla="*/ 612775 h 3282950"/>
                <a:gd name="connsiteX75" fmla="*/ 476250 w 3457575"/>
                <a:gd name="connsiteY75" fmla="*/ 539750 h 3282950"/>
                <a:gd name="connsiteX76" fmla="*/ 92075 w 3457575"/>
                <a:gd name="connsiteY76" fmla="*/ 593725 h 3282950"/>
                <a:gd name="connsiteX77" fmla="*/ 457200 w 3457575"/>
                <a:gd name="connsiteY77" fmla="*/ 533400 h 3282950"/>
                <a:gd name="connsiteX78" fmla="*/ 460375 w 3457575"/>
                <a:gd name="connsiteY78" fmla="*/ 479425 h 3282950"/>
                <a:gd name="connsiteX79" fmla="*/ 0 w 3457575"/>
                <a:gd name="connsiteY79" fmla="*/ 517525 h 3282950"/>
                <a:gd name="connsiteX80" fmla="*/ 447675 w 3457575"/>
                <a:gd name="connsiteY80" fmla="*/ 482600 h 3282950"/>
                <a:gd name="connsiteX81" fmla="*/ 444500 w 3457575"/>
                <a:gd name="connsiteY81" fmla="*/ 415925 h 3282950"/>
                <a:gd name="connsiteX82" fmla="*/ 434975 w 3457575"/>
                <a:gd name="connsiteY82" fmla="*/ 415925 h 3282950"/>
                <a:gd name="connsiteX83" fmla="*/ 428625 w 3457575"/>
                <a:gd name="connsiteY83" fmla="*/ 339725 h 3282950"/>
                <a:gd name="connsiteX84" fmla="*/ 412750 w 3457575"/>
                <a:gd name="connsiteY84" fmla="*/ 333375 h 3282950"/>
                <a:gd name="connsiteX85" fmla="*/ 419100 w 3457575"/>
                <a:gd name="connsiteY85" fmla="*/ 298450 h 3282950"/>
                <a:gd name="connsiteX86" fmla="*/ 412750 w 3457575"/>
                <a:gd name="connsiteY86" fmla="*/ 295275 h 3282950"/>
                <a:gd name="connsiteX87" fmla="*/ 412750 w 3457575"/>
                <a:gd name="connsiteY87" fmla="*/ 225425 h 3282950"/>
                <a:gd name="connsiteX88" fmla="*/ 393700 w 3457575"/>
                <a:gd name="connsiteY88" fmla="*/ 225425 h 3282950"/>
                <a:gd name="connsiteX89" fmla="*/ 396875 w 3457575"/>
                <a:gd name="connsiteY89" fmla="*/ 161925 h 3282950"/>
                <a:gd name="connsiteX90" fmla="*/ 387350 w 3457575"/>
                <a:gd name="connsiteY90" fmla="*/ 161925 h 3282950"/>
                <a:gd name="connsiteX91" fmla="*/ 387350 w 3457575"/>
                <a:gd name="connsiteY91" fmla="*/ 133350 h 3282950"/>
                <a:gd name="connsiteX92" fmla="*/ 377825 w 3457575"/>
                <a:gd name="connsiteY92" fmla="*/ 136525 h 3282950"/>
                <a:gd name="connsiteX93" fmla="*/ 381000 w 3457575"/>
                <a:gd name="connsiteY93" fmla="*/ 104775 h 3282950"/>
                <a:gd name="connsiteX94" fmla="*/ 371475 w 3457575"/>
                <a:gd name="connsiteY94" fmla="*/ 104775 h 3282950"/>
                <a:gd name="connsiteX95" fmla="*/ 377825 w 3457575"/>
                <a:gd name="connsiteY95" fmla="*/ 76200 h 3282950"/>
                <a:gd name="connsiteX96" fmla="*/ 358775 w 3457575"/>
                <a:gd name="connsiteY96" fmla="*/ 73025 h 3282950"/>
                <a:gd name="connsiteX97" fmla="*/ 361950 w 3457575"/>
                <a:gd name="connsiteY97" fmla="*/ 38100 h 3282950"/>
                <a:gd name="connsiteX98" fmla="*/ 355600 w 3457575"/>
                <a:gd name="connsiteY98" fmla="*/ 31750 h 3282950"/>
                <a:gd name="connsiteX99" fmla="*/ 355600 w 3457575"/>
                <a:gd name="connsiteY99" fmla="*/ 0 h 3282950"/>
                <a:gd name="connsiteX100" fmla="*/ 327025 w 3457575"/>
                <a:gd name="connsiteY100" fmla="*/ 0 h 3282950"/>
                <a:gd name="connsiteX0" fmla="*/ 3365500 w 3365500"/>
                <a:gd name="connsiteY0" fmla="*/ 3282950 h 3282950"/>
                <a:gd name="connsiteX1" fmla="*/ 2003425 w 3365500"/>
                <a:gd name="connsiteY1" fmla="*/ 3279775 h 3282950"/>
                <a:gd name="connsiteX2" fmla="*/ 2000250 w 3365500"/>
                <a:gd name="connsiteY2" fmla="*/ 3124200 h 3282950"/>
                <a:gd name="connsiteX3" fmla="*/ 1806575 w 3365500"/>
                <a:gd name="connsiteY3" fmla="*/ 3127375 h 3282950"/>
                <a:gd name="connsiteX4" fmla="*/ 1812925 w 3365500"/>
                <a:gd name="connsiteY4" fmla="*/ 3035300 h 3282950"/>
                <a:gd name="connsiteX5" fmla="*/ 1692275 w 3365500"/>
                <a:gd name="connsiteY5" fmla="*/ 3035300 h 3282950"/>
                <a:gd name="connsiteX6" fmla="*/ 1689100 w 3365500"/>
                <a:gd name="connsiteY6" fmla="*/ 2870200 h 3282950"/>
                <a:gd name="connsiteX7" fmla="*/ 1457325 w 3365500"/>
                <a:gd name="connsiteY7" fmla="*/ 2870200 h 3282950"/>
                <a:gd name="connsiteX8" fmla="*/ 1457325 w 3365500"/>
                <a:gd name="connsiteY8" fmla="*/ 2813050 h 3282950"/>
                <a:gd name="connsiteX9" fmla="*/ 1384300 w 3365500"/>
                <a:gd name="connsiteY9" fmla="*/ 2816225 h 3282950"/>
                <a:gd name="connsiteX10" fmla="*/ 1387475 w 3365500"/>
                <a:gd name="connsiteY10" fmla="*/ 2762250 h 3282950"/>
                <a:gd name="connsiteX11" fmla="*/ 1355725 w 3365500"/>
                <a:gd name="connsiteY11" fmla="*/ 2762250 h 3282950"/>
                <a:gd name="connsiteX12" fmla="*/ 1358900 w 3365500"/>
                <a:gd name="connsiteY12" fmla="*/ 2644775 h 3282950"/>
                <a:gd name="connsiteX13" fmla="*/ 1327150 w 3365500"/>
                <a:gd name="connsiteY13" fmla="*/ 2651125 h 3282950"/>
                <a:gd name="connsiteX14" fmla="*/ 1330325 w 3365500"/>
                <a:gd name="connsiteY14" fmla="*/ 2593975 h 3282950"/>
                <a:gd name="connsiteX15" fmla="*/ 1292225 w 3365500"/>
                <a:gd name="connsiteY15" fmla="*/ 2597150 h 3282950"/>
                <a:gd name="connsiteX16" fmla="*/ 1295400 w 3365500"/>
                <a:gd name="connsiteY16" fmla="*/ 2536825 h 3282950"/>
                <a:gd name="connsiteX17" fmla="*/ 1235075 w 3365500"/>
                <a:gd name="connsiteY17" fmla="*/ 2536825 h 3282950"/>
                <a:gd name="connsiteX18" fmla="*/ 1238250 w 3365500"/>
                <a:gd name="connsiteY18" fmla="*/ 2489200 h 3282950"/>
                <a:gd name="connsiteX19" fmla="*/ 1177925 w 3365500"/>
                <a:gd name="connsiteY19" fmla="*/ 2492375 h 3282950"/>
                <a:gd name="connsiteX20" fmla="*/ 1184275 w 3365500"/>
                <a:gd name="connsiteY20" fmla="*/ 2444750 h 3282950"/>
                <a:gd name="connsiteX21" fmla="*/ 1149350 w 3365500"/>
                <a:gd name="connsiteY21" fmla="*/ 2444750 h 3282950"/>
                <a:gd name="connsiteX22" fmla="*/ 1162050 w 3365500"/>
                <a:gd name="connsiteY22" fmla="*/ 2400300 h 3282950"/>
                <a:gd name="connsiteX23" fmla="*/ 1098550 w 3365500"/>
                <a:gd name="connsiteY23" fmla="*/ 2397125 h 3282950"/>
                <a:gd name="connsiteX24" fmla="*/ 1104900 w 3365500"/>
                <a:gd name="connsiteY24" fmla="*/ 2346325 h 3282950"/>
                <a:gd name="connsiteX25" fmla="*/ 1057275 w 3365500"/>
                <a:gd name="connsiteY25" fmla="*/ 2349500 h 3282950"/>
                <a:gd name="connsiteX26" fmla="*/ 1057275 w 3365500"/>
                <a:gd name="connsiteY26" fmla="*/ 2279650 h 3282950"/>
                <a:gd name="connsiteX27" fmla="*/ 1016000 w 3365500"/>
                <a:gd name="connsiteY27" fmla="*/ 2276475 h 3282950"/>
                <a:gd name="connsiteX28" fmla="*/ 1028700 w 3365500"/>
                <a:gd name="connsiteY28" fmla="*/ 2212975 h 3282950"/>
                <a:gd name="connsiteX29" fmla="*/ 990600 w 3365500"/>
                <a:gd name="connsiteY29" fmla="*/ 2209800 h 3282950"/>
                <a:gd name="connsiteX30" fmla="*/ 996950 w 3365500"/>
                <a:gd name="connsiteY30" fmla="*/ 2130425 h 3282950"/>
                <a:gd name="connsiteX31" fmla="*/ 996950 w 3365500"/>
                <a:gd name="connsiteY31" fmla="*/ 2130425 h 3282950"/>
                <a:gd name="connsiteX32" fmla="*/ 409575 w 3365500"/>
                <a:gd name="connsiteY32" fmla="*/ 2365375 h 3282950"/>
                <a:gd name="connsiteX33" fmla="*/ 977900 w 3365500"/>
                <a:gd name="connsiteY33" fmla="*/ 2124075 h 3282950"/>
                <a:gd name="connsiteX34" fmla="*/ 984250 w 3365500"/>
                <a:gd name="connsiteY34" fmla="*/ 2035175 h 3282950"/>
                <a:gd name="connsiteX35" fmla="*/ 914400 w 3365500"/>
                <a:gd name="connsiteY35" fmla="*/ 2035175 h 3282950"/>
                <a:gd name="connsiteX36" fmla="*/ 923925 w 3365500"/>
                <a:gd name="connsiteY36" fmla="*/ 1958975 h 3282950"/>
                <a:gd name="connsiteX37" fmla="*/ 914400 w 3365500"/>
                <a:gd name="connsiteY37" fmla="*/ 1933575 h 3282950"/>
                <a:gd name="connsiteX38" fmla="*/ 514350 w 3365500"/>
                <a:gd name="connsiteY38" fmla="*/ 2003425 h 3282950"/>
                <a:gd name="connsiteX39" fmla="*/ 895350 w 3365500"/>
                <a:gd name="connsiteY39" fmla="*/ 1933575 h 3282950"/>
                <a:gd name="connsiteX40" fmla="*/ 901700 w 3365500"/>
                <a:gd name="connsiteY40" fmla="*/ 1889125 h 3282950"/>
                <a:gd name="connsiteX41" fmla="*/ 901700 w 3365500"/>
                <a:gd name="connsiteY41" fmla="*/ 1860550 h 3282950"/>
                <a:gd name="connsiteX42" fmla="*/ 260350 w 3365500"/>
                <a:gd name="connsiteY42" fmla="*/ 1930400 h 3282950"/>
                <a:gd name="connsiteX43" fmla="*/ 882650 w 3365500"/>
                <a:gd name="connsiteY43" fmla="*/ 1863725 h 3282950"/>
                <a:gd name="connsiteX44" fmla="*/ 889000 w 3365500"/>
                <a:gd name="connsiteY44" fmla="*/ 1831975 h 3282950"/>
                <a:gd name="connsiteX45" fmla="*/ 860425 w 3365500"/>
                <a:gd name="connsiteY45" fmla="*/ 1828800 h 3282950"/>
                <a:gd name="connsiteX46" fmla="*/ 860425 w 3365500"/>
                <a:gd name="connsiteY46" fmla="*/ 1774825 h 3282950"/>
                <a:gd name="connsiteX47" fmla="*/ 831850 w 3365500"/>
                <a:gd name="connsiteY47" fmla="*/ 1774825 h 3282950"/>
                <a:gd name="connsiteX48" fmla="*/ 835025 w 3365500"/>
                <a:gd name="connsiteY48" fmla="*/ 1736725 h 3282950"/>
                <a:gd name="connsiteX49" fmla="*/ 793750 w 3365500"/>
                <a:gd name="connsiteY49" fmla="*/ 1733550 h 3282950"/>
                <a:gd name="connsiteX50" fmla="*/ 800100 w 3365500"/>
                <a:gd name="connsiteY50" fmla="*/ 1673225 h 3282950"/>
                <a:gd name="connsiteX51" fmla="*/ 800100 w 3365500"/>
                <a:gd name="connsiteY51" fmla="*/ 1673225 h 3282950"/>
                <a:gd name="connsiteX52" fmla="*/ 377825 w 3365500"/>
                <a:gd name="connsiteY52" fmla="*/ 1758950 h 3282950"/>
                <a:gd name="connsiteX53" fmla="*/ 771525 w 3365500"/>
                <a:gd name="connsiteY53" fmla="*/ 1670050 h 3282950"/>
                <a:gd name="connsiteX54" fmla="*/ 774700 w 3365500"/>
                <a:gd name="connsiteY54" fmla="*/ 1593850 h 3282950"/>
                <a:gd name="connsiteX55" fmla="*/ 742950 w 3365500"/>
                <a:gd name="connsiteY55" fmla="*/ 1593850 h 3282950"/>
                <a:gd name="connsiteX56" fmla="*/ 704850 w 3365500"/>
                <a:gd name="connsiteY56" fmla="*/ 1409700 h 3282950"/>
                <a:gd name="connsiteX57" fmla="*/ 679450 w 3365500"/>
                <a:gd name="connsiteY57" fmla="*/ 1292225 h 3282950"/>
                <a:gd name="connsiteX58" fmla="*/ 679450 w 3365500"/>
                <a:gd name="connsiteY58" fmla="*/ 1292225 h 3282950"/>
                <a:gd name="connsiteX59" fmla="*/ 631825 w 3365500"/>
                <a:gd name="connsiteY59" fmla="*/ 1266825 h 3282950"/>
                <a:gd name="connsiteX60" fmla="*/ 600075 w 3365500"/>
                <a:gd name="connsiteY60" fmla="*/ 1184275 h 3282950"/>
                <a:gd name="connsiteX61" fmla="*/ 603250 w 3365500"/>
                <a:gd name="connsiteY61" fmla="*/ 1095375 h 3282950"/>
                <a:gd name="connsiteX62" fmla="*/ 511175 w 3365500"/>
                <a:gd name="connsiteY62" fmla="*/ 1095375 h 3282950"/>
                <a:gd name="connsiteX63" fmla="*/ 520700 w 3365500"/>
                <a:gd name="connsiteY63" fmla="*/ 1047750 h 3282950"/>
                <a:gd name="connsiteX64" fmla="*/ 73025 w 3365500"/>
                <a:gd name="connsiteY64" fmla="*/ 1114425 h 3282950"/>
                <a:gd name="connsiteX65" fmla="*/ 508000 w 3365500"/>
                <a:gd name="connsiteY65" fmla="*/ 1047750 h 3282950"/>
                <a:gd name="connsiteX66" fmla="*/ 511175 w 3365500"/>
                <a:gd name="connsiteY66" fmla="*/ 958850 h 3282950"/>
                <a:gd name="connsiteX67" fmla="*/ 123825 w 3365500"/>
                <a:gd name="connsiteY67" fmla="*/ 1028700 h 3282950"/>
                <a:gd name="connsiteX68" fmla="*/ 488950 w 3365500"/>
                <a:gd name="connsiteY68" fmla="*/ 955675 h 3282950"/>
                <a:gd name="connsiteX69" fmla="*/ 492125 w 3365500"/>
                <a:gd name="connsiteY69" fmla="*/ 892175 h 3282950"/>
                <a:gd name="connsiteX70" fmla="*/ 431800 w 3365500"/>
                <a:gd name="connsiteY70" fmla="*/ 892175 h 3282950"/>
                <a:gd name="connsiteX71" fmla="*/ 434975 w 3365500"/>
                <a:gd name="connsiteY71" fmla="*/ 768350 h 3282950"/>
                <a:gd name="connsiteX72" fmla="*/ 419100 w 3365500"/>
                <a:gd name="connsiteY72" fmla="*/ 679450 h 3282950"/>
                <a:gd name="connsiteX73" fmla="*/ 415925 w 3365500"/>
                <a:gd name="connsiteY73" fmla="*/ 615950 h 3282950"/>
                <a:gd name="connsiteX74" fmla="*/ 381000 w 3365500"/>
                <a:gd name="connsiteY74" fmla="*/ 612775 h 3282950"/>
                <a:gd name="connsiteX75" fmla="*/ 384175 w 3365500"/>
                <a:gd name="connsiteY75" fmla="*/ 539750 h 3282950"/>
                <a:gd name="connsiteX76" fmla="*/ 0 w 3365500"/>
                <a:gd name="connsiteY76" fmla="*/ 593725 h 3282950"/>
                <a:gd name="connsiteX77" fmla="*/ 365125 w 3365500"/>
                <a:gd name="connsiteY77" fmla="*/ 533400 h 3282950"/>
                <a:gd name="connsiteX78" fmla="*/ 368300 w 3365500"/>
                <a:gd name="connsiteY78" fmla="*/ 479425 h 3282950"/>
                <a:gd name="connsiteX79" fmla="*/ 355600 w 3365500"/>
                <a:gd name="connsiteY79" fmla="*/ 482600 h 3282950"/>
                <a:gd name="connsiteX80" fmla="*/ 352425 w 3365500"/>
                <a:gd name="connsiteY80" fmla="*/ 415925 h 3282950"/>
                <a:gd name="connsiteX81" fmla="*/ 342900 w 3365500"/>
                <a:gd name="connsiteY81" fmla="*/ 415925 h 3282950"/>
                <a:gd name="connsiteX82" fmla="*/ 336550 w 3365500"/>
                <a:gd name="connsiteY82" fmla="*/ 339725 h 3282950"/>
                <a:gd name="connsiteX83" fmla="*/ 320675 w 3365500"/>
                <a:gd name="connsiteY83" fmla="*/ 333375 h 3282950"/>
                <a:gd name="connsiteX84" fmla="*/ 327025 w 3365500"/>
                <a:gd name="connsiteY84" fmla="*/ 298450 h 3282950"/>
                <a:gd name="connsiteX85" fmla="*/ 320675 w 3365500"/>
                <a:gd name="connsiteY85" fmla="*/ 295275 h 3282950"/>
                <a:gd name="connsiteX86" fmla="*/ 320675 w 3365500"/>
                <a:gd name="connsiteY86" fmla="*/ 225425 h 3282950"/>
                <a:gd name="connsiteX87" fmla="*/ 301625 w 3365500"/>
                <a:gd name="connsiteY87" fmla="*/ 225425 h 3282950"/>
                <a:gd name="connsiteX88" fmla="*/ 304800 w 3365500"/>
                <a:gd name="connsiteY88" fmla="*/ 161925 h 3282950"/>
                <a:gd name="connsiteX89" fmla="*/ 295275 w 3365500"/>
                <a:gd name="connsiteY89" fmla="*/ 161925 h 3282950"/>
                <a:gd name="connsiteX90" fmla="*/ 295275 w 3365500"/>
                <a:gd name="connsiteY90" fmla="*/ 133350 h 3282950"/>
                <a:gd name="connsiteX91" fmla="*/ 285750 w 3365500"/>
                <a:gd name="connsiteY91" fmla="*/ 136525 h 3282950"/>
                <a:gd name="connsiteX92" fmla="*/ 288925 w 3365500"/>
                <a:gd name="connsiteY92" fmla="*/ 104775 h 3282950"/>
                <a:gd name="connsiteX93" fmla="*/ 279400 w 3365500"/>
                <a:gd name="connsiteY93" fmla="*/ 104775 h 3282950"/>
                <a:gd name="connsiteX94" fmla="*/ 285750 w 3365500"/>
                <a:gd name="connsiteY94" fmla="*/ 76200 h 3282950"/>
                <a:gd name="connsiteX95" fmla="*/ 266700 w 3365500"/>
                <a:gd name="connsiteY95" fmla="*/ 73025 h 3282950"/>
                <a:gd name="connsiteX96" fmla="*/ 269875 w 3365500"/>
                <a:gd name="connsiteY96" fmla="*/ 38100 h 3282950"/>
                <a:gd name="connsiteX97" fmla="*/ 263525 w 3365500"/>
                <a:gd name="connsiteY97" fmla="*/ 31750 h 3282950"/>
                <a:gd name="connsiteX98" fmla="*/ 263525 w 3365500"/>
                <a:gd name="connsiteY98" fmla="*/ 0 h 3282950"/>
                <a:gd name="connsiteX99" fmla="*/ 234950 w 3365500"/>
                <a:gd name="connsiteY99" fmla="*/ 0 h 3282950"/>
                <a:gd name="connsiteX0" fmla="*/ 3292475 w 3292475"/>
                <a:gd name="connsiteY0" fmla="*/ 3282950 h 3282950"/>
                <a:gd name="connsiteX1" fmla="*/ 1930400 w 3292475"/>
                <a:gd name="connsiteY1" fmla="*/ 3279775 h 3282950"/>
                <a:gd name="connsiteX2" fmla="*/ 1927225 w 3292475"/>
                <a:gd name="connsiteY2" fmla="*/ 3124200 h 3282950"/>
                <a:gd name="connsiteX3" fmla="*/ 1733550 w 3292475"/>
                <a:gd name="connsiteY3" fmla="*/ 3127375 h 3282950"/>
                <a:gd name="connsiteX4" fmla="*/ 1739900 w 3292475"/>
                <a:gd name="connsiteY4" fmla="*/ 3035300 h 3282950"/>
                <a:gd name="connsiteX5" fmla="*/ 1619250 w 3292475"/>
                <a:gd name="connsiteY5" fmla="*/ 3035300 h 3282950"/>
                <a:gd name="connsiteX6" fmla="*/ 1616075 w 3292475"/>
                <a:gd name="connsiteY6" fmla="*/ 2870200 h 3282950"/>
                <a:gd name="connsiteX7" fmla="*/ 1384300 w 3292475"/>
                <a:gd name="connsiteY7" fmla="*/ 2870200 h 3282950"/>
                <a:gd name="connsiteX8" fmla="*/ 1384300 w 3292475"/>
                <a:gd name="connsiteY8" fmla="*/ 2813050 h 3282950"/>
                <a:gd name="connsiteX9" fmla="*/ 1311275 w 3292475"/>
                <a:gd name="connsiteY9" fmla="*/ 2816225 h 3282950"/>
                <a:gd name="connsiteX10" fmla="*/ 1314450 w 3292475"/>
                <a:gd name="connsiteY10" fmla="*/ 2762250 h 3282950"/>
                <a:gd name="connsiteX11" fmla="*/ 1282700 w 3292475"/>
                <a:gd name="connsiteY11" fmla="*/ 2762250 h 3282950"/>
                <a:gd name="connsiteX12" fmla="*/ 1285875 w 3292475"/>
                <a:gd name="connsiteY12" fmla="*/ 2644775 h 3282950"/>
                <a:gd name="connsiteX13" fmla="*/ 1254125 w 3292475"/>
                <a:gd name="connsiteY13" fmla="*/ 2651125 h 3282950"/>
                <a:gd name="connsiteX14" fmla="*/ 1257300 w 3292475"/>
                <a:gd name="connsiteY14" fmla="*/ 2593975 h 3282950"/>
                <a:gd name="connsiteX15" fmla="*/ 1219200 w 3292475"/>
                <a:gd name="connsiteY15" fmla="*/ 2597150 h 3282950"/>
                <a:gd name="connsiteX16" fmla="*/ 1222375 w 3292475"/>
                <a:gd name="connsiteY16" fmla="*/ 2536825 h 3282950"/>
                <a:gd name="connsiteX17" fmla="*/ 1162050 w 3292475"/>
                <a:gd name="connsiteY17" fmla="*/ 2536825 h 3282950"/>
                <a:gd name="connsiteX18" fmla="*/ 1165225 w 3292475"/>
                <a:gd name="connsiteY18" fmla="*/ 2489200 h 3282950"/>
                <a:gd name="connsiteX19" fmla="*/ 1104900 w 3292475"/>
                <a:gd name="connsiteY19" fmla="*/ 2492375 h 3282950"/>
                <a:gd name="connsiteX20" fmla="*/ 1111250 w 3292475"/>
                <a:gd name="connsiteY20" fmla="*/ 2444750 h 3282950"/>
                <a:gd name="connsiteX21" fmla="*/ 1076325 w 3292475"/>
                <a:gd name="connsiteY21" fmla="*/ 2444750 h 3282950"/>
                <a:gd name="connsiteX22" fmla="*/ 1089025 w 3292475"/>
                <a:gd name="connsiteY22" fmla="*/ 2400300 h 3282950"/>
                <a:gd name="connsiteX23" fmla="*/ 1025525 w 3292475"/>
                <a:gd name="connsiteY23" fmla="*/ 2397125 h 3282950"/>
                <a:gd name="connsiteX24" fmla="*/ 1031875 w 3292475"/>
                <a:gd name="connsiteY24" fmla="*/ 2346325 h 3282950"/>
                <a:gd name="connsiteX25" fmla="*/ 984250 w 3292475"/>
                <a:gd name="connsiteY25" fmla="*/ 2349500 h 3282950"/>
                <a:gd name="connsiteX26" fmla="*/ 984250 w 3292475"/>
                <a:gd name="connsiteY26" fmla="*/ 2279650 h 3282950"/>
                <a:gd name="connsiteX27" fmla="*/ 942975 w 3292475"/>
                <a:gd name="connsiteY27" fmla="*/ 2276475 h 3282950"/>
                <a:gd name="connsiteX28" fmla="*/ 955675 w 3292475"/>
                <a:gd name="connsiteY28" fmla="*/ 2212975 h 3282950"/>
                <a:gd name="connsiteX29" fmla="*/ 917575 w 3292475"/>
                <a:gd name="connsiteY29" fmla="*/ 2209800 h 3282950"/>
                <a:gd name="connsiteX30" fmla="*/ 923925 w 3292475"/>
                <a:gd name="connsiteY30" fmla="*/ 2130425 h 3282950"/>
                <a:gd name="connsiteX31" fmla="*/ 923925 w 3292475"/>
                <a:gd name="connsiteY31" fmla="*/ 2130425 h 3282950"/>
                <a:gd name="connsiteX32" fmla="*/ 336550 w 3292475"/>
                <a:gd name="connsiteY32" fmla="*/ 2365375 h 3282950"/>
                <a:gd name="connsiteX33" fmla="*/ 904875 w 3292475"/>
                <a:gd name="connsiteY33" fmla="*/ 2124075 h 3282950"/>
                <a:gd name="connsiteX34" fmla="*/ 911225 w 3292475"/>
                <a:gd name="connsiteY34" fmla="*/ 2035175 h 3282950"/>
                <a:gd name="connsiteX35" fmla="*/ 841375 w 3292475"/>
                <a:gd name="connsiteY35" fmla="*/ 2035175 h 3282950"/>
                <a:gd name="connsiteX36" fmla="*/ 850900 w 3292475"/>
                <a:gd name="connsiteY36" fmla="*/ 1958975 h 3282950"/>
                <a:gd name="connsiteX37" fmla="*/ 841375 w 3292475"/>
                <a:gd name="connsiteY37" fmla="*/ 1933575 h 3282950"/>
                <a:gd name="connsiteX38" fmla="*/ 441325 w 3292475"/>
                <a:gd name="connsiteY38" fmla="*/ 2003425 h 3282950"/>
                <a:gd name="connsiteX39" fmla="*/ 822325 w 3292475"/>
                <a:gd name="connsiteY39" fmla="*/ 1933575 h 3282950"/>
                <a:gd name="connsiteX40" fmla="*/ 828675 w 3292475"/>
                <a:gd name="connsiteY40" fmla="*/ 1889125 h 3282950"/>
                <a:gd name="connsiteX41" fmla="*/ 828675 w 3292475"/>
                <a:gd name="connsiteY41" fmla="*/ 1860550 h 3282950"/>
                <a:gd name="connsiteX42" fmla="*/ 187325 w 3292475"/>
                <a:gd name="connsiteY42" fmla="*/ 1930400 h 3282950"/>
                <a:gd name="connsiteX43" fmla="*/ 809625 w 3292475"/>
                <a:gd name="connsiteY43" fmla="*/ 1863725 h 3282950"/>
                <a:gd name="connsiteX44" fmla="*/ 815975 w 3292475"/>
                <a:gd name="connsiteY44" fmla="*/ 1831975 h 3282950"/>
                <a:gd name="connsiteX45" fmla="*/ 787400 w 3292475"/>
                <a:gd name="connsiteY45" fmla="*/ 1828800 h 3282950"/>
                <a:gd name="connsiteX46" fmla="*/ 787400 w 3292475"/>
                <a:gd name="connsiteY46" fmla="*/ 1774825 h 3282950"/>
                <a:gd name="connsiteX47" fmla="*/ 758825 w 3292475"/>
                <a:gd name="connsiteY47" fmla="*/ 1774825 h 3282950"/>
                <a:gd name="connsiteX48" fmla="*/ 762000 w 3292475"/>
                <a:gd name="connsiteY48" fmla="*/ 1736725 h 3282950"/>
                <a:gd name="connsiteX49" fmla="*/ 720725 w 3292475"/>
                <a:gd name="connsiteY49" fmla="*/ 1733550 h 3282950"/>
                <a:gd name="connsiteX50" fmla="*/ 727075 w 3292475"/>
                <a:gd name="connsiteY50" fmla="*/ 1673225 h 3282950"/>
                <a:gd name="connsiteX51" fmla="*/ 727075 w 3292475"/>
                <a:gd name="connsiteY51" fmla="*/ 1673225 h 3282950"/>
                <a:gd name="connsiteX52" fmla="*/ 304800 w 3292475"/>
                <a:gd name="connsiteY52" fmla="*/ 1758950 h 3282950"/>
                <a:gd name="connsiteX53" fmla="*/ 698500 w 3292475"/>
                <a:gd name="connsiteY53" fmla="*/ 1670050 h 3282950"/>
                <a:gd name="connsiteX54" fmla="*/ 701675 w 3292475"/>
                <a:gd name="connsiteY54" fmla="*/ 1593850 h 3282950"/>
                <a:gd name="connsiteX55" fmla="*/ 669925 w 3292475"/>
                <a:gd name="connsiteY55" fmla="*/ 1593850 h 3282950"/>
                <a:gd name="connsiteX56" fmla="*/ 631825 w 3292475"/>
                <a:gd name="connsiteY56" fmla="*/ 1409700 h 3282950"/>
                <a:gd name="connsiteX57" fmla="*/ 606425 w 3292475"/>
                <a:gd name="connsiteY57" fmla="*/ 1292225 h 3282950"/>
                <a:gd name="connsiteX58" fmla="*/ 606425 w 3292475"/>
                <a:gd name="connsiteY58" fmla="*/ 1292225 h 3282950"/>
                <a:gd name="connsiteX59" fmla="*/ 558800 w 3292475"/>
                <a:gd name="connsiteY59" fmla="*/ 1266825 h 3282950"/>
                <a:gd name="connsiteX60" fmla="*/ 527050 w 3292475"/>
                <a:gd name="connsiteY60" fmla="*/ 1184275 h 3282950"/>
                <a:gd name="connsiteX61" fmla="*/ 530225 w 3292475"/>
                <a:gd name="connsiteY61" fmla="*/ 1095375 h 3282950"/>
                <a:gd name="connsiteX62" fmla="*/ 438150 w 3292475"/>
                <a:gd name="connsiteY62" fmla="*/ 1095375 h 3282950"/>
                <a:gd name="connsiteX63" fmla="*/ 447675 w 3292475"/>
                <a:gd name="connsiteY63" fmla="*/ 1047750 h 3282950"/>
                <a:gd name="connsiteX64" fmla="*/ 0 w 3292475"/>
                <a:gd name="connsiteY64" fmla="*/ 1114425 h 3282950"/>
                <a:gd name="connsiteX65" fmla="*/ 434975 w 3292475"/>
                <a:gd name="connsiteY65" fmla="*/ 1047750 h 3282950"/>
                <a:gd name="connsiteX66" fmla="*/ 438150 w 3292475"/>
                <a:gd name="connsiteY66" fmla="*/ 958850 h 3282950"/>
                <a:gd name="connsiteX67" fmla="*/ 50800 w 3292475"/>
                <a:gd name="connsiteY67" fmla="*/ 1028700 h 3282950"/>
                <a:gd name="connsiteX68" fmla="*/ 415925 w 3292475"/>
                <a:gd name="connsiteY68" fmla="*/ 955675 h 3282950"/>
                <a:gd name="connsiteX69" fmla="*/ 419100 w 3292475"/>
                <a:gd name="connsiteY69" fmla="*/ 892175 h 3282950"/>
                <a:gd name="connsiteX70" fmla="*/ 358775 w 3292475"/>
                <a:gd name="connsiteY70" fmla="*/ 892175 h 3282950"/>
                <a:gd name="connsiteX71" fmla="*/ 361950 w 3292475"/>
                <a:gd name="connsiteY71" fmla="*/ 768350 h 3282950"/>
                <a:gd name="connsiteX72" fmla="*/ 346075 w 3292475"/>
                <a:gd name="connsiteY72" fmla="*/ 679450 h 3282950"/>
                <a:gd name="connsiteX73" fmla="*/ 342900 w 3292475"/>
                <a:gd name="connsiteY73" fmla="*/ 615950 h 3282950"/>
                <a:gd name="connsiteX74" fmla="*/ 307975 w 3292475"/>
                <a:gd name="connsiteY74" fmla="*/ 612775 h 3282950"/>
                <a:gd name="connsiteX75" fmla="*/ 311150 w 3292475"/>
                <a:gd name="connsiteY75" fmla="*/ 539750 h 3282950"/>
                <a:gd name="connsiteX76" fmla="*/ 292100 w 3292475"/>
                <a:gd name="connsiteY76" fmla="*/ 533400 h 3282950"/>
                <a:gd name="connsiteX77" fmla="*/ 295275 w 3292475"/>
                <a:gd name="connsiteY77" fmla="*/ 479425 h 3282950"/>
                <a:gd name="connsiteX78" fmla="*/ 282575 w 3292475"/>
                <a:gd name="connsiteY78" fmla="*/ 482600 h 3282950"/>
                <a:gd name="connsiteX79" fmla="*/ 279400 w 3292475"/>
                <a:gd name="connsiteY79" fmla="*/ 415925 h 3282950"/>
                <a:gd name="connsiteX80" fmla="*/ 269875 w 3292475"/>
                <a:gd name="connsiteY80" fmla="*/ 415925 h 3282950"/>
                <a:gd name="connsiteX81" fmla="*/ 263525 w 3292475"/>
                <a:gd name="connsiteY81" fmla="*/ 339725 h 3282950"/>
                <a:gd name="connsiteX82" fmla="*/ 247650 w 3292475"/>
                <a:gd name="connsiteY82" fmla="*/ 333375 h 3282950"/>
                <a:gd name="connsiteX83" fmla="*/ 254000 w 3292475"/>
                <a:gd name="connsiteY83" fmla="*/ 298450 h 3282950"/>
                <a:gd name="connsiteX84" fmla="*/ 247650 w 3292475"/>
                <a:gd name="connsiteY84" fmla="*/ 295275 h 3282950"/>
                <a:gd name="connsiteX85" fmla="*/ 247650 w 3292475"/>
                <a:gd name="connsiteY85" fmla="*/ 225425 h 3282950"/>
                <a:gd name="connsiteX86" fmla="*/ 228600 w 3292475"/>
                <a:gd name="connsiteY86" fmla="*/ 225425 h 3282950"/>
                <a:gd name="connsiteX87" fmla="*/ 231775 w 3292475"/>
                <a:gd name="connsiteY87" fmla="*/ 161925 h 3282950"/>
                <a:gd name="connsiteX88" fmla="*/ 222250 w 3292475"/>
                <a:gd name="connsiteY88" fmla="*/ 161925 h 3282950"/>
                <a:gd name="connsiteX89" fmla="*/ 222250 w 3292475"/>
                <a:gd name="connsiteY89" fmla="*/ 133350 h 3282950"/>
                <a:gd name="connsiteX90" fmla="*/ 212725 w 3292475"/>
                <a:gd name="connsiteY90" fmla="*/ 136525 h 3282950"/>
                <a:gd name="connsiteX91" fmla="*/ 215900 w 3292475"/>
                <a:gd name="connsiteY91" fmla="*/ 104775 h 3282950"/>
                <a:gd name="connsiteX92" fmla="*/ 206375 w 3292475"/>
                <a:gd name="connsiteY92" fmla="*/ 104775 h 3282950"/>
                <a:gd name="connsiteX93" fmla="*/ 212725 w 3292475"/>
                <a:gd name="connsiteY93" fmla="*/ 76200 h 3282950"/>
                <a:gd name="connsiteX94" fmla="*/ 193675 w 3292475"/>
                <a:gd name="connsiteY94" fmla="*/ 73025 h 3282950"/>
                <a:gd name="connsiteX95" fmla="*/ 196850 w 3292475"/>
                <a:gd name="connsiteY95" fmla="*/ 38100 h 3282950"/>
                <a:gd name="connsiteX96" fmla="*/ 190500 w 3292475"/>
                <a:gd name="connsiteY96" fmla="*/ 31750 h 3282950"/>
                <a:gd name="connsiteX97" fmla="*/ 190500 w 3292475"/>
                <a:gd name="connsiteY97" fmla="*/ 0 h 3282950"/>
                <a:gd name="connsiteX98" fmla="*/ 161925 w 3292475"/>
                <a:gd name="connsiteY98" fmla="*/ 0 h 3282950"/>
                <a:gd name="connsiteX0" fmla="*/ 3292475 w 3292475"/>
                <a:gd name="connsiteY0" fmla="*/ 3282950 h 3282950"/>
                <a:gd name="connsiteX1" fmla="*/ 1930400 w 3292475"/>
                <a:gd name="connsiteY1" fmla="*/ 3279775 h 3282950"/>
                <a:gd name="connsiteX2" fmla="*/ 1927225 w 3292475"/>
                <a:gd name="connsiteY2" fmla="*/ 3124200 h 3282950"/>
                <a:gd name="connsiteX3" fmla="*/ 1733550 w 3292475"/>
                <a:gd name="connsiteY3" fmla="*/ 3127375 h 3282950"/>
                <a:gd name="connsiteX4" fmla="*/ 1739900 w 3292475"/>
                <a:gd name="connsiteY4" fmla="*/ 3035300 h 3282950"/>
                <a:gd name="connsiteX5" fmla="*/ 1619250 w 3292475"/>
                <a:gd name="connsiteY5" fmla="*/ 3035300 h 3282950"/>
                <a:gd name="connsiteX6" fmla="*/ 1616075 w 3292475"/>
                <a:gd name="connsiteY6" fmla="*/ 2870200 h 3282950"/>
                <a:gd name="connsiteX7" fmla="*/ 1384300 w 3292475"/>
                <a:gd name="connsiteY7" fmla="*/ 2870200 h 3282950"/>
                <a:gd name="connsiteX8" fmla="*/ 1384300 w 3292475"/>
                <a:gd name="connsiteY8" fmla="*/ 2813050 h 3282950"/>
                <a:gd name="connsiteX9" fmla="*/ 1311275 w 3292475"/>
                <a:gd name="connsiteY9" fmla="*/ 2816225 h 3282950"/>
                <a:gd name="connsiteX10" fmla="*/ 1314450 w 3292475"/>
                <a:gd name="connsiteY10" fmla="*/ 2762250 h 3282950"/>
                <a:gd name="connsiteX11" fmla="*/ 1282700 w 3292475"/>
                <a:gd name="connsiteY11" fmla="*/ 2762250 h 3282950"/>
                <a:gd name="connsiteX12" fmla="*/ 1285875 w 3292475"/>
                <a:gd name="connsiteY12" fmla="*/ 2644775 h 3282950"/>
                <a:gd name="connsiteX13" fmla="*/ 1254125 w 3292475"/>
                <a:gd name="connsiteY13" fmla="*/ 2651125 h 3282950"/>
                <a:gd name="connsiteX14" fmla="*/ 1257300 w 3292475"/>
                <a:gd name="connsiteY14" fmla="*/ 2593975 h 3282950"/>
                <a:gd name="connsiteX15" fmla="*/ 1219200 w 3292475"/>
                <a:gd name="connsiteY15" fmla="*/ 2597150 h 3282950"/>
                <a:gd name="connsiteX16" fmla="*/ 1222375 w 3292475"/>
                <a:gd name="connsiteY16" fmla="*/ 2536825 h 3282950"/>
                <a:gd name="connsiteX17" fmla="*/ 1162050 w 3292475"/>
                <a:gd name="connsiteY17" fmla="*/ 2536825 h 3282950"/>
                <a:gd name="connsiteX18" fmla="*/ 1165225 w 3292475"/>
                <a:gd name="connsiteY18" fmla="*/ 2489200 h 3282950"/>
                <a:gd name="connsiteX19" fmla="*/ 1104900 w 3292475"/>
                <a:gd name="connsiteY19" fmla="*/ 2492375 h 3282950"/>
                <a:gd name="connsiteX20" fmla="*/ 1111250 w 3292475"/>
                <a:gd name="connsiteY20" fmla="*/ 2444750 h 3282950"/>
                <a:gd name="connsiteX21" fmla="*/ 1076325 w 3292475"/>
                <a:gd name="connsiteY21" fmla="*/ 2444750 h 3282950"/>
                <a:gd name="connsiteX22" fmla="*/ 1089025 w 3292475"/>
                <a:gd name="connsiteY22" fmla="*/ 2400300 h 3282950"/>
                <a:gd name="connsiteX23" fmla="*/ 1025525 w 3292475"/>
                <a:gd name="connsiteY23" fmla="*/ 2397125 h 3282950"/>
                <a:gd name="connsiteX24" fmla="*/ 1031875 w 3292475"/>
                <a:gd name="connsiteY24" fmla="*/ 2346325 h 3282950"/>
                <a:gd name="connsiteX25" fmla="*/ 984250 w 3292475"/>
                <a:gd name="connsiteY25" fmla="*/ 2349500 h 3282950"/>
                <a:gd name="connsiteX26" fmla="*/ 984250 w 3292475"/>
                <a:gd name="connsiteY26" fmla="*/ 2279650 h 3282950"/>
                <a:gd name="connsiteX27" fmla="*/ 942975 w 3292475"/>
                <a:gd name="connsiteY27" fmla="*/ 2276475 h 3282950"/>
                <a:gd name="connsiteX28" fmla="*/ 955675 w 3292475"/>
                <a:gd name="connsiteY28" fmla="*/ 2212975 h 3282950"/>
                <a:gd name="connsiteX29" fmla="*/ 917575 w 3292475"/>
                <a:gd name="connsiteY29" fmla="*/ 2209800 h 3282950"/>
                <a:gd name="connsiteX30" fmla="*/ 923925 w 3292475"/>
                <a:gd name="connsiteY30" fmla="*/ 2130425 h 3282950"/>
                <a:gd name="connsiteX31" fmla="*/ 923925 w 3292475"/>
                <a:gd name="connsiteY31" fmla="*/ 2130425 h 3282950"/>
                <a:gd name="connsiteX32" fmla="*/ 336550 w 3292475"/>
                <a:gd name="connsiteY32" fmla="*/ 2365375 h 3282950"/>
                <a:gd name="connsiteX33" fmla="*/ 904875 w 3292475"/>
                <a:gd name="connsiteY33" fmla="*/ 2124075 h 3282950"/>
                <a:gd name="connsiteX34" fmla="*/ 911225 w 3292475"/>
                <a:gd name="connsiteY34" fmla="*/ 2035175 h 3282950"/>
                <a:gd name="connsiteX35" fmla="*/ 841375 w 3292475"/>
                <a:gd name="connsiteY35" fmla="*/ 2035175 h 3282950"/>
                <a:gd name="connsiteX36" fmla="*/ 850900 w 3292475"/>
                <a:gd name="connsiteY36" fmla="*/ 1958975 h 3282950"/>
                <a:gd name="connsiteX37" fmla="*/ 841375 w 3292475"/>
                <a:gd name="connsiteY37" fmla="*/ 1933575 h 3282950"/>
                <a:gd name="connsiteX38" fmla="*/ 441325 w 3292475"/>
                <a:gd name="connsiteY38" fmla="*/ 2003425 h 3282950"/>
                <a:gd name="connsiteX39" fmla="*/ 822325 w 3292475"/>
                <a:gd name="connsiteY39" fmla="*/ 1933575 h 3282950"/>
                <a:gd name="connsiteX40" fmla="*/ 828675 w 3292475"/>
                <a:gd name="connsiteY40" fmla="*/ 1889125 h 3282950"/>
                <a:gd name="connsiteX41" fmla="*/ 828675 w 3292475"/>
                <a:gd name="connsiteY41" fmla="*/ 1860550 h 3282950"/>
                <a:gd name="connsiteX42" fmla="*/ 187325 w 3292475"/>
                <a:gd name="connsiteY42" fmla="*/ 1930400 h 3282950"/>
                <a:gd name="connsiteX43" fmla="*/ 809625 w 3292475"/>
                <a:gd name="connsiteY43" fmla="*/ 1863725 h 3282950"/>
                <a:gd name="connsiteX44" fmla="*/ 815975 w 3292475"/>
                <a:gd name="connsiteY44" fmla="*/ 1831975 h 3282950"/>
                <a:gd name="connsiteX45" fmla="*/ 787400 w 3292475"/>
                <a:gd name="connsiteY45" fmla="*/ 1828800 h 3282950"/>
                <a:gd name="connsiteX46" fmla="*/ 787400 w 3292475"/>
                <a:gd name="connsiteY46" fmla="*/ 1774825 h 3282950"/>
                <a:gd name="connsiteX47" fmla="*/ 758825 w 3292475"/>
                <a:gd name="connsiteY47" fmla="*/ 1774825 h 3282950"/>
                <a:gd name="connsiteX48" fmla="*/ 762000 w 3292475"/>
                <a:gd name="connsiteY48" fmla="*/ 1736725 h 3282950"/>
                <a:gd name="connsiteX49" fmla="*/ 720725 w 3292475"/>
                <a:gd name="connsiteY49" fmla="*/ 1733550 h 3282950"/>
                <a:gd name="connsiteX50" fmla="*/ 727075 w 3292475"/>
                <a:gd name="connsiteY50" fmla="*/ 1673225 h 3282950"/>
                <a:gd name="connsiteX51" fmla="*/ 727075 w 3292475"/>
                <a:gd name="connsiteY51" fmla="*/ 1673225 h 3282950"/>
                <a:gd name="connsiteX52" fmla="*/ 304800 w 3292475"/>
                <a:gd name="connsiteY52" fmla="*/ 1758950 h 3282950"/>
                <a:gd name="connsiteX53" fmla="*/ 698500 w 3292475"/>
                <a:gd name="connsiteY53" fmla="*/ 1670050 h 3282950"/>
                <a:gd name="connsiteX54" fmla="*/ 701675 w 3292475"/>
                <a:gd name="connsiteY54" fmla="*/ 1593850 h 3282950"/>
                <a:gd name="connsiteX55" fmla="*/ 669925 w 3292475"/>
                <a:gd name="connsiteY55" fmla="*/ 1593850 h 3282950"/>
                <a:gd name="connsiteX56" fmla="*/ 631825 w 3292475"/>
                <a:gd name="connsiteY56" fmla="*/ 1409700 h 3282950"/>
                <a:gd name="connsiteX57" fmla="*/ 606425 w 3292475"/>
                <a:gd name="connsiteY57" fmla="*/ 1292225 h 3282950"/>
                <a:gd name="connsiteX58" fmla="*/ 606425 w 3292475"/>
                <a:gd name="connsiteY58" fmla="*/ 1292225 h 3282950"/>
                <a:gd name="connsiteX59" fmla="*/ 558800 w 3292475"/>
                <a:gd name="connsiteY59" fmla="*/ 1266825 h 3282950"/>
                <a:gd name="connsiteX60" fmla="*/ 527050 w 3292475"/>
                <a:gd name="connsiteY60" fmla="*/ 1184275 h 3282950"/>
                <a:gd name="connsiteX61" fmla="*/ 530225 w 3292475"/>
                <a:gd name="connsiteY61" fmla="*/ 1095375 h 3282950"/>
                <a:gd name="connsiteX62" fmla="*/ 438150 w 3292475"/>
                <a:gd name="connsiteY62" fmla="*/ 1095375 h 3282950"/>
                <a:gd name="connsiteX63" fmla="*/ 447675 w 3292475"/>
                <a:gd name="connsiteY63" fmla="*/ 1047750 h 3282950"/>
                <a:gd name="connsiteX64" fmla="*/ 0 w 3292475"/>
                <a:gd name="connsiteY64" fmla="*/ 1114425 h 3282950"/>
                <a:gd name="connsiteX65" fmla="*/ 434975 w 3292475"/>
                <a:gd name="connsiteY65" fmla="*/ 1047750 h 3282950"/>
                <a:gd name="connsiteX66" fmla="*/ 438150 w 3292475"/>
                <a:gd name="connsiteY66" fmla="*/ 958850 h 3282950"/>
                <a:gd name="connsiteX67" fmla="*/ 415925 w 3292475"/>
                <a:gd name="connsiteY67" fmla="*/ 955675 h 3282950"/>
                <a:gd name="connsiteX68" fmla="*/ 419100 w 3292475"/>
                <a:gd name="connsiteY68" fmla="*/ 892175 h 3282950"/>
                <a:gd name="connsiteX69" fmla="*/ 358775 w 3292475"/>
                <a:gd name="connsiteY69" fmla="*/ 892175 h 3282950"/>
                <a:gd name="connsiteX70" fmla="*/ 361950 w 3292475"/>
                <a:gd name="connsiteY70" fmla="*/ 768350 h 3282950"/>
                <a:gd name="connsiteX71" fmla="*/ 346075 w 3292475"/>
                <a:gd name="connsiteY71" fmla="*/ 679450 h 3282950"/>
                <a:gd name="connsiteX72" fmla="*/ 342900 w 3292475"/>
                <a:gd name="connsiteY72" fmla="*/ 615950 h 3282950"/>
                <a:gd name="connsiteX73" fmla="*/ 307975 w 3292475"/>
                <a:gd name="connsiteY73" fmla="*/ 612775 h 3282950"/>
                <a:gd name="connsiteX74" fmla="*/ 311150 w 3292475"/>
                <a:gd name="connsiteY74" fmla="*/ 539750 h 3282950"/>
                <a:gd name="connsiteX75" fmla="*/ 292100 w 3292475"/>
                <a:gd name="connsiteY75" fmla="*/ 533400 h 3282950"/>
                <a:gd name="connsiteX76" fmla="*/ 295275 w 3292475"/>
                <a:gd name="connsiteY76" fmla="*/ 479425 h 3282950"/>
                <a:gd name="connsiteX77" fmla="*/ 282575 w 3292475"/>
                <a:gd name="connsiteY77" fmla="*/ 482600 h 3282950"/>
                <a:gd name="connsiteX78" fmla="*/ 279400 w 3292475"/>
                <a:gd name="connsiteY78" fmla="*/ 415925 h 3282950"/>
                <a:gd name="connsiteX79" fmla="*/ 269875 w 3292475"/>
                <a:gd name="connsiteY79" fmla="*/ 415925 h 3282950"/>
                <a:gd name="connsiteX80" fmla="*/ 263525 w 3292475"/>
                <a:gd name="connsiteY80" fmla="*/ 339725 h 3282950"/>
                <a:gd name="connsiteX81" fmla="*/ 247650 w 3292475"/>
                <a:gd name="connsiteY81" fmla="*/ 333375 h 3282950"/>
                <a:gd name="connsiteX82" fmla="*/ 254000 w 3292475"/>
                <a:gd name="connsiteY82" fmla="*/ 298450 h 3282950"/>
                <a:gd name="connsiteX83" fmla="*/ 247650 w 3292475"/>
                <a:gd name="connsiteY83" fmla="*/ 295275 h 3282950"/>
                <a:gd name="connsiteX84" fmla="*/ 247650 w 3292475"/>
                <a:gd name="connsiteY84" fmla="*/ 225425 h 3282950"/>
                <a:gd name="connsiteX85" fmla="*/ 228600 w 3292475"/>
                <a:gd name="connsiteY85" fmla="*/ 225425 h 3282950"/>
                <a:gd name="connsiteX86" fmla="*/ 231775 w 3292475"/>
                <a:gd name="connsiteY86" fmla="*/ 161925 h 3282950"/>
                <a:gd name="connsiteX87" fmla="*/ 222250 w 3292475"/>
                <a:gd name="connsiteY87" fmla="*/ 161925 h 3282950"/>
                <a:gd name="connsiteX88" fmla="*/ 222250 w 3292475"/>
                <a:gd name="connsiteY88" fmla="*/ 133350 h 3282950"/>
                <a:gd name="connsiteX89" fmla="*/ 212725 w 3292475"/>
                <a:gd name="connsiteY89" fmla="*/ 136525 h 3282950"/>
                <a:gd name="connsiteX90" fmla="*/ 215900 w 3292475"/>
                <a:gd name="connsiteY90" fmla="*/ 104775 h 3282950"/>
                <a:gd name="connsiteX91" fmla="*/ 206375 w 3292475"/>
                <a:gd name="connsiteY91" fmla="*/ 104775 h 3282950"/>
                <a:gd name="connsiteX92" fmla="*/ 212725 w 3292475"/>
                <a:gd name="connsiteY92" fmla="*/ 76200 h 3282950"/>
                <a:gd name="connsiteX93" fmla="*/ 193675 w 3292475"/>
                <a:gd name="connsiteY93" fmla="*/ 73025 h 3282950"/>
                <a:gd name="connsiteX94" fmla="*/ 196850 w 3292475"/>
                <a:gd name="connsiteY94" fmla="*/ 38100 h 3282950"/>
                <a:gd name="connsiteX95" fmla="*/ 190500 w 3292475"/>
                <a:gd name="connsiteY95" fmla="*/ 31750 h 3282950"/>
                <a:gd name="connsiteX96" fmla="*/ 190500 w 3292475"/>
                <a:gd name="connsiteY96" fmla="*/ 0 h 3282950"/>
                <a:gd name="connsiteX97" fmla="*/ 161925 w 3292475"/>
                <a:gd name="connsiteY97"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0775 w 3130550"/>
                <a:gd name="connsiteY11" fmla="*/ 2762250 h 3282950"/>
                <a:gd name="connsiteX12" fmla="*/ 1123950 w 3130550"/>
                <a:gd name="connsiteY12" fmla="*/ 264477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271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174625 w 3130550"/>
                <a:gd name="connsiteY32" fmla="*/ 2365375 h 3282950"/>
                <a:gd name="connsiteX33" fmla="*/ 742950 w 3130550"/>
                <a:gd name="connsiteY33" fmla="*/ 2124075 h 3282950"/>
                <a:gd name="connsiteX34" fmla="*/ 749300 w 3130550"/>
                <a:gd name="connsiteY34" fmla="*/ 2035175 h 3282950"/>
                <a:gd name="connsiteX35" fmla="*/ 679450 w 3130550"/>
                <a:gd name="connsiteY35" fmla="*/ 2035175 h 3282950"/>
                <a:gd name="connsiteX36" fmla="*/ 688975 w 3130550"/>
                <a:gd name="connsiteY36" fmla="*/ 1958975 h 3282950"/>
                <a:gd name="connsiteX37" fmla="*/ 679450 w 3130550"/>
                <a:gd name="connsiteY37" fmla="*/ 1933575 h 3282950"/>
                <a:gd name="connsiteX38" fmla="*/ 279400 w 3130550"/>
                <a:gd name="connsiteY38" fmla="*/ 2003425 h 3282950"/>
                <a:gd name="connsiteX39" fmla="*/ 660400 w 3130550"/>
                <a:gd name="connsiteY39" fmla="*/ 1933575 h 3282950"/>
                <a:gd name="connsiteX40" fmla="*/ 666750 w 3130550"/>
                <a:gd name="connsiteY40" fmla="*/ 1889125 h 3282950"/>
                <a:gd name="connsiteX41" fmla="*/ 666750 w 3130550"/>
                <a:gd name="connsiteY41" fmla="*/ 1860550 h 3282950"/>
                <a:gd name="connsiteX42" fmla="*/ 25400 w 3130550"/>
                <a:gd name="connsiteY42" fmla="*/ 1930400 h 3282950"/>
                <a:gd name="connsiteX43" fmla="*/ 647700 w 3130550"/>
                <a:gd name="connsiteY43" fmla="*/ 1863725 h 3282950"/>
                <a:gd name="connsiteX44" fmla="*/ 654050 w 3130550"/>
                <a:gd name="connsiteY44" fmla="*/ 1831975 h 3282950"/>
                <a:gd name="connsiteX45" fmla="*/ 625475 w 3130550"/>
                <a:gd name="connsiteY45" fmla="*/ 1828800 h 3282950"/>
                <a:gd name="connsiteX46" fmla="*/ 625475 w 3130550"/>
                <a:gd name="connsiteY46" fmla="*/ 1774825 h 3282950"/>
                <a:gd name="connsiteX47" fmla="*/ 596900 w 3130550"/>
                <a:gd name="connsiteY47" fmla="*/ 1774825 h 3282950"/>
                <a:gd name="connsiteX48" fmla="*/ 600075 w 3130550"/>
                <a:gd name="connsiteY48" fmla="*/ 1736725 h 3282950"/>
                <a:gd name="connsiteX49" fmla="*/ 558800 w 3130550"/>
                <a:gd name="connsiteY49" fmla="*/ 1733550 h 3282950"/>
                <a:gd name="connsiteX50" fmla="*/ 565150 w 3130550"/>
                <a:gd name="connsiteY50" fmla="*/ 1673225 h 3282950"/>
                <a:gd name="connsiteX51" fmla="*/ 565150 w 3130550"/>
                <a:gd name="connsiteY51" fmla="*/ 1673225 h 3282950"/>
                <a:gd name="connsiteX52" fmla="*/ 142875 w 3130550"/>
                <a:gd name="connsiteY52" fmla="*/ 1758950 h 3282950"/>
                <a:gd name="connsiteX53" fmla="*/ 536575 w 3130550"/>
                <a:gd name="connsiteY53" fmla="*/ 1670050 h 3282950"/>
                <a:gd name="connsiteX54" fmla="*/ 539750 w 3130550"/>
                <a:gd name="connsiteY54" fmla="*/ 1593850 h 3282950"/>
                <a:gd name="connsiteX55" fmla="*/ 508000 w 3130550"/>
                <a:gd name="connsiteY55" fmla="*/ 1593850 h 3282950"/>
                <a:gd name="connsiteX56" fmla="*/ 469900 w 3130550"/>
                <a:gd name="connsiteY56" fmla="*/ 1409700 h 3282950"/>
                <a:gd name="connsiteX57" fmla="*/ 444500 w 3130550"/>
                <a:gd name="connsiteY57" fmla="*/ 1292225 h 3282950"/>
                <a:gd name="connsiteX58" fmla="*/ 444500 w 3130550"/>
                <a:gd name="connsiteY58" fmla="*/ 1292225 h 3282950"/>
                <a:gd name="connsiteX59" fmla="*/ 396875 w 3130550"/>
                <a:gd name="connsiteY59" fmla="*/ 1266825 h 3282950"/>
                <a:gd name="connsiteX60" fmla="*/ 365125 w 3130550"/>
                <a:gd name="connsiteY60" fmla="*/ 1184275 h 3282950"/>
                <a:gd name="connsiteX61" fmla="*/ 368300 w 3130550"/>
                <a:gd name="connsiteY61" fmla="*/ 1095375 h 3282950"/>
                <a:gd name="connsiteX62" fmla="*/ 276225 w 3130550"/>
                <a:gd name="connsiteY62" fmla="*/ 1095375 h 3282950"/>
                <a:gd name="connsiteX63" fmla="*/ 285750 w 3130550"/>
                <a:gd name="connsiteY63" fmla="*/ 1047750 h 3282950"/>
                <a:gd name="connsiteX64" fmla="*/ 273050 w 3130550"/>
                <a:gd name="connsiteY64" fmla="*/ 1047750 h 3282950"/>
                <a:gd name="connsiteX65" fmla="*/ 276225 w 3130550"/>
                <a:gd name="connsiteY65" fmla="*/ 958850 h 3282950"/>
                <a:gd name="connsiteX66" fmla="*/ 254000 w 3130550"/>
                <a:gd name="connsiteY66" fmla="*/ 955675 h 3282950"/>
                <a:gd name="connsiteX67" fmla="*/ 257175 w 3130550"/>
                <a:gd name="connsiteY67" fmla="*/ 892175 h 3282950"/>
                <a:gd name="connsiteX68" fmla="*/ 196850 w 3130550"/>
                <a:gd name="connsiteY68" fmla="*/ 892175 h 3282950"/>
                <a:gd name="connsiteX69" fmla="*/ 200025 w 3130550"/>
                <a:gd name="connsiteY69" fmla="*/ 768350 h 3282950"/>
                <a:gd name="connsiteX70" fmla="*/ 184150 w 3130550"/>
                <a:gd name="connsiteY70" fmla="*/ 679450 h 3282950"/>
                <a:gd name="connsiteX71" fmla="*/ 180975 w 3130550"/>
                <a:gd name="connsiteY71" fmla="*/ 615950 h 3282950"/>
                <a:gd name="connsiteX72" fmla="*/ 146050 w 3130550"/>
                <a:gd name="connsiteY72" fmla="*/ 612775 h 3282950"/>
                <a:gd name="connsiteX73" fmla="*/ 149225 w 3130550"/>
                <a:gd name="connsiteY73" fmla="*/ 539750 h 3282950"/>
                <a:gd name="connsiteX74" fmla="*/ 130175 w 3130550"/>
                <a:gd name="connsiteY74" fmla="*/ 533400 h 3282950"/>
                <a:gd name="connsiteX75" fmla="*/ 133350 w 3130550"/>
                <a:gd name="connsiteY75" fmla="*/ 479425 h 3282950"/>
                <a:gd name="connsiteX76" fmla="*/ 120650 w 3130550"/>
                <a:gd name="connsiteY76" fmla="*/ 482600 h 3282950"/>
                <a:gd name="connsiteX77" fmla="*/ 117475 w 3130550"/>
                <a:gd name="connsiteY77" fmla="*/ 415925 h 3282950"/>
                <a:gd name="connsiteX78" fmla="*/ 107950 w 3130550"/>
                <a:gd name="connsiteY78" fmla="*/ 415925 h 3282950"/>
                <a:gd name="connsiteX79" fmla="*/ 101600 w 3130550"/>
                <a:gd name="connsiteY79" fmla="*/ 339725 h 3282950"/>
                <a:gd name="connsiteX80" fmla="*/ 85725 w 3130550"/>
                <a:gd name="connsiteY80" fmla="*/ 333375 h 3282950"/>
                <a:gd name="connsiteX81" fmla="*/ 92075 w 3130550"/>
                <a:gd name="connsiteY81" fmla="*/ 298450 h 3282950"/>
                <a:gd name="connsiteX82" fmla="*/ 85725 w 3130550"/>
                <a:gd name="connsiteY82" fmla="*/ 295275 h 3282950"/>
                <a:gd name="connsiteX83" fmla="*/ 85725 w 3130550"/>
                <a:gd name="connsiteY83" fmla="*/ 225425 h 3282950"/>
                <a:gd name="connsiteX84" fmla="*/ 66675 w 3130550"/>
                <a:gd name="connsiteY84" fmla="*/ 225425 h 3282950"/>
                <a:gd name="connsiteX85" fmla="*/ 69850 w 3130550"/>
                <a:gd name="connsiteY85" fmla="*/ 161925 h 3282950"/>
                <a:gd name="connsiteX86" fmla="*/ 60325 w 3130550"/>
                <a:gd name="connsiteY86" fmla="*/ 161925 h 3282950"/>
                <a:gd name="connsiteX87" fmla="*/ 60325 w 3130550"/>
                <a:gd name="connsiteY87" fmla="*/ 133350 h 3282950"/>
                <a:gd name="connsiteX88" fmla="*/ 50800 w 3130550"/>
                <a:gd name="connsiteY88" fmla="*/ 136525 h 3282950"/>
                <a:gd name="connsiteX89" fmla="*/ 53975 w 3130550"/>
                <a:gd name="connsiteY89" fmla="*/ 104775 h 3282950"/>
                <a:gd name="connsiteX90" fmla="*/ 44450 w 3130550"/>
                <a:gd name="connsiteY90" fmla="*/ 104775 h 3282950"/>
                <a:gd name="connsiteX91" fmla="*/ 50800 w 3130550"/>
                <a:gd name="connsiteY91" fmla="*/ 76200 h 3282950"/>
                <a:gd name="connsiteX92" fmla="*/ 31750 w 3130550"/>
                <a:gd name="connsiteY92" fmla="*/ 73025 h 3282950"/>
                <a:gd name="connsiteX93" fmla="*/ 34925 w 3130550"/>
                <a:gd name="connsiteY93" fmla="*/ 38100 h 3282950"/>
                <a:gd name="connsiteX94" fmla="*/ 28575 w 3130550"/>
                <a:gd name="connsiteY94" fmla="*/ 31750 h 3282950"/>
                <a:gd name="connsiteX95" fmla="*/ 28575 w 3130550"/>
                <a:gd name="connsiteY95" fmla="*/ 0 h 3282950"/>
                <a:gd name="connsiteX96" fmla="*/ 0 w 3130550"/>
                <a:gd name="connsiteY96"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0775 w 3130550"/>
                <a:gd name="connsiteY11" fmla="*/ 2762250 h 3282950"/>
                <a:gd name="connsiteX12" fmla="*/ 1123950 w 3130550"/>
                <a:gd name="connsiteY12" fmla="*/ 264477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271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174625 w 3130550"/>
                <a:gd name="connsiteY32" fmla="*/ 2365375 h 3282950"/>
                <a:gd name="connsiteX33" fmla="*/ 742950 w 3130550"/>
                <a:gd name="connsiteY33" fmla="*/ 2124075 h 3282950"/>
                <a:gd name="connsiteX34" fmla="*/ 749300 w 3130550"/>
                <a:gd name="connsiteY34" fmla="*/ 2035175 h 3282950"/>
                <a:gd name="connsiteX35" fmla="*/ 679450 w 3130550"/>
                <a:gd name="connsiteY35" fmla="*/ 2035175 h 3282950"/>
                <a:gd name="connsiteX36" fmla="*/ 688975 w 3130550"/>
                <a:gd name="connsiteY36" fmla="*/ 1958975 h 3282950"/>
                <a:gd name="connsiteX37" fmla="*/ 679450 w 3130550"/>
                <a:gd name="connsiteY37" fmla="*/ 1933575 h 3282950"/>
                <a:gd name="connsiteX38" fmla="*/ 279400 w 3130550"/>
                <a:gd name="connsiteY38" fmla="*/ 2003425 h 3282950"/>
                <a:gd name="connsiteX39" fmla="*/ 660400 w 3130550"/>
                <a:gd name="connsiteY39" fmla="*/ 1933575 h 3282950"/>
                <a:gd name="connsiteX40" fmla="*/ 666750 w 3130550"/>
                <a:gd name="connsiteY40" fmla="*/ 1889125 h 3282950"/>
                <a:gd name="connsiteX41" fmla="*/ 666750 w 3130550"/>
                <a:gd name="connsiteY41" fmla="*/ 1860550 h 3282950"/>
                <a:gd name="connsiteX42" fmla="*/ 25400 w 3130550"/>
                <a:gd name="connsiteY42" fmla="*/ 1930400 h 3282950"/>
                <a:gd name="connsiteX43" fmla="*/ 647700 w 3130550"/>
                <a:gd name="connsiteY43" fmla="*/ 1863725 h 3282950"/>
                <a:gd name="connsiteX44" fmla="*/ 654050 w 3130550"/>
                <a:gd name="connsiteY44" fmla="*/ 1831975 h 3282950"/>
                <a:gd name="connsiteX45" fmla="*/ 625475 w 3130550"/>
                <a:gd name="connsiteY45" fmla="*/ 1828800 h 3282950"/>
                <a:gd name="connsiteX46" fmla="*/ 625475 w 3130550"/>
                <a:gd name="connsiteY46" fmla="*/ 1774825 h 3282950"/>
                <a:gd name="connsiteX47" fmla="*/ 596900 w 3130550"/>
                <a:gd name="connsiteY47" fmla="*/ 1774825 h 3282950"/>
                <a:gd name="connsiteX48" fmla="*/ 600075 w 3130550"/>
                <a:gd name="connsiteY48" fmla="*/ 1736725 h 3282950"/>
                <a:gd name="connsiteX49" fmla="*/ 558800 w 3130550"/>
                <a:gd name="connsiteY49" fmla="*/ 1733550 h 3282950"/>
                <a:gd name="connsiteX50" fmla="*/ 565150 w 3130550"/>
                <a:gd name="connsiteY50" fmla="*/ 1673225 h 3282950"/>
                <a:gd name="connsiteX51" fmla="*/ 565150 w 3130550"/>
                <a:gd name="connsiteY51" fmla="*/ 1673225 h 3282950"/>
                <a:gd name="connsiteX52" fmla="*/ 536575 w 3130550"/>
                <a:gd name="connsiteY52" fmla="*/ 1670050 h 3282950"/>
                <a:gd name="connsiteX53" fmla="*/ 539750 w 3130550"/>
                <a:gd name="connsiteY53" fmla="*/ 1593850 h 3282950"/>
                <a:gd name="connsiteX54" fmla="*/ 508000 w 3130550"/>
                <a:gd name="connsiteY54" fmla="*/ 1593850 h 3282950"/>
                <a:gd name="connsiteX55" fmla="*/ 469900 w 3130550"/>
                <a:gd name="connsiteY55" fmla="*/ 1409700 h 3282950"/>
                <a:gd name="connsiteX56" fmla="*/ 444500 w 3130550"/>
                <a:gd name="connsiteY56" fmla="*/ 1292225 h 3282950"/>
                <a:gd name="connsiteX57" fmla="*/ 444500 w 3130550"/>
                <a:gd name="connsiteY57" fmla="*/ 1292225 h 3282950"/>
                <a:gd name="connsiteX58" fmla="*/ 396875 w 3130550"/>
                <a:gd name="connsiteY58" fmla="*/ 1266825 h 3282950"/>
                <a:gd name="connsiteX59" fmla="*/ 365125 w 3130550"/>
                <a:gd name="connsiteY59" fmla="*/ 1184275 h 3282950"/>
                <a:gd name="connsiteX60" fmla="*/ 368300 w 3130550"/>
                <a:gd name="connsiteY60" fmla="*/ 1095375 h 3282950"/>
                <a:gd name="connsiteX61" fmla="*/ 276225 w 3130550"/>
                <a:gd name="connsiteY61" fmla="*/ 1095375 h 3282950"/>
                <a:gd name="connsiteX62" fmla="*/ 285750 w 3130550"/>
                <a:gd name="connsiteY62" fmla="*/ 1047750 h 3282950"/>
                <a:gd name="connsiteX63" fmla="*/ 273050 w 3130550"/>
                <a:gd name="connsiteY63" fmla="*/ 1047750 h 3282950"/>
                <a:gd name="connsiteX64" fmla="*/ 276225 w 3130550"/>
                <a:gd name="connsiteY64" fmla="*/ 958850 h 3282950"/>
                <a:gd name="connsiteX65" fmla="*/ 254000 w 3130550"/>
                <a:gd name="connsiteY65" fmla="*/ 955675 h 3282950"/>
                <a:gd name="connsiteX66" fmla="*/ 257175 w 3130550"/>
                <a:gd name="connsiteY66" fmla="*/ 892175 h 3282950"/>
                <a:gd name="connsiteX67" fmla="*/ 196850 w 3130550"/>
                <a:gd name="connsiteY67" fmla="*/ 892175 h 3282950"/>
                <a:gd name="connsiteX68" fmla="*/ 200025 w 3130550"/>
                <a:gd name="connsiteY68" fmla="*/ 768350 h 3282950"/>
                <a:gd name="connsiteX69" fmla="*/ 184150 w 3130550"/>
                <a:gd name="connsiteY69" fmla="*/ 679450 h 3282950"/>
                <a:gd name="connsiteX70" fmla="*/ 180975 w 3130550"/>
                <a:gd name="connsiteY70" fmla="*/ 615950 h 3282950"/>
                <a:gd name="connsiteX71" fmla="*/ 146050 w 3130550"/>
                <a:gd name="connsiteY71" fmla="*/ 612775 h 3282950"/>
                <a:gd name="connsiteX72" fmla="*/ 149225 w 3130550"/>
                <a:gd name="connsiteY72" fmla="*/ 539750 h 3282950"/>
                <a:gd name="connsiteX73" fmla="*/ 130175 w 3130550"/>
                <a:gd name="connsiteY73" fmla="*/ 533400 h 3282950"/>
                <a:gd name="connsiteX74" fmla="*/ 133350 w 3130550"/>
                <a:gd name="connsiteY74" fmla="*/ 479425 h 3282950"/>
                <a:gd name="connsiteX75" fmla="*/ 120650 w 3130550"/>
                <a:gd name="connsiteY75" fmla="*/ 482600 h 3282950"/>
                <a:gd name="connsiteX76" fmla="*/ 117475 w 3130550"/>
                <a:gd name="connsiteY76" fmla="*/ 415925 h 3282950"/>
                <a:gd name="connsiteX77" fmla="*/ 107950 w 3130550"/>
                <a:gd name="connsiteY77" fmla="*/ 415925 h 3282950"/>
                <a:gd name="connsiteX78" fmla="*/ 101600 w 3130550"/>
                <a:gd name="connsiteY78" fmla="*/ 339725 h 3282950"/>
                <a:gd name="connsiteX79" fmla="*/ 85725 w 3130550"/>
                <a:gd name="connsiteY79" fmla="*/ 333375 h 3282950"/>
                <a:gd name="connsiteX80" fmla="*/ 92075 w 3130550"/>
                <a:gd name="connsiteY80" fmla="*/ 298450 h 3282950"/>
                <a:gd name="connsiteX81" fmla="*/ 85725 w 3130550"/>
                <a:gd name="connsiteY81" fmla="*/ 295275 h 3282950"/>
                <a:gd name="connsiteX82" fmla="*/ 85725 w 3130550"/>
                <a:gd name="connsiteY82" fmla="*/ 225425 h 3282950"/>
                <a:gd name="connsiteX83" fmla="*/ 66675 w 3130550"/>
                <a:gd name="connsiteY83" fmla="*/ 225425 h 3282950"/>
                <a:gd name="connsiteX84" fmla="*/ 69850 w 3130550"/>
                <a:gd name="connsiteY84" fmla="*/ 161925 h 3282950"/>
                <a:gd name="connsiteX85" fmla="*/ 60325 w 3130550"/>
                <a:gd name="connsiteY85" fmla="*/ 161925 h 3282950"/>
                <a:gd name="connsiteX86" fmla="*/ 60325 w 3130550"/>
                <a:gd name="connsiteY86" fmla="*/ 133350 h 3282950"/>
                <a:gd name="connsiteX87" fmla="*/ 50800 w 3130550"/>
                <a:gd name="connsiteY87" fmla="*/ 136525 h 3282950"/>
                <a:gd name="connsiteX88" fmla="*/ 53975 w 3130550"/>
                <a:gd name="connsiteY88" fmla="*/ 104775 h 3282950"/>
                <a:gd name="connsiteX89" fmla="*/ 44450 w 3130550"/>
                <a:gd name="connsiteY89" fmla="*/ 104775 h 3282950"/>
                <a:gd name="connsiteX90" fmla="*/ 50800 w 3130550"/>
                <a:gd name="connsiteY90" fmla="*/ 76200 h 3282950"/>
                <a:gd name="connsiteX91" fmla="*/ 31750 w 3130550"/>
                <a:gd name="connsiteY91" fmla="*/ 73025 h 3282950"/>
                <a:gd name="connsiteX92" fmla="*/ 34925 w 3130550"/>
                <a:gd name="connsiteY92" fmla="*/ 38100 h 3282950"/>
                <a:gd name="connsiteX93" fmla="*/ 28575 w 3130550"/>
                <a:gd name="connsiteY93" fmla="*/ 31750 h 3282950"/>
                <a:gd name="connsiteX94" fmla="*/ 28575 w 3130550"/>
                <a:gd name="connsiteY94" fmla="*/ 0 h 3282950"/>
                <a:gd name="connsiteX95" fmla="*/ 0 w 3130550"/>
                <a:gd name="connsiteY95"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0775 w 3130550"/>
                <a:gd name="connsiteY11" fmla="*/ 2762250 h 3282950"/>
                <a:gd name="connsiteX12" fmla="*/ 1123950 w 3130550"/>
                <a:gd name="connsiteY12" fmla="*/ 264477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271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174625 w 3130550"/>
                <a:gd name="connsiteY32" fmla="*/ 2365375 h 3282950"/>
                <a:gd name="connsiteX33" fmla="*/ 742950 w 3130550"/>
                <a:gd name="connsiteY33" fmla="*/ 2124075 h 3282950"/>
                <a:gd name="connsiteX34" fmla="*/ 749300 w 3130550"/>
                <a:gd name="connsiteY34" fmla="*/ 2035175 h 3282950"/>
                <a:gd name="connsiteX35" fmla="*/ 679450 w 3130550"/>
                <a:gd name="connsiteY35" fmla="*/ 2035175 h 3282950"/>
                <a:gd name="connsiteX36" fmla="*/ 688975 w 3130550"/>
                <a:gd name="connsiteY36" fmla="*/ 1958975 h 3282950"/>
                <a:gd name="connsiteX37" fmla="*/ 679450 w 3130550"/>
                <a:gd name="connsiteY37" fmla="*/ 1933575 h 3282950"/>
                <a:gd name="connsiteX38" fmla="*/ 279400 w 3130550"/>
                <a:gd name="connsiteY38" fmla="*/ 2003425 h 3282950"/>
                <a:gd name="connsiteX39" fmla="*/ 660400 w 3130550"/>
                <a:gd name="connsiteY39" fmla="*/ 1933575 h 3282950"/>
                <a:gd name="connsiteX40" fmla="*/ 666750 w 3130550"/>
                <a:gd name="connsiteY40" fmla="*/ 1889125 h 3282950"/>
                <a:gd name="connsiteX41" fmla="*/ 666750 w 3130550"/>
                <a:gd name="connsiteY41" fmla="*/ 1860550 h 3282950"/>
                <a:gd name="connsiteX42" fmla="*/ 647700 w 3130550"/>
                <a:gd name="connsiteY42" fmla="*/ 1863725 h 3282950"/>
                <a:gd name="connsiteX43" fmla="*/ 654050 w 3130550"/>
                <a:gd name="connsiteY43" fmla="*/ 1831975 h 3282950"/>
                <a:gd name="connsiteX44" fmla="*/ 625475 w 3130550"/>
                <a:gd name="connsiteY44" fmla="*/ 1828800 h 3282950"/>
                <a:gd name="connsiteX45" fmla="*/ 625475 w 3130550"/>
                <a:gd name="connsiteY45" fmla="*/ 1774825 h 3282950"/>
                <a:gd name="connsiteX46" fmla="*/ 596900 w 3130550"/>
                <a:gd name="connsiteY46" fmla="*/ 1774825 h 3282950"/>
                <a:gd name="connsiteX47" fmla="*/ 600075 w 3130550"/>
                <a:gd name="connsiteY47" fmla="*/ 1736725 h 3282950"/>
                <a:gd name="connsiteX48" fmla="*/ 558800 w 3130550"/>
                <a:gd name="connsiteY48" fmla="*/ 1733550 h 3282950"/>
                <a:gd name="connsiteX49" fmla="*/ 565150 w 3130550"/>
                <a:gd name="connsiteY49" fmla="*/ 1673225 h 3282950"/>
                <a:gd name="connsiteX50" fmla="*/ 565150 w 3130550"/>
                <a:gd name="connsiteY50" fmla="*/ 1673225 h 3282950"/>
                <a:gd name="connsiteX51" fmla="*/ 536575 w 3130550"/>
                <a:gd name="connsiteY51" fmla="*/ 1670050 h 3282950"/>
                <a:gd name="connsiteX52" fmla="*/ 539750 w 3130550"/>
                <a:gd name="connsiteY52" fmla="*/ 1593850 h 3282950"/>
                <a:gd name="connsiteX53" fmla="*/ 508000 w 3130550"/>
                <a:gd name="connsiteY53" fmla="*/ 1593850 h 3282950"/>
                <a:gd name="connsiteX54" fmla="*/ 469900 w 3130550"/>
                <a:gd name="connsiteY54" fmla="*/ 1409700 h 3282950"/>
                <a:gd name="connsiteX55" fmla="*/ 444500 w 3130550"/>
                <a:gd name="connsiteY55" fmla="*/ 1292225 h 3282950"/>
                <a:gd name="connsiteX56" fmla="*/ 444500 w 3130550"/>
                <a:gd name="connsiteY56" fmla="*/ 1292225 h 3282950"/>
                <a:gd name="connsiteX57" fmla="*/ 396875 w 3130550"/>
                <a:gd name="connsiteY57" fmla="*/ 1266825 h 3282950"/>
                <a:gd name="connsiteX58" fmla="*/ 365125 w 3130550"/>
                <a:gd name="connsiteY58" fmla="*/ 1184275 h 3282950"/>
                <a:gd name="connsiteX59" fmla="*/ 368300 w 3130550"/>
                <a:gd name="connsiteY59" fmla="*/ 1095375 h 3282950"/>
                <a:gd name="connsiteX60" fmla="*/ 276225 w 3130550"/>
                <a:gd name="connsiteY60" fmla="*/ 1095375 h 3282950"/>
                <a:gd name="connsiteX61" fmla="*/ 285750 w 3130550"/>
                <a:gd name="connsiteY61" fmla="*/ 1047750 h 3282950"/>
                <a:gd name="connsiteX62" fmla="*/ 273050 w 3130550"/>
                <a:gd name="connsiteY62" fmla="*/ 1047750 h 3282950"/>
                <a:gd name="connsiteX63" fmla="*/ 276225 w 3130550"/>
                <a:gd name="connsiteY63" fmla="*/ 958850 h 3282950"/>
                <a:gd name="connsiteX64" fmla="*/ 254000 w 3130550"/>
                <a:gd name="connsiteY64" fmla="*/ 955675 h 3282950"/>
                <a:gd name="connsiteX65" fmla="*/ 257175 w 3130550"/>
                <a:gd name="connsiteY65" fmla="*/ 892175 h 3282950"/>
                <a:gd name="connsiteX66" fmla="*/ 196850 w 3130550"/>
                <a:gd name="connsiteY66" fmla="*/ 892175 h 3282950"/>
                <a:gd name="connsiteX67" fmla="*/ 200025 w 3130550"/>
                <a:gd name="connsiteY67" fmla="*/ 768350 h 3282950"/>
                <a:gd name="connsiteX68" fmla="*/ 184150 w 3130550"/>
                <a:gd name="connsiteY68" fmla="*/ 679450 h 3282950"/>
                <a:gd name="connsiteX69" fmla="*/ 180975 w 3130550"/>
                <a:gd name="connsiteY69" fmla="*/ 615950 h 3282950"/>
                <a:gd name="connsiteX70" fmla="*/ 146050 w 3130550"/>
                <a:gd name="connsiteY70" fmla="*/ 612775 h 3282950"/>
                <a:gd name="connsiteX71" fmla="*/ 149225 w 3130550"/>
                <a:gd name="connsiteY71" fmla="*/ 539750 h 3282950"/>
                <a:gd name="connsiteX72" fmla="*/ 130175 w 3130550"/>
                <a:gd name="connsiteY72" fmla="*/ 533400 h 3282950"/>
                <a:gd name="connsiteX73" fmla="*/ 133350 w 3130550"/>
                <a:gd name="connsiteY73" fmla="*/ 479425 h 3282950"/>
                <a:gd name="connsiteX74" fmla="*/ 120650 w 3130550"/>
                <a:gd name="connsiteY74" fmla="*/ 482600 h 3282950"/>
                <a:gd name="connsiteX75" fmla="*/ 117475 w 3130550"/>
                <a:gd name="connsiteY75" fmla="*/ 415925 h 3282950"/>
                <a:gd name="connsiteX76" fmla="*/ 107950 w 3130550"/>
                <a:gd name="connsiteY76" fmla="*/ 415925 h 3282950"/>
                <a:gd name="connsiteX77" fmla="*/ 101600 w 3130550"/>
                <a:gd name="connsiteY77" fmla="*/ 339725 h 3282950"/>
                <a:gd name="connsiteX78" fmla="*/ 85725 w 3130550"/>
                <a:gd name="connsiteY78" fmla="*/ 333375 h 3282950"/>
                <a:gd name="connsiteX79" fmla="*/ 92075 w 3130550"/>
                <a:gd name="connsiteY79" fmla="*/ 298450 h 3282950"/>
                <a:gd name="connsiteX80" fmla="*/ 85725 w 3130550"/>
                <a:gd name="connsiteY80" fmla="*/ 295275 h 3282950"/>
                <a:gd name="connsiteX81" fmla="*/ 85725 w 3130550"/>
                <a:gd name="connsiteY81" fmla="*/ 225425 h 3282950"/>
                <a:gd name="connsiteX82" fmla="*/ 66675 w 3130550"/>
                <a:gd name="connsiteY82" fmla="*/ 225425 h 3282950"/>
                <a:gd name="connsiteX83" fmla="*/ 69850 w 3130550"/>
                <a:gd name="connsiteY83" fmla="*/ 161925 h 3282950"/>
                <a:gd name="connsiteX84" fmla="*/ 60325 w 3130550"/>
                <a:gd name="connsiteY84" fmla="*/ 161925 h 3282950"/>
                <a:gd name="connsiteX85" fmla="*/ 60325 w 3130550"/>
                <a:gd name="connsiteY85" fmla="*/ 133350 h 3282950"/>
                <a:gd name="connsiteX86" fmla="*/ 50800 w 3130550"/>
                <a:gd name="connsiteY86" fmla="*/ 136525 h 3282950"/>
                <a:gd name="connsiteX87" fmla="*/ 53975 w 3130550"/>
                <a:gd name="connsiteY87" fmla="*/ 104775 h 3282950"/>
                <a:gd name="connsiteX88" fmla="*/ 44450 w 3130550"/>
                <a:gd name="connsiteY88" fmla="*/ 104775 h 3282950"/>
                <a:gd name="connsiteX89" fmla="*/ 50800 w 3130550"/>
                <a:gd name="connsiteY89" fmla="*/ 76200 h 3282950"/>
                <a:gd name="connsiteX90" fmla="*/ 31750 w 3130550"/>
                <a:gd name="connsiteY90" fmla="*/ 73025 h 3282950"/>
                <a:gd name="connsiteX91" fmla="*/ 34925 w 3130550"/>
                <a:gd name="connsiteY91" fmla="*/ 38100 h 3282950"/>
                <a:gd name="connsiteX92" fmla="*/ 28575 w 3130550"/>
                <a:gd name="connsiteY92" fmla="*/ 31750 h 3282950"/>
                <a:gd name="connsiteX93" fmla="*/ 28575 w 3130550"/>
                <a:gd name="connsiteY93" fmla="*/ 0 h 3282950"/>
                <a:gd name="connsiteX94" fmla="*/ 0 w 3130550"/>
                <a:gd name="connsiteY94"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0775 w 3130550"/>
                <a:gd name="connsiteY11" fmla="*/ 2762250 h 3282950"/>
                <a:gd name="connsiteX12" fmla="*/ 1123950 w 3130550"/>
                <a:gd name="connsiteY12" fmla="*/ 264477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271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174625 w 3130550"/>
                <a:gd name="connsiteY32" fmla="*/ 2365375 h 3282950"/>
                <a:gd name="connsiteX33" fmla="*/ 742950 w 3130550"/>
                <a:gd name="connsiteY33" fmla="*/ 2124075 h 3282950"/>
                <a:gd name="connsiteX34" fmla="*/ 749300 w 3130550"/>
                <a:gd name="connsiteY34" fmla="*/ 2035175 h 3282950"/>
                <a:gd name="connsiteX35" fmla="*/ 679450 w 3130550"/>
                <a:gd name="connsiteY35" fmla="*/ 2035175 h 3282950"/>
                <a:gd name="connsiteX36" fmla="*/ 688975 w 3130550"/>
                <a:gd name="connsiteY36" fmla="*/ 1958975 h 3282950"/>
                <a:gd name="connsiteX37" fmla="*/ 679450 w 3130550"/>
                <a:gd name="connsiteY37" fmla="*/ 1933575 h 3282950"/>
                <a:gd name="connsiteX38" fmla="*/ 660400 w 3130550"/>
                <a:gd name="connsiteY38" fmla="*/ 1933575 h 3282950"/>
                <a:gd name="connsiteX39" fmla="*/ 666750 w 3130550"/>
                <a:gd name="connsiteY39" fmla="*/ 1889125 h 3282950"/>
                <a:gd name="connsiteX40" fmla="*/ 666750 w 3130550"/>
                <a:gd name="connsiteY40" fmla="*/ 1860550 h 3282950"/>
                <a:gd name="connsiteX41" fmla="*/ 647700 w 3130550"/>
                <a:gd name="connsiteY41" fmla="*/ 1863725 h 3282950"/>
                <a:gd name="connsiteX42" fmla="*/ 654050 w 3130550"/>
                <a:gd name="connsiteY42" fmla="*/ 1831975 h 3282950"/>
                <a:gd name="connsiteX43" fmla="*/ 625475 w 3130550"/>
                <a:gd name="connsiteY43" fmla="*/ 1828800 h 3282950"/>
                <a:gd name="connsiteX44" fmla="*/ 625475 w 3130550"/>
                <a:gd name="connsiteY44" fmla="*/ 1774825 h 3282950"/>
                <a:gd name="connsiteX45" fmla="*/ 596900 w 3130550"/>
                <a:gd name="connsiteY45" fmla="*/ 1774825 h 3282950"/>
                <a:gd name="connsiteX46" fmla="*/ 600075 w 3130550"/>
                <a:gd name="connsiteY46" fmla="*/ 1736725 h 3282950"/>
                <a:gd name="connsiteX47" fmla="*/ 558800 w 3130550"/>
                <a:gd name="connsiteY47" fmla="*/ 1733550 h 3282950"/>
                <a:gd name="connsiteX48" fmla="*/ 565150 w 3130550"/>
                <a:gd name="connsiteY48" fmla="*/ 1673225 h 3282950"/>
                <a:gd name="connsiteX49" fmla="*/ 565150 w 3130550"/>
                <a:gd name="connsiteY49" fmla="*/ 1673225 h 3282950"/>
                <a:gd name="connsiteX50" fmla="*/ 536575 w 3130550"/>
                <a:gd name="connsiteY50" fmla="*/ 1670050 h 3282950"/>
                <a:gd name="connsiteX51" fmla="*/ 539750 w 3130550"/>
                <a:gd name="connsiteY51" fmla="*/ 1593850 h 3282950"/>
                <a:gd name="connsiteX52" fmla="*/ 508000 w 3130550"/>
                <a:gd name="connsiteY52" fmla="*/ 1593850 h 3282950"/>
                <a:gd name="connsiteX53" fmla="*/ 469900 w 3130550"/>
                <a:gd name="connsiteY53" fmla="*/ 1409700 h 3282950"/>
                <a:gd name="connsiteX54" fmla="*/ 444500 w 3130550"/>
                <a:gd name="connsiteY54" fmla="*/ 1292225 h 3282950"/>
                <a:gd name="connsiteX55" fmla="*/ 444500 w 3130550"/>
                <a:gd name="connsiteY55" fmla="*/ 1292225 h 3282950"/>
                <a:gd name="connsiteX56" fmla="*/ 396875 w 3130550"/>
                <a:gd name="connsiteY56" fmla="*/ 1266825 h 3282950"/>
                <a:gd name="connsiteX57" fmla="*/ 365125 w 3130550"/>
                <a:gd name="connsiteY57" fmla="*/ 1184275 h 3282950"/>
                <a:gd name="connsiteX58" fmla="*/ 368300 w 3130550"/>
                <a:gd name="connsiteY58" fmla="*/ 1095375 h 3282950"/>
                <a:gd name="connsiteX59" fmla="*/ 276225 w 3130550"/>
                <a:gd name="connsiteY59" fmla="*/ 1095375 h 3282950"/>
                <a:gd name="connsiteX60" fmla="*/ 285750 w 3130550"/>
                <a:gd name="connsiteY60" fmla="*/ 1047750 h 3282950"/>
                <a:gd name="connsiteX61" fmla="*/ 273050 w 3130550"/>
                <a:gd name="connsiteY61" fmla="*/ 1047750 h 3282950"/>
                <a:gd name="connsiteX62" fmla="*/ 276225 w 3130550"/>
                <a:gd name="connsiteY62" fmla="*/ 958850 h 3282950"/>
                <a:gd name="connsiteX63" fmla="*/ 254000 w 3130550"/>
                <a:gd name="connsiteY63" fmla="*/ 955675 h 3282950"/>
                <a:gd name="connsiteX64" fmla="*/ 257175 w 3130550"/>
                <a:gd name="connsiteY64" fmla="*/ 892175 h 3282950"/>
                <a:gd name="connsiteX65" fmla="*/ 196850 w 3130550"/>
                <a:gd name="connsiteY65" fmla="*/ 892175 h 3282950"/>
                <a:gd name="connsiteX66" fmla="*/ 200025 w 3130550"/>
                <a:gd name="connsiteY66" fmla="*/ 768350 h 3282950"/>
                <a:gd name="connsiteX67" fmla="*/ 184150 w 3130550"/>
                <a:gd name="connsiteY67" fmla="*/ 679450 h 3282950"/>
                <a:gd name="connsiteX68" fmla="*/ 180975 w 3130550"/>
                <a:gd name="connsiteY68" fmla="*/ 615950 h 3282950"/>
                <a:gd name="connsiteX69" fmla="*/ 146050 w 3130550"/>
                <a:gd name="connsiteY69" fmla="*/ 612775 h 3282950"/>
                <a:gd name="connsiteX70" fmla="*/ 149225 w 3130550"/>
                <a:gd name="connsiteY70" fmla="*/ 539750 h 3282950"/>
                <a:gd name="connsiteX71" fmla="*/ 130175 w 3130550"/>
                <a:gd name="connsiteY71" fmla="*/ 533400 h 3282950"/>
                <a:gd name="connsiteX72" fmla="*/ 133350 w 3130550"/>
                <a:gd name="connsiteY72" fmla="*/ 479425 h 3282950"/>
                <a:gd name="connsiteX73" fmla="*/ 120650 w 3130550"/>
                <a:gd name="connsiteY73" fmla="*/ 482600 h 3282950"/>
                <a:gd name="connsiteX74" fmla="*/ 117475 w 3130550"/>
                <a:gd name="connsiteY74" fmla="*/ 415925 h 3282950"/>
                <a:gd name="connsiteX75" fmla="*/ 107950 w 3130550"/>
                <a:gd name="connsiteY75" fmla="*/ 415925 h 3282950"/>
                <a:gd name="connsiteX76" fmla="*/ 101600 w 3130550"/>
                <a:gd name="connsiteY76" fmla="*/ 339725 h 3282950"/>
                <a:gd name="connsiteX77" fmla="*/ 85725 w 3130550"/>
                <a:gd name="connsiteY77" fmla="*/ 333375 h 3282950"/>
                <a:gd name="connsiteX78" fmla="*/ 92075 w 3130550"/>
                <a:gd name="connsiteY78" fmla="*/ 298450 h 3282950"/>
                <a:gd name="connsiteX79" fmla="*/ 85725 w 3130550"/>
                <a:gd name="connsiteY79" fmla="*/ 295275 h 3282950"/>
                <a:gd name="connsiteX80" fmla="*/ 85725 w 3130550"/>
                <a:gd name="connsiteY80" fmla="*/ 225425 h 3282950"/>
                <a:gd name="connsiteX81" fmla="*/ 66675 w 3130550"/>
                <a:gd name="connsiteY81" fmla="*/ 225425 h 3282950"/>
                <a:gd name="connsiteX82" fmla="*/ 69850 w 3130550"/>
                <a:gd name="connsiteY82" fmla="*/ 161925 h 3282950"/>
                <a:gd name="connsiteX83" fmla="*/ 60325 w 3130550"/>
                <a:gd name="connsiteY83" fmla="*/ 161925 h 3282950"/>
                <a:gd name="connsiteX84" fmla="*/ 60325 w 3130550"/>
                <a:gd name="connsiteY84" fmla="*/ 133350 h 3282950"/>
                <a:gd name="connsiteX85" fmla="*/ 50800 w 3130550"/>
                <a:gd name="connsiteY85" fmla="*/ 136525 h 3282950"/>
                <a:gd name="connsiteX86" fmla="*/ 53975 w 3130550"/>
                <a:gd name="connsiteY86" fmla="*/ 104775 h 3282950"/>
                <a:gd name="connsiteX87" fmla="*/ 44450 w 3130550"/>
                <a:gd name="connsiteY87" fmla="*/ 104775 h 3282950"/>
                <a:gd name="connsiteX88" fmla="*/ 50800 w 3130550"/>
                <a:gd name="connsiteY88" fmla="*/ 76200 h 3282950"/>
                <a:gd name="connsiteX89" fmla="*/ 31750 w 3130550"/>
                <a:gd name="connsiteY89" fmla="*/ 73025 h 3282950"/>
                <a:gd name="connsiteX90" fmla="*/ 34925 w 3130550"/>
                <a:gd name="connsiteY90" fmla="*/ 38100 h 3282950"/>
                <a:gd name="connsiteX91" fmla="*/ 28575 w 3130550"/>
                <a:gd name="connsiteY91" fmla="*/ 31750 h 3282950"/>
                <a:gd name="connsiteX92" fmla="*/ 28575 w 3130550"/>
                <a:gd name="connsiteY92" fmla="*/ 0 h 3282950"/>
                <a:gd name="connsiteX93" fmla="*/ 0 w 3130550"/>
                <a:gd name="connsiteY93"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0775 w 3130550"/>
                <a:gd name="connsiteY11" fmla="*/ 2762250 h 3282950"/>
                <a:gd name="connsiteX12" fmla="*/ 1123950 w 3130550"/>
                <a:gd name="connsiteY12" fmla="*/ 264477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271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79450 w 3130550"/>
                <a:gd name="connsiteY34" fmla="*/ 2035175 h 3282950"/>
                <a:gd name="connsiteX35" fmla="*/ 688975 w 3130550"/>
                <a:gd name="connsiteY35" fmla="*/ 195897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69900 w 3130550"/>
                <a:gd name="connsiteY52" fmla="*/ 1409700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0775 w 3130550"/>
                <a:gd name="connsiteY11" fmla="*/ 2762250 h 3282950"/>
                <a:gd name="connsiteX12" fmla="*/ 1123950 w 3130550"/>
                <a:gd name="connsiteY12" fmla="*/ 264477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271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82625 w 3130550"/>
                <a:gd name="connsiteY34" fmla="*/ 2028825 h 3282950"/>
                <a:gd name="connsiteX35" fmla="*/ 688975 w 3130550"/>
                <a:gd name="connsiteY35" fmla="*/ 195897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69900 w 3130550"/>
                <a:gd name="connsiteY52" fmla="*/ 1409700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0775 w 3130550"/>
                <a:gd name="connsiteY11" fmla="*/ 2762250 h 3282950"/>
                <a:gd name="connsiteX12" fmla="*/ 1123950 w 3130550"/>
                <a:gd name="connsiteY12" fmla="*/ 264477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144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82625 w 3130550"/>
                <a:gd name="connsiteY34" fmla="*/ 2028825 h 3282950"/>
                <a:gd name="connsiteX35" fmla="*/ 688975 w 3130550"/>
                <a:gd name="connsiteY35" fmla="*/ 195897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69900 w 3130550"/>
                <a:gd name="connsiteY52" fmla="*/ 1409700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0775 w 3130550"/>
                <a:gd name="connsiteY11" fmla="*/ 2762250 h 3282950"/>
                <a:gd name="connsiteX12" fmla="*/ 1123950 w 3130550"/>
                <a:gd name="connsiteY12" fmla="*/ 264477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144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82625 w 3130550"/>
                <a:gd name="connsiteY34" fmla="*/ 2028825 h 3282950"/>
                <a:gd name="connsiteX35" fmla="*/ 688975 w 3130550"/>
                <a:gd name="connsiteY35" fmla="*/ 195897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69900 w 3130550"/>
                <a:gd name="connsiteY52" fmla="*/ 1409700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0775 w 3130550"/>
                <a:gd name="connsiteY11" fmla="*/ 2762250 h 3282950"/>
                <a:gd name="connsiteX12" fmla="*/ 1130300 w 3130550"/>
                <a:gd name="connsiteY12" fmla="*/ 265112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144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82625 w 3130550"/>
                <a:gd name="connsiteY34" fmla="*/ 2028825 h 3282950"/>
                <a:gd name="connsiteX35" fmla="*/ 688975 w 3130550"/>
                <a:gd name="connsiteY35" fmla="*/ 195897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69900 w 3130550"/>
                <a:gd name="connsiteY52" fmla="*/ 1409700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7125 w 3130550"/>
                <a:gd name="connsiteY11" fmla="*/ 2759075 h 3282950"/>
                <a:gd name="connsiteX12" fmla="*/ 1130300 w 3130550"/>
                <a:gd name="connsiteY12" fmla="*/ 265112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144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81050 w 3130550"/>
                <a:gd name="connsiteY27" fmla="*/ 2276475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82625 w 3130550"/>
                <a:gd name="connsiteY34" fmla="*/ 2028825 h 3282950"/>
                <a:gd name="connsiteX35" fmla="*/ 688975 w 3130550"/>
                <a:gd name="connsiteY35" fmla="*/ 195897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69900 w 3130550"/>
                <a:gd name="connsiteY52" fmla="*/ 1409700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7125 w 3130550"/>
                <a:gd name="connsiteY11" fmla="*/ 2759075 h 3282950"/>
                <a:gd name="connsiteX12" fmla="*/ 1130300 w 3130550"/>
                <a:gd name="connsiteY12" fmla="*/ 265112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144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90575 w 3130550"/>
                <a:gd name="connsiteY27" fmla="*/ 2273300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82625 w 3130550"/>
                <a:gd name="connsiteY34" fmla="*/ 2028825 h 3282950"/>
                <a:gd name="connsiteX35" fmla="*/ 688975 w 3130550"/>
                <a:gd name="connsiteY35" fmla="*/ 195897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69900 w 3130550"/>
                <a:gd name="connsiteY52" fmla="*/ 1409700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7125 w 3130550"/>
                <a:gd name="connsiteY11" fmla="*/ 2759075 h 3282950"/>
                <a:gd name="connsiteX12" fmla="*/ 1130300 w 3130550"/>
                <a:gd name="connsiteY12" fmla="*/ 265112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144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90575 w 3130550"/>
                <a:gd name="connsiteY27" fmla="*/ 2273300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82625 w 3130550"/>
                <a:gd name="connsiteY34" fmla="*/ 2028825 h 3282950"/>
                <a:gd name="connsiteX35" fmla="*/ 685800 w 3130550"/>
                <a:gd name="connsiteY35" fmla="*/ 196532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69900 w 3130550"/>
                <a:gd name="connsiteY52" fmla="*/ 1409700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7125 w 3130550"/>
                <a:gd name="connsiteY11" fmla="*/ 2759075 h 3282950"/>
                <a:gd name="connsiteX12" fmla="*/ 1130300 w 3130550"/>
                <a:gd name="connsiteY12" fmla="*/ 265112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144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90575 w 3130550"/>
                <a:gd name="connsiteY27" fmla="*/ 2273300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82625 w 3130550"/>
                <a:gd name="connsiteY34" fmla="*/ 2028825 h 3282950"/>
                <a:gd name="connsiteX35" fmla="*/ 685800 w 3130550"/>
                <a:gd name="connsiteY35" fmla="*/ 196532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76067 w 3130550"/>
                <a:gd name="connsiteY52" fmla="*/ 1458539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 name="connsiteX0" fmla="*/ 3130550 w 3130550"/>
                <a:gd name="connsiteY0" fmla="*/ 3282950 h 3282950"/>
                <a:gd name="connsiteX1" fmla="*/ 1768475 w 3130550"/>
                <a:gd name="connsiteY1" fmla="*/ 3279775 h 3282950"/>
                <a:gd name="connsiteX2" fmla="*/ 1765300 w 3130550"/>
                <a:gd name="connsiteY2" fmla="*/ 3124200 h 3282950"/>
                <a:gd name="connsiteX3" fmla="*/ 1571625 w 3130550"/>
                <a:gd name="connsiteY3" fmla="*/ 3127375 h 3282950"/>
                <a:gd name="connsiteX4" fmla="*/ 1577975 w 3130550"/>
                <a:gd name="connsiteY4" fmla="*/ 3035300 h 3282950"/>
                <a:gd name="connsiteX5" fmla="*/ 1457325 w 3130550"/>
                <a:gd name="connsiteY5" fmla="*/ 3035300 h 3282950"/>
                <a:gd name="connsiteX6" fmla="*/ 1454150 w 3130550"/>
                <a:gd name="connsiteY6" fmla="*/ 2870200 h 3282950"/>
                <a:gd name="connsiteX7" fmla="*/ 1222375 w 3130550"/>
                <a:gd name="connsiteY7" fmla="*/ 2870200 h 3282950"/>
                <a:gd name="connsiteX8" fmla="*/ 1222375 w 3130550"/>
                <a:gd name="connsiteY8" fmla="*/ 2813050 h 3282950"/>
                <a:gd name="connsiteX9" fmla="*/ 1149350 w 3130550"/>
                <a:gd name="connsiteY9" fmla="*/ 2816225 h 3282950"/>
                <a:gd name="connsiteX10" fmla="*/ 1152525 w 3130550"/>
                <a:gd name="connsiteY10" fmla="*/ 2762250 h 3282950"/>
                <a:gd name="connsiteX11" fmla="*/ 1127125 w 3130550"/>
                <a:gd name="connsiteY11" fmla="*/ 2759075 h 3282950"/>
                <a:gd name="connsiteX12" fmla="*/ 1130300 w 3130550"/>
                <a:gd name="connsiteY12" fmla="*/ 2651125 h 3282950"/>
                <a:gd name="connsiteX13" fmla="*/ 1092200 w 3130550"/>
                <a:gd name="connsiteY13" fmla="*/ 2651125 h 3282950"/>
                <a:gd name="connsiteX14" fmla="*/ 1095375 w 3130550"/>
                <a:gd name="connsiteY14" fmla="*/ 2593975 h 3282950"/>
                <a:gd name="connsiteX15" fmla="*/ 1057275 w 3130550"/>
                <a:gd name="connsiteY15" fmla="*/ 2597150 h 3282950"/>
                <a:gd name="connsiteX16" fmla="*/ 1060450 w 3130550"/>
                <a:gd name="connsiteY16" fmla="*/ 2536825 h 3282950"/>
                <a:gd name="connsiteX17" fmla="*/ 1000125 w 3130550"/>
                <a:gd name="connsiteY17" fmla="*/ 2536825 h 3282950"/>
                <a:gd name="connsiteX18" fmla="*/ 1003300 w 3130550"/>
                <a:gd name="connsiteY18" fmla="*/ 2489200 h 3282950"/>
                <a:gd name="connsiteX19" fmla="*/ 942975 w 3130550"/>
                <a:gd name="connsiteY19" fmla="*/ 2492375 h 3282950"/>
                <a:gd name="connsiteX20" fmla="*/ 949325 w 3130550"/>
                <a:gd name="connsiteY20" fmla="*/ 2444750 h 3282950"/>
                <a:gd name="connsiteX21" fmla="*/ 914400 w 3130550"/>
                <a:gd name="connsiteY21" fmla="*/ 2444750 h 3282950"/>
                <a:gd name="connsiteX22" fmla="*/ 914400 w 3130550"/>
                <a:gd name="connsiteY22" fmla="*/ 2400300 h 3282950"/>
                <a:gd name="connsiteX23" fmla="*/ 863600 w 3130550"/>
                <a:gd name="connsiteY23" fmla="*/ 2397125 h 3282950"/>
                <a:gd name="connsiteX24" fmla="*/ 869950 w 3130550"/>
                <a:gd name="connsiteY24" fmla="*/ 2346325 h 3282950"/>
                <a:gd name="connsiteX25" fmla="*/ 822325 w 3130550"/>
                <a:gd name="connsiteY25" fmla="*/ 2349500 h 3282950"/>
                <a:gd name="connsiteX26" fmla="*/ 822325 w 3130550"/>
                <a:gd name="connsiteY26" fmla="*/ 2279650 h 3282950"/>
                <a:gd name="connsiteX27" fmla="*/ 790575 w 3130550"/>
                <a:gd name="connsiteY27" fmla="*/ 2273300 h 3282950"/>
                <a:gd name="connsiteX28" fmla="*/ 793750 w 3130550"/>
                <a:gd name="connsiteY28" fmla="*/ 2212975 h 3282950"/>
                <a:gd name="connsiteX29" fmla="*/ 755650 w 3130550"/>
                <a:gd name="connsiteY29" fmla="*/ 2209800 h 3282950"/>
                <a:gd name="connsiteX30" fmla="*/ 762000 w 3130550"/>
                <a:gd name="connsiteY30" fmla="*/ 2130425 h 3282950"/>
                <a:gd name="connsiteX31" fmla="*/ 762000 w 3130550"/>
                <a:gd name="connsiteY31" fmla="*/ 2130425 h 3282950"/>
                <a:gd name="connsiteX32" fmla="*/ 742950 w 3130550"/>
                <a:gd name="connsiteY32" fmla="*/ 2124075 h 3282950"/>
                <a:gd name="connsiteX33" fmla="*/ 749300 w 3130550"/>
                <a:gd name="connsiteY33" fmla="*/ 2035175 h 3282950"/>
                <a:gd name="connsiteX34" fmla="*/ 682625 w 3130550"/>
                <a:gd name="connsiteY34" fmla="*/ 2028825 h 3282950"/>
                <a:gd name="connsiteX35" fmla="*/ 685800 w 3130550"/>
                <a:gd name="connsiteY35" fmla="*/ 1965325 h 3282950"/>
                <a:gd name="connsiteX36" fmla="*/ 679450 w 3130550"/>
                <a:gd name="connsiteY36" fmla="*/ 1933575 h 3282950"/>
                <a:gd name="connsiteX37" fmla="*/ 660400 w 3130550"/>
                <a:gd name="connsiteY37" fmla="*/ 1933575 h 3282950"/>
                <a:gd name="connsiteX38" fmla="*/ 666750 w 3130550"/>
                <a:gd name="connsiteY38" fmla="*/ 1889125 h 3282950"/>
                <a:gd name="connsiteX39" fmla="*/ 666750 w 3130550"/>
                <a:gd name="connsiteY39" fmla="*/ 1860550 h 3282950"/>
                <a:gd name="connsiteX40" fmla="*/ 647700 w 3130550"/>
                <a:gd name="connsiteY40" fmla="*/ 1863725 h 3282950"/>
                <a:gd name="connsiteX41" fmla="*/ 654050 w 3130550"/>
                <a:gd name="connsiteY41" fmla="*/ 1831975 h 3282950"/>
                <a:gd name="connsiteX42" fmla="*/ 625475 w 3130550"/>
                <a:gd name="connsiteY42" fmla="*/ 1828800 h 3282950"/>
                <a:gd name="connsiteX43" fmla="*/ 625475 w 3130550"/>
                <a:gd name="connsiteY43" fmla="*/ 1774825 h 3282950"/>
                <a:gd name="connsiteX44" fmla="*/ 596900 w 3130550"/>
                <a:gd name="connsiteY44" fmla="*/ 1774825 h 3282950"/>
                <a:gd name="connsiteX45" fmla="*/ 600075 w 3130550"/>
                <a:gd name="connsiteY45" fmla="*/ 1736725 h 3282950"/>
                <a:gd name="connsiteX46" fmla="*/ 558800 w 3130550"/>
                <a:gd name="connsiteY46" fmla="*/ 1733550 h 3282950"/>
                <a:gd name="connsiteX47" fmla="*/ 565150 w 3130550"/>
                <a:gd name="connsiteY47" fmla="*/ 1673225 h 3282950"/>
                <a:gd name="connsiteX48" fmla="*/ 565150 w 3130550"/>
                <a:gd name="connsiteY48" fmla="*/ 1673225 h 3282950"/>
                <a:gd name="connsiteX49" fmla="*/ 536575 w 3130550"/>
                <a:gd name="connsiteY49" fmla="*/ 1670050 h 3282950"/>
                <a:gd name="connsiteX50" fmla="*/ 539750 w 3130550"/>
                <a:gd name="connsiteY50" fmla="*/ 1593850 h 3282950"/>
                <a:gd name="connsiteX51" fmla="*/ 508000 w 3130550"/>
                <a:gd name="connsiteY51" fmla="*/ 1593850 h 3282950"/>
                <a:gd name="connsiteX52" fmla="*/ 469901 w 3130550"/>
                <a:gd name="connsiteY52" fmla="*/ 1495170 h 3282950"/>
                <a:gd name="connsiteX53" fmla="*/ 444500 w 3130550"/>
                <a:gd name="connsiteY53" fmla="*/ 1292225 h 3282950"/>
                <a:gd name="connsiteX54" fmla="*/ 444500 w 3130550"/>
                <a:gd name="connsiteY54" fmla="*/ 1292225 h 3282950"/>
                <a:gd name="connsiteX55" fmla="*/ 396875 w 3130550"/>
                <a:gd name="connsiteY55" fmla="*/ 1266825 h 3282950"/>
                <a:gd name="connsiteX56" fmla="*/ 365125 w 3130550"/>
                <a:gd name="connsiteY56" fmla="*/ 1184275 h 3282950"/>
                <a:gd name="connsiteX57" fmla="*/ 368300 w 3130550"/>
                <a:gd name="connsiteY57" fmla="*/ 1095375 h 3282950"/>
                <a:gd name="connsiteX58" fmla="*/ 276225 w 3130550"/>
                <a:gd name="connsiteY58" fmla="*/ 1095375 h 3282950"/>
                <a:gd name="connsiteX59" fmla="*/ 285750 w 3130550"/>
                <a:gd name="connsiteY59" fmla="*/ 1047750 h 3282950"/>
                <a:gd name="connsiteX60" fmla="*/ 273050 w 3130550"/>
                <a:gd name="connsiteY60" fmla="*/ 1047750 h 3282950"/>
                <a:gd name="connsiteX61" fmla="*/ 276225 w 3130550"/>
                <a:gd name="connsiteY61" fmla="*/ 958850 h 3282950"/>
                <a:gd name="connsiteX62" fmla="*/ 254000 w 3130550"/>
                <a:gd name="connsiteY62" fmla="*/ 955675 h 3282950"/>
                <a:gd name="connsiteX63" fmla="*/ 257175 w 3130550"/>
                <a:gd name="connsiteY63" fmla="*/ 892175 h 3282950"/>
                <a:gd name="connsiteX64" fmla="*/ 196850 w 3130550"/>
                <a:gd name="connsiteY64" fmla="*/ 892175 h 3282950"/>
                <a:gd name="connsiteX65" fmla="*/ 200025 w 3130550"/>
                <a:gd name="connsiteY65" fmla="*/ 768350 h 3282950"/>
                <a:gd name="connsiteX66" fmla="*/ 184150 w 3130550"/>
                <a:gd name="connsiteY66" fmla="*/ 679450 h 3282950"/>
                <a:gd name="connsiteX67" fmla="*/ 180975 w 3130550"/>
                <a:gd name="connsiteY67" fmla="*/ 615950 h 3282950"/>
                <a:gd name="connsiteX68" fmla="*/ 146050 w 3130550"/>
                <a:gd name="connsiteY68" fmla="*/ 612775 h 3282950"/>
                <a:gd name="connsiteX69" fmla="*/ 149225 w 3130550"/>
                <a:gd name="connsiteY69" fmla="*/ 539750 h 3282950"/>
                <a:gd name="connsiteX70" fmla="*/ 130175 w 3130550"/>
                <a:gd name="connsiteY70" fmla="*/ 533400 h 3282950"/>
                <a:gd name="connsiteX71" fmla="*/ 133350 w 3130550"/>
                <a:gd name="connsiteY71" fmla="*/ 479425 h 3282950"/>
                <a:gd name="connsiteX72" fmla="*/ 120650 w 3130550"/>
                <a:gd name="connsiteY72" fmla="*/ 482600 h 3282950"/>
                <a:gd name="connsiteX73" fmla="*/ 117475 w 3130550"/>
                <a:gd name="connsiteY73" fmla="*/ 415925 h 3282950"/>
                <a:gd name="connsiteX74" fmla="*/ 107950 w 3130550"/>
                <a:gd name="connsiteY74" fmla="*/ 415925 h 3282950"/>
                <a:gd name="connsiteX75" fmla="*/ 101600 w 3130550"/>
                <a:gd name="connsiteY75" fmla="*/ 339725 h 3282950"/>
                <a:gd name="connsiteX76" fmla="*/ 85725 w 3130550"/>
                <a:gd name="connsiteY76" fmla="*/ 333375 h 3282950"/>
                <a:gd name="connsiteX77" fmla="*/ 92075 w 3130550"/>
                <a:gd name="connsiteY77" fmla="*/ 298450 h 3282950"/>
                <a:gd name="connsiteX78" fmla="*/ 85725 w 3130550"/>
                <a:gd name="connsiteY78" fmla="*/ 295275 h 3282950"/>
                <a:gd name="connsiteX79" fmla="*/ 85725 w 3130550"/>
                <a:gd name="connsiteY79" fmla="*/ 225425 h 3282950"/>
                <a:gd name="connsiteX80" fmla="*/ 66675 w 3130550"/>
                <a:gd name="connsiteY80" fmla="*/ 225425 h 3282950"/>
                <a:gd name="connsiteX81" fmla="*/ 69850 w 3130550"/>
                <a:gd name="connsiteY81" fmla="*/ 161925 h 3282950"/>
                <a:gd name="connsiteX82" fmla="*/ 60325 w 3130550"/>
                <a:gd name="connsiteY82" fmla="*/ 161925 h 3282950"/>
                <a:gd name="connsiteX83" fmla="*/ 60325 w 3130550"/>
                <a:gd name="connsiteY83" fmla="*/ 133350 h 3282950"/>
                <a:gd name="connsiteX84" fmla="*/ 50800 w 3130550"/>
                <a:gd name="connsiteY84" fmla="*/ 136525 h 3282950"/>
                <a:gd name="connsiteX85" fmla="*/ 53975 w 3130550"/>
                <a:gd name="connsiteY85" fmla="*/ 104775 h 3282950"/>
                <a:gd name="connsiteX86" fmla="*/ 44450 w 3130550"/>
                <a:gd name="connsiteY86" fmla="*/ 104775 h 3282950"/>
                <a:gd name="connsiteX87" fmla="*/ 50800 w 3130550"/>
                <a:gd name="connsiteY87" fmla="*/ 76200 h 3282950"/>
                <a:gd name="connsiteX88" fmla="*/ 31750 w 3130550"/>
                <a:gd name="connsiteY88" fmla="*/ 73025 h 3282950"/>
                <a:gd name="connsiteX89" fmla="*/ 34925 w 3130550"/>
                <a:gd name="connsiteY89" fmla="*/ 38100 h 3282950"/>
                <a:gd name="connsiteX90" fmla="*/ 28575 w 3130550"/>
                <a:gd name="connsiteY90" fmla="*/ 31750 h 3282950"/>
                <a:gd name="connsiteX91" fmla="*/ 28575 w 3130550"/>
                <a:gd name="connsiteY91" fmla="*/ 0 h 3282950"/>
                <a:gd name="connsiteX92" fmla="*/ 0 w 3130550"/>
                <a:gd name="connsiteY92" fmla="*/ 0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130550" h="3282950">
                  <a:moveTo>
                    <a:pt x="3130550" y="3282950"/>
                  </a:moveTo>
                  <a:lnTo>
                    <a:pt x="1768475" y="3279775"/>
                  </a:lnTo>
                  <a:cubicBezTo>
                    <a:pt x="1767417" y="3227917"/>
                    <a:pt x="1766358" y="3176058"/>
                    <a:pt x="1765300" y="3124200"/>
                  </a:cubicBezTo>
                  <a:lnTo>
                    <a:pt x="1571625" y="3127375"/>
                  </a:lnTo>
                  <a:lnTo>
                    <a:pt x="1577975" y="3035300"/>
                  </a:lnTo>
                  <a:lnTo>
                    <a:pt x="1457325" y="3035300"/>
                  </a:lnTo>
                  <a:cubicBezTo>
                    <a:pt x="1456267" y="2980267"/>
                    <a:pt x="1455208" y="2925233"/>
                    <a:pt x="1454150" y="2870200"/>
                  </a:cubicBezTo>
                  <a:lnTo>
                    <a:pt x="1222375" y="2870200"/>
                  </a:lnTo>
                  <a:lnTo>
                    <a:pt x="1222375" y="2813050"/>
                  </a:lnTo>
                  <a:lnTo>
                    <a:pt x="1149350" y="2816225"/>
                  </a:lnTo>
                  <a:lnTo>
                    <a:pt x="1152525" y="2762250"/>
                  </a:lnTo>
                  <a:lnTo>
                    <a:pt x="1127125" y="2759075"/>
                  </a:lnTo>
                  <a:cubicBezTo>
                    <a:pt x="1128183" y="2719917"/>
                    <a:pt x="1129242" y="2690283"/>
                    <a:pt x="1130300" y="2651125"/>
                  </a:cubicBezTo>
                  <a:lnTo>
                    <a:pt x="1092200" y="2651125"/>
                  </a:lnTo>
                  <a:lnTo>
                    <a:pt x="1095375" y="2593975"/>
                  </a:lnTo>
                  <a:lnTo>
                    <a:pt x="1057275" y="2597150"/>
                  </a:lnTo>
                  <a:lnTo>
                    <a:pt x="1060450" y="2536825"/>
                  </a:lnTo>
                  <a:lnTo>
                    <a:pt x="1000125" y="2536825"/>
                  </a:lnTo>
                  <a:lnTo>
                    <a:pt x="1003300" y="2489200"/>
                  </a:lnTo>
                  <a:lnTo>
                    <a:pt x="942975" y="2492375"/>
                  </a:lnTo>
                  <a:lnTo>
                    <a:pt x="949325" y="2444750"/>
                  </a:lnTo>
                  <a:lnTo>
                    <a:pt x="914400" y="2444750"/>
                  </a:lnTo>
                  <a:cubicBezTo>
                    <a:pt x="914400" y="2429933"/>
                    <a:pt x="912283" y="2401358"/>
                    <a:pt x="914400" y="2400300"/>
                  </a:cubicBezTo>
                  <a:cubicBezTo>
                    <a:pt x="916517" y="2399242"/>
                    <a:pt x="880533" y="2398183"/>
                    <a:pt x="863600" y="2397125"/>
                  </a:cubicBezTo>
                  <a:lnTo>
                    <a:pt x="869950" y="2346325"/>
                  </a:lnTo>
                  <a:lnTo>
                    <a:pt x="822325" y="2349500"/>
                  </a:lnTo>
                  <a:lnTo>
                    <a:pt x="822325" y="2279650"/>
                  </a:lnTo>
                  <a:lnTo>
                    <a:pt x="790575" y="2273300"/>
                  </a:lnTo>
                  <a:lnTo>
                    <a:pt x="793750" y="2212975"/>
                  </a:lnTo>
                  <a:lnTo>
                    <a:pt x="755650" y="2209800"/>
                  </a:lnTo>
                  <a:lnTo>
                    <a:pt x="762000" y="2130425"/>
                  </a:lnTo>
                  <a:lnTo>
                    <a:pt x="762000" y="2130425"/>
                  </a:lnTo>
                  <a:lnTo>
                    <a:pt x="742950" y="2124075"/>
                  </a:lnTo>
                  <a:lnTo>
                    <a:pt x="749300" y="2035175"/>
                  </a:lnTo>
                  <a:lnTo>
                    <a:pt x="682625" y="2028825"/>
                  </a:lnTo>
                  <a:lnTo>
                    <a:pt x="685800" y="1965325"/>
                  </a:lnTo>
                  <a:lnTo>
                    <a:pt x="679450" y="1933575"/>
                  </a:lnTo>
                  <a:lnTo>
                    <a:pt x="660400" y="1933575"/>
                  </a:lnTo>
                  <a:lnTo>
                    <a:pt x="666750" y="1889125"/>
                  </a:lnTo>
                  <a:lnTo>
                    <a:pt x="666750" y="1860550"/>
                  </a:lnTo>
                  <a:lnTo>
                    <a:pt x="647700" y="1863725"/>
                  </a:lnTo>
                  <a:lnTo>
                    <a:pt x="654050" y="1831975"/>
                  </a:lnTo>
                  <a:lnTo>
                    <a:pt x="625475" y="1828800"/>
                  </a:lnTo>
                  <a:lnTo>
                    <a:pt x="625475" y="1774825"/>
                  </a:lnTo>
                  <a:lnTo>
                    <a:pt x="596900" y="1774825"/>
                  </a:lnTo>
                  <a:lnTo>
                    <a:pt x="600075" y="1736725"/>
                  </a:lnTo>
                  <a:lnTo>
                    <a:pt x="558800" y="1733550"/>
                  </a:lnTo>
                  <a:lnTo>
                    <a:pt x="565150" y="1673225"/>
                  </a:lnTo>
                  <a:lnTo>
                    <a:pt x="565150" y="1673225"/>
                  </a:lnTo>
                  <a:lnTo>
                    <a:pt x="536575" y="1670050"/>
                  </a:lnTo>
                  <a:lnTo>
                    <a:pt x="539750" y="1593850"/>
                  </a:lnTo>
                  <a:lnTo>
                    <a:pt x="508000" y="1593850"/>
                  </a:lnTo>
                  <a:lnTo>
                    <a:pt x="469901" y="1495170"/>
                  </a:lnTo>
                  <a:lnTo>
                    <a:pt x="444500" y="1292225"/>
                  </a:lnTo>
                  <a:lnTo>
                    <a:pt x="444500" y="1292225"/>
                  </a:lnTo>
                  <a:lnTo>
                    <a:pt x="396875" y="1266825"/>
                  </a:lnTo>
                  <a:lnTo>
                    <a:pt x="365125" y="1184275"/>
                  </a:lnTo>
                  <a:lnTo>
                    <a:pt x="368300" y="1095375"/>
                  </a:lnTo>
                  <a:lnTo>
                    <a:pt x="276225" y="1095375"/>
                  </a:lnTo>
                  <a:lnTo>
                    <a:pt x="285750" y="1047750"/>
                  </a:lnTo>
                  <a:lnTo>
                    <a:pt x="273050" y="1047750"/>
                  </a:lnTo>
                  <a:lnTo>
                    <a:pt x="276225" y="958850"/>
                  </a:lnTo>
                  <a:lnTo>
                    <a:pt x="254000" y="955675"/>
                  </a:lnTo>
                  <a:lnTo>
                    <a:pt x="257175" y="892175"/>
                  </a:lnTo>
                  <a:lnTo>
                    <a:pt x="196850" y="892175"/>
                  </a:lnTo>
                  <a:cubicBezTo>
                    <a:pt x="197908" y="850900"/>
                    <a:pt x="198967" y="809625"/>
                    <a:pt x="200025" y="768350"/>
                  </a:cubicBezTo>
                  <a:lnTo>
                    <a:pt x="184150" y="679450"/>
                  </a:lnTo>
                  <a:lnTo>
                    <a:pt x="180975" y="615950"/>
                  </a:lnTo>
                  <a:lnTo>
                    <a:pt x="146050" y="612775"/>
                  </a:lnTo>
                  <a:lnTo>
                    <a:pt x="149225" y="539750"/>
                  </a:lnTo>
                  <a:lnTo>
                    <a:pt x="130175" y="533400"/>
                  </a:lnTo>
                  <a:lnTo>
                    <a:pt x="133350" y="479425"/>
                  </a:lnTo>
                  <a:lnTo>
                    <a:pt x="120650" y="482600"/>
                  </a:lnTo>
                  <a:lnTo>
                    <a:pt x="117475" y="415925"/>
                  </a:lnTo>
                  <a:lnTo>
                    <a:pt x="107950" y="415925"/>
                  </a:lnTo>
                  <a:lnTo>
                    <a:pt x="101600" y="339725"/>
                  </a:lnTo>
                  <a:lnTo>
                    <a:pt x="85725" y="333375"/>
                  </a:lnTo>
                  <a:lnTo>
                    <a:pt x="92075" y="298450"/>
                  </a:lnTo>
                  <a:lnTo>
                    <a:pt x="85725" y="295275"/>
                  </a:lnTo>
                  <a:lnTo>
                    <a:pt x="85725" y="225425"/>
                  </a:lnTo>
                  <a:lnTo>
                    <a:pt x="66675" y="225425"/>
                  </a:lnTo>
                  <a:lnTo>
                    <a:pt x="69850" y="161925"/>
                  </a:lnTo>
                  <a:lnTo>
                    <a:pt x="60325" y="161925"/>
                  </a:lnTo>
                  <a:lnTo>
                    <a:pt x="60325" y="133350"/>
                  </a:lnTo>
                  <a:lnTo>
                    <a:pt x="50800" y="136525"/>
                  </a:lnTo>
                  <a:lnTo>
                    <a:pt x="53975" y="104775"/>
                  </a:lnTo>
                  <a:lnTo>
                    <a:pt x="44450" y="104775"/>
                  </a:lnTo>
                  <a:lnTo>
                    <a:pt x="50800" y="76200"/>
                  </a:lnTo>
                  <a:lnTo>
                    <a:pt x="31750" y="73025"/>
                  </a:lnTo>
                  <a:lnTo>
                    <a:pt x="34925" y="38100"/>
                  </a:lnTo>
                  <a:lnTo>
                    <a:pt x="28575" y="31750"/>
                  </a:lnTo>
                  <a:lnTo>
                    <a:pt x="28575" y="0"/>
                  </a:lnTo>
                  <a:lnTo>
                    <a:pt x="0" y="0"/>
                  </a:lnTo>
                </a:path>
              </a:pathLst>
            </a:custGeom>
            <a:ln w="25400">
              <a:solidFill>
                <a:srgbClr val="BE147D"/>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514350">
                <a:defRPr/>
              </a:pPr>
              <a:endParaRPr lang="en-GB" sz="675">
                <a:solidFill>
                  <a:srgbClr val="595454"/>
                </a:solidFill>
                <a:latin typeface="Calibri" panose="020F0502020204030204"/>
              </a:endParaRPr>
            </a:p>
          </p:txBody>
        </p:sp>
        <p:grpSp>
          <p:nvGrpSpPr>
            <p:cNvPr id="512" name="Group 511">
              <a:extLst>
                <a:ext uri="{FF2B5EF4-FFF2-40B4-BE49-F238E27FC236}">
                  <a16:creationId xmlns:a16="http://schemas.microsoft.com/office/drawing/2014/main" id="{21A32360-B8D9-4732-AD21-73C08E3FF64D}"/>
                </a:ext>
              </a:extLst>
            </p:cNvPr>
            <p:cNvGrpSpPr/>
            <p:nvPr/>
          </p:nvGrpSpPr>
          <p:grpSpPr>
            <a:xfrm>
              <a:off x="1498600" y="1016000"/>
              <a:ext cx="3215250" cy="3358125"/>
              <a:chOff x="1498600" y="1016000"/>
              <a:chExt cx="3215250" cy="3358125"/>
            </a:xfrm>
          </p:grpSpPr>
          <p:grpSp>
            <p:nvGrpSpPr>
              <p:cNvPr id="513" name="Group 512">
                <a:extLst>
                  <a:ext uri="{FF2B5EF4-FFF2-40B4-BE49-F238E27FC236}">
                    <a16:creationId xmlns:a16="http://schemas.microsoft.com/office/drawing/2014/main" id="{F5586BA1-B657-4FE4-A84B-71829B62EFF4}"/>
                  </a:ext>
                </a:extLst>
              </p:cNvPr>
              <p:cNvGrpSpPr/>
              <p:nvPr/>
            </p:nvGrpSpPr>
            <p:grpSpPr>
              <a:xfrm>
                <a:off x="4641850" y="4302125"/>
                <a:ext cx="72000" cy="72000"/>
                <a:chOff x="2619375" y="3260725"/>
                <a:chExt cx="72000" cy="72000"/>
              </a:xfrm>
            </p:grpSpPr>
            <p:cxnSp>
              <p:nvCxnSpPr>
                <p:cNvPr id="629" name="Straight Connector 628">
                  <a:extLst>
                    <a:ext uri="{FF2B5EF4-FFF2-40B4-BE49-F238E27FC236}">
                      <a16:creationId xmlns:a16="http://schemas.microsoft.com/office/drawing/2014/main" id="{43D36AA8-6F52-41A5-84F9-70030C7F3028}"/>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30" name="Straight Connector 629">
                  <a:extLst>
                    <a:ext uri="{FF2B5EF4-FFF2-40B4-BE49-F238E27FC236}">
                      <a16:creationId xmlns:a16="http://schemas.microsoft.com/office/drawing/2014/main" id="{5DDE0E01-FAD5-418D-901B-40C52A8C5616}"/>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14" name="Group 513">
                <a:extLst>
                  <a:ext uri="{FF2B5EF4-FFF2-40B4-BE49-F238E27FC236}">
                    <a16:creationId xmlns:a16="http://schemas.microsoft.com/office/drawing/2014/main" id="{0B733FB2-6DB9-4A29-B0E2-7CA4919B7AAA}"/>
                  </a:ext>
                </a:extLst>
              </p:cNvPr>
              <p:cNvGrpSpPr/>
              <p:nvPr/>
            </p:nvGrpSpPr>
            <p:grpSpPr>
              <a:xfrm>
                <a:off x="3085087" y="4142754"/>
                <a:ext cx="419088" cy="228196"/>
                <a:chOff x="2272287" y="3104529"/>
                <a:chExt cx="419088" cy="228196"/>
              </a:xfrm>
            </p:grpSpPr>
            <p:cxnSp>
              <p:nvCxnSpPr>
                <p:cNvPr id="623" name="Straight Connector 622">
                  <a:extLst>
                    <a:ext uri="{FF2B5EF4-FFF2-40B4-BE49-F238E27FC236}">
                      <a16:creationId xmlns:a16="http://schemas.microsoft.com/office/drawing/2014/main" id="{8D1C98F3-B702-4025-AC4D-E5A188D914C5}"/>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24" name="Straight Connector 623">
                  <a:extLst>
                    <a:ext uri="{FF2B5EF4-FFF2-40B4-BE49-F238E27FC236}">
                      <a16:creationId xmlns:a16="http://schemas.microsoft.com/office/drawing/2014/main" id="{EC0AF30A-1BDE-499D-9831-3C456BA0CB70}"/>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25" name="Straight Connector 624">
                  <a:extLst>
                    <a:ext uri="{FF2B5EF4-FFF2-40B4-BE49-F238E27FC236}">
                      <a16:creationId xmlns:a16="http://schemas.microsoft.com/office/drawing/2014/main" id="{3F0D9AED-74B0-45B6-90B2-19AD4F58AFC2}"/>
                    </a:ext>
                  </a:extLst>
                </p:cNvPr>
                <p:cNvCxnSpPr/>
                <p:nvPr/>
              </p:nvCxnSpPr>
              <p:spPr>
                <a:xfrm>
                  <a:off x="2509444"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26" name="Straight Connector 625">
                  <a:extLst>
                    <a:ext uri="{FF2B5EF4-FFF2-40B4-BE49-F238E27FC236}">
                      <a16:creationId xmlns:a16="http://schemas.microsoft.com/office/drawing/2014/main" id="{0E401AD5-070A-4D37-AD02-795D1D79A0CD}"/>
                    </a:ext>
                  </a:extLst>
                </p:cNvPr>
                <p:cNvCxnSpPr/>
                <p:nvPr/>
              </p:nvCxnSpPr>
              <p:spPr>
                <a:xfrm rot="16200000">
                  <a:off x="2509442" y="3260726"/>
                  <a:ext cx="0" cy="72001"/>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27" name="Straight Connector 626">
                  <a:extLst>
                    <a:ext uri="{FF2B5EF4-FFF2-40B4-BE49-F238E27FC236}">
                      <a16:creationId xmlns:a16="http://schemas.microsoft.com/office/drawing/2014/main" id="{BD615B78-7DFE-4954-BA1B-0D9D21828B82}"/>
                    </a:ext>
                  </a:extLst>
                </p:cNvPr>
                <p:cNvCxnSpPr/>
                <p:nvPr/>
              </p:nvCxnSpPr>
              <p:spPr>
                <a:xfrm>
                  <a:off x="2308293" y="3104529"/>
                  <a:ext cx="0" cy="72001"/>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28" name="Straight Connector 627">
                  <a:extLst>
                    <a:ext uri="{FF2B5EF4-FFF2-40B4-BE49-F238E27FC236}">
                      <a16:creationId xmlns:a16="http://schemas.microsoft.com/office/drawing/2014/main" id="{A9477E92-DDE5-45A9-A5C1-E48EB94625AD}"/>
                    </a:ext>
                  </a:extLst>
                </p:cNvPr>
                <p:cNvCxnSpPr/>
                <p:nvPr/>
              </p:nvCxnSpPr>
              <p:spPr>
                <a:xfrm rot="16200000">
                  <a:off x="2308288" y="3104528"/>
                  <a:ext cx="0" cy="72001"/>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15" name="Group 514">
                <a:extLst>
                  <a:ext uri="{FF2B5EF4-FFF2-40B4-BE49-F238E27FC236}">
                    <a16:creationId xmlns:a16="http://schemas.microsoft.com/office/drawing/2014/main" id="{CBA4AACF-27D6-4728-A579-6BEC4A7AD4AF}"/>
                  </a:ext>
                </a:extLst>
              </p:cNvPr>
              <p:cNvGrpSpPr/>
              <p:nvPr/>
            </p:nvGrpSpPr>
            <p:grpSpPr>
              <a:xfrm>
                <a:off x="3200400" y="4140200"/>
                <a:ext cx="72000" cy="72000"/>
                <a:chOff x="2619375" y="3260725"/>
                <a:chExt cx="72000" cy="72000"/>
              </a:xfrm>
            </p:grpSpPr>
            <p:cxnSp>
              <p:nvCxnSpPr>
                <p:cNvPr id="621" name="Straight Connector 620">
                  <a:extLst>
                    <a:ext uri="{FF2B5EF4-FFF2-40B4-BE49-F238E27FC236}">
                      <a16:creationId xmlns:a16="http://schemas.microsoft.com/office/drawing/2014/main" id="{6CCD8D1C-BC40-4A73-8103-3BC3492090AD}"/>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22" name="Straight Connector 621">
                  <a:extLst>
                    <a:ext uri="{FF2B5EF4-FFF2-40B4-BE49-F238E27FC236}">
                      <a16:creationId xmlns:a16="http://schemas.microsoft.com/office/drawing/2014/main" id="{2B2830AA-EF5A-4D1A-8421-18CF1D486BC0}"/>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16" name="Group 515">
                <a:extLst>
                  <a:ext uri="{FF2B5EF4-FFF2-40B4-BE49-F238E27FC236}">
                    <a16:creationId xmlns:a16="http://schemas.microsoft.com/office/drawing/2014/main" id="{0F982766-A73B-4DDB-A8EB-B86FFB9C8425}"/>
                  </a:ext>
                </a:extLst>
              </p:cNvPr>
              <p:cNvGrpSpPr/>
              <p:nvPr/>
            </p:nvGrpSpPr>
            <p:grpSpPr>
              <a:xfrm>
                <a:off x="3181350" y="4140200"/>
                <a:ext cx="72000" cy="72000"/>
                <a:chOff x="2619375" y="3260725"/>
                <a:chExt cx="72000" cy="72000"/>
              </a:xfrm>
            </p:grpSpPr>
            <p:cxnSp>
              <p:nvCxnSpPr>
                <p:cNvPr id="619" name="Straight Connector 618">
                  <a:extLst>
                    <a:ext uri="{FF2B5EF4-FFF2-40B4-BE49-F238E27FC236}">
                      <a16:creationId xmlns:a16="http://schemas.microsoft.com/office/drawing/2014/main" id="{8F5EEE53-9B85-49EB-B590-E98342338EF4}"/>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20" name="Straight Connector 619">
                  <a:extLst>
                    <a:ext uri="{FF2B5EF4-FFF2-40B4-BE49-F238E27FC236}">
                      <a16:creationId xmlns:a16="http://schemas.microsoft.com/office/drawing/2014/main" id="{E9836FDD-5BE1-433D-ADC9-5C75409C8881}"/>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17" name="Group 516">
                <a:extLst>
                  <a:ext uri="{FF2B5EF4-FFF2-40B4-BE49-F238E27FC236}">
                    <a16:creationId xmlns:a16="http://schemas.microsoft.com/office/drawing/2014/main" id="{41940346-EE18-4139-A042-C94974C5A0D0}"/>
                  </a:ext>
                </a:extLst>
              </p:cNvPr>
              <p:cNvGrpSpPr/>
              <p:nvPr/>
            </p:nvGrpSpPr>
            <p:grpSpPr>
              <a:xfrm>
                <a:off x="3155950" y="4140200"/>
                <a:ext cx="72000" cy="72000"/>
                <a:chOff x="2619375" y="3260725"/>
                <a:chExt cx="72000" cy="72000"/>
              </a:xfrm>
            </p:grpSpPr>
            <p:cxnSp>
              <p:nvCxnSpPr>
                <p:cNvPr id="617" name="Straight Connector 616">
                  <a:extLst>
                    <a:ext uri="{FF2B5EF4-FFF2-40B4-BE49-F238E27FC236}">
                      <a16:creationId xmlns:a16="http://schemas.microsoft.com/office/drawing/2014/main" id="{DC47AC01-58F3-471B-9237-AB7AE6523FE1}"/>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18" name="Straight Connector 617">
                  <a:extLst>
                    <a:ext uri="{FF2B5EF4-FFF2-40B4-BE49-F238E27FC236}">
                      <a16:creationId xmlns:a16="http://schemas.microsoft.com/office/drawing/2014/main" id="{A2BDD3D8-499A-464F-94B5-AFF3DC982E59}"/>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18" name="Group 517">
                <a:extLst>
                  <a:ext uri="{FF2B5EF4-FFF2-40B4-BE49-F238E27FC236}">
                    <a16:creationId xmlns:a16="http://schemas.microsoft.com/office/drawing/2014/main" id="{D146CBF3-090B-4B90-B4B0-4F1483BEC512}"/>
                  </a:ext>
                </a:extLst>
              </p:cNvPr>
              <p:cNvGrpSpPr/>
              <p:nvPr/>
            </p:nvGrpSpPr>
            <p:grpSpPr>
              <a:xfrm>
                <a:off x="3041650" y="4054475"/>
                <a:ext cx="72000" cy="72000"/>
                <a:chOff x="2619375" y="3260725"/>
                <a:chExt cx="72000" cy="72000"/>
              </a:xfrm>
            </p:grpSpPr>
            <p:cxnSp>
              <p:nvCxnSpPr>
                <p:cNvPr id="615" name="Straight Connector 614">
                  <a:extLst>
                    <a:ext uri="{FF2B5EF4-FFF2-40B4-BE49-F238E27FC236}">
                      <a16:creationId xmlns:a16="http://schemas.microsoft.com/office/drawing/2014/main" id="{8586B88B-2A36-42DA-B323-AF7B0D1BDC5F}"/>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16" name="Straight Connector 615">
                  <a:extLst>
                    <a:ext uri="{FF2B5EF4-FFF2-40B4-BE49-F238E27FC236}">
                      <a16:creationId xmlns:a16="http://schemas.microsoft.com/office/drawing/2014/main" id="{535D2EA5-716C-47B5-B06B-1961C447A16A}"/>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19" name="Group 518">
                <a:extLst>
                  <a:ext uri="{FF2B5EF4-FFF2-40B4-BE49-F238E27FC236}">
                    <a16:creationId xmlns:a16="http://schemas.microsoft.com/office/drawing/2014/main" id="{8D442221-902B-4E71-977E-D3C43ED551BC}"/>
                  </a:ext>
                </a:extLst>
              </p:cNvPr>
              <p:cNvGrpSpPr/>
              <p:nvPr/>
            </p:nvGrpSpPr>
            <p:grpSpPr>
              <a:xfrm>
                <a:off x="2847975" y="3889375"/>
                <a:ext cx="72000" cy="72000"/>
                <a:chOff x="2619375" y="3260725"/>
                <a:chExt cx="72000" cy="72000"/>
              </a:xfrm>
            </p:grpSpPr>
            <p:cxnSp>
              <p:nvCxnSpPr>
                <p:cNvPr id="613" name="Straight Connector 612">
                  <a:extLst>
                    <a:ext uri="{FF2B5EF4-FFF2-40B4-BE49-F238E27FC236}">
                      <a16:creationId xmlns:a16="http://schemas.microsoft.com/office/drawing/2014/main" id="{D30A968D-8599-4380-92AB-E47F71A45268}"/>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14" name="Straight Connector 613">
                  <a:extLst>
                    <a:ext uri="{FF2B5EF4-FFF2-40B4-BE49-F238E27FC236}">
                      <a16:creationId xmlns:a16="http://schemas.microsoft.com/office/drawing/2014/main" id="{8190C3DE-EC8A-4D0F-BE68-EAD50E6DFC7F}"/>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0" name="Group 519">
                <a:extLst>
                  <a:ext uri="{FF2B5EF4-FFF2-40B4-BE49-F238E27FC236}">
                    <a16:creationId xmlns:a16="http://schemas.microsoft.com/office/drawing/2014/main" id="{0231858A-F031-4671-B0EE-C621033B61FC}"/>
                  </a:ext>
                </a:extLst>
              </p:cNvPr>
              <p:cNvGrpSpPr/>
              <p:nvPr/>
            </p:nvGrpSpPr>
            <p:grpSpPr>
              <a:xfrm>
                <a:off x="2800350" y="3889375"/>
                <a:ext cx="72000" cy="72000"/>
                <a:chOff x="2619375" y="3260725"/>
                <a:chExt cx="72000" cy="72000"/>
              </a:xfrm>
            </p:grpSpPr>
            <p:cxnSp>
              <p:nvCxnSpPr>
                <p:cNvPr id="611" name="Straight Connector 610">
                  <a:extLst>
                    <a:ext uri="{FF2B5EF4-FFF2-40B4-BE49-F238E27FC236}">
                      <a16:creationId xmlns:a16="http://schemas.microsoft.com/office/drawing/2014/main" id="{04D2A1E3-7B60-4A54-A241-73DC4A47FF07}"/>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12" name="Straight Connector 611">
                  <a:extLst>
                    <a:ext uri="{FF2B5EF4-FFF2-40B4-BE49-F238E27FC236}">
                      <a16:creationId xmlns:a16="http://schemas.microsoft.com/office/drawing/2014/main" id="{8D6F1756-EED2-4DAD-814D-B13656EF4E82}"/>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1" name="Group 520">
                <a:extLst>
                  <a:ext uri="{FF2B5EF4-FFF2-40B4-BE49-F238E27FC236}">
                    <a16:creationId xmlns:a16="http://schemas.microsoft.com/office/drawing/2014/main" id="{F203A3B1-1631-4DD7-89D8-01011DDE42D8}"/>
                  </a:ext>
                </a:extLst>
              </p:cNvPr>
              <p:cNvGrpSpPr/>
              <p:nvPr/>
            </p:nvGrpSpPr>
            <p:grpSpPr>
              <a:xfrm>
                <a:off x="2765425" y="3889375"/>
                <a:ext cx="72000" cy="72000"/>
                <a:chOff x="2619375" y="3260725"/>
                <a:chExt cx="72000" cy="72000"/>
              </a:xfrm>
            </p:grpSpPr>
            <p:cxnSp>
              <p:nvCxnSpPr>
                <p:cNvPr id="609" name="Straight Connector 608">
                  <a:extLst>
                    <a:ext uri="{FF2B5EF4-FFF2-40B4-BE49-F238E27FC236}">
                      <a16:creationId xmlns:a16="http://schemas.microsoft.com/office/drawing/2014/main" id="{DB96FB75-5DE5-4859-8B76-5ED2DDE97C25}"/>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10" name="Straight Connector 609">
                  <a:extLst>
                    <a:ext uri="{FF2B5EF4-FFF2-40B4-BE49-F238E27FC236}">
                      <a16:creationId xmlns:a16="http://schemas.microsoft.com/office/drawing/2014/main" id="{889B6644-7E13-40AE-A8CE-913D647EC9DC}"/>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2" name="Group 521">
                <a:extLst>
                  <a:ext uri="{FF2B5EF4-FFF2-40B4-BE49-F238E27FC236}">
                    <a16:creationId xmlns:a16="http://schemas.microsoft.com/office/drawing/2014/main" id="{028ECAE8-BF6B-4471-A92D-88A05FB0639F}"/>
                  </a:ext>
                </a:extLst>
              </p:cNvPr>
              <p:cNvGrpSpPr/>
              <p:nvPr/>
            </p:nvGrpSpPr>
            <p:grpSpPr>
              <a:xfrm>
                <a:off x="2743200" y="3889375"/>
                <a:ext cx="72000" cy="72000"/>
                <a:chOff x="2619375" y="3260725"/>
                <a:chExt cx="72000" cy="72000"/>
              </a:xfrm>
            </p:grpSpPr>
            <p:cxnSp>
              <p:nvCxnSpPr>
                <p:cNvPr id="607" name="Straight Connector 606">
                  <a:extLst>
                    <a:ext uri="{FF2B5EF4-FFF2-40B4-BE49-F238E27FC236}">
                      <a16:creationId xmlns:a16="http://schemas.microsoft.com/office/drawing/2014/main" id="{CCD5979A-81A6-4843-8EFE-0730EFBDB3E1}"/>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08" name="Straight Connector 607">
                  <a:extLst>
                    <a:ext uri="{FF2B5EF4-FFF2-40B4-BE49-F238E27FC236}">
                      <a16:creationId xmlns:a16="http://schemas.microsoft.com/office/drawing/2014/main" id="{8CE352C6-5BE8-4A90-94CD-65730B6A2118}"/>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3" name="Group 522">
                <a:extLst>
                  <a:ext uri="{FF2B5EF4-FFF2-40B4-BE49-F238E27FC236}">
                    <a16:creationId xmlns:a16="http://schemas.microsoft.com/office/drawing/2014/main" id="{B13C2F9C-B152-494F-A025-6D6DC4D2ED29}"/>
                  </a:ext>
                </a:extLst>
              </p:cNvPr>
              <p:cNvGrpSpPr/>
              <p:nvPr/>
            </p:nvGrpSpPr>
            <p:grpSpPr>
              <a:xfrm>
                <a:off x="2708275" y="3835400"/>
                <a:ext cx="72000" cy="72000"/>
                <a:chOff x="2619375" y="3260725"/>
                <a:chExt cx="72000" cy="72000"/>
              </a:xfrm>
            </p:grpSpPr>
            <p:cxnSp>
              <p:nvCxnSpPr>
                <p:cNvPr id="605" name="Straight Connector 604">
                  <a:extLst>
                    <a:ext uri="{FF2B5EF4-FFF2-40B4-BE49-F238E27FC236}">
                      <a16:creationId xmlns:a16="http://schemas.microsoft.com/office/drawing/2014/main" id="{DBEC6DFB-8E2D-4C41-B113-B191636FECE1}"/>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06" name="Straight Connector 605">
                  <a:extLst>
                    <a:ext uri="{FF2B5EF4-FFF2-40B4-BE49-F238E27FC236}">
                      <a16:creationId xmlns:a16="http://schemas.microsoft.com/office/drawing/2014/main" id="{DC526CC0-59EB-41BE-A975-8DAD11BBCCA2}"/>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4" name="Group 523">
                <a:extLst>
                  <a:ext uri="{FF2B5EF4-FFF2-40B4-BE49-F238E27FC236}">
                    <a16:creationId xmlns:a16="http://schemas.microsoft.com/office/drawing/2014/main" id="{AA615042-C0D3-4432-BDD2-FD8E77C33D55}"/>
                  </a:ext>
                </a:extLst>
              </p:cNvPr>
              <p:cNvGrpSpPr/>
              <p:nvPr/>
            </p:nvGrpSpPr>
            <p:grpSpPr>
              <a:xfrm>
                <a:off x="2565400" y="3609975"/>
                <a:ext cx="72000" cy="72000"/>
                <a:chOff x="2619375" y="3260725"/>
                <a:chExt cx="72000" cy="72000"/>
              </a:xfrm>
            </p:grpSpPr>
            <p:cxnSp>
              <p:nvCxnSpPr>
                <p:cNvPr id="603" name="Straight Connector 602">
                  <a:extLst>
                    <a:ext uri="{FF2B5EF4-FFF2-40B4-BE49-F238E27FC236}">
                      <a16:creationId xmlns:a16="http://schemas.microsoft.com/office/drawing/2014/main" id="{A911BEDB-136F-4344-BDD3-438D96196D6A}"/>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04" name="Straight Connector 603">
                  <a:extLst>
                    <a:ext uri="{FF2B5EF4-FFF2-40B4-BE49-F238E27FC236}">
                      <a16:creationId xmlns:a16="http://schemas.microsoft.com/office/drawing/2014/main" id="{D8B9DB6C-409C-4526-A446-CF9DFD606E11}"/>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5" name="Group 524">
                <a:extLst>
                  <a:ext uri="{FF2B5EF4-FFF2-40B4-BE49-F238E27FC236}">
                    <a16:creationId xmlns:a16="http://schemas.microsoft.com/office/drawing/2014/main" id="{1E7F7DD2-3BD1-40C2-8144-20873D40CAFE}"/>
                  </a:ext>
                </a:extLst>
              </p:cNvPr>
              <p:cNvGrpSpPr/>
              <p:nvPr/>
            </p:nvGrpSpPr>
            <p:grpSpPr>
              <a:xfrm>
                <a:off x="2540000" y="3549650"/>
                <a:ext cx="72000" cy="72000"/>
                <a:chOff x="2619375" y="3260725"/>
                <a:chExt cx="72000" cy="72000"/>
              </a:xfrm>
            </p:grpSpPr>
            <p:cxnSp>
              <p:nvCxnSpPr>
                <p:cNvPr id="601" name="Straight Connector 600">
                  <a:extLst>
                    <a:ext uri="{FF2B5EF4-FFF2-40B4-BE49-F238E27FC236}">
                      <a16:creationId xmlns:a16="http://schemas.microsoft.com/office/drawing/2014/main" id="{B3C6F0DE-0283-4688-AE75-B1AB3324C1BA}"/>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02" name="Straight Connector 601">
                  <a:extLst>
                    <a:ext uri="{FF2B5EF4-FFF2-40B4-BE49-F238E27FC236}">
                      <a16:creationId xmlns:a16="http://schemas.microsoft.com/office/drawing/2014/main" id="{C78B79BB-B728-49B1-8EC9-6B7ED58EC6D4}"/>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6" name="Group 525">
                <a:extLst>
                  <a:ext uri="{FF2B5EF4-FFF2-40B4-BE49-F238E27FC236}">
                    <a16:creationId xmlns:a16="http://schemas.microsoft.com/office/drawing/2014/main" id="{DE0E50E6-2881-411C-83C4-00A311DA9B22}"/>
                  </a:ext>
                </a:extLst>
              </p:cNvPr>
              <p:cNvGrpSpPr/>
              <p:nvPr/>
            </p:nvGrpSpPr>
            <p:grpSpPr>
              <a:xfrm>
                <a:off x="2473325" y="3502025"/>
                <a:ext cx="72000" cy="72000"/>
                <a:chOff x="2619375" y="3260725"/>
                <a:chExt cx="72000" cy="72000"/>
              </a:xfrm>
            </p:grpSpPr>
            <p:cxnSp>
              <p:nvCxnSpPr>
                <p:cNvPr id="599" name="Straight Connector 598">
                  <a:extLst>
                    <a:ext uri="{FF2B5EF4-FFF2-40B4-BE49-F238E27FC236}">
                      <a16:creationId xmlns:a16="http://schemas.microsoft.com/office/drawing/2014/main" id="{98C7D796-89B7-417E-9BFD-CC565C33A38F}"/>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600" name="Straight Connector 599">
                  <a:extLst>
                    <a:ext uri="{FF2B5EF4-FFF2-40B4-BE49-F238E27FC236}">
                      <a16:creationId xmlns:a16="http://schemas.microsoft.com/office/drawing/2014/main" id="{A5742F64-0A23-4A7F-8C2B-F59FC98F4BCA}"/>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7" name="Group 526">
                <a:extLst>
                  <a:ext uri="{FF2B5EF4-FFF2-40B4-BE49-F238E27FC236}">
                    <a16:creationId xmlns:a16="http://schemas.microsoft.com/office/drawing/2014/main" id="{BC7D224F-A8AF-464D-BB20-2AAF3DC3C7BF}"/>
                  </a:ext>
                </a:extLst>
              </p:cNvPr>
              <p:cNvGrpSpPr/>
              <p:nvPr/>
            </p:nvGrpSpPr>
            <p:grpSpPr>
              <a:xfrm>
                <a:off x="2501900" y="3502025"/>
                <a:ext cx="72000" cy="72000"/>
                <a:chOff x="2619375" y="3260725"/>
                <a:chExt cx="72000" cy="72000"/>
              </a:xfrm>
            </p:grpSpPr>
            <p:cxnSp>
              <p:nvCxnSpPr>
                <p:cNvPr id="597" name="Straight Connector 596">
                  <a:extLst>
                    <a:ext uri="{FF2B5EF4-FFF2-40B4-BE49-F238E27FC236}">
                      <a16:creationId xmlns:a16="http://schemas.microsoft.com/office/drawing/2014/main" id="{AA165832-A46B-4F32-A14B-24F2B487DEC5}"/>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98" name="Straight Connector 597">
                  <a:extLst>
                    <a:ext uri="{FF2B5EF4-FFF2-40B4-BE49-F238E27FC236}">
                      <a16:creationId xmlns:a16="http://schemas.microsoft.com/office/drawing/2014/main" id="{2FDD2D79-C85C-4867-967C-E013D6FFC044}"/>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8" name="Group 527">
                <a:extLst>
                  <a:ext uri="{FF2B5EF4-FFF2-40B4-BE49-F238E27FC236}">
                    <a16:creationId xmlns:a16="http://schemas.microsoft.com/office/drawing/2014/main" id="{762966BD-882B-4331-80DB-1B7DBC0B190C}"/>
                  </a:ext>
                </a:extLst>
              </p:cNvPr>
              <p:cNvGrpSpPr/>
              <p:nvPr/>
            </p:nvGrpSpPr>
            <p:grpSpPr>
              <a:xfrm>
                <a:off x="2454275" y="3502025"/>
                <a:ext cx="72000" cy="72000"/>
                <a:chOff x="2619375" y="3260725"/>
                <a:chExt cx="72000" cy="72000"/>
              </a:xfrm>
            </p:grpSpPr>
            <p:cxnSp>
              <p:nvCxnSpPr>
                <p:cNvPr id="595" name="Straight Connector 594">
                  <a:extLst>
                    <a:ext uri="{FF2B5EF4-FFF2-40B4-BE49-F238E27FC236}">
                      <a16:creationId xmlns:a16="http://schemas.microsoft.com/office/drawing/2014/main" id="{B932718A-2B4D-4A6B-B28F-D10736A24844}"/>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96" name="Straight Connector 595">
                  <a:extLst>
                    <a:ext uri="{FF2B5EF4-FFF2-40B4-BE49-F238E27FC236}">
                      <a16:creationId xmlns:a16="http://schemas.microsoft.com/office/drawing/2014/main" id="{3CBB1EC6-345A-4291-A1EE-BD306C1480B3}"/>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29" name="Group 528">
                <a:extLst>
                  <a:ext uri="{FF2B5EF4-FFF2-40B4-BE49-F238E27FC236}">
                    <a16:creationId xmlns:a16="http://schemas.microsoft.com/office/drawing/2014/main" id="{7C14D7AD-9BE1-4AD4-B24D-91E6200FF650}"/>
                  </a:ext>
                </a:extLst>
              </p:cNvPr>
              <p:cNvGrpSpPr/>
              <p:nvPr/>
            </p:nvGrpSpPr>
            <p:grpSpPr>
              <a:xfrm>
                <a:off x="2413000" y="3422650"/>
                <a:ext cx="72000" cy="72000"/>
                <a:chOff x="2619375" y="3260725"/>
                <a:chExt cx="72000" cy="72000"/>
              </a:xfrm>
            </p:grpSpPr>
            <p:cxnSp>
              <p:nvCxnSpPr>
                <p:cNvPr id="593" name="Straight Connector 592">
                  <a:extLst>
                    <a:ext uri="{FF2B5EF4-FFF2-40B4-BE49-F238E27FC236}">
                      <a16:creationId xmlns:a16="http://schemas.microsoft.com/office/drawing/2014/main" id="{383CBE38-54A0-4409-9CAA-4C8C3EBA1AC0}"/>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94" name="Straight Connector 593">
                  <a:extLst>
                    <a:ext uri="{FF2B5EF4-FFF2-40B4-BE49-F238E27FC236}">
                      <a16:creationId xmlns:a16="http://schemas.microsoft.com/office/drawing/2014/main" id="{1E9AD5E5-95B0-4997-B376-AF93F2DD5636}"/>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0" name="Group 529">
                <a:extLst>
                  <a:ext uri="{FF2B5EF4-FFF2-40B4-BE49-F238E27FC236}">
                    <a16:creationId xmlns:a16="http://schemas.microsoft.com/office/drawing/2014/main" id="{A0112A60-96C8-4CF3-80F8-1ADCF7E736CA}"/>
                  </a:ext>
                </a:extLst>
              </p:cNvPr>
              <p:cNvGrpSpPr/>
              <p:nvPr/>
            </p:nvGrpSpPr>
            <p:grpSpPr>
              <a:xfrm>
                <a:off x="2378075" y="3422650"/>
                <a:ext cx="72000" cy="72000"/>
                <a:chOff x="2619375" y="3260725"/>
                <a:chExt cx="72000" cy="72000"/>
              </a:xfrm>
            </p:grpSpPr>
            <p:cxnSp>
              <p:nvCxnSpPr>
                <p:cNvPr id="591" name="Straight Connector 590">
                  <a:extLst>
                    <a:ext uri="{FF2B5EF4-FFF2-40B4-BE49-F238E27FC236}">
                      <a16:creationId xmlns:a16="http://schemas.microsoft.com/office/drawing/2014/main" id="{4F201364-A860-43D5-A6BA-C309693ACD01}"/>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92" name="Straight Connector 591">
                  <a:extLst>
                    <a:ext uri="{FF2B5EF4-FFF2-40B4-BE49-F238E27FC236}">
                      <a16:creationId xmlns:a16="http://schemas.microsoft.com/office/drawing/2014/main" id="{A5B67CFC-BAA1-48BA-8D70-A7B1CA7D473C}"/>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1" name="Group 530">
                <a:extLst>
                  <a:ext uri="{FF2B5EF4-FFF2-40B4-BE49-F238E27FC236}">
                    <a16:creationId xmlns:a16="http://schemas.microsoft.com/office/drawing/2014/main" id="{F2362595-CE1B-4DAA-9C62-D0F38CE89EF3}"/>
                  </a:ext>
                </a:extLst>
              </p:cNvPr>
              <p:cNvGrpSpPr/>
              <p:nvPr/>
            </p:nvGrpSpPr>
            <p:grpSpPr>
              <a:xfrm>
                <a:off x="2352675" y="3368675"/>
                <a:ext cx="72000" cy="72000"/>
                <a:chOff x="2619375" y="3260725"/>
                <a:chExt cx="72000" cy="72000"/>
              </a:xfrm>
            </p:grpSpPr>
            <p:cxnSp>
              <p:nvCxnSpPr>
                <p:cNvPr id="589" name="Straight Connector 588">
                  <a:extLst>
                    <a:ext uri="{FF2B5EF4-FFF2-40B4-BE49-F238E27FC236}">
                      <a16:creationId xmlns:a16="http://schemas.microsoft.com/office/drawing/2014/main" id="{19182877-004D-4104-943A-3AC0EB91C2C1}"/>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90" name="Straight Connector 589">
                  <a:extLst>
                    <a:ext uri="{FF2B5EF4-FFF2-40B4-BE49-F238E27FC236}">
                      <a16:creationId xmlns:a16="http://schemas.microsoft.com/office/drawing/2014/main" id="{30933601-C324-407F-8800-5AC8AC2198E3}"/>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2" name="Group 531">
                <a:extLst>
                  <a:ext uri="{FF2B5EF4-FFF2-40B4-BE49-F238E27FC236}">
                    <a16:creationId xmlns:a16="http://schemas.microsoft.com/office/drawing/2014/main" id="{85A58491-FC1B-465F-9FA4-EDED7796E5AE}"/>
                  </a:ext>
                </a:extLst>
              </p:cNvPr>
              <p:cNvGrpSpPr/>
              <p:nvPr/>
            </p:nvGrpSpPr>
            <p:grpSpPr>
              <a:xfrm>
                <a:off x="2305050" y="3260725"/>
                <a:ext cx="72000" cy="72000"/>
                <a:chOff x="2619375" y="3260725"/>
                <a:chExt cx="72000" cy="72000"/>
              </a:xfrm>
            </p:grpSpPr>
            <p:cxnSp>
              <p:nvCxnSpPr>
                <p:cNvPr id="587" name="Straight Connector 586">
                  <a:extLst>
                    <a:ext uri="{FF2B5EF4-FFF2-40B4-BE49-F238E27FC236}">
                      <a16:creationId xmlns:a16="http://schemas.microsoft.com/office/drawing/2014/main" id="{D6224FD1-CA8D-4B0C-9121-8E7142608926}"/>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88" name="Straight Connector 587">
                  <a:extLst>
                    <a:ext uri="{FF2B5EF4-FFF2-40B4-BE49-F238E27FC236}">
                      <a16:creationId xmlns:a16="http://schemas.microsoft.com/office/drawing/2014/main" id="{437C7C60-CBD1-430F-AFC2-7E468A7C273F}"/>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3" name="Group 532">
                <a:extLst>
                  <a:ext uri="{FF2B5EF4-FFF2-40B4-BE49-F238E27FC236}">
                    <a16:creationId xmlns:a16="http://schemas.microsoft.com/office/drawing/2014/main" id="{326A5BAC-01E8-4C9F-8C48-4EF4EC5ECB12}"/>
                  </a:ext>
                </a:extLst>
              </p:cNvPr>
              <p:cNvGrpSpPr/>
              <p:nvPr/>
            </p:nvGrpSpPr>
            <p:grpSpPr>
              <a:xfrm>
                <a:off x="2289175" y="3260725"/>
                <a:ext cx="72000" cy="72000"/>
                <a:chOff x="2619375" y="3260725"/>
                <a:chExt cx="72000" cy="72000"/>
              </a:xfrm>
            </p:grpSpPr>
            <p:cxnSp>
              <p:nvCxnSpPr>
                <p:cNvPr id="585" name="Straight Connector 584">
                  <a:extLst>
                    <a:ext uri="{FF2B5EF4-FFF2-40B4-BE49-F238E27FC236}">
                      <a16:creationId xmlns:a16="http://schemas.microsoft.com/office/drawing/2014/main" id="{09BD595B-ABAC-4DCC-9B1B-859FE01121F4}"/>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86" name="Straight Connector 585">
                  <a:extLst>
                    <a:ext uri="{FF2B5EF4-FFF2-40B4-BE49-F238E27FC236}">
                      <a16:creationId xmlns:a16="http://schemas.microsoft.com/office/drawing/2014/main" id="{5F8AD806-EC21-4E64-A4C3-96A082F7D015}"/>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4" name="Group 533">
                <a:extLst>
                  <a:ext uri="{FF2B5EF4-FFF2-40B4-BE49-F238E27FC236}">
                    <a16:creationId xmlns:a16="http://schemas.microsoft.com/office/drawing/2014/main" id="{19C7BEA5-3B0F-453B-9EE9-2624A82FD7B8}"/>
                  </a:ext>
                </a:extLst>
              </p:cNvPr>
              <p:cNvGrpSpPr/>
              <p:nvPr/>
            </p:nvGrpSpPr>
            <p:grpSpPr>
              <a:xfrm>
                <a:off x="2257425" y="3181350"/>
                <a:ext cx="72000" cy="72000"/>
                <a:chOff x="2619375" y="3260725"/>
                <a:chExt cx="72000" cy="72000"/>
              </a:xfrm>
            </p:grpSpPr>
            <p:cxnSp>
              <p:nvCxnSpPr>
                <p:cNvPr id="583" name="Straight Connector 582">
                  <a:extLst>
                    <a:ext uri="{FF2B5EF4-FFF2-40B4-BE49-F238E27FC236}">
                      <a16:creationId xmlns:a16="http://schemas.microsoft.com/office/drawing/2014/main" id="{4762613C-2F87-4BD3-9D4F-5824D5D7A9A8}"/>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84" name="Straight Connector 583">
                  <a:extLst>
                    <a:ext uri="{FF2B5EF4-FFF2-40B4-BE49-F238E27FC236}">
                      <a16:creationId xmlns:a16="http://schemas.microsoft.com/office/drawing/2014/main" id="{36D4905C-7C63-4181-A846-13FF9B389B14}"/>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5" name="Group 534">
                <a:extLst>
                  <a:ext uri="{FF2B5EF4-FFF2-40B4-BE49-F238E27FC236}">
                    <a16:creationId xmlns:a16="http://schemas.microsoft.com/office/drawing/2014/main" id="{A6C76D91-9A7A-435E-8F97-A3F8DCC230A1}"/>
                  </a:ext>
                </a:extLst>
              </p:cNvPr>
              <p:cNvGrpSpPr/>
              <p:nvPr/>
            </p:nvGrpSpPr>
            <p:grpSpPr>
              <a:xfrm>
                <a:off x="2232025" y="3048000"/>
                <a:ext cx="72000" cy="72000"/>
                <a:chOff x="2619375" y="3260725"/>
                <a:chExt cx="72000" cy="72000"/>
              </a:xfrm>
            </p:grpSpPr>
            <p:cxnSp>
              <p:nvCxnSpPr>
                <p:cNvPr id="581" name="Straight Connector 580">
                  <a:extLst>
                    <a:ext uri="{FF2B5EF4-FFF2-40B4-BE49-F238E27FC236}">
                      <a16:creationId xmlns:a16="http://schemas.microsoft.com/office/drawing/2014/main" id="{FBD3BAD4-2AC9-4AC9-B929-D31F22A181AC}"/>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82" name="Straight Connector 581">
                  <a:extLst>
                    <a:ext uri="{FF2B5EF4-FFF2-40B4-BE49-F238E27FC236}">
                      <a16:creationId xmlns:a16="http://schemas.microsoft.com/office/drawing/2014/main" id="{A65DFC29-390C-4070-980E-2DE88194A6AC}"/>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6" name="Group 535">
                <a:extLst>
                  <a:ext uri="{FF2B5EF4-FFF2-40B4-BE49-F238E27FC236}">
                    <a16:creationId xmlns:a16="http://schemas.microsoft.com/office/drawing/2014/main" id="{2B370611-EAFE-4BFA-8317-AFB3D8F44551}"/>
                  </a:ext>
                </a:extLst>
              </p:cNvPr>
              <p:cNvGrpSpPr/>
              <p:nvPr/>
            </p:nvGrpSpPr>
            <p:grpSpPr>
              <a:xfrm>
                <a:off x="2197100" y="3013075"/>
                <a:ext cx="72000" cy="72000"/>
                <a:chOff x="2619375" y="3260725"/>
                <a:chExt cx="72000" cy="72000"/>
              </a:xfrm>
            </p:grpSpPr>
            <p:cxnSp>
              <p:nvCxnSpPr>
                <p:cNvPr id="579" name="Straight Connector 578">
                  <a:extLst>
                    <a:ext uri="{FF2B5EF4-FFF2-40B4-BE49-F238E27FC236}">
                      <a16:creationId xmlns:a16="http://schemas.microsoft.com/office/drawing/2014/main" id="{290BCCC5-D15C-4B7E-B0D6-187E31BEF867}"/>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80" name="Straight Connector 579">
                  <a:extLst>
                    <a:ext uri="{FF2B5EF4-FFF2-40B4-BE49-F238E27FC236}">
                      <a16:creationId xmlns:a16="http://schemas.microsoft.com/office/drawing/2014/main" id="{4344DCB4-190D-4339-9772-703F35B487CB}"/>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7" name="Group 536">
                <a:extLst>
                  <a:ext uri="{FF2B5EF4-FFF2-40B4-BE49-F238E27FC236}">
                    <a16:creationId xmlns:a16="http://schemas.microsoft.com/office/drawing/2014/main" id="{9FAA58C5-DFA1-4526-9EF0-CEAB7AAB800C}"/>
                  </a:ext>
                </a:extLst>
              </p:cNvPr>
              <p:cNvGrpSpPr/>
              <p:nvPr/>
            </p:nvGrpSpPr>
            <p:grpSpPr>
              <a:xfrm>
                <a:off x="2181225" y="2981325"/>
                <a:ext cx="72000" cy="72000"/>
                <a:chOff x="2619375" y="3260725"/>
                <a:chExt cx="72000" cy="72000"/>
              </a:xfrm>
            </p:grpSpPr>
            <p:cxnSp>
              <p:nvCxnSpPr>
                <p:cNvPr id="577" name="Straight Connector 576">
                  <a:extLst>
                    <a:ext uri="{FF2B5EF4-FFF2-40B4-BE49-F238E27FC236}">
                      <a16:creationId xmlns:a16="http://schemas.microsoft.com/office/drawing/2014/main" id="{0B1FDEDE-304B-42E0-86F5-F1B7820B8EB6}"/>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78" name="Straight Connector 577">
                  <a:extLst>
                    <a:ext uri="{FF2B5EF4-FFF2-40B4-BE49-F238E27FC236}">
                      <a16:creationId xmlns:a16="http://schemas.microsoft.com/office/drawing/2014/main" id="{17222BD0-B529-4D2D-BF8A-8ED571F07C2F}"/>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8" name="Group 537">
                <a:extLst>
                  <a:ext uri="{FF2B5EF4-FFF2-40B4-BE49-F238E27FC236}">
                    <a16:creationId xmlns:a16="http://schemas.microsoft.com/office/drawing/2014/main" id="{3829B6C2-DC56-44AD-878E-D95AFBDF9B10}"/>
                  </a:ext>
                </a:extLst>
              </p:cNvPr>
              <p:cNvGrpSpPr/>
              <p:nvPr/>
            </p:nvGrpSpPr>
            <p:grpSpPr>
              <a:xfrm>
                <a:off x="2136775" y="2816225"/>
                <a:ext cx="72000" cy="72000"/>
                <a:chOff x="2619375" y="3260725"/>
                <a:chExt cx="72000" cy="72000"/>
              </a:xfrm>
            </p:grpSpPr>
            <p:cxnSp>
              <p:nvCxnSpPr>
                <p:cNvPr id="575" name="Straight Connector 574">
                  <a:extLst>
                    <a:ext uri="{FF2B5EF4-FFF2-40B4-BE49-F238E27FC236}">
                      <a16:creationId xmlns:a16="http://schemas.microsoft.com/office/drawing/2014/main" id="{47418921-7EBE-4AAC-AD70-BAD463B04A78}"/>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76" name="Straight Connector 575">
                  <a:extLst>
                    <a:ext uri="{FF2B5EF4-FFF2-40B4-BE49-F238E27FC236}">
                      <a16:creationId xmlns:a16="http://schemas.microsoft.com/office/drawing/2014/main" id="{D76B1126-86B6-4A82-90BE-E505AAE975DF}"/>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39" name="Group 538">
                <a:extLst>
                  <a:ext uri="{FF2B5EF4-FFF2-40B4-BE49-F238E27FC236}">
                    <a16:creationId xmlns:a16="http://schemas.microsoft.com/office/drawing/2014/main" id="{91EC7F7B-D13B-4ADB-86AA-FB8DF95400A6}"/>
                  </a:ext>
                </a:extLst>
              </p:cNvPr>
              <p:cNvGrpSpPr/>
              <p:nvPr/>
            </p:nvGrpSpPr>
            <p:grpSpPr>
              <a:xfrm>
                <a:off x="2044700" y="2654300"/>
                <a:ext cx="72000" cy="72000"/>
                <a:chOff x="2619375" y="3260725"/>
                <a:chExt cx="72000" cy="72000"/>
              </a:xfrm>
            </p:grpSpPr>
            <p:cxnSp>
              <p:nvCxnSpPr>
                <p:cNvPr id="573" name="Straight Connector 572">
                  <a:extLst>
                    <a:ext uri="{FF2B5EF4-FFF2-40B4-BE49-F238E27FC236}">
                      <a16:creationId xmlns:a16="http://schemas.microsoft.com/office/drawing/2014/main" id="{3C78E3AF-620B-4AE0-B550-05AA5EF4E8E3}"/>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74" name="Straight Connector 573">
                  <a:extLst>
                    <a:ext uri="{FF2B5EF4-FFF2-40B4-BE49-F238E27FC236}">
                      <a16:creationId xmlns:a16="http://schemas.microsoft.com/office/drawing/2014/main" id="{5873229D-0D7D-4907-BA35-F4B628AD6403}"/>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0" name="Group 539">
                <a:extLst>
                  <a:ext uri="{FF2B5EF4-FFF2-40B4-BE49-F238E27FC236}">
                    <a16:creationId xmlns:a16="http://schemas.microsoft.com/office/drawing/2014/main" id="{C9E5E2B4-9DE4-495B-84E1-5B98A8663B99}"/>
                  </a:ext>
                </a:extLst>
              </p:cNvPr>
              <p:cNvGrpSpPr/>
              <p:nvPr/>
            </p:nvGrpSpPr>
            <p:grpSpPr>
              <a:xfrm>
                <a:off x="1933575" y="2282825"/>
                <a:ext cx="72000" cy="72000"/>
                <a:chOff x="2619375" y="3260725"/>
                <a:chExt cx="72000" cy="72000"/>
              </a:xfrm>
            </p:grpSpPr>
            <p:cxnSp>
              <p:nvCxnSpPr>
                <p:cNvPr id="571" name="Straight Connector 570">
                  <a:extLst>
                    <a:ext uri="{FF2B5EF4-FFF2-40B4-BE49-F238E27FC236}">
                      <a16:creationId xmlns:a16="http://schemas.microsoft.com/office/drawing/2014/main" id="{68B3FEAC-FB05-462A-BC53-BCD50A9EE6FB}"/>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72" name="Straight Connector 571">
                  <a:extLst>
                    <a:ext uri="{FF2B5EF4-FFF2-40B4-BE49-F238E27FC236}">
                      <a16:creationId xmlns:a16="http://schemas.microsoft.com/office/drawing/2014/main" id="{2EE78D50-F5D5-4CA9-8594-EA9182814D14}"/>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1" name="Group 540">
                <a:extLst>
                  <a:ext uri="{FF2B5EF4-FFF2-40B4-BE49-F238E27FC236}">
                    <a16:creationId xmlns:a16="http://schemas.microsoft.com/office/drawing/2014/main" id="{534FC9DD-7E58-4000-BE6C-DC10C874FA2F}"/>
                  </a:ext>
                </a:extLst>
              </p:cNvPr>
              <p:cNvGrpSpPr/>
              <p:nvPr/>
            </p:nvGrpSpPr>
            <p:grpSpPr>
              <a:xfrm>
                <a:off x="1898650" y="2254250"/>
                <a:ext cx="72000" cy="72000"/>
                <a:chOff x="2619375" y="3260725"/>
                <a:chExt cx="72000" cy="72000"/>
              </a:xfrm>
            </p:grpSpPr>
            <p:cxnSp>
              <p:nvCxnSpPr>
                <p:cNvPr id="569" name="Straight Connector 568">
                  <a:extLst>
                    <a:ext uri="{FF2B5EF4-FFF2-40B4-BE49-F238E27FC236}">
                      <a16:creationId xmlns:a16="http://schemas.microsoft.com/office/drawing/2014/main" id="{2504541F-CA0A-4F3E-9F7F-A41B2073051B}"/>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70" name="Straight Connector 569">
                  <a:extLst>
                    <a:ext uri="{FF2B5EF4-FFF2-40B4-BE49-F238E27FC236}">
                      <a16:creationId xmlns:a16="http://schemas.microsoft.com/office/drawing/2014/main" id="{3F5D7B70-50C5-4B64-9228-524E251947DE}"/>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2" name="Group 541">
                <a:extLst>
                  <a:ext uri="{FF2B5EF4-FFF2-40B4-BE49-F238E27FC236}">
                    <a16:creationId xmlns:a16="http://schemas.microsoft.com/office/drawing/2014/main" id="{BB54F6F0-C246-4888-BCE0-EE5F6DFD015F}"/>
                  </a:ext>
                </a:extLst>
              </p:cNvPr>
              <p:cNvGrpSpPr/>
              <p:nvPr/>
            </p:nvGrpSpPr>
            <p:grpSpPr>
              <a:xfrm>
                <a:off x="1866900" y="2200275"/>
                <a:ext cx="72000" cy="72000"/>
                <a:chOff x="2619375" y="3260725"/>
                <a:chExt cx="72000" cy="72000"/>
              </a:xfrm>
            </p:grpSpPr>
            <p:cxnSp>
              <p:nvCxnSpPr>
                <p:cNvPr id="567" name="Straight Connector 566">
                  <a:extLst>
                    <a:ext uri="{FF2B5EF4-FFF2-40B4-BE49-F238E27FC236}">
                      <a16:creationId xmlns:a16="http://schemas.microsoft.com/office/drawing/2014/main" id="{BBA213D4-261B-4742-B2D7-55FDAD056B63}"/>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68" name="Straight Connector 567">
                  <a:extLst>
                    <a:ext uri="{FF2B5EF4-FFF2-40B4-BE49-F238E27FC236}">
                      <a16:creationId xmlns:a16="http://schemas.microsoft.com/office/drawing/2014/main" id="{44EEAB9A-9342-46AC-B194-FFAFE7F822AB}"/>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3" name="Group 542">
                <a:extLst>
                  <a:ext uri="{FF2B5EF4-FFF2-40B4-BE49-F238E27FC236}">
                    <a16:creationId xmlns:a16="http://schemas.microsoft.com/office/drawing/2014/main" id="{D9A5C15C-0DFA-4C02-8517-11246DEFF908}"/>
                  </a:ext>
                </a:extLst>
              </p:cNvPr>
              <p:cNvGrpSpPr/>
              <p:nvPr/>
            </p:nvGrpSpPr>
            <p:grpSpPr>
              <a:xfrm>
                <a:off x="1831975" y="2114550"/>
                <a:ext cx="72000" cy="72000"/>
                <a:chOff x="2619375" y="3260725"/>
                <a:chExt cx="72000" cy="72000"/>
              </a:xfrm>
            </p:grpSpPr>
            <p:cxnSp>
              <p:nvCxnSpPr>
                <p:cNvPr id="565" name="Straight Connector 564">
                  <a:extLst>
                    <a:ext uri="{FF2B5EF4-FFF2-40B4-BE49-F238E27FC236}">
                      <a16:creationId xmlns:a16="http://schemas.microsoft.com/office/drawing/2014/main" id="{00637808-9D5B-4118-8E65-B37D968B8EBC}"/>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66" name="Straight Connector 565">
                  <a:extLst>
                    <a:ext uri="{FF2B5EF4-FFF2-40B4-BE49-F238E27FC236}">
                      <a16:creationId xmlns:a16="http://schemas.microsoft.com/office/drawing/2014/main" id="{5205BFF8-6A38-4A67-A0A5-B52BB530D9E0}"/>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4" name="Group 543">
                <a:extLst>
                  <a:ext uri="{FF2B5EF4-FFF2-40B4-BE49-F238E27FC236}">
                    <a16:creationId xmlns:a16="http://schemas.microsoft.com/office/drawing/2014/main" id="{FCE17854-EB04-4238-87DE-0272003A80A9}"/>
                  </a:ext>
                </a:extLst>
              </p:cNvPr>
              <p:cNvGrpSpPr/>
              <p:nvPr/>
            </p:nvGrpSpPr>
            <p:grpSpPr>
              <a:xfrm>
                <a:off x="1800225" y="2117725"/>
                <a:ext cx="72000" cy="72000"/>
                <a:chOff x="2619375" y="3260725"/>
                <a:chExt cx="72000" cy="72000"/>
              </a:xfrm>
            </p:grpSpPr>
            <p:cxnSp>
              <p:nvCxnSpPr>
                <p:cNvPr id="563" name="Straight Connector 562">
                  <a:extLst>
                    <a:ext uri="{FF2B5EF4-FFF2-40B4-BE49-F238E27FC236}">
                      <a16:creationId xmlns:a16="http://schemas.microsoft.com/office/drawing/2014/main" id="{F8304D34-3BE1-4EC7-971F-A0950BDFE50E}"/>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64" name="Straight Connector 563">
                  <a:extLst>
                    <a:ext uri="{FF2B5EF4-FFF2-40B4-BE49-F238E27FC236}">
                      <a16:creationId xmlns:a16="http://schemas.microsoft.com/office/drawing/2014/main" id="{177C9A5B-2017-48CF-8DCB-B8E544C7B79F}"/>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5" name="Group 544">
                <a:extLst>
                  <a:ext uri="{FF2B5EF4-FFF2-40B4-BE49-F238E27FC236}">
                    <a16:creationId xmlns:a16="http://schemas.microsoft.com/office/drawing/2014/main" id="{93A6E935-CAF4-4F38-BFCC-5EB69CBBEA35}"/>
                  </a:ext>
                </a:extLst>
              </p:cNvPr>
              <p:cNvGrpSpPr/>
              <p:nvPr/>
            </p:nvGrpSpPr>
            <p:grpSpPr>
              <a:xfrm>
                <a:off x="1784350" y="2066925"/>
                <a:ext cx="72000" cy="72000"/>
                <a:chOff x="2619375" y="3260725"/>
                <a:chExt cx="72000" cy="72000"/>
              </a:xfrm>
            </p:grpSpPr>
            <p:cxnSp>
              <p:nvCxnSpPr>
                <p:cNvPr id="561" name="Straight Connector 560">
                  <a:extLst>
                    <a:ext uri="{FF2B5EF4-FFF2-40B4-BE49-F238E27FC236}">
                      <a16:creationId xmlns:a16="http://schemas.microsoft.com/office/drawing/2014/main" id="{D70B6B36-4B60-40D6-8C7A-187CE31FE334}"/>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62" name="Straight Connector 561">
                  <a:extLst>
                    <a:ext uri="{FF2B5EF4-FFF2-40B4-BE49-F238E27FC236}">
                      <a16:creationId xmlns:a16="http://schemas.microsoft.com/office/drawing/2014/main" id="{6FCD9C33-0258-4B7C-8F04-82C851D0E91C}"/>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6" name="Group 545">
                <a:extLst>
                  <a:ext uri="{FF2B5EF4-FFF2-40B4-BE49-F238E27FC236}">
                    <a16:creationId xmlns:a16="http://schemas.microsoft.com/office/drawing/2014/main" id="{9D6ABCC4-E40C-491C-ACFB-D19CBD35DFB4}"/>
                  </a:ext>
                </a:extLst>
              </p:cNvPr>
              <p:cNvGrpSpPr/>
              <p:nvPr/>
            </p:nvGrpSpPr>
            <p:grpSpPr>
              <a:xfrm>
                <a:off x="1711325" y="1835150"/>
                <a:ext cx="72000" cy="72000"/>
                <a:chOff x="2619375" y="3260725"/>
                <a:chExt cx="72000" cy="72000"/>
              </a:xfrm>
            </p:grpSpPr>
            <p:cxnSp>
              <p:nvCxnSpPr>
                <p:cNvPr id="559" name="Straight Connector 558">
                  <a:extLst>
                    <a:ext uri="{FF2B5EF4-FFF2-40B4-BE49-F238E27FC236}">
                      <a16:creationId xmlns:a16="http://schemas.microsoft.com/office/drawing/2014/main" id="{FFFCCD29-D09F-4398-93BF-73EB1DDDC9B2}"/>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60" name="Straight Connector 559">
                  <a:extLst>
                    <a:ext uri="{FF2B5EF4-FFF2-40B4-BE49-F238E27FC236}">
                      <a16:creationId xmlns:a16="http://schemas.microsoft.com/office/drawing/2014/main" id="{B5075D21-9337-4FD0-AE95-B47DA4FE490B}"/>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7" name="Group 546">
                <a:extLst>
                  <a:ext uri="{FF2B5EF4-FFF2-40B4-BE49-F238E27FC236}">
                    <a16:creationId xmlns:a16="http://schemas.microsoft.com/office/drawing/2014/main" id="{32AF624E-6E56-44DC-8D2C-E721D6C669E2}"/>
                  </a:ext>
                </a:extLst>
              </p:cNvPr>
              <p:cNvGrpSpPr/>
              <p:nvPr/>
            </p:nvGrpSpPr>
            <p:grpSpPr>
              <a:xfrm>
                <a:off x="1666875" y="1689100"/>
                <a:ext cx="72000" cy="72000"/>
                <a:chOff x="2619375" y="3260725"/>
                <a:chExt cx="72000" cy="72000"/>
              </a:xfrm>
            </p:grpSpPr>
            <p:cxnSp>
              <p:nvCxnSpPr>
                <p:cNvPr id="557" name="Straight Connector 556">
                  <a:extLst>
                    <a:ext uri="{FF2B5EF4-FFF2-40B4-BE49-F238E27FC236}">
                      <a16:creationId xmlns:a16="http://schemas.microsoft.com/office/drawing/2014/main" id="{36A55DE6-5CF7-484F-A8D4-AD6392C0EB89}"/>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58" name="Straight Connector 557">
                  <a:extLst>
                    <a:ext uri="{FF2B5EF4-FFF2-40B4-BE49-F238E27FC236}">
                      <a16:creationId xmlns:a16="http://schemas.microsoft.com/office/drawing/2014/main" id="{C05141A9-1C3B-41B0-86C4-98380AE5C916}"/>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8" name="Group 547">
                <a:extLst>
                  <a:ext uri="{FF2B5EF4-FFF2-40B4-BE49-F238E27FC236}">
                    <a16:creationId xmlns:a16="http://schemas.microsoft.com/office/drawing/2014/main" id="{05BBD5EE-8044-4912-B659-8C17BEF53A83}"/>
                  </a:ext>
                </a:extLst>
              </p:cNvPr>
              <p:cNvGrpSpPr/>
              <p:nvPr/>
            </p:nvGrpSpPr>
            <p:grpSpPr>
              <a:xfrm>
                <a:off x="1638300" y="1498600"/>
                <a:ext cx="72000" cy="72000"/>
                <a:chOff x="2619375" y="3260725"/>
                <a:chExt cx="72000" cy="72000"/>
              </a:xfrm>
            </p:grpSpPr>
            <p:cxnSp>
              <p:nvCxnSpPr>
                <p:cNvPr id="555" name="Straight Connector 554">
                  <a:extLst>
                    <a:ext uri="{FF2B5EF4-FFF2-40B4-BE49-F238E27FC236}">
                      <a16:creationId xmlns:a16="http://schemas.microsoft.com/office/drawing/2014/main" id="{08EC2361-ECAD-4A72-A76A-5FF107BDEF6B}"/>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56" name="Straight Connector 555">
                  <a:extLst>
                    <a:ext uri="{FF2B5EF4-FFF2-40B4-BE49-F238E27FC236}">
                      <a16:creationId xmlns:a16="http://schemas.microsoft.com/office/drawing/2014/main" id="{E1496932-DA8A-49A1-B138-02D8F9985676}"/>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49" name="Group 548">
                <a:extLst>
                  <a:ext uri="{FF2B5EF4-FFF2-40B4-BE49-F238E27FC236}">
                    <a16:creationId xmlns:a16="http://schemas.microsoft.com/office/drawing/2014/main" id="{738F1071-957E-4C1E-B26F-CE6ECB4D037F}"/>
                  </a:ext>
                </a:extLst>
              </p:cNvPr>
              <p:cNvGrpSpPr/>
              <p:nvPr/>
            </p:nvGrpSpPr>
            <p:grpSpPr>
              <a:xfrm>
                <a:off x="1600200" y="1292225"/>
                <a:ext cx="72000" cy="72000"/>
                <a:chOff x="2619375" y="3260725"/>
                <a:chExt cx="72000" cy="72000"/>
              </a:xfrm>
            </p:grpSpPr>
            <p:cxnSp>
              <p:nvCxnSpPr>
                <p:cNvPr id="553" name="Straight Connector 552">
                  <a:extLst>
                    <a:ext uri="{FF2B5EF4-FFF2-40B4-BE49-F238E27FC236}">
                      <a16:creationId xmlns:a16="http://schemas.microsoft.com/office/drawing/2014/main" id="{88A0DE49-58EE-436B-898D-AEB46822294F}"/>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54" name="Straight Connector 553">
                  <a:extLst>
                    <a:ext uri="{FF2B5EF4-FFF2-40B4-BE49-F238E27FC236}">
                      <a16:creationId xmlns:a16="http://schemas.microsoft.com/office/drawing/2014/main" id="{AD1B28F2-D33C-4893-BD51-CE0287A4E357}"/>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nvGrpSpPr>
              <p:cNvPr id="550" name="Group 549">
                <a:extLst>
                  <a:ext uri="{FF2B5EF4-FFF2-40B4-BE49-F238E27FC236}">
                    <a16:creationId xmlns:a16="http://schemas.microsoft.com/office/drawing/2014/main" id="{79505FBC-A6BC-4730-B97B-22372448AF53}"/>
                  </a:ext>
                </a:extLst>
              </p:cNvPr>
              <p:cNvGrpSpPr/>
              <p:nvPr/>
            </p:nvGrpSpPr>
            <p:grpSpPr>
              <a:xfrm>
                <a:off x="1498600" y="1016000"/>
                <a:ext cx="72000" cy="72000"/>
                <a:chOff x="2619375" y="3260725"/>
                <a:chExt cx="72000" cy="72000"/>
              </a:xfrm>
            </p:grpSpPr>
            <p:cxnSp>
              <p:nvCxnSpPr>
                <p:cNvPr id="551" name="Straight Connector 550">
                  <a:extLst>
                    <a:ext uri="{FF2B5EF4-FFF2-40B4-BE49-F238E27FC236}">
                      <a16:creationId xmlns:a16="http://schemas.microsoft.com/office/drawing/2014/main" id="{D17EBD29-8756-4B8C-83D2-2349E4AC171F}"/>
                    </a:ext>
                  </a:extLst>
                </p:cNvPr>
                <p:cNvCxnSpPr/>
                <p:nvPr/>
              </p:nvCxnSpPr>
              <p:spPr>
                <a:xfrm>
                  <a:off x="2655375" y="3260725"/>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cxnSp>
              <p:nvCxnSpPr>
                <p:cNvPr id="552" name="Straight Connector 551">
                  <a:extLst>
                    <a:ext uri="{FF2B5EF4-FFF2-40B4-BE49-F238E27FC236}">
                      <a16:creationId xmlns:a16="http://schemas.microsoft.com/office/drawing/2014/main" id="{B9EBACFA-6C8E-4EF2-A4D2-B2094DABA59E}"/>
                    </a:ext>
                  </a:extLst>
                </p:cNvPr>
                <p:cNvCxnSpPr/>
                <p:nvPr/>
              </p:nvCxnSpPr>
              <p:spPr>
                <a:xfrm rot="16200000">
                  <a:off x="2655375" y="3260726"/>
                  <a:ext cx="0" cy="72000"/>
                </a:xfrm>
                <a:prstGeom prst="line">
                  <a:avLst/>
                </a:prstGeom>
                <a:ln w="12700" cmpd="sng">
                  <a:solidFill>
                    <a:srgbClr val="BE147D"/>
                  </a:solidFill>
                </a:ln>
                <a:effectLst/>
              </p:spPr>
              <p:style>
                <a:lnRef idx="2">
                  <a:schemeClr val="accent1"/>
                </a:lnRef>
                <a:fillRef idx="0">
                  <a:schemeClr val="accent1"/>
                </a:fillRef>
                <a:effectRef idx="1">
                  <a:schemeClr val="accent1"/>
                </a:effectRef>
                <a:fontRef idx="minor">
                  <a:schemeClr val="tx1"/>
                </a:fontRef>
              </p:style>
            </p:cxnSp>
          </p:grpSp>
        </p:grpSp>
      </p:grpSp>
      <p:grpSp>
        <p:nvGrpSpPr>
          <p:cNvPr id="393" name="Group 392">
            <a:extLst>
              <a:ext uri="{FF2B5EF4-FFF2-40B4-BE49-F238E27FC236}">
                <a16:creationId xmlns:a16="http://schemas.microsoft.com/office/drawing/2014/main" id="{C09CC393-82FF-4250-A37F-650F0F9CAF7A}"/>
              </a:ext>
            </a:extLst>
          </p:cNvPr>
          <p:cNvGrpSpPr/>
          <p:nvPr/>
        </p:nvGrpSpPr>
        <p:grpSpPr>
          <a:xfrm>
            <a:off x="4849614" y="1605724"/>
            <a:ext cx="1612415" cy="2018588"/>
            <a:chOff x="1495425" y="1019175"/>
            <a:chExt cx="1616259" cy="3952876"/>
          </a:xfrm>
        </p:grpSpPr>
        <p:sp>
          <p:nvSpPr>
            <p:cNvPr id="455" name="Freeform 77">
              <a:extLst>
                <a:ext uri="{FF2B5EF4-FFF2-40B4-BE49-F238E27FC236}">
                  <a16:creationId xmlns:a16="http://schemas.microsoft.com/office/drawing/2014/main" id="{2F97890D-3C41-4EBF-B0B1-A5222B06AD6F}"/>
                </a:ext>
              </a:extLst>
            </p:cNvPr>
            <p:cNvSpPr/>
            <p:nvPr/>
          </p:nvSpPr>
          <p:spPr>
            <a:xfrm>
              <a:off x="1530534" y="1050924"/>
              <a:ext cx="1581150" cy="3921127"/>
            </a:xfrm>
            <a:custGeom>
              <a:avLst/>
              <a:gdLst>
                <a:gd name="connsiteX0" fmla="*/ 1778000 w 1781175"/>
                <a:gd name="connsiteY0" fmla="*/ 3317875 h 3317875"/>
                <a:gd name="connsiteX1" fmla="*/ 1781175 w 1781175"/>
                <a:gd name="connsiteY1" fmla="*/ 2952750 h 3317875"/>
                <a:gd name="connsiteX2" fmla="*/ 1568450 w 1781175"/>
                <a:gd name="connsiteY2" fmla="*/ 2952750 h 3317875"/>
                <a:gd name="connsiteX3" fmla="*/ 1571625 w 1781175"/>
                <a:gd name="connsiteY3" fmla="*/ 2832100 h 3317875"/>
                <a:gd name="connsiteX4" fmla="*/ 1508125 w 1781175"/>
                <a:gd name="connsiteY4" fmla="*/ 2832100 h 3317875"/>
                <a:gd name="connsiteX5" fmla="*/ 1511300 w 1781175"/>
                <a:gd name="connsiteY5" fmla="*/ 2717800 h 3317875"/>
                <a:gd name="connsiteX6" fmla="*/ 1292225 w 1781175"/>
                <a:gd name="connsiteY6" fmla="*/ 2720975 h 3317875"/>
                <a:gd name="connsiteX7" fmla="*/ 1295400 w 1781175"/>
                <a:gd name="connsiteY7" fmla="*/ 2625725 h 3317875"/>
                <a:gd name="connsiteX8" fmla="*/ 1162050 w 1781175"/>
                <a:gd name="connsiteY8" fmla="*/ 2625725 h 3317875"/>
                <a:gd name="connsiteX9" fmla="*/ 1162050 w 1781175"/>
                <a:gd name="connsiteY9" fmla="*/ 2540000 h 3317875"/>
                <a:gd name="connsiteX10" fmla="*/ 1035050 w 1781175"/>
                <a:gd name="connsiteY10" fmla="*/ 2536825 h 3317875"/>
                <a:gd name="connsiteX11" fmla="*/ 1038225 w 1781175"/>
                <a:gd name="connsiteY11" fmla="*/ 2463800 h 3317875"/>
                <a:gd name="connsiteX12" fmla="*/ 987425 w 1781175"/>
                <a:gd name="connsiteY12" fmla="*/ 2463800 h 3317875"/>
                <a:gd name="connsiteX13" fmla="*/ 990600 w 1781175"/>
                <a:gd name="connsiteY13" fmla="*/ 2387600 h 3317875"/>
                <a:gd name="connsiteX14" fmla="*/ 933450 w 1781175"/>
                <a:gd name="connsiteY14" fmla="*/ 2387600 h 3317875"/>
                <a:gd name="connsiteX15" fmla="*/ 936625 w 1781175"/>
                <a:gd name="connsiteY15" fmla="*/ 2305050 h 3317875"/>
                <a:gd name="connsiteX16" fmla="*/ 892175 w 1781175"/>
                <a:gd name="connsiteY16" fmla="*/ 2305050 h 3317875"/>
                <a:gd name="connsiteX17" fmla="*/ 898525 w 1781175"/>
                <a:gd name="connsiteY17" fmla="*/ 2238375 h 3317875"/>
                <a:gd name="connsiteX18" fmla="*/ 679450 w 1781175"/>
                <a:gd name="connsiteY18" fmla="*/ 2263775 h 3317875"/>
                <a:gd name="connsiteX19" fmla="*/ 885825 w 1781175"/>
                <a:gd name="connsiteY19" fmla="*/ 2238375 h 3317875"/>
                <a:gd name="connsiteX20" fmla="*/ 889000 w 1781175"/>
                <a:gd name="connsiteY20" fmla="*/ 2089150 h 3317875"/>
                <a:gd name="connsiteX21" fmla="*/ 806450 w 1781175"/>
                <a:gd name="connsiteY21" fmla="*/ 2085975 h 3317875"/>
                <a:gd name="connsiteX22" fmla="*/ 812800 w 1781175"/>
                <a:gd name="connsiteY22" fmla="*/ 2016125 h 3317875"/>
                <a:gd name="connsiteX23" fmla="*/ 765175 w 1781175"/>
                <a:gd name="connsiteY23" fmla="*/ 2012950 h 3317875"/>
                <a:gd name="connsiteX24" fmla="*/ 774700 w 1781175"/>
                <a:gd name="connsiteY24" fmla="*/ 1876425 h 3317875"/>
                <a:gd name="connsiteX25" fmla="*/ 746125 w 1781175"/>
                <a:gd name="connsiteY25" fmla="*/ 1873250 h 3317875"/>
                <a:gd name="connsiteX26" fmla="*/ 749300 w 1781175"/>
                <a:gd name="connsiteY26" fmla="*/ 1733550 h 3317875"/>
                <a:gd name="connsiteX27" fmla="*/ 749300 w 1781175"/>
                <a:gd name="connsiteY27" fmla="*/ 1733550 h 3317875"/>
                <a:gd name="connsiteX28" fmla="*/ 749300 w 1781175"/>
                <a:gd name="connsiteY28" fmla="*/ 1733550 h 3317875"/>
                <a:gd name="connsiteX29" fmla="*/ 349250 w 1781175"/>
                <a:gd name="connsiteY29" fmla="*/ 1854200 h 3317875"/>
                <a:gd name="connsiteX30" fmla="*/ 727075 w 1781175"/>
                <a:gd name="connsiteY30" fmla="*/ 1736725 h 3317875"/>
                <a:gd name="connsiteX31" fmla="*/ 730250 w 1781175"/>
                <a:gd name="connsiteY31" fmla="*/ 1666875 h 3317875"/>
                <a:gd name="connsiteX32" fmla="*/ 339725 w 1781175"/>
                <a:gd name="connsiteY32" fmla="*/ 1724025 h 3317875"/>
                <a:gd name="connsiteX33" fmla="*/ 717550 w 1781175"/>
                <a:gd name="connsiteY33" fmla="*/ 1666875 h 3317875"/>
                <a:gd name="connsiteX34" fmla="*/ 717550 w 1781175"/>
                <a:gd name="connsiteY34" fmla="*/ 1603375 h 3317875"/>
                <a:gd name="connsiteX35" fmla="*/ 368300 w 1781175"/>
                <a:gd name="connsiteY35" fmla="*/ 1625600 h 3317875"/>
                <a:gd name="connsiteX36" fmla="*/ 711200 w 1781175"/>
                <a:gd name="connsiteY36" fmla="*/ 1600200 h 3317875"/>
                <a:gd name="connsiteX37" fmla="*/ 711200 w 1781175"/>
                <a:gd name="connsiteY37" fmla="*/ 1600200 h 3317875"/>
                <a:gd name="connsiteX38" fmla="*/ 711200 w 1781175"/>
                <a:gd name="connsiteY38" fmla="*/ 1600200 h 3317875"/>
                <a:gd name="connsiteX39" fmla="*/ 889000 w 1781175"/>
                <a:gd name="connsiteY39" fmla="*/ 1571625 h 3317875"/>
                <a:gd name="connsiteX40" fmla="*/ 714375 w 1781175"/>
                <a:gd name="connsiteY40" fmla="*/ 1581150 h 3317875"/>
                <a:gd name="connsiteX41" fmla="*/ 377825 w 1781175"/>
                <a:gd name="connsiteY41" fmla="*/ 1606550 h 3317875"/>
                <a:gd name="connsiteX42" fmla="*/ 698500 w 1781175"/>
                <a:gd name="connsiteY42" fmla="*/ 1581150 h 3317875"/>
                <a:gd name="connsiteX43" fmla="*/ 701675 w 1781175"/>
                <a:gd name="connsiteY43" fmla="*/ 1482725 h 3317875"/>
                <a:gd name="connsiteX44" fmla="*/ 663575 w 1781175"/>
                <a:gd name="connsiteY44" fmla="*/ 1476375 h 3317875"/>
                <a:gd name="connsiteX45" fmla="*/ 669925 w 1781175"/>
                <a:gd name="connsiteY45" fmla="*/ 1406525 h 3317875"/>
                <a:gd name="connsiteX46" fmla="*/ 609600 w 1781175"/>
                <a:gd name="connsiteY46" fmla="*/ 1400175 h 3317875"/>
                <a:gd name="connsiteX47" fmla="*/ 615950 w 1781175"/>
                <a:gd name="connsiteY47" fmla="*/ 1323975 h 3317875"/>
                <a:gd name="connsiteX48" fmla="*/ 168275 w 1781175"/>
                <a:gd name="connsiteY48" fmla="*/ 1400175 h 3317875"/>
                <a:gd name="connsiteX49" fmla="*/ 600075 w 1781175"/>
                <a:gd name="connsiteY49" fmla="*/ 1323975 h 3317875"/>
                <a:gd name="connsiteX50" fmla="*/ 609600 w 1781175"/>
                <a:gd name="connsiteY50" fmla="*/ 1273175 h 3317875"/>
                <a:gd name="connsiteX51" fmla="*/ 568325 w 1781175"/>
                <a:gd name="connsiteY51" fmla="*/ 1273175 h 3317875"/>
                <a:gd name="connsiteX52" fmla="*/ 574675 w 1781175"/>
                <a:gd name="connsiteY52" fmla="*/ 1206500 h 3317875"/>
                <a:gd name="connsiteX53" fmla="*/ 234950 w 1781175"/>
                <a:gd name="connsiteY53" fmla="*/ 1244600 h 3317875"/>
                <a:gd name="connsiteX54" fmla="*/ 555625 w 1781175"/>
                <a:gd name="connsiteY54" fmla="*/ 1206500 h 3317875"/>
                <a:gd name="connsiteX55" fmla="*/ 555625 w 1781175"/>
                <a:gd name="connsiteY55" fmla="*/ 1168400 h 3317875"/>
                <a:gd name="connsiteX56" fmla="*/ 123825 w 1781175"/>
                <a:gd name="connsiteY56" fmla="*/ 1209675 h 3317875"/>
                <a:gd name="connsiteX57" fmla="*/ 546100 w 1781175"/>
                <a:gd name="connsiteY57" fmla="*/ 1165225 h 3317875"/>
                <a:gd name="connsiteX58" fmla="*/ 546100 w 1781175"/>
                <a:gd name="connsiteY58" fmla="*/ 1025525 h 3317875"/>
                <a:gd name="connsiteX59" fmla="*/ 146050 w 1781175"/>
                <a:gd name="connsiteY59" fmla="*/ 1095375 h 3317875"/>
                <a:gd name="connsiteX60" fmla="*/ 520700 w 1781175"/>
                <a:gd name="connsiteY60" fmla="*/ 1016000 h 3317875"/>
                <a:gd name="connsiteX61" fmla="*/ 530225 w 1781175"/>
                <a:gd name="connsiteY61" fmla="*/ 844550 h 3317875"/>
                <a:gd name="connsiteX62" fmla="*/ 41275 w 1781175"/>
                <a:gd name="connsiteY62" fmla="*/ 911225 h 3317875"/>
                <a:gd name="connsiteX63" fmla="*/ 514350 w 1781175"/>
                <a:gd name="connsiteY63" fmla="*/ 847725 h 3317875"/>
                <a:gd name="connsiteX64" fmla="*/ 517525 w 1781175"/>
                <a:gd name="connsiteY64" fmla="*/ 714375 h 3317875"/>
                <a:gd name="connsiteX65" fmla="*/ 460375 w 1781175"/>
                <a:gd name="connsiteY65" fmla="*/ 711200 h 3317875"/>
                <a:gd name="connsiteX66" fmla="*/ 469900 w 1781175"/>
                <a:gd name="connsiteY66" fmla="*/ 530225 h 3317875"/>
                <a:gd name="connsiteX67" fmla="*/ 441325 w 1781175"/>
                <a:gd name="connsiteY67" fmla="*/ 523875 h 3317875"/>
                <a:gd name="connsiteX68" fmla="*/ 444500 w 1781175"/>
                <a:gd name="connsiteY68" fmla="*/ 447675 h 3317875"/>
                <a:gd name="connsiteX69" fmla="*/ 88900 w 1781175"/>
                <a:gd name="connsiteY69" fmla="*/ 539750 h 3317875"/>
                <a:gd name="connsiteX70" fmla="*/ 431800 w 1781175"/>
                <a:gd name="connsiteY70" fmla="*/ 450850 h 3317875"/>
                <a:gd name="connsiteX71" fmla="*/ 441325 w 1781175"/>
                <a:gd name="connsiteY71" fmla="*/ 269875 h 3317875"/>
                <a:gd name="connsiteX72" fmla="*/ 0 w 1781175"/>
                <a:gd name="connsiteY72" fmla="*/ 349250 h 3317875"/>
                <a:gd name="connsiteX73" fmla="*/ 396875 w 1781175"/>
                <a:gd name="connsiteY73" fmla="*/ 276225 h 3317875"/>
                <a:gd name="connsiteX74" fmla="*/ 400050 w 1781175"/>
                <a:gd name="connsiteY74" fmla="*/ 177800 h 3317875"/>
                <a:gd name="connsiteX75" fmla="*/ 365125 w 1781175"/>
                <a:gd name="connsiteY75" fmla="*/ 174625 h 3317875"/>
                <a:gd name="connsiteX76" fmla="*/ 365125 w 1781175"/>
                <a:gd name="connsiteY76" fmla="*/ 73025 h 3317875"/>
                <a:gd name="connsiteX77" fmla="*/ 812800 w 1781175"/>
                <a:gd name="connsiteY77" fmla="*/ 38100 h 3317875"/>
                <a:gd name="connsiteX78" fmla="*/ 434975 w 1781175"/>
                <a:gd name="connsiteY78" fmla="*/ 41275 h 3317875"/>
                <a:gd name="connsiteX79" fmla="*/ 774700 w 1781175"/>
                <a:gd name="connsiteY79" fmla="*/ 12700 h 3317875"/>
                <a:gd name="connsiteX80" fmla="*/ 212725 w 1781175"/>
                <a:gd name="connsiteY80" fmla="*/ 38100 h 3317875"/>
                <a:gd name="connsiteX81" fmla="*/ 561975 w 1781175"/>
                <a:gd name="connsiteY81" fmla="*/ 0 h 3317875"/>
                <a:gd name="connsiteX82" fmla="*/ 225425 w 1781175"/>
                <a:gd name="connsiteY82" fmla="*/ 9525 h 3317875"/>
                <a:gd name="connsiteX83" fmla="*/ 225425 w 1781175"/>
                <a:gd name="connsiteY83" fmla="*/ 9525 h 3317875"/>
                <a:gd name="connsiteX0" fmla="*/ 1790700 w 1793875"/>
                <a:gd name="connsiteY0" fmla="*/ 3930650 h 3930650"/>
                <a:gd name="connsiteX1" fmla="*/ 1793875 w 1793875"/>
                <a:gd name="connsiteY1" fmla="*/ 3565525 h 3930650"/>
                <a:gd name="connsiteX2" fmla="*/ 1581150 w 1793875"/>
                <a:gd name="connsiteY2" fmla="*/ 3565525 h 3930650"/>
                <a:gd name="connsiteX3" fmla="*/ 1584325 w 1793875"/>
                <a:gd name="connsiteY3" fmla="*/ 3444875 h 3930650"/>
                <a:gd name="connsiteX4" fmla="*/ 1520825 w 1793875"/>
                <a:gd name="connsiteY4" fmla="*/ 3444875 h 3930650"/>
                <a:gd name="connsiteX5" fmla="*/ 1524000 w 1793875"/>
                <a:gd name="connsiteY5" fmla="*/ 3330575 h 3930650"/>
                <a:gd name="connsiteX6" fmla="*/ 1304925 w 1793875"/>
                <a:gd name="connsiteY6" fmla="*/ 3333750 h 3930650"/>
                <a:gd name="connsiteX7" fmla="*/ 1308100 w 1793875"/>
                <a:gd name="connsiteY7" fmla="*/ 3238500 h 3930650"/>
                <a:gd name="connsiteX8" fmla="*/ 1174750 w 1793875"/>
                <a:gd name="connsiteY8" fmla="*/ 3238500 h 3930650"/>
                <a:gd name="connsiteX9" fmla="*/ 1174750 w 1793875"/>
                <a:gd name="connsiteY9" fmla="*/ 3152775 h 3930650"/>
                <a:gd name="connsiteX10" fmla="*/ 1047750 w 1793875"/>
                <a:gd name="connsiteY10" fmla="*/ 3149600 h 3930650"/>
                <a:gd name="connsiteX11" fmla="*/ 1050925 w 1793875"/>
                <a:gd name="connsiteY11" fmla="*/ 3076575 h 3930650"/>
                <a:gd name="connsiteX12" fmla="*/ 1000125 w 1793875"/>
                <a:gd name="connsiteY12" fmla="*/ 3076575 h 3930650"/>
                <a:gd name="connsiteX13" fmla="*/ 1003300 w 1793875"/>
                <a:gd name="connsiteY13" fmla="*/ 3000375 h 3930650"/>
                <a:gd name="connsiteX14" fmla="*/ 946150 w 1793875"/>
                <a:gd name="connsiteY14" fmla="*/ 3000375 h 3930650"/>
                <a:gd name="connsiteX15" fmla="*/ 949325 w 1793875"/>
                <a:gd name="connsiteY15" fmla="*/ 2917825 h 3930650"/>
                <a:gd name="connsiteX16" fmla="*/ 904875 w 1793875"/>
                <a:gd name="connsiteY16" fmla="*/ 2917825 h 3930650"/>
                <a:gd name="connsiteX17" fmla="*/ 911225 w 1793875"/>
                <a:gd name="connsiteY17" fmla="*/ 2851150 h 3930650"/>
                <a:gd name="connsiteX18" fmla="*/ 692150 w 1793875"/>
                <a:gd name="connsiteY18" fmla="*/ 2876550 h 3930650"/>
                <a:gd name="connsiteX19" fmla="*/ 898525 w 1793875"/>
                <a:gd name="connsiteY19" fmla="*/ 2851150 h 3930650"/>
                <a:gd name="connsiteX20" fmla="*/ 901700 w 1793875"/>
                <a:gd name="connsiteY20" fmla="*/ 2701925 h 3930650"/>
                <a:gd name="connsiteX21" fmla="*/ 819150 w 1793875"/>
                <a:gd name="connsiteY21" fmla="*/ 2698750 h 3930650"/>
                <a:gd name="connsiteX22" fmla="*/ 825500 w 1793875"/>
                <a:gd name="connsiteY22" fmla="*/ 2628900 h 3930650"/>
                <a:gd name="connsiteX23" fmla="*/ 777875 w 1793875"/>
                <a:gd name="connsiteY23" fmla="*/ 2625725 h 3930650"/>
                <a:gd name="connsiteX24" fmla="*/ 787400 w 1793875"/>
                <a:gd name="connsiteY24" fmla="*/ 2489200 h 3930650"/>
                <a:gd name="connsiteX25" fmla="*/ 758825 w 1793875"/>
                <a:gd name="connsiteY25" fmla="*/ 2486025 h 3930650"/>
                <a:gd name="connsiteX26" fmla="*/ 762000 w 1793875"/>
                <a:gd name="connsiteY26" fmla="*/ 2346325 h 3930650"/>
                <a:gd name="connsiteX27" fmla="*/ 762000 w 1793875"/>
                <a:gd name="connsiteY27" fmla="*/ 2346325 h 3930650"/>
                <a:gd name="connsiteX28" fmla="*/ 762000 w 1793875"/>
                <a:gd name="connsiteY28" fmla="*/ 2346325 h 3930650"/>
                <a:gd name="connsiteX29" fmla="*/ 361950 w 1793875"/>
                <a:gd name="connsiteY29" fmla="*/ 2466975 h 3930650"/>
                <a:gd name="connsiteX30" fmla="*/ 739775 w 1793875"/>
                <a:gd name="connsiteY30" fmla="*/ 2349500 h 3930650"/>
                <a:gd name="connsiteX31" fmla="*/ 742950 w 1793875"/>
                <a:gd name="connsiteY31" fmla="*/ 2279650 h 3930650"/>
                <a:gd name="connsiteX32" fmla="*/ 352425 w 1793875"/>
                <a:gd name="connsiteY32" fmla="*/ 2336800 h 3930650"/>
                <a:gd name="connsiteX33" fmla="*/ 730250 w 1793875"/>
                <a:gd name="connsiteY33" fmla="*/ 2279650 h 3930650"/>
                <a:gd name="connsiteX34" fmla="*/ 730250 w 1793875"/>
                <a:gd name="connsiteY34" fmla="*/ 2216150 h 3930650"/>
                <a:gd name="connsiteX35" fmla="*/ 381000 w 1793875"/>
                <a:gd name="connsiteY35" fmla="*/ 2238375 h 3930650"/>
                <a:gd name="connsiteX36" fmla="*/ 723900 w 1793875"/>
                <a:gd name="connsiteY36" fmla="*/ 2212975 h 3930650"/>
                <a:gd name="connsiteX37" fmla="*/ 723900 w 1793875"/>
                <a:gd name="connsiteY37" fmla="*/ 2212975 h 3930650"/>
                <a:gd name="connsiteX38" fmla="*/ 723900 w 1793875"/>
                <a:gd name="connsiteY38" fmla="*/ 2212975 h 3930650"/>
                <a:gd name="connsiteX39" fmla="*/ 901700 w 1793875"/>
                <a:gd name="connsiteY39" fmla="*/ 2184400 h 3930650"/>
                <a:gd name="connsiteX40" fmla="*/ 727075 w 1793875"/>
                <a:gd name="connsiteY40" fmla="*/ 2193925 h 3930650"/>
                <a:gd name="connsiteX41" fmla="*/ 390525 w 1793875"/>
                <a:gd name="connsiteY41" fmla="*/ 2219325 h 3930650"/>
                <a:gd name="connsiteX42" fmla="*/ 711200 w 1793875"/>
                <a:gd name="connsiteY42" fmla="*/ 2193925 h 3930650"/>
                <a:gd name="connsiteX43" fmla="*/ 714375 w 1793875"/>
                <a:gd name="connsiteY43" fmla="*/ 2095500 h 3930650"/>
                <a:gd name="connsiteX44" fmla="*/ 676275 w 1793875"/>
                <a:gd name="connsiteY44" fmla="*/ 2089150 h 3930650"/>
                <a:gd name="connsiteX45" fmla="*/ 682625 w 1793875"/>
                <a:gd name="connsiteY45" fmla="*/ 2019300 h 3930650"/>
                <a:gd name="connsiteX46" fmla="*/ 622300 w 1793875"/>
                <a:gd name="connsiteY46" fmla="*/ 2012950 h 3930650"/>
                <a:gd name="connsiteX47" fmla="*/ 628650 w 1793875"/>
                <a:gd name="connsiteY47" fmla="*/ 1936750 h 3930650"/>
                <a:gd name="connsiteX48" fmla="*/ 180975 w 1793875"/>
                <a:gd name="connsiteY48" fmla="*/ 2012950 h 3930650"/>
                <a:gd name="connsiteX49" fmla="*/ 612775 w 1793875"/>
                <a:gd name="connsiteY49" fmla="*/ 1936750 h 3930650"/>
                <a:gd name="connsiteX50" fmla="*/ 622300 w 1793875"/>
                <a:gd name="connsiteY50" fmla="*/ 1885950 h 3930650"/>
                <a:gd name="connsiteX51" fmla="*/ 581025 w 1793875"/>
                <a:gd name="connsiteY51" fmla="*/ 1885950 h 3930650"/>
                <a:gd name="connsiteX52" fmla="*/ 587375 w 1793875"/>
                <a:gd name="connsiteY52" fmla="*/ 1819275 h 3930650"/>
                <a:gd name="connsiteX53" fmla="*/ 247650 w 1793875"/>
                <a:gd name="connsiteY53" fmla="*/ 1857375 h 3930650"/>
                <a:gd name="connsiteX54" fmla="*/ 568325 w 1793875"/>
                <a:gd name="connsiteY54" fmla="*/ 1819275 h 3930650"/>
                <a:gd name="connsiteX55" fmla="*/ 568325 w 1793875"/>
                <a:gd name="connsiteY55" fmla="*/ 1781175 h 3930650"/>
                <a:gd name="connsiteX56" fmla="*/ 136525 w 1793875"/>
                <a:gd name="connsiteY56" fmla="*/ 1822450 h 3930650"/>
                <a:gd name="connsiteX57" fmla="*/ 558800 w 1793875"/>
                <a:gd name="connsiteY57" fmla="*/ 1778000 h 3930650"/>
                <a:gd name="connsiteX58" fmla="*/ 558800 w 1793875"/>
                <a:gd name="connsiteY58" fmla="*/ 1638300 h 3930650"/>
                <a:gd name="connsiteX59" fmla="*/ 158750 w 1793875"/>
                <a:gd name="connsiteY59" fmla="*/ 1708150 h 3930650"/>
                <a:gd name="connsiteX60" fmla="*/ 533400 w 1793875"/>
                <a:gd name="connsiteY60" fmla="*/ 1628775 h 3930650"/>
                <a:gd name="connsiteX61" fmla="*/ 542925 w 1793875"/>
                <a:gd name="connsiteY61" fmla="*/ 1457325 h 3930650"/>
                <a:gd name="connsiteX62" fmla="*/ 53975 w 1793875"/>
                <a:gd name="connsiteY62" fmla="*/ 1524000 h 3930650"/>
                <a:gd name="connsiteX63" fmla="*/ 527050 w 1793875"/>
                <a:gd name="connsiteY63" fmla="*/ 1460500 h 3930650"/>
                <a:gd name="connsiteX64" fmla="*/ 530225 w 1793875"/>
                <a:gd name="connsiteY64" fmla="*/ 1327150 h 3930650"/>
                <a:gd name="connsiteX65" fmla="*/ 473075 w 1793875"/>
                <a:gd name="connsiteY65" fmla="*/ 1323975 h 3930650"/>
                <a:gd name="connsiteX66" fmla="*/ 482600 w 1793875"/>
                <a:gd name="connsiteY66" fmla="*/ 1143000 h 3930650"/>
                <a:gd name="connsiteX67" fmla="*/ 454025 w 1793875"/>
                <a:gd name="connsiteY67" fmla="*/ 1136650 h 3930650"/>
                <a:gd name="connsiteX68" fmla="*/ 457200 w 1793875"/>
                <a:gd name="connsiteY68" fmla="*/ 1060450 h 3930650"/>
                <a:gd name="connsiteX69" fmla="*/ 101600 w 1793875"/>
                <a:gd name="connsiteY69" fmla="*/ 1152525 h 3930650"/>
                <a:gd name="connsiteX70" fmla="*/ 444500 w 1793875"/>
                <a:gd name="connsiteY70" fmla="*/ 1063625 h 3930650"/>
                <a:gd name="connsiteX71" fmla="*/ 454025 w 1793875"/>
                <a:gd name="connsiteY71" fmla="*/ 882650 h 3930650"/>
                <a:gd name="connsiteX72" fmla="*/ 12700 w 1793875"/>
                <a:gd name="connsiteY72" fmla="*/ 962025 h 3930650"/>
                <a:gd name="connsiteX73" fmla="*/ 409575 w 1793875"/>
                <a:gd name="connsiteY73" fmla="*/ 889000 h 3930650"/>
                <a:gd name="connsiteX74" fmla="*/ 412750 w 1793875"/>
                <a:gd name="connsiteY74" fmla="*/ 790575 h 3930650"/>
                <a:gd name="connsiteX75" fmla="*/ 377825 w 1793875"/>
                <a:gd name="connsiteY75" fmla="*/ 787400 h 3930650"/>
                <a:gd name="connsiteX76" fmla="*/ 377825 w 1793875"/>
                <a:gd name="connsiteY76" fmla="*/ 685800 h 3930650"/>
                <a:gd name="connsiteX77" fmla="*/ 825500 w 1793875"/>
                <a:gd name="connsiteY77" fmla="*/ 650875 h 3930650"/>
                <a:gd name="connsiteX78" fmla="*/ 447675 w 1793875"/>
                <a:gd name="connsiteY78" fmla="*/ 654050 h 3930650"/>
                <a:gd name="connsiteX79" fmla="*/ 787400 w 1793875"/>
                <a:gd name="connsiteY79" fmla="*/ 625475 h 3930650"/>
                <a:gd name="connsiteX80" fmla="*/ 225425 w 1793875"/>
                <a:gd name="connsiteY80" fmla="*/ 650875 h 3930650"/>
                <a:gd name="connsiteX81" fmla="*/ 574675 w 1793875"/>
                <a:gd name="connsiteY81" fmla="*/ 612775 h 3930650"/>
                <a:gd name="connsiteX82" fmla="*/ 238125 w 1793875"/>
                <a:gd name="connsiteY82" fmla="*/ 622300 h 3930650"/>
                <a:gd name="connsiteX83" fmla="*/ 0 w 1793875"/>
                <a:gd name="connsiteY83" fmla="*/ 0 h 3930650"/>
                <a:gd name="connsiteX0" fmla="*/ 1790700 w 1793875"/>
                <a:gd name="connsiteY0" fmla="*/ 3969920 h 3969920"/>
                <a:gd name="connsiteX1" fmla="*/ 1793875 w 1793875"/>
                <a:gd name="connsiteY1" fmla="*/ 3604795 h 3969920"/>
                <a:gd name="connsiteX2" fmla="*/ 1581150 w 1793875"/>
                <a:gd name="connsiteY2" fmla="*/ 3604795 h 3969920"/>
                <a:gd name="connsiteX3" fmla="*/ 1584325 w 1793875"/>
                <a:gd name="connsiteY3" fmla="*/ 3484145 h 3969920"/>
                <a:gd name="connsiteX4" fmla="*/ 1520825 w 1793875"/>
                <a:gd name="connsiteY4" fmla="*/ 3484145 h 3969920"/>
                <a:gd name="connsiteX5" fmla="*/ 1524000 w 1793875"/>
                <a:gd name="connsiteY5" fmla="*/ 3369845 h 3969920"/>
                <a:gd name="connsiteX6" fmla="*/ 1304925 w 1793875"/>
                <a:gd name="connsiteY6" fmla="*/ 3373020 h 3969920"/>
                <a:gd name="connsiteX7" fmla="*/ 1308100 w 1793875"/>
                <a:gd name="connsiteY7" fmla="*/ 3277770 h 3969920"/>
                <a:gd name="connsiteX8" fmla="*/ 1174750 w 1793875"/>
                <a:gd name="connsiteY8" fmla="*/ 3277770 h 3969920"/>
                <a:gd name="connsiteX9" fmla="*/ 1174750 w 1793875"/>
                <a:gd name="connsiteY9" fmla="*/ 3192045 h 3969920"/>
                <a:gd name="connsiteX10" fmla="*/ 1047750 w 1793875"/>
                <a:gd name="connsiteY10" fmla="*/ 3188870 h 3969920"/>
                <a:gd name="connsiteX11" fmla="*/ 1050925 w 1793875"/>
                <a:gd name="connsiteY11" fmla="*/ 3115845 h 3969920"/>
                <a:gd name="connsiteX12" fmla="*/ 1000125 w 1793875"/>
                <a:gd name="connsiteY12" fmla="*/ 3115845 h 3969920"/>
                <a:gd name="connsiteX13" fmla="*/ 1003300 w 1793875"/>
                <a:gd name="connsiteY13" fmla="*/ 3039645 h 3969920"/>
                <a:gd name="connsiteX14" fmla="*/ 946150 w 1793875"/>
                <a:gd name="connsiteY14" fmla="*/ 3039645 h 3969920"/>
                <a:gd name="connsiteX15" fmla="*/ 949325 w 1793875"/>
                <a:gd name="connsiteY15" fmla="*/ 2957095 h 3969920"/>
                <a:gd name="connsiteX16" fmla="*/ 904875 w 1793875"/>
                <a:gd name="connsiteY16" fmla="*/ 2957095 h 3969920"/>
                <a:gd name="connsiteX17" fmla="*/ 911225 w 1793875"/>
                <a:gd name="connsiteY17" fmla="*/ 2890420 h 3969920"/>
                <a:gd name="connsiteX18" fmla="*/ 692150 w 1793875"/>
                <a:gd name="connsiteY18" fmla="*/ 2915820 h 3969920"/>
                <a:gd name="connsiteX19" fmla="*/ 898525 w 1793875"/>
                <a:gd name="connsiteY19" fmla="*/ 2890420 h 3969920"/>
                <a:gd name="connsiteX20" fmla="*/ 901700 w 1793875"/>
                <a:gd name="connsiteY20" fmla="*/ 2741195 h 3969920"/>
                <a:gd name="connsiteX21" fmla="*/ 819150 w 1793875"/>
                <a:gd name="connsiteY21" fmla="*/ 2738020 h 3969920"/>
                <a:gd name="connsiteX22" fmla="*/ 825500 w 1793875"/>
                <a:gd name="connsiteY22" fmla="*/ 2668170 h 3969920"/>
                <a:gd name="connsiteX23" fmla="*/ 777875 w 1793875"/>
                <a:gd name="connsiteY23" fmla="*/ 2664995 h 3969920"/>
                <a:gd name="connsiteX24" fmla="*/ 787400 w 1793875"/>
                <a:gd name="connsiteY24" fmla="*/ 2528470 h 3969920"/>
                <a:gd name="connsiteX25" fmla="*/ 758825 w 1793875"/>
                <a:gd name="connsiteY25" fmla="*/ 2525295 h 3969920"/>
                <a:gd name="connsiteX26" fmla="*/ 762000 w 1793875"/>
                <a:gd name="connsiteY26" fmla="*/ 2385595 h 3969920"/>
                <a:gd name="connsiteX27" fmla="*/ 762000 w 1793875"/>
                <a:gd name="connsiteY27" fmla="*/ 2385595 h 3969920"/>
                <a:gd name="connsiteX28" fmla="*/ 762000 w 1793875"/>
                <a:gd name="connsiteY28" fmla="*/ 2385595 h 3969920"/>
                <a:gd name="connsiteX29" fmla="*/ 361950 w 1793875"/>
                <a:gd name="connsiteY29" fmla="*/ 2506245 h 3969920"/>
                <a:gd name="connsiteX30" fmla="*/ 739775 w 1793875"/>
                <a:gd name="connsiteY30" fmla="*/ 2388770 h 3969920"/>
                <a:gd name="connsiteX31" fmla="*/ 742950 w 1793875"/>
                <a:gd name="connsiteY31" fmla="*/ 2318920 h 3969920"/>
                <a:gd name="connsiteX32" fmla="*/ 352425 w 1793875"/>
                <a:gd name="connsiteY32" fmla="*/ 2376070 h 3969920"/>
                <a:gd name="connsiteX33" fmla="*/ 730250 w 1793875"/>
                <a:gd name="connsiteY33" fmla="*/ 2318920 h 3969920"/>
                <a:gd name="connsiteX34" fmla="*/ 730250 w 1793875"/>
                <a:gd name="connsiteY34" fmla="*/ 2255420 h 3969920"/>
                <a:gd name="connsiteX35" fmla="*/ 381000 w 1793875"/>
                <a:gd name="connsiteY35" fmla="*/ 2277645 h 3969920"/>
                <a:gd name="connsiteX36" fmla="*/ 723900 w 1793875"/>
                <a:gd name="connsiteY36" fmla="*/ 2252245 h 3969920"/>
                <a:gd name="connsiteX37" fmla="*/ 723900 w 1793875"/>
                <a:gd name="connsiteY37" fmla="*/ 2252245 h 3969920"/>
                <a:gd name="connsiteX38" fmla="*/ 723900 w 1793875"/>
                <a:gd name="connsiteY38" fmla="*/ 2252245 h 3969920"/>
                <a:gd name="connsiteX39" fmla="*/ 901700 w 1793875"/>
                <a:gd name="connsiteY39" fmla="*/ 2223670 h 3969920"/>
                <a:gd name="connsiteX40" fmla="*/ 727075 w 1793875"/>
                <a:gd name="connsiteY40" fmla="*/ 2233195 h 3969920"/>
                <a:gd name="connsiteX41" fmla="*/ 390525 w 1793875"/>
                <a:gd name="connsiteY41" fmla="*/ 2258595 h 3969920"/>
                <a:gd name="connsiteX42" fmla="*/ 711200 w 1793875"/>
                <a:gd name="connsiteY42" fmla="*/ 2233195 h 3969920"/>
                <a:gd name="connsiteX43" fmla="*/ 714375 w 1793875"/>
                <a:gd name="connsiteY43" fmla="*/ 2134770 h 3969920"/>
                <a:gd name="connsiteX44" fmla="*/ 676275 w 1793875"/>
                <a:gd name="connsiteY44" fmla="*/ 2128420 h 3969920"/>
                <a:gd name="connsiteX45" fmla="*/ 682625 w 1793875"/>
                <a:gd name="connsiteY45" fmla="*/ 2058570 h 3969920"/>
                <a:gd name="connsiteX46" fmla="*/ 622300 w 1793875"/>
                <a:gd name="connsiteY46" fmla="*/ 2052220 h 3969920"/>
                <a:gd name="connsiteX47" fmla="*/ 628650 w 1793875"/>
                <a:gd name="connsiteY47" fmla="*/ 1976020 h 3969920"/>
                <a:gd name="connsiteX48" fmla="*/ 180975 w 1793875"/>
                <a:gd name="connsiteY48" fmla="*/ 2052220 h 3969920"/>
                <a:gd name="connsiteX49" fmla="*/ 612775 w 1793875"/>
                <a:gd name="connsiteY49" fmla="*/ 1976020 h 3969920"/>
                <a:gd name="connsiteX50" fmla="*/ 622300 w 1793875"/>
                <a:gd name="connsiteY50" fmla="*/ 1925220 h 3969920"/>
                <a:gd name="connsiteX51" fmla="*/ 581025 w 1793875"/>
                <a:gd name="connsiteY51" fmla="*/ 1925220 h 3969920"/>
                <a:gd name="connsiteX52" fmla="*/ 587375 w 1793875"/>
                <a:gd name="connsiteY52" fmla="*/ 1858545 h 3969920"/>
                <a:gd name="connsiteX53" fmla="*/ 247650 w 1793875"/>
                <a:gd name="connsiteY53" fmla="*/ 1896645 h 3969920"/>
                <a:gd name="connsiteX54" fmla="*/ 568325 w 1793875"/>
                <a:gd name="connsiteY54" fmla="*/ 1858545 h 3969920"/>
                <a:gd name="connsiteX55" fmla="*/ 568325 w 1793875"/>
                <a:gd name="connsiteY55" fmla="*/ 1820445 h 3969920"/>
                <a:gd name="connsiteX56" fmla="*/ 136525 w 1793875"/>
                <a:gd name="connsiteY56" fmla="*/ 1861720 h 3969920"/>
                <a:gd name="connsiteX57" fmla="*/ 558800 w 1793875"/>
                <a:gd name="connsiteY57" fmla="*/ 1817270 h 3969920"/>
                <a:gd name="connsiteX58" fmla="*/ 558800 w 1793875"/>
                <a:gd name="connsiteY58" fmla="*/ 1677570 h 3969920"/>
                <a:gd name="connsiteX59" fmla="*/ 158750 w 1793875"/>
                <a:gd name="connsiteY59" fmla="*/ 1747420 h 3969920"/>
                <a:gd name="connsiteX60" fmla="*/ 533400 w 1793875"/>
                <a:gd name="connsiteY60" fmla="*/ 1668045 h 3969920"/>
                <a:gd name="connsiteX61" fmla="*/ 542925 w 1793875"/>
                <a:gd name="connsiteY61" fmla="*/ 1496595 h 3969920"/>
                <a:gd name="connsiteX62" fmla="*/ 53975 w 1793875"/>
                <a:gd name="connsiteY62" fmla="*/ 1563270 h 3969920"/>
                <a:gd name="connsiteX63" fmla="*/ 527050 w 1793875"/>
                <a:gd name="connsiteY63" fmla="*/ 1499770 h 3969920"/>
                <a:gd name="connsiteX64" fmla="*/ 530225 w 1793875"/>
                <a:gd name="connsiteY64" fmla="*/ 1366420 h 3969920"/>
                <a:gd name="connsiteX65" fmla="*/ 473075 w 1793875"/>
                <a:gd name="connsiteY65" fmla="*/ 1363245 h 3969920"/>
                <a:gd name="connsiteX66" fmla="*/ 482600 w 1793875"/>
                <a:gd name="connsiteY66" fmla="*/ 1182270 h 3969920"/>
                <a:gd name="connsiteX67" fmla="*/ 454025 w 1793875"/>
                <a:gd name="connsiteY67" fmla="*/ 1175920 h 3969920"/>
                <a:gd name="connsiteX68" fmla="*/ 457200 w 1793875"/>
                <a:gd name="connsiteY68" fmla="*/ 1099720 h 3969920"/>
                <a:gd name="connsiteX69" fmla="*/ 101600 w 1793875"/>
                <a:gd name="connsiteY69" fmla="*/ 1191795 h 3969920"/>
                <a:gd name="connsiteX70" fmla="*/ 444500 w 1793875"/>
                <a:gd name="connsiteY70" fmla="*/ 1102895 h 3969920"/>
                <a:gd name="connsiteX71" fmla="*/ 454025 w 1793875"/>
                <a:gd name="connsiteY71" fmla="*/ 921920 h 3969920"/>
                <a:gd name="connsiteX72" fmla="*/ 12700 w 1793875"/>
                <a:gd name="connsiteY72" fmla="*/ 1001295 h 3969920"/>
                <a:gd name="connsiteX73" fmla="*/ 409575 w 1793875"/>
                <a:gd name="connsiteY73" fmla="*/ 928270 h 3969920"/>
                <a:gd name="connsiteX74" fmla="*/ 412750 w 1793875"/>
                <a:gd name="connsiteY74" fmla="*/ 829845 h 3969920"/>
                <a:gd name="connsiteX75" fmla="*/ 377825 w 1793875"/>
                <a:gd name="connsiteY75" fmla="*/ 826670 h 3969920"/>
                <a:gd name="connsiteX76" fmla="*/ 377825 w 1793875"/>
                <a:gd name="connsiteY76" fmla="*/ 725070 h 3969920"/>
                <a:gd name="connsiteX77" fmla="*/ 825500 w 1793875"/>
                <a:gd name="connsiteY77" fmla="*/ 690145 h 3969920"/>
                <a:gd name="connsiteX78" fmla="*/ 447675 w 1793875"/>
                <a:gd name="connsiteY78" fmla="*/ 693320 h 3969920"/>
                <a:gd name="connsiteX79" fmla="*/ 787400 w 1793875"/>
                <a:gd name="connsiteY79" fmla="*/ 664745 h 3969920"/>
                <a:gd name="connsiteX80" fmla="*/ 225425 w 1793875"/>
                <a:gd name="connsiteY80" fmla="*/ 690145 h 3969920"/>
                <a:gd name="connsiteX81" fmla="*/ 574675 w 1793875"/>
                <a:gd name="connsiteY81" fmla="*/ 652045 h 3969920"/>
                <a:gd name="connsiteX82" fmla="*/ 549275 w 1793875"/>
                <a:gd name="connsiteY82" fmla="*/ 20220 h 3969920"/>
                <a:gd name="connsiteX83" fmla="*/ 0 w 1793875"/>
                <a:gd name="connsiteY83" fmla="*/ 39270 h 3969920"/>
                <a:gd name="connsiteX0" fmla="*/ 1790700 w 1793875"/>
                <a:gd name="connsiteY0" fmla="*/ 3952043 h 3952043"/>
                <a:gd name="connsiteX1" fmla="*/ 1793875 w 1793875"/>
                <a:gd name="connsiteY1" fmla="*/ 3586918 h 3952043"/>
                <a:gd name="connsiteX2" fmla="*/ 1581150 w 1793875"/>
                <a:gd name="connsiteY2" fmla="*/ 3586918 h 3952043"/>
                <a:gd name="connsiteX3" fmla="*/ 1584325 w 1793875"/>
                <a:gd name="connsiteY3" fmla="*/ 3466268 h 3952043"/>
                <a:gd name="connsiteX4" fmla="*/ 1520825 w 1793875"/>
                <a:gd name="connsiteY4" fmla="*/ 3466268 h 3952043"/>
                <a:gd name="connsiteX5" fmla="*/ 1524000 w 1793875"/>
                <a:gd name="connsiteY5" fmla="*/ 3351968 h 3952043"/>
                <a:gd name="connsiteX6" fmla="*/ 1304925 w 1793875"/>
                <a:gd name="connsiteY6" fmla="*/ 3355143 h 3952043"/>
                <a:gd name="connsiteX7" fmla="*/ 1308100 w 1793875"/>
                <a:gd name="connsiteY7" fmla="*/ 3259893 h 3952043"/>
                <a:gd name="connsiteX8" fmla="*/ 1174750 w 1793875"/>
                <a:gd name="connsiteY8" fmla="*/ 3259893 h 3952043"/>
                <a:gd name="connsiteX9" fmla="*/ 1174750 w 1793875"/>
                <a:gd name="connsiteY9" fmla="*/ 3174168 h 3952043"/>
                <a:gd name="connsiteX10" fmla="*/ 1047750 w 1793875"/>
                <a:gd name="connsiteY10" fmla="*/ 3170993 h 3952043"/>
                <a:gd name="connsiteX11" fmla="*/ 1050925 w 1793875"/>
                <a:gd name="connsiteY11" fmla="*/ 3097968 h 3952043"/>
                <a:gd name="connsiteX12" fmla="*/ 1000125 w 1793875"/>
                <a:gd name="connsiteY12" fmla="*/ 3097968 h 3952043"/>
                <a:gd name="connsiteX13" fmla="*/ 1003300 w 1793875"/>
                <a:gd name="connsiteY13" fmla="*/ 3021768 h 3952043"/>
                <a:gd name="connsiteX14" fmla="*/ 946150 w 1793875"/>
                <a:gd name="connsiteY14" fmla="*/ 3021768 h 3952043"/>
                <a:gd name="connsiteX15" fmla="*/ 949325 w 1793875"/>
                <a:gd name="connsiteY15" fmla="*/ 2939218 h 3952043"/>
                <a:gd name="connsiteX16" fmla="*/ 904875 w 1793875"/>
                <a:gd name="connsiteY16" fmla="*/ 2939218 h 3952043"/>
                <a:gd name="connsiteX17" fmla="*/ 911225 w 1793875"/>
                <a:gd name="connsiteY17" fmla="*/ 2872543 h 3952043"/>
                <a:gd name="connsiteX18" fmla="*/ 692150 w 1793875"/>
                <a:gd name="connsiteY18" fmla="*/ 2897943 h 3952043"/>
                <a:gd name="connsiteX19" fmla="*/ 898525 w 1793875"/>
                <a:gd name="connsiteY19" fmla="*/ 2872543 h 3952043"/>
                <a:gd name="connsiteX20" fmla="*/ 901700 w 1793875"/>
                <a:gd name="connsiteY20" fmla="*/ 2723318 h 3952043"/>
                <a:gd name="connsiteX21" fmla="*/ 819150 w 1793875"/>
                <a:gd name="connsiteY21" fmla="*/ 2720143 h 3952043"/>
                <a:gd name="connsiteX22" fmla="*/ 825500 w 1793875"/>
                <a:gd name="connsiteY22" fmla="*/ 2650293 h 3952043"/>
                <a:gd name="connsiteX23" fmla="*/ 777875 w 1793875"/>
                <a:gd name="connsiteY23" fmla="*/ 2647118 h 3952043"/>
                <a:gd name="connsiteX24" fmla="*/ 787400 w 1793875"/>
                <a:gd name="connsiteY24" fmla="*/ 2510593 h 3952043"/>
                <a:gd name="connsiteX25" fmla="*/ 758825 w 1793875"/>
                <a:gd name="connsiteY25" fmla="*/ 2507418 h 3952043"/>
                <a:gd name="connsiteX26" fmla="*/ 762000 w 1793875"/>
                <a:gd name="connsiteY26" fmla="*/ 2367718 h 3952043"/>
                <a:gd name="connsiteX27" fmla="*/ 762000 w 1793875"/>
                <a:gd name="connsiteY27" fmla="*/ 2367718 h 3952043"/>
                <a:gd name="connsiteX28" fmla="*/ 762000 w 1793875"/>
                <a:gd name="connsiteY28" fmla="*/ 2367718 h 3952043"/>
                <a:gd name="connsiteX29" fmla="*/ 361950 w 1793875"/>
                <a:gd name="connsiteY29" fmla="*/ 2488368 h 3952043"/>
                <a:gd name="connsiteX30" fmla="*/ 739775 w 1793875"/>
                <a:gd name="connsiteY30" fmla="*/ 2370893 h 3952043"/>
                <a:gd name="connsiteX31" fmla="*/ 742950 w 1793875"/>
                <a:gd name="connsiteY31" fmla="*/ 2301043 h 3952043"/>
                <a:gd name="connsiteX32" fmla="*/ 352425 w 1793875"/>
                <a:gd name="connsiteY32" fmla="*/ 2358193 h 3952043"/>
                <a:gd name="connsiteX33" fmla="*/ 730250 w 1793875"/>
                <a:gd name="connsiteY33" fmla="*/ 2301043 h 3952043"/>
                <a:gd name="connsiteX34" fmla="*/ 730250 w 1793875"/>
                <a:gd name="connsiteY34" fmla="*/ 2237543 h 3952043"/>
                <a:gd name="connsiteX35" fmla="*/ 381000 w 1793875"/>
                <a:gd name="connsiteY35" fmla="*/ 2259768 h 3952043"/>
                <a:gd name="connsiteX36" fmla="*/ 723900 w 1793875"/>
                <a:gd name="connsiteY36" fmla="*/ 2234368 h 3952043"/>
                <a:gd name="connsiteX37" fmla="*/ 723900 w 1793875"/>
                <a:gd name="connsiteY37" fmla="*/ 2234368 h 3952043"/>
                <a:gd name="connsiteX38" fmla="*/ 723900 w 1793875"/>
                <a:gd name="connsiteY38" fmla="*/ 2234368 h 3952043"/>
                <a:gd name="connsiteX39" fmla="*/ 901700 w 1793875"/>
                <a:gd name="connsiteY39" fmla="*/ 2205793 h 3952043"/>
                <a:gd name="connsiteX40" fmla="*/ 727075 w 1793875"/>
                <a:gd name="connsiteY40" fmla="*/ 2215318 h 3952043"/>
                <a:gd name="connsiteX41" fmla="*/ 390525 w 1793875"/>
                <a:gd name="connsiteY41" fmla="*/ 2240718 h 3952043"/>
                <a:gd name="connsiteX42" fmla="*/ 711200 w 1793875"/>
                <a:gd name="connsiteY42" fmla="*/ 2215318 h 3952043"/>
                <a:gd name="connsiteX43" fmla="*/ 714375 w 1793875"/>
                <a:gd name="connsiteY43" fmla="*/ 2116893 h 3952043"/>
                <a:gd name="connsiteX44" fmla="*/ 676275 w 1793875"/>
                <a:gd name="connsiteY44" fmla="*/ 2110543 h 3952043"/>
                <a:gd name="connsiteX45" fmla="*/ 682625 w 1793875"/>
                <a:gd name="connsiteY45" fmla="*/ 2040693 h 3952043"/>
                <a:gd name="connsiteX46" fmla="*/ 622300 w 1793875"/>
                <a:gd name="connsiteY46" fmla="*/ 2034343 h 3952043"/>
                <a:gd name="connsiteX47" fmla="*/ 628650 w 1793875"/>
                <a:gd name="connsiteY47" fmla="*/ 1958143 h 3952043"/>
                <a:gd name="connsiteX48" fmla="*/ 180975 w 1793875"/>
                <a:gd name="connsiteY48" fmla="*/ 2034343 h 3952043"/>
                <a:gd name="connsiteX49" fmla="*/ 612775 w 1793875"/>
                <a:gd name="connsiteY49" fmla="*/ 1958143 h 3952043"/>
                <a:gd name="connsiteX50" fmla="*/ 622300 w 1793875"/>
                <a:gd name="connsiteY50" fmla="*/ 1907343 h 3952043"/>
                <a:gd name="connsiteX51" fmla="*/ 581025 w 1793875"/>
                <a:gd name="connsiteY51" fmla="*/ 1907343 h 3952043"/>
                <a:gd name="connsiteX52" fmla="*/ 587375 w 1793875"/>
                <a:gd name="connsiteY52" fmla="*/ 1840668 h 3952043"/>
                <a:gd name="connsiteX53" fmla="*/ 247650 w 1793875"/>
                <a:gd name="connsiteY53" fmla="*/ 1878768 h 3952043"/>
                <a:gd name="connsiteX54" fmla="*/ 568325 w 1793875"/>
                <a:gd name="connsiteY54" fmla="*/ 1840668 h 3952043"/>
                <a:gd name="connsiteX55" fmla="*/ 568325 w 1793875"/>
                <a:gd name="connsiteY55" fmla="*/ 1802568 h 3952043"/>
                <a:gd name="connsiteX56" fmla="*/ 136525 w 1793875"/>
                <a:gd name="connsiteY56" fmla="*/ 1843843 h 3952043"/>
                <a:gd name="connsiteX57" fmla="*/ 558800 w 1793875"/>
                <a:gd name="connsiteY57" fmla="*/ 1799393 h 3952043"/>
                <a:gd name="connsiteX58" fmla="*/ 558800 w 1793875"/>
                <a:gd name="connsiteY58" fmla="*/ 1659693 h 3952043"/>
                <a:gd name="connsiteX59" fmla="*/ 158750 w 1793875"/>
                <a:gd name="connsiteY59" fmla="*/ 1729543 h 3952043"/>
                <a:gd name="connsiteX60" fmla="*/ 533400 w 1793875"/>
                <a:gd name="connsiteY60" fmla="*/ 1650168 h 3952043"/>
                <a:gd name="connsiteX61" fmla="*/ 542925 w 1793875"/>
                <a:gd name="connsiteY61" fmla="*/ 1478718 h 3952043"/>
                <a:gd name="connsiteX62" fmla="*/ 53975 w 1793875"/>
                <a:gd name="connsiteY62" fmla="*/ 1545393 h 3952043"/>
                <a:gd name="connsiteX63" fmla="*/ 527050 w 1793875"/>
                <a:gd name="connsiteY63" fmla="*/ 1481893 h 3952043"/>
                <a:gd name="connsiteX64" fmla="*/ 530225 w 1793875"/>
                <a:gd name="connsiteY64" fmla="*/ 1348543 h 3952043"/>
                <a:gd name="connsiteX65" fmla="*/ 473075 w 1793875"/>
                <a:gd name="connsiteY65" fmla="*/ 1345368 h 3952043"/>
                <a:gd name="connsiteX66" fmla="*/ 482600 w 1793875"/>
                <a:gd name="connsiteY66" fmla="*/ 1164393 h 3952043"/>
                <a:gd name="connsiteX67" fmla="*/ 454025 w 1793875"/>
                <a:gd name="connsiteY67" fmla="*/ 1158043 h 3952043"/>
                <a:gd name="connsiteX68" fmla="*/ 457200 w 1793875"/>
                <a:gd name="connsiteY68" fmla="*/ 1081843 h 3952043"/>
                <a:gd name="connsiteX69" fmla="*/ 101600 w 1793875"/>
                <a:gd name="connsiteY69" fmla="*/ 1173918 h 3952043"/>
                <a:gd name="connsiteX70" fmla="*/ 444500 w 1793875"/>
                <a:gd name="connsiteY70" fmla="*/ 1085018 h 3952043"/>
                <a:gd name="connsiteX71" fmla="*/ 454025 w 1793875"/>
                <a:gd name="connsiteY71" fmla="*/ 904043 h 3952043"/>
                <a:gd name="connsiteX72" fmla="*/ 12700 w 1793875"/>
                <a:gd name="connsiteY72" fmla="*/ 983418 h 3952043"/>
                <a:gd name="connsiteX73" fmla="*/ 409575 w 1793875"/>
                <a:gd name="connsiteY73" fmla="*/ 910393 h 3952043"/>
                <a:gd name="connsiteX74" fmla="*/ 412750 w 1793875"/>
                <a:gd name="connsiteY74" fmla="*/ 811968 h 3952043"/>
                <a:gd name="connsiteX75" fmla="*/ 377825 w 1793875"/>
                <a:gd name="connsiteY75" fmla="*/ 808793 h 3952043"/>
                <a:gd name="connsiteX76" fmla="*/ 377825 w 1793875"/>
                <a:gd name="connsiteY76" fmla="*/ 707193 h 3952043"/>
                <a:gd name="connsiteX77" fmla="*/ 825500 w 1793875"/>
                <a:gd name="connsiteY77" fmla="*/ 672268 h 3952043"/>
                <a:gd name="connsiteX78" fmla="*/ 447675 w 1793875"/>
                <a:gd name="connsiteY78" fmla="*/ 675443 h 3952043"/>
                <a:gd name="connsiteX79" fmla="*/ 787400 w 1793875"/>
                <a:gd name="connsiteY79" fmla="*/ 646868 h 3952043"/>
                <a:gd name="connsiteX80" fmla="*/ 225425 w 1793875"/>
                <a:gd name="connsiteY80" fmla="*/ 672268 h 3952043"/>
                <a:gd name="connsiteX81" fmla="*/ 784225 w 1793875"/>
                <a:gd name="connsiteY81" fmla="*/ 196018 h 3952043"/>
                <a:gd name="connsiteX82" fmla="*/ 549275 w 1793875"/>
                <a:gd name="connsiteY82" fmla="*/ 2343 h 3952043"/>
                <a:gd name="connsiteX83" fmla="*/ 0 w 1793875"/>
                <a:gd name="connsiteY83" fmla="*/ 21393 h 3952043"/>
                <a:gd name="connsiteX0" fmla="*/ 1790700 w 1793875"/>
                <a:gd name="connsiteY0" fmla="*/ 3952043 h 3952043"/>
                <a:gd name="connsiteX1" fmla="*/ 1793875 w 1793875"/>
                <a:gd name="connsiteY1" fmla="*/ 3586918 h 3952043"/>
                <a:gd name="connsiteX2" fmla="*/ 1581150 w 1793875"/>
                <a:gd name="connsiteY2" fmla="*/ 3586918 h 3952043"/>
                <a:gd name="connsiteX3" fmla="*/ 1584325 w 1793875"/>
                <a:gd name="connsiteY3" fmla="*/ 3466268 h 3952043"/>
                <a:gd name="connsiteX4" fmla="*/ 1520825 w 1793875"/>
                <a:gd name="connsiteY4" fmla="*/ 3466268 h 3952043"/>
                <a:gd name="connsiteX5" fmla="*/ 1524000 w 1793875"/>
                <a:gd name="connsiteY5" fmla="*/ 3351968 h 3952043"/>
                <a:gd name="connsiteX6" fmla="*/ 1304925 w 1793875"/>
                <a:gd name="connsiteY6" fmla="*/ 3355143 h 3952043"/>
                <a:gd name="connsiteX7" fmla="*/ 1308100 w 1793875"/>
                <a:gd name="connsiteY7" fmla="*/ 3259893 h 3952043"/>
                <a:gd name="connsiteX8" fmla="*/ 1174750 w 1793875"/>
                <a:gd name="connsiteY8" fmla="*/ 3259893 h 3952043"/>
                <a:gd name="connsiteX9" fmla="*/ 1174750 w 1793875"/>
                <a:gd name="connsiteY9" fmla="*/ 3174168 h 3952043"/>
                <a:gd name="connsiteX10" fmla="*/ 1047750 w 1793875"/>
                <a:gd name="connsiteY10" fmla="*/ 3170993 h 3952043"/>
                <a:gd name="connsiteX11" fmla="*/ 1050925 w 1793875"/>
                <a:gd name="connsiteY11" fmla="*/ 3097968 h 3952043"/>
                <a:gd name="connsiteX12" fmla="*/ 1000125 w 1793875"/>
                <a:gd name="connsiteY12" fmla="*/ 3097968 h 3952043"/>
                <a:gd name="connsiteX13" fmla="*/ 1003300 w 1793875"/>
                <a:gd name="connsiteY13" fmla="*/ 3021768 h 3952043"/>
                <a:gd name="connsiteX14" fmla="*/ 946150 w 1793875"/>
                <a:gd name="connsiteY14" fmla="*/ 3021768 h 3952043"/>
                <a:gd name="connsiteX15" fmla="*/ 949325 w 1793875"/>
                <a:gd name="connsiteY15" fmla="*/ 2939218 h 3952043"/>
                <a:gd name="connsiteX16" fmla="*/ 904875 w 1793875"/>
                <a:gd name="connsiteY16" fmla="*/ 2939218 h 3952043"/>
                <a:gd name="connsiteX17" fmla="*/ 911225 w 1793875"/>
                <a:gd name="connsiteY17" fmla="*/ 2872543 h 3952043"/>
                <a:gd name="connsiteX18" fmla="*/ 692150 w 1793875"/>
                <a:gd name="connsiteY18" fmla="*/ 2897943 h 3952043"/>
                <a:gd name="connsiteX19" fmla="*/ 898525 w 1793875"/>
                <a:gd name="connsiteY19" fmla="*/ 2872543 h 3952043"/>
                <a:gd name="connsiteX20" fmla="*/ 901700 w 1793875"/>
                <a:gd name="connsiteY20" fmla="*/ 2723318 h 3952043"/>
                <a:gd name="connsiteX21" fmla="*/ 819150 w 1793875"/>
                <a:gd name="connsiteY21" fmla="*/ 2720143 h 3952043"/>
                <a:gd name="connsiteX22" fmla="*/ 825500 w 1793875"/>
                <a:gd name="connsiteY22" fmla="*/ 2650293 h 3952043"/>
                <a:gd name="connsiteX23" fmla="*/ 777875 w 1793875"/>
                <a:gd name="connsiteY23" fmla="*/ 2647118 h 3952043"/>
                <a:gd name="connsiteX24" fmla="*/ 787400 w 1793875"/>
                <a:gd name="connsiteY24" fmla="*/ 2510593 h 3952043"/>
                <a:gd name="connsiteX25" fmla="*/ 758825 w 1793875"/>
                <a:gd name="connsiteY25" fmla="*/ 2507418 h 3952043"/>
                <a:gd name="connsiteX26" fmla="*/ 762000 w 1793875"/>
                <a:gd name="connsiteY26" fmla="*/ 2367718 h 3952043"/>
                <a:gd name="connsiteX27" fmla="*/ 762000 w 1793875"/>
                <a:gd name="connsiteY27" fmla="*/ 2367718 h 3952043"/>
                <a:gd name="connsiteX28" fmla="*/ 762000 w 1793875"/>
                <a:gd name="connsiteY28" fmla="*/ 2367718 h 3952043"/>
                <a:gd name="connsiteX29" fmla="*/ 361950 w 1793875"/>
                <a:gd name="connsiteY29" fmla="*/ 2488368 h 3952043"/>
                <a:gd name="connsiteX30" fmla="*/ 739775 w 1793875"/>
                <a:gd name="connsiteY30" fmla="*/ 2370893 h 3952043"/>
                <a:gd name="connsiteX31" fmla="*/ 742950 w 1793875"/>
                <a:gd name="connsiteY31" fmla="*/ 2301043 h 3952043"/>
                <a:gd name="connsiteX32" fmla="*/ 352425 w 1793875"/>
                <a:gd name="connsiteY32" fmla="*/ 2358193 h 3952043"/>
                <a:gd name="connsiteX33" fmla="*/ 730250 w 1793875"/>
                <a:gd name="connsiteY33" fmla="*/ 2301043 h 3952043"/>
                <a:gd name="connsiteX34" fmla="*/ 730250 w 1793875"/>
                <a:gd name="connsiteY34" fmla="*/ 2237543 h 3952043"/>
                <a:gd name="connsiteX35" fmla="*/ 381000 w 1793875"/>
                <a:gd name="connsiteY35" fmla="*/ 2259768 h 3952043"/>
                <a:gd name="connsiteX36" fmla="*/ 723900 w 1793875"/>
                <a:gd name="connsiteY36" fmla="*/ 2234368 h 3952043"/>
                <a:gd name="connsiteX37" fmla="*/ 723900 w 1793875"/>
                <a:gd name="connsiteY37" fmla="*/ 2234368 h 3952043"/>
                <a:gd name="connsiteX38" fmla="*/ 723900 w 1793875"/>
                <a:gd name="connsiteY38" fmla="*/ 2234368 h 3952043"/>
                <a:gd name="connsiteX39" fmla="*/ 901700 w 1793875"/>
                <a:gd name="connsiteY39" fmla="*/ 2205793 h 3952043"/>
                <a:gd name="connsiteX40" fmla="*/ 727075 w 1793875"/>
                <a:gd name="connsiteY40" fmla="*/ 2215318 h 3952043"/>
                <a:gd name="connsiteX41" fmla="*/ 390525 w 1793875"/>
                <a:gd name="connsiteY41" fmla="*/ 2240718 h 3952043"/>
                <a:gd name="connsiteX42" fmla="*/ 711200 w 1793875"/>
                <a:gd name="connsiteY42" fmla="*/ 2215318 h 3952043"/>
                <a:gd name="connsiteX43" fmla="*/ 714375 w 1793875"/>
                <a:gd name="connsiteY43" fmla="*/ 2116893 h 3952043"/>
                <a:gd name="connsiteX44" fmla="*/ 676275 w 1793875"/>
                <a:gd name="connsiteY44" fmla="*/ 2110543 h 3952043"/>
                <a:gd name="connsiteX45" fmla="*/ 682625 w 1793875"/>
                <a:gd name="connsiteY45" fmla="*/ 2040693 h 3952043"/>
                <a:gd name="connsiteX46" fmla="*/ 622300 w 1793875"/>
                <a:gd name="connsiteY46" fmla="*/ 2034343 h 3952043"/>
                <a:gd name="connsiteX47" fmla="*/ 628650 w 1793875"/>
                <a:gd name="connsiteY47" fmla="*/ 1958143 h 3952043"/>
                <a:gd name="connsiteX48" fmla="*/ 180975 w 1793875"/>
                <a:gd name="connsiteY48" fmla="*/ 2034343 h 3952043"/>
                <a:gd name="connsiteX49" fmla="*/ 612775 w 1793875"/>
                <a:gd name="connsiteY49" fmla="*/ 1958143 h 3952043"/>
                <a:gd name="connsiteX50" fmla="*/ 622300 w 1793875"/>
                <a:gd name="connsiteY50" fmla="*/ 1907343 h 3952043"/>
                <a:gd name="connsiteX51" fmla="*/ 581025 w 1793875"/>
                <a:gd name="connsiteY51" fmla="*/ 1907343 h 3952043"/>
                <a:gd name="connsiteX52" fmla="*/ 587375 w 1793875"/>
                <a:gd name="connsiteY52" fmla="*/ 1840668 h 3952043"/>
                <a:gd name="connsiteX53" fmla="*/ 247650 w 1793875"/>
                <a:gd name="connsiteY53" fmla="*/ 1878768 h 3952043"/>
                <a:gd name="connsiteX54" fmla="*/ 568325 w 1793875"/>
                <a:gd name="connsiteY54" fmla="*/ 1840668 h 3952043"/>
                <a:gd name="connsiteX55" fmla="*/ 568325 w 1793875"/>
                <a:gd name="connsiteY55" fmla="*/ 1802568 h 3952043"/>
                <a:gd name="connsiteX56" fmla="*/ 136525 w 1793875"/>
                <a:gd name="connsiteY56" fmla="*/ 1843843 h 3952043"/>
                <a:gd name="connsiteX57" fmla="*/ 558800 w 1793875"/>
                <a:gd name="connsiteY57" fmla="*/ 1799393 h 3952043"/>
                <a:gd name="connsiteX58" fmla="*/ 558800 w 1793875"/>
                <a:gd name="connsiteY58" fmla="*/ 1659693 h 3952043"/>
                <a:gd name="connsiteX59" fmla="*/ 158750 w 1793875"/>
                <a:gd name="connsiteY59" fmla="*/ 1729543 h 3952043"/>
                <a:gd name="connsiteX60" fmla="*/ 533400 w 1793875"/>
                <a:gd name="connsiteY60" fmla="*/ 1650168 h 3952043"/>
                <a:gd name="connsiteX61" fmla="*/ 542925 w 1793875"/>
                <a:gd name="connsiteY61" fmla="*/ 1478718 h 3952043"/>
                <a:gd name="connsiteX62" fmla="*/ 53975 w 1793875"/>
                <a:gd name="connsiteY62" fmla="*/ 1545393 h 3952043"/>
                <a:gd name="connsiteX63" fmla="*/ 527050 w 1793875"/>
                <a:gd name="connsiteY63" fmla="*/ 1481893 h 3952043"/>
                <a:gd name="connsiteX64" fmla="*/ 530225 w 1793875"/>
                <a:gd name="connsiteY64" fmla="*/ 1348543 h 3952043"/>
                <a:gd name="connsiteX65" fmla="*/ 473075 w 1793875"/>
                <a:gd name="connsiteY65" fmla="*/ 1345368 h 3952043"/>
                <a:gd name="connsiteX66" fmla="*/ 482600 w 1793875"/>
                <a:gd name="connsiteY66" fmla="*/ 1164393 h 3952043"/>
                <a:gd name="connsiteX67" fmla="*/ 454025 w 1793875"/>
                <a:gd name="connsiteY67" fmla="*/ 1158043 h 3952043"/>
                <a:gd name="connsiteX68" fmla="*/ 457200 w 1793875"/>
                <a:gd name="connsiteY68" fmla="*/ 1081843 h 3952043"/>
                <a:gd name="connsiteX69" fmla="*/ 101600 w 1793875"/>
                <a:gd name="connsiteY69" fmla="*/ 1173918 h 3952043"/>
                <a:gd name="connsiteX70" fmla="*/ 444500 w 1793875"/>
                <a:gd name="connsiteY70" fmla="*/ 1085018 h 3952043"/>
                <a:gd name="connsiteX71" fmla="*/ 454025 w 1793875"/>
                <a:gd name="connsiteY71" fmla="*/ 904043 h 3952043"/>
                <a:gd name="connsiteX72" fmla="*/ 12700 w 1793875"/>
                <a:gd name="connsiteY72" fmla="*/ 983418 h 3952043"/>
                <a:gd name="connsiteX73" fmla="*/ 409575 w 1793875"/>
                <a:gd name="connsiteY73" fmla="*/ 910393 h 3952043"/>
                <a:gd name="connsiteX74" fmla="*/ 412750 w 1793875"/>
                <a:gd name="connsiteY74" fmla="*/ 811968 h 3952043"/>
                <a:gd name="connsiteX75" fmla="*/ 377825 w 1793875"/>
                <a:gd name="connsiteY75" fmla="*/ 808793 h 3952043"/>
                <a:gd name="connsiteX76" fmla="*/ 377825 w 1793875"/>
                <a:gd name="connsiteY76" fmla="*/ 707193 h 3952043"/>
                <a:gd name="connsiteX77" fmla="*/ 825500 w 1793875"/>
                <a:gd name="connsiteY77" fmla="*/ 672268 h 3952043"/>
                <a:gd name="connsiteX78" fmla="*/ 447675 w 1793875"/>
                <a:gd name="connsiteY78" fmla="*/ 675443 h 3952043"/>
                <a:gd name="connsiteX79" fmla="*/ 787400 w 1793875"/>
                <a:gd name="connsiteY79" fmla="*/ 646868 h 3952043"/>
                <a:gd name="connsiteX80" fmla="*/ 41275 w 1793875"/>
                <a:gd name="connsiteY80" fmla="*/ 361118 h 3952043"/>
                <a:gd name="connsiteX81" fmla="*/ 784225 w 1793875"/>
                <a:gd name="connsiteY81" fmla="*/ 196018 h 3952043"/>
                <a:gd name="connsiteX82" fmla="*/ 549275 w 1793875"/>
                <a:gd name="connsiteY82" fmla="*/ 2343 h 3952043"/>
                <a:gd name="connsiteX83" fmla="*/ 0 w 1793875"/>
                <a:gd name="connsiteY83" fmla="*/ 21393 h 3952043"/>
                <a:gd name="connsiteX0" fmla="*/ 1790700 w 1793875"/>
                <a:gd name="connsiteY0" fmla="*/ 3952043 h 3952043"/>
                <a:gd name="connsiteX1" fmla="*/ 1793875 w 1793875"/>
                <a:gd name="connsiteY1" fmla="*/ 3586918 h 3952043"/>
                <a:gd name="connsiteX2" fmla="*/ 1581150 w 1793875"/>
                <a:gd name="connsiteY2" fmla="*/ 3586918 h 3952043"/>
                <a:gd name="connsiteX3" fmla="*/ 1584325 w 1793875"/>
                <a:gd name="connsiteY3" fmla="*/ 3466268 h 3952043"/>
                <a:gd name="connsiteX4" fmla="*/ 1520825 w 1793875"/>
                <a:gd name="connsiteY4" fmla="*/ 3466268 h 3952043"/>
                <a:gd name="connsiteX5" fmla="*/ 1524000 w 1793875"/>
                <a:gd name="connsiteY5" fmla="*/ 3351968 h 3952043"/>
                <a:gd name="connsiteX6" fmla="*/ 1304925 w 1793875"/>
                <a:gd name="connsiteY6" fmla="*/ 3355143 h 3952043"/>
                <a:gd name="connsiteX7" fmla="*/ 1308100 w 1793875"/>
                <a:gd name="connsiteY7" fmla="*/ 3259893 h 3952043"/>
                <a:gd name="connsiteX8" fmla="*/ 1174750 w 1793875"/>
                <a:gd name="connsiteY8" fmla="*/ 3259893 h 3952043"/>
                <a:gd name="connsiteX9" fmla="*/ 1174750 w 1793875"/>
                <a:gd name="connsiteY9" fmla="*/ 3174168 h 3952043"/>
                <a:gd name="connsiteX10" fmla="*/ 1047750 w 1793875"/>
                <a:gd name="connsiteY10" fmla="*/ 3170993 h 3952043"/>
                <a:gd name="connsiteX11" fmla="*/ 1050925 w 1793875"/>
                <a:gd name="connsiteY11" fmla="*/ 3097968 h 3952043"/>
                <a:gd name="connsiteX12" fmla="*/ 1000125 w 1793875"/>
                <a:gd name="connsiteY12" fmla="*/ 3097968 h 3952043"/>
                <a:gd name="connsiteX13" fmla="*/ 1003300 w 1793875"/>
                <a:gd name="connsiteY13" fmla="*/ 3021768 h 3952043"/>
                <a:gd name="connsiteX14" fmla="*/ 946150 w 1793875"/>
                <a:gd name="connsiteY14" fmla="*/ 3021768 h 3952043"/>
                <a:gd name="connsiteX15" fmla="*/ 949325 w 1793875"/>
                <a:gd name="connsiteY15" fmla="*/ 2939218 h 3952043"/>
                <a:gd name="connsiteX16" fmla="*/ 904875 w 1793875"/>
                <a:gd name="connsiteY16" fmla="*/ 2939218 h 3952043"/>
                <a:gd name="connsiteX17" fmla="*/ 911225 w 1793875"/>
                <a:gd name="connsiteY17" fmla="*/ 2872543 h 3952043"/>
                <a:gd name="connsiteX18" fmla="*/ 692150 w 1793875"/>
                <a:gd name="connsiteY18" fmla="*/ 2897943 h 3952043"/>
                <a:gd name="connsiteX19" fmla="*/ 898525 w 1793875"/>
                <a:gd name="connsiteY19" fmla="*/ 2872543 h 3952043"/>
                <a:gd name="connsiteX20" fmla="*/ 901700 w 1793875"/>
                <a:gd name="connsiteY20" fmla="*/ 2723318 h 3952043"/>
                <a:gd name="connsiteX21" fmla="*/ 819150 w 1793875"/>
                <a:gd name="connsiteY21" fmla="*/ 2720143 h 3952043"/>
                <a:gd name="connsiteX22" fmla="*/ 825500 w 1793875"/>
                <a:gd name="connsiteY22" fmla="*/ 2650293 h 3952043"/>
                <a:gd name="connsiteX23" fmla="*/ 777875 w 1793875"/>
                <a:gd name="connsiteY23" fmla="*/ 2647118 h 3952043"/>
                <a:gd name="connsiteX24" fmla="*/ 787400 w 1793875"/>
                <a:gd name="connsiteY24" fmla="*/ 2510593 h 3952043"/>
                <a:gd name="connsiteX25" fmla="*/ 758825 w 1793875"/>
                <a:gd name="connsiteY25" fmla="*/ 2507418 h 3952043"/>
                <a:gd name="connsiteX26" fmla="*/ 762000 w 1793875"/>
                <a:gd name="connsiteY26" fmla="*/ 2367718 h 3952043"/>
                <a:gd name="connsiteX27" fmla="*/ 762000 w 1793875"/>
                <a:gd name="connsiteY27" fmla="*/ 2367718 h 3952043"/>
                <a:gd name="connsiteX28" fmla="*/ 762000 w 1793875"/>
                <a:gd name="connsiteY28" fmla="*/ 2367718 h 3952043"/>
                <a:gd name="connsiteX29" fmla="*/ 361950 w 1793875"/>
                <a:gd name="connsiteY29" fmla="*/ 2488368 h 3952043"/>
                <a:gd name="connsiteX30" fmla="*/ 739775 w 1793875"/>
                <a:gd name="connsiteY30" fmla="*/ 2370893 h 3952043"/>
                <a:gd name="connsiteX31" fmla="*/ 742950 w 1793875"/>
                <a:gd name="connsiteY31" fmla="*/ 2301043 h 3952043"/>
                <a:gd name="connsiteX32" fmla="*/ 352425 w 1793875"/>
                <a:gd name="connsiteY32" fmla="*/ 2358193 h 3952043"/>
                <a:gd name="connsiteX33" fmla="*/ 730250 w 1793875"/>
                <a:gd name="connsiteY33" fmla="*/ 2301043 h 3952043"/>
                <a:gd name="connsiteX34" fmla="*/ 730250 w 1793875"/>
                <a:gd name="connsiteY34" fmla="*/ 2237543 h 3952043"/>
                <a:gd name="connsiteX35" fmla="*/ 381000 w 1793875"/>
                <a:gd name="connsiteY35" fmla="*/ 2259768 h 3952043"/>
                <a:gd name="connsiteX36" fmla="*/ 723900 w 1793875"/>
                <a:gd name="connsiteY36" fmla="*/ 2234368 h 3952043"/>
                <a:gd name="connsiteX37" fmla="*/ 723900 w 1793875"/>
                <a:gd name="connsiteY37" fmla="*/ 2234368 h 3952043"/>
                <a:gd name="connsiteX38" fmla="*/ 723900 w 1793875"/>
                <a:gd name="connsiteY38" fmla="*/ 2234368 h 3952043"/>
                <a:gd name="connsiteX39" fmla="*/ 901700 w 1793875"/>
                <a:gd name="connsiteY39" fmla="*/ 2205793 h 3952043"/>
                <a:gd name="connsiteX40" fmla="*/ 727075 w 1793875"/>
                <a:gd name="connsiteY40" fmla="*/ 2215318 h 3952043"/>
                <a:gd name="connsiteX41" fmla="*/ 390525 w 1793875"/>
                <a:gd name="connsiteY41" fmla="*/ 2240718 h 3952043"/>
                <a:gd name="connsiteX42" fmla="*/ 711200 w 1793875"/>
                <a:gd name="connsiteY42" fmla="*/ 2215318 h 3952043"/>
                <a:gd name="connsiteX43" fmla="*/ 714375 w 1793875"/>
                <a:gd name="connsiteY43" fmla="*/ 2116893 h 3952043"/>
                <a:gd name="connsiteX44" fmla="*/ 676275 w 1793875"/>
                <a:gd name="connsiteY44" fmla="*/ 2110543 h 3952043"/>
                <a:gd name="connsiteX45" fmla="*/ 682625 w 1793875"/>
                <a:gd name="connsiteY45" fmla="*/ 2040693 h 3952043"/>
                <a:gd name="connsiteX46" fmla="*/ 622300 w 1793875"/>
                <a:gd name="connsiteY46" fmla="*/ 2034343 h 3952043"/>
                <a:gd name="connsiteX47" fmla="*/ 628650 w 1793875"/>
                <a:gd name="connsiteY47" fmla="*/ 1958143 h 3952043"/>
                <a:gd name="connsiteX48" fmla="*/ 180975 w 1793875"/>
                <a:gd name="connsiteY48" fmla="*/ 2034343 h 3952043"/>
                <a:gd name="connsiteX49" fmla="*/ 612775 w 1793875"/>
                <a:gd name="connsiteY49" fmla="*/ 1958143 h 3952043"/>
                <a:gd name="connsiteX50" fmla="*/ 622300 w 1793875"/>
                <a:gd name="connsiteY50" fmla="*/ 1907343 h 3952043"/>
                <a:gd name="connsiteX51" fmla="*/ 581025 w 1793875"/>
                <a:gd name="connsiteY51" fmla="*/ 1907343 h 3952043"/>
                <a:gd name="connsiteX52" fmla="*/ 587375 w 1793875"/>
                <a:gd name="connsiteY52" fmla="*/ 1840668 h 3952043"/>
                <a:gd name="connsiteX53" fmla="*/ 247650 w 1793875"/>
                <a:gd name="connsiteY53" fmla="*/ 1878768 h 3952043"/>
                <a:gd name="connsiteX54" fmla="*/ 568325 w 1793875"/>
                <a:gd name="connsiteY54" fmla="*/ 1840668 h 3952043"/>
                <a:gd name="connsiteX55" fmla="*/ 568325 w 1793875"/>
                <a:gd name="connsiteY55" fmla="*/ 1802568 h 3952043"/>
                <a:gd name="connsiteX56" fmla="*/ 136525 w 1793875"/>
                <a:gd name="connsiteY56" fmla="*/ 1843843 h 3952043"/>
                <a:gd name="connsiteX57" fmla="*/ 558800 w 1793875"/>
                <a:gd name="connsiteY57" fmla="*/ 1799393 h 3952043"/>
                <a:gd name="connsiteX58" fmla="*/ 558800 w 1793875"/>
                <a:gd name="connsiteY58" fmla="*/ 1659693 h 3952043"/>
                <a:gd name="connsiteX59" fmla="*/ 158750 w 1793875"/>
                <a:gd name="connsiteY59" fmla="*/ 1729543 h 3952043"/>
                <a:gd name="connsiteX60" fmla="*/ 533400 w 1793875"/>
                <a:gd name="connsiteY60" fmla="*/ 1650168 h 3952043"/>
                <a:gd name="connsiteX61" fmla="*/ 542925 w 1793875"/>
                <a:gd name="connsiteY61" fmla="*/ 1478718 h 3952043"/>
                <a:gd name="connsiteX62" fmla="*/ 53975 w 1793875"/>
                <a:gd name="connsiteY62" fmla="*/ 1545393 h 3952043"/>
                <a:gd name="connsiteX63" fmla="*/ 527050 w 1793875"/>
                <a:gd name="connsiteY63" fmla="*/ 1481893 h 3952043"/>
                <a:gd name="connsiteX64" fmla="*/ 530225 w 1793875"/>
                <a:gd name="connsiteY64" fmla="*/ 1348543 h 3952043"/>
                <a:gd name="connsiteX65" fmla="*/ 473075 w 1793875"/>
                <a:gd name="connsiteY65" fmla="*/ 1345368 h 3952043"/>
                <a:gd name="connsiteX66" fmla="*/ 482600 w 1793875"/>
                <a:gd name="connsiteY66" fmla="*/ 1164393 h 3952043"/>
                <a:gd name="connsiteX67" fmla="*/ 454025 w 1793875"/>
                <a:gd name="connsiteY67" fmla="*/ 1158043 h 3952043"/>
                <a:gd name="connsiteX68" fmla="*/ 457200 w 1793875"/>
                <a:gd name="connsiteY68" fmla="*/ 1081843 h 3952043"/>
                <a:gd name="connsiteX69" fmla="*/ 101600 w 1793875"/>
                <a:gd name="connsiteY69" fmla="*/ 1173918 h 3952043"/>
                <a:gd name="connsiteX70" fmla="*/ 444500 w 1793875"/>
                <a:gd name="connsiteY70" fmla="*/ 1085018 h 3952043"/>
                <a:gd name="connsiteX71" fmla="*/ 454025 w 1793875"/>
                <a:gd name="connsiteY71" fmla="*/ 904043 h 3952043"/>
                <a:gd name="connsiteX72" fmla="*/ 12700 w 1793875"/>
                <a:gd name="connsiteY72" fmla="*/ 983418 h 3952043"/>
                <a:gd name="connsiteX73" fmla="*/ 409575 w 1793875"/>
                <a:gd name="connsiteY73" fmla="*/ 910393 h 3952043"/>
                <a:gd name="connsiteX74" fmla="*/ 412750 w 1793875"/>
                <a:gd name="connsiteY74" fmla="*/ 811968 h 3952043"/>
                <a:gd name="connsiteX75" fmla="*/ 377825 w 1793875"/>
                <a:gd name="connsiteY75" fmla="*/ 808793 h 3952043"/>
                <a:gd name="connsiteX76" fmla="*/ 377825 w 1793875"/>
                <a:gd name="connsiteY76" fmla="*/ 707193 h 3952043"/>
                <a:gd name="connsiteX77" fmla="*/ 825500 w 1793875"/>
                <a:gd name="connsiteY77" fmla="*/ 672268 h 3952043"/>
                <a:gd name="connsiteX78" fmla="*/ 447675 w 1793875"/>
                <a:gd name="connsiteY78" fmla="*/ 675443 h 3952043"/>
                <a:gd name="connsiteX79" fmla="*/ 777875 w 1793875"/>
                <a:gd name="connsiteY79" fmla="*/ 297618 h 3952043"/>
                <a:gd name="connsiteX80" fmla="*/ 41275 w 1793875"/>
                <a:gd name="connsiteY80" fmla="*/ 361118 h 3952043"/>
                <a:gd name="connsiteX81" fmla="*/ 784225 w 1793875"/>
                <a:gd name="connsiteY81" fmla="*/ 196018 h 3952043"/>
                <a:gd name="connsiteX82" fmla="*/ 549275 w 1793875"/>
                <a:gd name="connsiteY82" fmla="*/ 2343 h 3952043"/>
                <a:gd name="connsiteX83" fmla="*/ 0 w 1793875"/>
                <a:gd name="connsiteY83" fmla="*/ 21393 h 3952043"/>
                <a:gd name="connsiteX0" fmla="*/ 1790700 w 1793875"/>
                <a:gd name="connsiteY0" fmla="*/ 3952043 h 3952043"/>
                <a:gd name="connsiteX1" fmla="*/ 1793875 w 1793875"/>
                <a:gd name="connsiteY1" fmla="*/ 3586918 h 3952043"/>
                <a:gd name="connsiteX2" fmla="*/ 1581150 w 1793875"/>
                <a:gd name="connsiteY2" fmla="*/ 3586918 h 3952043"/>
                <a:gd name="connsiteX3" fmla="*/ 1584325 w 1793875"/>
                <a:gd name="connsiteY3" fmla="*/ 3466268 h 3952043"/>
                <a:gd name="connsiteX4" fmla="*/ 1520825 w 1793875"/>
                <a:gd name="connsiteY4" fmla="*/ 3466268 h 3952043"/>
                <a:gd name="connsiteX5" fmla="*/ 1524000 w 1793875"/>
                <a:gd name="connsiteY5" fmla="*/ 3351968 h 3952043"/>
                <a:gd name="connsiteX6" fmla="*/ 1304925 w 1793875"/>
                <a:gd name="connsiteY6" fmla="*/ 3355143 h 3952043"/>
                <a:gd name="connsiteX7" fmla="*/ 1308100 w 1793875"/>
                <a:gd name="connsiteY7" fmla="*/ 3259893 h 3952043"/>
                <a:gd name="connsiteX8" fmla="*/ 1174750 w 1793875"/>
                <a:gd name="connsiteY8" fmla="*/ 3259893 h 3952043"/>
                <a:gd name="connsiteX9" fmla="*/ 1174750 w 1793875"/>
                <a:gd name="connsiteY9" fmla="*/ 3174168 h 3952043"/>
                <a:gd name="connsiteX10" fmla="*/ 1047750 w 1793875"/>
                <a:gd name="connsiteY10" fmla="*/ 3170993 h 3952043"/>
                <a:gd name="connsiteX11" fmla="*/ 1050925 w 1793875"/>
                <a:gd name="connsiteY11" fmla="*/ 3097968 h 3952043"/>
                <a:gd name="connsiteX12" fmla="*/ 1000125 w 1793875"/>
                <a:gd name="connsiteY12" fmla="*/ 3097968 h 3952043"/>
                <a:gd name="connsiteX13" fmla="*/ 1003300 w 1793875"/>
                <a:gd name="connsiteY13" fmla="*/ 3021768 h 3952043"/>
                <a:gd name="connsiteX14" fmla="*/ 946150 w 1793875"/>
                <a:gd name="connsiteY14" fmla="*/ 3021768 h 3952043"/>
                <a:gd name="connsiteX15" fmla="*/ 949325 w 1793875"/>
                <a:gd name="connsiteY15" fmla="*/ 2939218 h 3952043"/>
                <a:gd name="connsiteX16" fmla="*/ 904875 w 1793875"/>
                <a:gd name="connsiteY16" fmla="*/ 2939218 h 3952043"/>
                <a:gd name="connsiteX17" fmla="*/ 911225 w 1793875"/>
                <a:gd name="connsiteY17" fmla="*/ 2872543 h 3952043"/>
                <a:gd name="connsiteX18" fmla="*/ 692150 w 1793875"/>
                <a:gd name="connsiteY18" fmla="*/ 2897943 h 3952043"/>
                <a:gd name="connsiteX19" fmla="*/ 898525 w 1793875"/>
                <a:gd name="connsiteY19" fmla="*/ 2872543 h 3952043"/>
                <a:gd name="connsiteX20" fmla="*/ 901700 w 1793875"/>
                <a:gd name="connsiteY20" fmla="*/ 2723318 h 3952043"/>
                <a:gd name="connsiteX21" fmla="*/ 819150 w 1793875"/>
                <a:gd name="connsiteY21" fmla="*/ 2720143 h 3952043"/>
                <a:gd name="connsiteX22" fmla="*/ 825500 w 1793875"/>
                <a:gd name="connsiteY22" fmla="*/ 2650293 h 3952043"/>
                <a:gd name="connsiteX23" fmla="*/ 777875 w 1793875"/>
                <a:gd name="connsiteY23" fmla="*/ 2647118 h 3952043"/>
                <a:gd name="connsiteX24" fmla="*/ 787400 w 1793875"/>
                <a:gd name="connsiteY24" fmla="*/ 2510593 h 3952043"/>
                <a:gd name="connsiteX25" fmla="*/ 758825 w 1793875"/>
                <a:gd name="connsiteY25" fmla="*/ 2507418 h 3952043"/>
                <a:gd name="connsiteX26" fmla="*/ 762000 w 1793875"/>
                <a:gd name="connsiteY26" fmla="*/ 2367718 h 3952043"/>
                <a:gd name="connsiteX27" fmla="*/ 762000 w 1793875"/>
                <a:gd name="connsiteY27" fmla="*/ 2367718 h 3952043"/>
                <a:gd name="connsiteX28" fmla="*/ 762000 w 1793875"/>
                <a:gd name="connsiteY28" fmla="*/ 2367718 h 3952043"/>
                <a:gd name="connsiteX29" fmla="*/ 361950 w 1793875"/>
                <a:gd name="connsiteY29" fmla="*/ 2488368 h 3952043"/>
                <a:gd name="connsiteX30" fmla="*/ 739775 w 1793875"/>
                <a:gd name="connsiteY30" fmla="*/ 2370893 h 3952043"/>
                <a:gd name="connsiteX31" fmla="*/ 742950 w 1793875"/>
                <a:gd name="connsiteY31" fmla="*/ 2301043 h 3952043"/>
                <a:gd name="connsiteX32" fmla="*/ 352425 w 1793875"/>
                <a:gd name="connsiteY32" fmla="*/ 2358193 h 3952043"/>
                <a:gd name="connsiteX33" fmla="*/ 730250 w 1793875"/>
                <a:gd name="connsiteY33" fmla="*/ 2301043 h 3952043"/>
                <a:gd name="connsiteX34" fmla="*/ 730250 w 1793875"/>
                <a:gd name="connsiteY34" fmla="*/ 2237543 h 3952043"/>
                <a:gd name="connsiteX35" fmla="*/ 381000 w 1793875"/>
                <a:gd name="connsiteY35" fmla="*/ 2259768 h 3952043"/>
                <a:gd name="connsiteX36" fmla="*/ 723900 w 1793875"/>
                <a:gd name="connsiteY36" fmla="*/ 2234368 h 3952043"/>
                <a:gd name="connsiteX37" fmla="*/ 723900 w 1793875"/>
                <a:gd name="connsiteY37" fmla="*/ 2234368 h 3952043"/>
                <a:gd name="connsiteX38" fmla="*/ 723900 w 1793875"/>
                <a:gd name="connsiteY38" fmla="*/ 2234368 h 3952043"/>
                <a:gd name="connsiteX39" fmla="*/ 901700 w 1793875"/>
                <a:gd name="connsiteY39" fmla="*/ 2205793 h 3952043"/>
                <a:gd name="connsiteX40" fmla="*/ 727075 w 1793875"/>
                <a:gd name="connsiteY40" fmla="*/ 2215318 h 3952043"/>
                <a:gd name="connsiteX41" fmla="*/ 390525 w 1793875"/>
                <a:gd name="connsiteY41" fmla="*/ 2240718 h 3952043"/>
                <a:gd name="connsiteX42" fmla="*/ 711200 w 1793875"/>
                <a:gd name="connsiteY42" fmla="*/ 2215318 h 3952043"/>
                <a:gd name="connsiteX43" fmla="*/ 714375 w 1793875"/>
                <a:gd name="connsiteY43" fmla="*/ 2116893 h 3952043"/>
                <a:gd name="connsiteX44" fmla="*/ 676275 w 1793875"/>
                <a:gd name="connsiteY44" fmla="*/ 2110543 h 3952043"/>
                <a:gd name="connsiteX45" fmla="*/ 682625 w 1793875"/>
                <a:gd name="connsiteY45" fmla="*/ 2040693 h 3952043"/>
                <a:gd name="connsiteX46" fmla="*/ 622300 w 1793875"/>
                <a:gd name="connsiteY46" fmla="*/ 2034343 h 3952043"/>
                <a:gd name="connsiteX47" fmla="*/ 628650 w 1793875"/>
                <a:gd name="connsiteY47" fmla="*/ 1958143 h 3952043"/>
                <a:gd name="connsiteX48" fmla="*/ 180975 w 1793875"/>
                <a:gd name="connsiteY48" fmla="*/ 2034343 h 3952043"/>
                <a:gd name="connsiteX49" fmla="*/ 612775 w 1793875"/>
                <a:gd name="connsiteY49" fmla="*/ 1958143 h 3952043"/>
                <a:gd name="connsiteX50" fmla="*/ 622300 w 1793875"/>
                <a:gd name="connsiteY50" fmla="*/ 1907343 h 3952043"/>
                <a:gd name="connsiteX51" fmla="*/ 581025 w 1793875"/>
                <a:gd name="connsiteY51" fmla="*/ 1907343 h 3952043"/>
                <a:gd name="connsiteX52" fmla="*/ 587375 w 1793875"/>
                <a:gd name="connsiteY52" fmla="*/ 1840668 h 3952043"/>
                <a:gd name="connsiteX53" fmla="*/ 247650 w 1793875"/>
                <a:gd name="connsiteY53" fmla="*/ 1878768 h 3952043"/>
                <a:gd name="connsiteX54" fmla="*/ 568325 w 1793875"/>
                <a:gd name="connsiteY54" fmla="*/ 1840668 h 3952043"/>
                <a:gd name="connsiteX55" fmla="*/ 568325 w 1793875"/>
                <a:gd name="connsiteY55" fmla="*/ 1802568 h 3952043"/>
                <a:gd name="connsiteX56" fmla="*/ 136525 w 1793875"/>
                <a:gd name="connsiteY56" fmla="*/ 1843843 h 3952043"/>
                <a:gd name="connsiteX57" fmla="*/ 558800 w 1793875"/>
                <a:gd name="connsiteY57" fmla="*/ 1799393 h 3952043"/>
                <a:gd name="connsiteX58" fmla="*/ 558800 w 1793875"/>
                <a:gd name="connsiteY58" fmla="*/ 1659693 h 3952043"/>
                <a:gd name="connsiteX59" fmla="*/ 158750 w 1793875"/>
                <a:gd name="connsiteY59" fmla="*/ 1729543 h 3952043"/>
                <a:gd name="connsiteX60" fmla="*/ 533400 w 1793875"/>
                <a:gd name="connsiteY60" fmla="*/ 1650168 h 3952043"/>
                <a:gd name="connsiteX61" fmla="*/ 542925 w 1793875"/>
                <a:gd name="connsiteY61" fmla="*/ 1478718 h 3952043"/>
                <a:gd name="connsiteX62" fmla="*/ 53975 w 1793875"/>
                <a:gd name="connsiteY62" fmla="*/ 1545393 h 3952043"/>
                <a:gd name="connsiteX63" fmla="*/ 527050 w 1793875"/>
                <a:gd name="connsiteY63" fmla="*/ 1481893 h 3952043"/>
                <a:gd name="connsiteX64" fmla="*/ 530225 w 1793875"/>
                <a:gd name="connsiteY64" fmla="*/ 1348543 h 3952043"/>
                <a:gd name="connsiteX65" fmla="*/ 473075 w 1793875"/>
                <a:gd name="connsiteY65" fmla="*/ 1345368 h 3952043"/>
                <a:gd name="connsiteX66" fmla="*/ 482600 w 1793875"/>
                <a:gd name="connsiteY66" fmla="*/ 1164393 h 3952043"/>
                <a:gd name="connsiteX67" fmla="*/ 454025 w 1793875"/>
                <a:gd name="connsiteY67" fmla="*/ 1158043 h 3952043"/>
                <a:gd name="connsiteX68" fmla="*/ 457200 w 1793875"/>
                <a:gd name="connsiteY68" fmla="*/ 1081843 h 3952043"/>
                <a:gd name="connsiteX69" fmla="*/ 101600 w 1793875"/>
                <a:gd name="connsiteY69" fmla="*/ 1173918 h 3952043"/>
                <a:gd name="connsiteX70" fmla="*/ 444500 w 1793875"/>
                <a:gd name="connsiteY70" fmla="*/ 1085018 h 3952043"/>
                <a:gd name="connsiteX71" fmla="*/ 454025 w 1793875"/>
                <a:gd name="connsiteY71" fmla="*/ 904043 h 3952043"/>
                <a:gd name="connsiteX72" fmla="*/ 12700 w 1793875"/>
                <a:gd name="connsiteY72" fmla="*/ 983418 h 3952043"/>
                <a:gd name="connsiteX73" fmla="*/ 409575 w 1793875"/>
                <a:gd name="connsiteY73" fmla="*/ 910393 h 3952043"/>
                <a:gd name="connsiteX74" fmla="*/ 412750 w 1793875"/>
                <a:gd name="connsiteY74" fmla="*/ 811968 h 3952043"/>
                <a:gd name="connsiteX75" fmla="*/ 377825 w 1793875"/>
                <a:gd name="connsiteY75" fmla="*/ 808793 h 3952043"/>
                <a:gd name="connsiteX76" fmla="*/ 377825 w 1793875"/>
                <a:gd name="connsiteY76" fmla="*/ 707193 h 3952043"/>
                <a:gd name="connsiteX77" fmla="*/ 825500 w 1793875"/>
                <a:gd name="connsiteY77" fmla="*/ 672268 h 3952043"/>
                <a:gd name="connsiteX78" fmla="*/ 447675 w 1793875"/>
                <a:gd name="connsiteY78" fmla="*/ 411918 h 3952043"/>
                <a:gd name="connsiteX79" fmla="*/ 777875 w 1793875"/>
                <a:gd name="connsiteY79" fmla="*/ 297618 h 3952043"/>
                <a:gd name="connsiteX80" fmla="*/ 41275 w 1793875"/>
                <a:gd name="connsiteY80" fmla="*/ 361118 h 3952043"/>
                <a:gd name="connsiteX81" fmla="*/ 784225 w 1793875"/>
                <a:gd name="connsiteY81" fmla="*/ 196018 h 3952043"/>
                <a:gd name="connsiteX82" fmla="*/ 549275 w 1793875"/>
                <a:gd name="connsiteY82" fmla="*/ 2343 h 3952043"/>
                <a:gd name="connsiteX83" fmla="*/ 0 w 1793875"/>
                <a:gd name="connsiteY83" fmla="*/ 21393 h 3952043"/>
                <a:gd name="connsiteX0" fmla="*/ 1790700 w 1793875"/>
                <a:gd name="connsiteY0" fmla="*/ 3952043 h 3952043"/>
                <a:gd name="connsiteX1" fmla="*/ 1793875 w 1793875"/>
                <a:gd name="connsiteY1" fmla="*/ 3586918 h 3952043"/>
                <a:gd name="connsiteX2" fmla="*/ 1581150 w 1793875"/>
                <a:gd name="connsiteY2" fmla="*/ 3586918 h 3952043"/>
                <a:gd name="connsiteX3" fmla="*/ 1584325 w 1793875"/>
                <a:gd name="connsiteY3" fmla="*/ 3466268 h 3952043"/>
                <a:gd name="connsiteX4" fmla="*/ 1520825 w 1793875"/>
                <a:gd name="connsiteY4" fmla="*/ 3466268 h 3952043"/>
                <a:gd name="connsiteX5" fmla="*/ 1524000 w 1793875"/>
                <a:gd name="connsiteY5" fmla="*/ 3351968 h 3952043"/>
                <a:gd name="connsiteX6" fmla="*/ 1304925 w 1793875"/>
                <a:gd name="connsiteY6" fmla="*/ 3355143 h 3952043"/>
                <a:gd name="connsiteX7" fmla="*/ 1308100 w 1793875"/>
                <a:gd name="connsiteY7" fmla="*/ 3259893 h 3952043"/>
                <a:gd name="connsiteX8" fmla="*/ 1174750 w 1793875"/>
                <a:gd name="connsiteY8" fmla="*/ 3259893 h 3952043"/>
                <a:gd name="connsiteX9" fmla="*/ 1174750 w 1793875"/>
                <a:gd name="connsiteY9" fmla="*/ 3174168 h 3952043"/>
                <a:gd name="connsiteX10" fmla="*/ 1047750 w 1793875"/>
                <a:gd name="connsiteY10" fmla="*/ 3170993 h 3952043"/>
                <a:gd name="connsiteX11" fmla="*/ 1050925 w 1793875"/>
                <a:gd name="connsiteY11" fmla="*/ 3097968 h 3952043"/>
                <a:gd name="connsiteX12" fmla="*/ 1000125 w 1793875"/>
                <a:gd name="connsiteY12" fmla="*/ 3097968 h 3952043"/>
                <a:gd name="connsiteX13" fmla="*/ 1003300 w 1793875"/>
                <a:gd name="connsiteY13" fmla="*/ 3021768 h 3952043"/>
                <a:gd name="connsiteX14" fmla="*/ 946150 w 1793875"/>
                <a:gd name="connsiteY14" fmla="*/ 3021768 h 3952043"/>
                <a:gd name="connsiteX15" fmla="*/ 949325 w 1793875"/>
                <a:gd name="connsiteY15" fmla="*/ 2939218 h 3952043"/>
                <a:gd name="connsiteX16" fmla="*/ 904875 w 1793875"/>
                <a:gd name="connsiteY16" fmla="*/ 2939218 h 3952043"/>
                <a:gd name="connsiteX17" fmla="*/ 911225 w 1793875"/>
                <a:gd name="connsiteY17" fmla="*/ 2872543 h 3952043"/>
                <a:gd name="connsiteX18" fmla="*/ 692150 w 1793875"/>
                <a:gd name="connsiteY18" fmla="*/ 2897943 h 3952043"/>
                <a:gd name="connsiteX19" fmla="*/ 898525 w 1793875"/>
                <a:gd name="connsiteY19" fmla="*/ 2872543 h 3952043"/>
                <a:gd name="connsiteX20" fmla="*/ 901700 w 1793875"/>
                <a:gd name="connsiteY20" fmla="*/ 2723318 h 3952043"/>
                <a:gd name="connsiteX21" fmla="*/ 819150 w 1793875"/>
                <a:gd name="connsiteY21" fmla="*/ 2720143 h 3952043"/>
                <a:gd name="connsiteX22" fmla="*/ 825500 w 1793875"/>
                <a:gd name="connsiteY22" fmla="*/ 2650293 h 3952043"/>
                <a:gd name="connsiteX23" fmla="*/ 777875 w 1793875"/>
                <a:gd name="connsiteY23" fmla="*/ 2647118 h 3952043"/>
                <a:gd name="connsiteX24" fmla="*/ 787400 w 1793875"/>
                <a:gd name="connsiteY24" fmla="*/ 2510593 h 3952043"/>
                <a:gd name="connsiteX25" fmla="*/ 758825 w 1793875"/>
                <a:gd name="connsiteY25" fmla="*/ 2507418 h 3952043"/>
                <a:gd name="connsiteX26" fmla="*/ 762000 w 1793875"/>
                <a:gd name="connsiteY26" fmla="*/ 2367718 h 3952043"/>
                <a:gd name="connsiteX27" fmla="*/ 762000 w 1793875"/>
                <a:gd name="connsiteY27" fmla="*/ 2367718 h 3952043"/>
                <a:gd name="connsiteX28" fmla="*/ 762000 w 1793875"/>
                <a:gd name="connsiteY28" fmla="*/ 2367718 h 3952043"/>
                <a:gd name="connsiteX29" fmla="*/ 361950 w 1793875"/>
                <a:gd name="connsiteY29" fmla="*/ 2488368 h 3952043"/>
                <a:gd name="connsiteX30" fmla="*/ 739775 w 1793875"/>
                <a:gd name="connsiteY30" fmla="*/ 2370893 h 3952043"/>
                <a:gd name="connsiteX31" fmla="*/ 742950 w 1793875"/>
                <a:gd name="connsiteY31" fmla="*/ 2301043 h 3952043"/>
                <a:gd name="connsiteX32" fmla="*/ 352425 w 1793875"/>
                <a:gd name="connsiteY32" fmla="*/ 2358193 h 3952043"/>
                <a:gd name="connsiteX33" fmla="*/ 730250 w 1793875"/>
                <a:gd name="connsiteY33" fmla="*/ 2301043 h 3952043"/>
                <a:gd name="connsiteX34" fmla="*/ 730250 w 1793875"/>
                <a:gd name="connsiteY34" fmla="*/ 2237543 h 3952043"/>
                <a:gd name="connsiteX35" fmla="*/ 381000 w 1793875"/>
                <a:gd name="connsiteY35" fmla="*/ 2259768 h 3952043"/>
                <a:gd name="connsiteX36" fmla="*/ 723900 w 1793875"/>
                <a:gd name="connsiteY36" fmla="*/ 2234368 h 3952043"/>
                <a:gd name="connsiteX37" fmla="*/ 723900 w 1793875"/>
                <a:gd name="connsiteY37" fmla="*/ 2234368 h 3952043"/>
                <a:gd name="connsiteX38" fmla="*/ 723900 w 1793875"/>
                <a:gd name="connsiteY38" fmla="*/ 2234368 h 3952043"/>
                <a:gd name="connsiteX39" fmla="*/ 901700 w 1793875"/>
                <a:gd name="connsiteY39" fmla="*/ 2205793 h 3952043"/>
                <a:gd name="connsiteX40" fmla="*/ 727075 w 1793875"/>
                <a:gd name="connsiteY40" fmla="*/ 2215318 h 3952043"/>
                <a:gd name="connsiteX41" fmla="*/ 390525 w 1793875"/>
                <a:gd name="connsiteY41" fmla="*/ 2240718 h 3952043"/>
                <a:gd name="connsiteX42" fmla="*/ 711200 w 1793875"/>
                <a:gd name="connsiteY42" fmla="*/ 2215318 h 3952043"/>
                <a:gd name="connsiteX43" fmla="*/ 714375 w 1793875"/>
                <a:gd name="connsiteY43" fmla="*/ 2116893 h 3952043"/>
                <a:gd name="connsiteX44" fmla="*/ 676275 w 1793875"/>
                <a:gd name="connsiteY44" fmla="*/ 2110543 h 3952043"/>
                <a:gd name="connsiteX45" fmla="*/ 682625 w 1793875"/>
                <a:gd name="connsiteY45" fmla="*/ 2040693 h 3952043"/>
                <a:gd name="connsiteX46" fmla="*/ 622300 w 1793875"/>
                <a:gd name="connsiteY46" fmla="*/ 2034343 h 3952043"/>
                <a:gd name="connsiteX47" fmla="*/ 628650 w 1793875"/>
                <a:gd name="connsiteY47" fmla="*/ 1958143 h 3952043"/>
                <a:gd name="connsiteX48" fmla="*/ 180975 w 1793875"/>
                <a:gd name="connsiteY48" fmla="*/ 2034343 h 3952043"/>
                <a:gd name="connsiteX49" fmla="*/ 612775 w 1793875"/>
                <a:gd name="connsiteY49" fmla="*/ 1958143 h 3952043"/>
                <a:gd name="connsiteX50" fmla="*/ 622300 w 1793875"/>
                <a:gd name="connsiteY50" fmla="*/ 1907343 h 3952043"/>
                <a:gd name="connsiteX51" fmla="*/ 581025 w 1793875"/>
                <a:gd name="connsiteY51" fmla="*/ 1907343 h 3952043"/>
                <a:gd name="connsiteX52" fmla="*/ 587375 w 1793875"/>
                <a:gd name="connsiteY52" fmla="*/ 1840668 h 3952043"/>
                <a:gd name="connsiteX53" fmla="*/ 247650 w 1793875"/>
                <a:gd name="connsiteY53" fmla="*/ 1878768 h 3952043"/>
                <a:gd name="connsiteX54" fmla="*/ 568325 w 1793875"/>
                <a:gd name="connsiteY54" fmla="*/ 1840668 h 3952043"/>
                <a:gd name="connsiteX55" fmla="*/ 568325 w 1793875"/>
                <a:gd name="connsiteY55" fmla="*/ 1802568 h 3952043"/>
                <a:gd name="connsiteX56" fmla="*/ 136525 w 1793875"/>
                <a:gd name="connsiteY56" fmla="*/ 1843843 h 3952043"/>
                <a:gd name="connsiteX57" fmla="*/ 558800 w 1793875"/>
                <a:gd name="connsiteY57" fmla="*/ 1799393 h 3952043"/>
                <a:gd name="connsiteX58" fmla="*/ 558800 w 1793875"/>
                <a:gd name="connsiteY58" fmla="*/ 1659693 h 3952043"/>
                <a:gd name="connsiteX59" fmla="*/ 158750 w 1793875"/>
                <a:gd name="connsiteY59" fmla="*/ 1729543 h 3952043"/>
                <a:gd name="connsiteX60" fmla="*/ 533400 w 1793875"/>
                <a:gd name="connsiteY60" fmla="*/ 1650168 h 3952043"/>
                <a:gd name="connsiteX61" fmla="*/ 542925 w 1793875"/>
                <a:gd name="connsiteY61" fmla="*/ 1478718 h 3952043"/>
                <a:gd name="connsiteX62" fmla="*/ 53975 w 1793875"/>
                <a:gd name="connsiteY62" fmla="*/ 1545393 h 3952043"/>
                <a:gd name="connsiteX63" fmla="*/ 527050 w 1793875"/>
                <a:gd name="connsiteY63" fmla="*/ 1481893 h 3952043"/>
                <a:gd name="connsiteX64" fmla="*/ 530225 w 1793875"/>
                <a:gd name="connsiteY64" fmla="*/ 1348543 h 3952043"/>
                <a:gd name="connsiteX65" fmla="*/ 473075 w 1793875"/>
                <a:gd name="connsiteY65" fmla="*/ 1345368 h 3952043"/>
                <a:gd name="connsiteX66" fmla="*/ 482600 w 1793875"/>
                <a:gd name="connsiteY66" fmla="*/ 1164393 h 3952043"/>
                <a:gd name="connsiteX67" fmla="*/ 454025 w 1793875"/>
                <a:gd name="connsiteY67" fmla="*/ 1158043 h 3952043"/>
                <a:gd name="connsiteX68" fmla="*/ 457200 w 1793875"/>
                <a:gd name="connsiteY68" fmla="*/ 1081843 h 3952043"/>
                <a:gd name="connsiteX69" fmla="*/ 101600 w 1793875"/>
                <a:gd name="connsiteY69" fmla="*/ 1173918 h 3952043"/>
                <a:gd name="connsiteX70" fmla="*/ 444500 w 1793875"/>
                <a:gd name="connsiteY70" fmla="*/ 1085018 h 3952043"/>
                <a:gd name="connsiteX71" fmla="*/ 454025 w 1793875"/>
                <a:gd name="connsiteY71" fmla="*/ 904043 h 3952043"/>
                <a:gd name="connsiteX72" fmla="*/ 12700 w 1793875"/>
                <a:gd name="connsiteY72" fmla="*/ 983418 h 3952043"/>
                <a:gd name="connsiteX73" fmla="*/ 409575 w 1793875"/>
                <a:gd name="connsiteY73" fmla="*/ 910393 h 3952043"/>
                <a:gd name="connsiteX74" fmla="*/ 412750 w 1793875"/>
                <a:gd name="connsiteY74" fmla="*/ 811968 h 3952043"/>
                <a:gd name="connsiteX75" fmla="*/ 377825 w 1793875"/>
                <a:gd name="connsiteY75" fmla="*/ 808793 h 3952043"/>
                <a:gd name="connsiteX76" fmla="*/ 377825 w 1793875"/>
                <a:gd name="connsiteY76" fmla="*/ 707193 h 3952043"/>
                <a:gd name="connsiteX77" fmla="*/ 358775 w 1793875"/>
                <a:gd name="connsiteY77" fmla="*/ 602418 h 3952043"/>
                <a:gd name="connsiteX78" fmla="*/ 447675 w 1793875"/>
                <a:gd name="connsiteY78" fmla="*/ 411918 h 3952043"/>
                <a:gd name="connsiteX79" fmla="*/ 777875 w 1793875"/>
                <a:gd name="connsiteY79" fmla="*/ 297618 h 3952043"/>
                <a:gd name="connsiteX80" fmla="*/ 41275 w 1793875"/>
                <a:gd name="connsiteY80" fmla="*/ 361118 h 3952043"/>
                <a:gd name="connsiteX81" fmla="*/ 784225 w 1793875"/>
                <a:gd name="connsiteY81" fmla="*/ 196018 h 3952043"/>
                <a:gd name="connsiteX82" fmla="*/ 549275 w 1793875"/>
                <a:gd name="connsiteY82" fmla="*/ 2343 h 3952043"/>
                <a:gd name="connsiteX83" fmla="*/ 0 w 1793875"/>
                <a:gd name="connsiteY83" fmla="*/ 21393 h 3952043"/>
                <a:gd name="connsiteX0" fmla="*/ 1790700 w 1793875"/>
                <a:gd name="connsiteY0" fmla="*/ 3952043 h 3952043"/>
                <a:gd name="connsiteX1" fmla="*/ 1793875 w 1793875"/>
                <a:gd name="connsiteY1" fmla="*/ 3586918 h 3952043"/>
                <a:gd name="connsiteX2" fmla="*/ 1581150 w 1793875"/>
                <a:gd name="connsiteY2" fmla="*/ 3586918 h 3952043"/>
                <a:gd name="connsiteX3" fmla="*/ 1584325 w 1793875"/>
                <a:gd name="connsiteY3" fmla="*/ 3466268 h 3952043"/>
                <a:gd name="connsiteX4" fmla="*/ 1520825 w 1793875"/>
                <a:gd name="connsiteY4" fmla="*/ 3466268 h 3952043"/>
                <a:gd name="connsiteX5" fmla="*/ 1524000 w 1793875"/>
                <a:gd name="connsiteY5" fmla="*/ 3351968 h 3952043"/>
                <a:gd name="connsiteX6" fmla="*/ 1304925 w 1793875"/>
                <a:gd name="connsiteY6" fmla="*/ 3355143 h 3952043"/>
                <a:gd name="connsiteX7" fmla="*/ 1308100 w 1793875"/>
                <a:gd name="connsiteY7" fmla="*/ 3259893 h 3952043"/>
                <a:gd name="connsiteX8" fmla="*/ 1174750 w 1793875"/>
                <a:gd name="connsiteY8" fmla="*/ 3259893 h 3952043"/>
                <a:gd name="connsiteX9" fmla="*/ 1174750 w 1793875"/>
                <a:gd name="connsiteY9" fmla="*/ 3174168 h 3952043"/>
                <a:gd name="connsiteX10" fmla="*/ 1047750 w 1793875"/>
                <a:gd name="connsiteY10" fmla="*/ 3170993 h 3952043"/>
                <a:gd name="connsiteX11" fmla="*/ 1050925 w 1793875"/>
                <a:gd name="connsiteY11" fmla="*/ 3097968 h 3952043"/>
                <a:gd name="connsiteX12" fmla="*/ 1000125 w 1793875"/>
                <a:gd name="connsiteY12" fmla="*/ 3097968 h 3952043"/>
                <a:gd name="connsiteX13" fmla="*/ 1003300 w 1793875"/>
                <a:gd name="connsiteY13" fmla="*/ 3021768 h 3952043"/>
                <a:gd name="connsiteX14" fmla="*/ 946150 w 1793875"/>
                <a:gd name="connsiteY14" fmla="*/ 3021768 h 3952043"/>
                <a:gd name="connsiteX15" fmla="*/ 949325 w 1793875"/>
                <a:gd name="connsiteY15" fmla="*/ 2939218 h 3952043"/>
                <a:gd name="connsiteX16" fmla="*/ 904875 w 1793875"/>
                <a:gd name="connsiteY16" fmla="*/ 2939218 h 3952043"/>
                <a:gd name="connsiteX17" fmla="*/ 911225 w 1793875"/>
                <a:gd name="connsiteY17" fmla="*/ 2872543 h 3952043"/>
                <a:gd name="connsiteX18" fmla="*/ 692150 w 1793875"/>
                <a:gd name="connsiteY18" fmla="*/ 2897943 h 3952043"/>
                <a:gd name="connsiteX19" fmla="*/ 898525 w 1793875"/>
                <a:gd name="connsiteY19" fmla="*/ 2872543 h 3952043"/>
                <a:gd name="connsiteX20" fmla="*/ 901700 w 1793875"/>
                <a:gd name="connsiteY20" fmla="*/ 2723318 h 3952043"/>
                <a:gd name="connsiteX21" fmla="*/ 819150 w 1793875"/>
                <a:gd name="connsiteY21" fmla="*/ 2720143 h 3952043"/>
                <a:gd name="connsiteX22" fmla="*/ 825500 w 1793875"/>
                <a:gd name="connsiteY22" fmla="*/ 2650293 h 3952043"/>
                <a:gd name="connsiteX23" fmla="*/ 777875 w 1793875"/>
                <a:gd name="connsiteY23" fmla="*/ 2647118 h 3952043"/>
                <a:gd name="connsiteX24" fmla="*/ 787400 w 1793875"/>
                <a:gd name="connsiteY24" fmla="*/ 2510593 h 3952043"/>
                <a:gd name="connsiteX25" fmla="*/ 758825 w 1793875"/>
                <a:gd name="connsiteY25" fmla="*/ 2507418 h 3952043"/>
                <a:gd name="connsiteX26" fmla="*/ 762000 w 1793875"/>
                <a:gd name="connsiteY26" fmla="*/ 2367718 h 3952043"/>
                <a:gd name="connsiteX27" fmla="*/ 762000 w 1793875"/>
                <a:gd name="connsiteY27" fmla="*/ 2367718 h 3952043"/>
                <a:gd name="connsiteX28" fmla="*/ 762000 w 1793875"/>
                <a:gd name="connsiteY28" fmla="*/ 2367718 h 3952043"/>
                <a:gd name="connsiteX29" fmla="*/ 361950 w 1793875"/>
                <a:gd name="connsiteY29" fmla="*/ 2488368 h 3952043"/>
                <a:gd name="connsiteX30" fmla="*/ 739775 w 1793875"/>
                <a:gd name="connsiteY30" fmla="*/ 2370893 h 3952043"/>
                <a:gd name="connsiteX31" fmla="*/ 742950 w 1793875"/>
                <a:gd name="connsiteY31" fmla="*/ 2301043 h 3952043"/>
                <a:gd name="connsiteX32" fmla="*/ 352425 w 1793875"/>
                <a:gd name="connsiteY32" fmla="*/ 2358193 h 3952043"/>
                <a:gd name="connsiteX33" fmla="*/ 730250 w 1793875"/>
                <a:gd name="connsiteY33" fmla="*/ 2301043 h 3952043"/>
                <a:gd name="connsiteX34" fmla="*/ 730250 w 1793875"/>
                <a:gd name="connsiteY34" fmla="*/ 2237543 h 3952043"/>
                <a:gd name="connsiteX35" fmla="*/ 381000 w 1793875"/>
                <a:gd name="connsiteY35" fmla="*/ 2259768 h 3952043"/>
                <a:gd name="connsiteX36" fmla="*/ 723900 w 1793875"/>
                <a:gd name="connsiteY36" fmla="*/ 2234368 h 3952043"/>
                <a:gd name="connsiteX37" fmla="*/ 723900 w 1793875"/>
                <a:gd name="connsiteY37" fmla="*/ 2234368 h 3952043"/>
                <a:gd name="connsiteX38" fmla="*/ 723900 w 1793875"/>
                <a:gd name="connsiteY38" fmla="*/ 2234368 h 3952043"/>
                <a:gd name="connsiteX39" fmla="*/ 901700 w 1793875"/>
                <a:gd name="connsiteY39" fmla="*/ 2205793 h 3952043"/>
                <a:gd name="connsiteX40" fmla="*/ 727075 w 1793875"/>
                <a:gd name="connsiteY40" fmla="*/ 2215318 h 3952043"/>
                <a:gd name="connsiteX41" fmla="*/ 390525 w 1793875"/>
                <a:gd name="connsiteY41" fmla="*/ 2240718 h 3952043"/>
                <a:gd name="connsiteX42" fmla="*/ 711200 w 1793875"/>
                <a:gd name="connsiteY42" fmla="*/ 2215318 h 3952043"/>
                <a:gd name="connsiteX43" fmla="*/ 714375 w 1793875"/>
                <a:gd name="connsiteY43" fmla="*/ 2116893 h 3952043"/>
                <a:gd name="connsiteX44" fmla="*/ 676275 w 1793875"/>
                <a:gd name="connsiteY44" fmla="*/ 2110543 h 3952043"/>
                <a:gd name="connsiteX45" fmla="*/ 682625 w 1793875"/>
                <a:gd name="connsiteY45" fmla="*/ 2040693 h 3952043"/>
                <a:gd name="connsiteX46" fmla="*/ 622300 w 1793875"/>
                <a:gd name="connsiteY46" fmla="*/ 2034343 h 3952043"/>
                <a:gd name="connsiteX47" fmla="*/ 628650 w 1793875"/>
                <a:gd name="connsiteY47" fmla="*/ 1958143 h 3952043"/>
                <a:gd name="connsiteX48" fmla="*/ 180975 w 1793875"/>
                <a:gd name="connsiteY48" fmla="*/ 2034343 h 3952043"/>
                <a:gd name="connsiteX49" fmla="*/ 612775 w 1793875"/>
                <a:gd name="connsiteY49" fmla="*/ 1958143 h 3952043"/>
                <a:gd name="connsiteX50" fmla="*/ 622300 w 1793875"/>
                <a:gd name="connsiteY50" fmla="*/ 1907343 h 3952043"/>
                <a:gd name="connsiteX51" fmla="*/ 581025 w 1793875"/>
                <a:gd name="connsiteY51" fmla="*/ 1907343 h 3952043"/>
                <a:gd name="connsiteX52" fmla="*/ 587375 w 1793875"/>
                <a:gd name="connsiteY52" fmla="*/ 1840668 h 3952043"/>
                <a:gd name="connsiteX53" fmla="*/ 247650 w 1793875"/>
                <a:gd name="connsiteY53" fmla="*/ 1878768 h 3952043"/>
                <a:gd name="connsiteX54" fmla="*/ 568325 w 1793875"/>
                <a:gd name="connsiteY54" fmla="*/ 1840668 h 3952043"/>
                <a:gd name="connsiteX55" fmla="*/ 568325 w 1793875"/>
                <a:gd name="connsiteY55" fmla="*/ 1802568 h 3952043"/>
                <a:gd name="connsiteX56" fmla="*/ 136525 w 1793875"/>
                <a:gd name="connsiteY56" fmla="*/ 1843843 h 3952043"/>
                <a:gd name="connsiteX57" fmla="*/ 558800 w 1793875"/>
                <a:gd name="connsiteY57" fmla="*/ 1799393 h 3952043"/>
                <a:gd name="connsiteX58" fmla="*/ 558800 w 1793875"/>
                <a:gd name="connsiteY58" fmla="*/ 1659693 h 3952043"/>
                <a:gd name="connsiteX59" fmla="*/ 158750 w 1793875"/>
                <a:gd name="connsiteY59" fmla="*/ 1729543 h 3952043"/>
                <a:gd name="connsiteX60" fmla="*/ 533400 w 1793875"/>
                <a:gd name="connsiteY60" fmla="*/ 1650168 h 3952043"/>
                <a:gd name="connsiteX61" fmla="*/ 542925 w 1793875"/>
                <a:gd name="connsiteY61" fmla="*/ 1478718 h 3952043"/>
                <a:gd name="connsiteX62" fmla="*/ 53975 w 1793875"/>
                <a:gd name="connsiteY62" fmla="*/ 1545393 h 3952043"/>
                <a:gd name="connsiteX63" fmla="*/ 527050 w 1793875"/>
                <a:gd name="connsiteY63" fmla="*/ 1481893 h 3952043"/>
                <a:gd name="connsiteX64" fmla="*/ 530225 w 1793875"/>
                <a:gd name="connsiteY64" fmla="*/ 1348543 h 3952043"/>
                <a:gd name="connsiteX65" fmla="*/ 473075 w 1793875"/>
                <a:gd name="connsiteY65" fmla="*/ 1345368 h 3952043"/>
                <a:gd name="connsiteX66" fmla="*/ 482600 w 1793875"/>
                <a:gd name="connsiteY66" fmla="*/ 1164393 h 3952043"/>
                <a:gd name="connsiteX67" fmla="*/ 454025 w 1793875"/>
                <a:gd name="connsiteY67" fmla="*/ 1158043 h 3952043"/>
                <a:gd name="connsiteX68" fmla="*/ 457200 w 1793875"/>
                <a:gd name="connsiteY68" fmla="*/ 1081843 h 3952043"/>
                <a:gd name="connsiteX69" fmla="*/ 101600 w 1793875"/>
                <a:gd name="connsiteY69" fmla="*/ 1173918 h 3952043"/>
                <a:gd name="connsiteX70" fmla="*/ 444500 w 1793875"/>
                <a:gd name="connsiteY70" fmla="*/ 1085018 h 3952043"/>
                <a:gd name="connsiteX71" fmla="*/ 454025 w 1793875"/>
                <a:gd name="connsiteY71" fmla="*/ 904043 h 3952043"/>
                <a:gd name="connsiteX72" fmla="*/ 12700 w 1793875"/>
                <a:gd name="connsiteY72" fmla="*/ 983418 h 3952043"/>
                <a:gd name="connsiteX73" fmla="*/ 409575 w 1793875"/>
                <a:gd name="connsiteY73" fmla="*/ 910393 h 3952043"/>
                <a:gd name="connsiteX74" fmla="*/ 412750 w 1793875"/>
                <a:gd name="connsiteY74" fmla="*/ 811968 h 3952043"/>
                <a:gd name="connsiteX75" fmla="*/ 377825 w 1793875"/>
                <a:gd name="connsiteY75" fmla="*/ 808793 h 3952043"/>
                <a:gd name="connsiteX76" fmla="*/ 377825 w 1793875"/>
                <a:gd name="connsiteY76" fmla="*/ 707193 h 3952043"/>
                <a:gd name="connsiteX77" fmla="*/ 358775 w 1793875"/>
                <a:gd name="connsiteY77" fmla="*/ 602418 h 3952043"/>
                <a:gd name="connsiteX78" fmla="*/ 349250 w 1793875"/>
                <a:gd name="connsiteY78" fmla="*/ 510343 h 3952043"/>
                <a:gd name="connsiteX79" fmla="*/ 777875 w 1793875"/>
                <a:gd name="connsiteY79" fmla="*/ 297618 h 3952043"/>
                <a:gd name="connsiteX80" fmla="*/ 41275 w 1793875"/>
                <a:gd name="connsiteY80" fmla="*/ 361118 h 3952043"/>
                <a:gd name="connsiteX81" fmla="*/ 784225 w 1793875"/>
                <a:gd name="connsiteY81" fmla="*/ 196018 h 3952043"/>
                <a:gd name="connsiteX82" fmla="*/ 549275 w 1793875"/>
                <a:gd name="connsiteY82" fmla="*/ 2343 h 3952043"/>
                <a:gd name="connsiteX83" fmla="*/ 0 w 1793875"/>
                <a:gd name="connsiteY83" fmla="*/ 21393 h 3952043"/>
                <a:gd name="connsiteX0" fmla="*/ 1790700 w 1793875"/>
                <a:gd name="connsiteY0" fmla="*/ 3952043 h 3952043"/>
                <a:gd name="connsiteX1" fmla="*/ 1793875 w 1793875"/>
                <a:gd name="connsiteY1" fmla="*/ 3586918 h 3952043"/>
                <a:gd name="connsiteX2" fmla="*/ 1581150 w 1793875"/>
                <a:gd name="connsiteY2" fmla="*/ 3586918 h 3952043"/>
                <a:gd name="connsiteX3" fmla="*/ 1584325 w 1793875"/>
                <a:gd name="connsiteY3" fmla="*/ 3466268 h 3952043"/>
                <a:gd name="connsiteX4" fmla="*/ 1520825 w 1793875"/>
                <a:gd name="connsiteY4" fmla="*/ 3466268 h 3952043"/>
                <a:gd name="connsiteX5" fmla="*/ 1524000 w 1793875"/>
                <a:gd name="connsiteY5" fmla="*/ 3351968 h 3952043"/>
                <a:gd name="connsiteX6" fmla="*/ 1304925 w 1793875"/>
                <a:gd name="connsiteY6" fmla="*/ 3355143 h 3952043"/>
                <a:gd name="connsiteX7" fmla="*/ 1308100 w 1793875"/>
                <a:gd name="connsiteY7" fmla="*/ 3259893 h 3952043"/>
                <a:gd name="connsiteX8" fmla="*/ 1174750 w 1793875"/>
                <a:gd name="connsiteY8" fmla="*/ 3259893 h 3952043"/>
                <a:gd name="connsiteX9" fmla="*/ 1174750 w 1793875"/>
                <a:gd name="connsiteY9" fmla="*/ 3174168 h 3952043"/>
                <a:gd name="connsiteX10" fmla="*/ 1047750 w 1793875"/>
                <a:gd name="connsiteY10" fmla="*/ 3170993 h 3952043"/>
                <a:gd name="connsiteX11" fmla="*/ 1050925 w 1793875"/>
                <a:gd name="connsiteY11" fmla="*/ 3097968 h 3952043"/>
                <a:gd name="connsiteX12" fmla="*/ 1000125 w 1793875"/>
                <a:gd name="connsiteY12" fmla="*/ 3097968 h 3952043"/>
                <a:gd name="connsiteX13" fmla="*/ 1003300 w 1793875"/>
                <a:gd name="connsiteY13" fmla="*/ 3021768 h 3952043"/>
                <a:gd name="connsiteX14" fmla="*/ 946150 w 1793875"/>
                <a:gd name="connsiteY14" fmla="*/ 3021768 h 3952043"/>
                <a:gd name="connsiteX15" fmla="*/ 949325 w 1793875"/>
                <a:gd name="connsiteY15" fmla="*/ 2939218 h 3952043"/>
                <a:gd name="connsiteX16" fmla="*/ 904875 w 1793875"/>
                <a:gd name="connsiteY16" fmla="*/ 2939218 h 3952043"/>
                <a:gd name="connsiteX17" fmla="*/ 911225 w 1793875"/>
                <a:gd name="connsiteY17" fmla="*/ 2872543 h 3952043"/>
                <a:gd name="connsiteX18" fmla="*/ 692150 w 1793875"/>
                <a:gd name="connsiteY18" fmla="*/ 2897943 h 3952043"/>
                <a:gd name="connsiteX19" fmla="*/ 898525 w 1793875"/>
                <a:gd name="connsiteY19" fmla="*/ 2872543 h 3952043"/>
                <a:gd name="connsiteX20" fmla="*/ 901700 w 1793875"/>
                <a:gd name="connsiteY20" fmla="*/ 2723318 h 3952043"/>
                <a:gd name="connsiteX21" fmla="*/ 819150 w 1793875"/>
                <a:gd name="connsiteY21" fmla="*/ 2720143 h 3952043"/>
                <a:gd name="connsiteX22" fmla="*/ 825500 w 1793875"/>
                <a:gd name="connsiteY22" fmla="*/ 2650293 h 3952043"/>
                <a:gd name="connsiteX23" fmla="*/ 777875 w 1793875"/>
                <a:gd name="connsiteY23" fmla="*/ 2647118 h 3952043"/>
                <a:gd name="connsiteX24" fmla="*/ 787400 w 1793875"/>
                <a:gd name="connsiteY24" fmla="*/ 2510593 h 3952043"/>
                <a:gd name="connsiteX25" fmla="*/ 758825 w 1793875"/>
                <a:gd name="connsiteY25" fmla="*/ 2507418 h 3952043"/>
                <a:gd name="connsiteX26" fmla="*/ 762000 w 1793875"/>
                <a:gd name="connsiteY26" fmla="*/ 2367718 h 3952043"/>
                <a:gd name="connsiteX27" fmla="*/ 762000 w 1793875"/>
                <a:gd name="connsiteY27" fmla="*/ 2367718 h 3952043"/>
                <a:gd name="connsiteX28" fmla="*/ 762000 w 1793875"/>
                <a:gd name="connsiteY28" fmla="*/ 2367718 h 3952043"/>
                <a:gd name="connsiteX29" fmla="*/ 361950 w 1793875"/>
                <a:gd name="connsiteY29" fmla="*/ 2488368 h 3952043"/>
                <a:gd name="connsiteX30" fmla="*/ 739775 w 1793875"/>
                <a:gd name="connsiteY30" fmla="*/ 2370893 h 3952043"/>
                <a:gd name="connsiteX31" fmla="*/ 742950 w 1793875"/>
                <a:gd name="connsiteY31" fmla="*/ 2301043 h 3952043"/>
                <a:gd name="connsiteX32" fmla="*/ 352425 w 1793875"/>
                <a:gd name="connsiteY32" fmla="*/ 2358193 h 3952043"/>
                <a:gd name="connsiteX33" fmla="*/ 730250 w 1793875"/>
                <a:gd name="connsiteY33" fmla="*/ 2301043 h 3952043"/>
                <a:gd name="connsiteX34" fmla="*/ 730250 w 1793875"/>
                <a:gd name="connsiteY34" fmla="*/ 2237543 h 3952043"/>
                <a:gd name="connsiteX35" fmla="*/ 381000 w 1793875"/>
                <a:gd name="connsiteY35" fmla="*/ 2259768 h 3952043"/>
                <a:gd name="connsiteX36" fmla="*/ 723900 w 1793875"/>
                <a:gd name="connsiteY36" fmla="*/ 2234368 h 3952043"/>
                <a:gd name="connsiteX37" fmla="*/ 723900 w 1793875"/>
                <a:gd name="connsiteY37" fmla="*/ 2234368 h 3952043"/>
                <a:gd name="connsiteX38" fmla="*/ 723900 w 1793875"/>
                <a:gd name="connsiteY38" fmla="*/ 2234368 h 3952043"/>
                <a:gd name="connsiteX39" fmla="*/ 901700 w 1793875"/>
                <a:gd name="connsiteY39" fmla="*/ 2205793 h 3952043"/>
                <a:gd name="connsiteX40" fmla="*/ 727075 w 1793875"/>
                <a:gd name="connsiteY40" fmla="*/ 2215318 h 3952043"/>
                <a:gd name="connsiteX41" fmla="*/ 390525 w 1793875"/>
                <a:gd name="connsiteY41" fmla="*/ 2240718 h 3952043"/>
                <a:gd name="connsiteX42" fmla="*/ 711200 w 1793875"/>
                <a:gd name="connsiteY42" fmla="*/ 2215318 h 3952043"/>
                <a:gd name="connsiteX43" fmla="*/ 714375 w 1793875"/>
                <a:gd name="connsiteY43" fmla="*/ 2116893 h 3952043"/>
                <a:gd name="connsiteX44" fmla="*/ 676275 w 1793875"/>
                <a:gd name="connsiteY44" fmla="*/ 2110543 h 3952043"/>
                <a:gd name="connsiteX45" fmla="*/ 682625 w 1793875"/>
                <a:gd name="connsiteY45" fmla="*/ 2040693 h 3952043"/>
                <a:gd name="connsiteX46" fmla="*/ 622300 w 1793875"/>
                <a:gd name="connsiteY46" fmla="*/ 2034343 h 3952043"/>
                <a:gd name="connsiteX47" fmla="*/ 628650 w 1793875"/>
                <a:gd name="connsiteY47" fmla="*/ 1958143 h 3952043"/>
                <a:gd name="connsiteX48" fmla="*/ 180975 w 1793875"/>
                <a:gd name="connsiteY48" fmla="*/ 2034343 h 3952043"/>
                <a:gd name="connsiteX49" fmla="*/ 612775 w 1793875"/>
                <a:gd name="connsiteY49" fmla="*/ 1958143 h 3952043"/>
                <a:gd name="connsiteX50" fmla="*/ 622300 w 1793875"/>
                <a:gd name="connsiteY50" fmla="*/ 1907343 h 3952043"/>
                <a:gd name="connsiteX51" fmla="*/ 581025 w 1793875"/>
                <a:gd name="connsiteY51" fmla="*/ 1907343 h 3952043"/>
                <a:gd name="connsiteX52" fmla="*/ 587375 w 1793875"/>
                <a:gd name="connsiteY52" fmla="*/ 1840668 h 3952043"/>
                <a:gd name="connsiteX53" fmla="*/ 247650 w 1793875"/>
                <a:gd name="connsiteY53" fmla="*/ 1878768 h 3952043"/>
                <a:gd name="connsiteX54" fmla="*/ 568325 w 1793875"/>
                <a:gd name="connsiteY54" fmla="*/ 1840668 h 3952043"/>
                <a:gd name="connsiteX55" fmla="*/ 568325 w 1793875"/>
                <a:gd name="connsiteY55" fmla="*/ 1802568 h 3952043"/>
                <a:gd name="connsiteX56" fmla="*/ 136525 w 1793875"/>
                <a:gd name="connsiteY56" fmla="*/ 1843843 h 3952043"/>
                <a:gd name="connsiteX57" fmla="*/ 558800 w 1793875"/>
                <a:gd name="connsiteY57" fmla="*/ 1799393 h 3952043"/>
                <a:gd name="connsiteX58" fmla="*/ 558800 w 1793875"/>
                <a:gd name="connsiteY58" fmla="*/ 1659693 h 3952043"/>
                <a:gd name="connsiteX59" fmla="*/ 158750 w 1793875"/>
                <a:gd name="connsiteY59" fmla="*/ 1729543 h 3952043"/>
                <a:gd name="connsiteX60" fmla="*/ 533400 w 1793875"/>
                <a:gd name="connsiteY60" fmla="*/ 1650168 h 3952043"/>
                <a:gd name="connsiteX61" fmla="*/ 542925 w 1793875"/>
                <a:gd name="connsiteY61" fmla="*/ 1478718 h 3952043"/>
                <a:gd name="connsiteX62" fmla="*/ 53975 w 1793875"/>
                <a:gd name="connsiteY62" fmla="*/ 1545393 h 3952043"/>
                <a:gd name="connsiteX63" fmla="*/ 527050 w 1793875"/>
                <a:gd name="connsiteY63" fmla="*/ 1481893 h 3952043"/>
                <a:gd name="connsiteX64" fmla="*/ 530225 w 1793875"/>
                <a:gd name="connsiteY64" fmla="*/ 1348543 h 3952043"/>
                <a:gd name="connsiteX65" fmla="*/ 473075 w 1793875"/>
                <a:gd name="connsiteY65" fmla="*/ 1345368 h 3952043"/>
                <a:gd name="connsiteX66" fmla="*/ 482600 w 1793875"/>
                <a:gd name="connsiteY66" fmla="*/ 1164393 h 3952043"/>
                <a:gd name="connsiteX67" fmla="*/ 454025 w 1793875"/>
                <a:gd name="connsiteY67" fmla="*/ 1158043 h 3952043"/>
                <a:gd name="connsiteX68" fmla="*/ 457200 w 1793875"/>
                <a:gd name="connsiteY68" fmla="*/ 1081843 h 3952043"/>
                <a:gd name="connsiteX69" fmla="*/ 101600 w 1793875"/>
                <a:gd name="connsiteY69" fmla="*/ 1173918 h 3952043"/>
                <a:gd name="connsiteX70" fmla="*/ 444500 w 1793875"/>
                <a:gd name="connsiteY70" fmla="*/ 1085018 h 3952043"/>
                <a:gd name="connsiteX71" fmla="*/ 454025 w 1793875"/>
                <a:gd name="connsiteY71" fmla="*/ 904043 h 3952043"/>
                <a:gd name="connsiteX72" fmla="*/ 12700 w 1793875"/>
                <a:gd name="connsiteY72" fmla="*/ 983418 h 3952043"/>
                <a:gd name="connsiteX73" fmla="*/ 409575 w 1793875"/>
                <a:gd name="connsiteY73" fmla="*/ 910393 h 3952043"/>
                <a:gd name="connsiteX74" fmla="*/ 412750 w 1793875"/>
                <a:gd name="connsiteY74" fmla="*/ 811968 h 3952043"/>
                <a:gd name="connsiteX75" fmla="*/ 377825 w 1793875"/>
                <a:gd name="connsiteY75" fmla="*/ 808793 h 3952043"/>
                <a:gd name="connsiteX76" fmla="*/ 377825 w 1793875"/>
                <a:gd name="connsiteY76" fmla="*/ 707193 h 3952043"/>
                <a:gd name="connsiteX77" fmla="*/ 358775 w 1793875"/>
                <a:gd name="connsiteY77" fmla="*/ 602418 h 3952043"/>
                <a:gd name="connsiteX78" fmla="*/ 349250 w 1793875"/>
                <a:gd name="connsiteY78" fmla="*/ 510343 h 3952043"/>
                <a:gd name="connsiteX79" fmla="*/ 314325 w 1793875"/>
                <a:gd name="connsiteY79" fmla="*/ 376993 h 3952043"/>
                <a:gd name="connsiteX80" fmla="*/ 41275 w 1793875"/>
                <a:gd name="connsiteY80" fmla="*/ 361118 h 3952043"/>
                <a:gd name="connsiteX81" fmla="*/ 784225 w 1793875"/>
                <a:gd name="connsiteY81" fmla="*/ 196018 h 3952043"/>
                <a:gd name="connsiteX82" fmla="*/ 549275 w 1793875"/>
                <a:gd name="connsiteY82" fmla="*/ 2343 h 3952043"/>
                <a:gd name="connsiteX83" fmla="*/ 0 w 1793875"/>
                <a:gd name="connsiteY83" fmla="*/ 21393 h 3952043"/>
                <a:gd name="connsiteX0" fmla="*/ 1790700 w 1793875"/>
                <a:gd name="connsiteY0" fmla="*/ 3952043 h 3952043"/>
                <a:gd name="connsiteX1" fmla="*/ 1793875 w 1793875"/>
                <a:gd name="connsiteY1" fmla="*/ 3586918 h 3952043"/>
                <a:gd name="connsiteX2" fmla="*/ 1581150 w 1793875"/>
                <a:gd name="connsiteY2" fmla="*/ 3586918 h 3952043"/>
                <a:gd name="connsiteX3" fmla="*/ 1584325 w 1793875"/>
                <a:gd name="connsiteY3" fmla="*/ 3466268 h 3952043"/>
                <a:gd name="connsiteX4" fmla="*/ 1520825 w 1793875"/>
                <a:gd name="connsiteY4" fmla="*/ 3466268 h 3952043"/>
                <a:gd name="connsiteX5" fmla="*/ 1524000 w 1793875"/>
                <a:gd name="connsiteY5" fmla="*/ 3351968 h 3952043"/>
                <a:gd name="connsiteX6" fmla="*/ 1304925 w 1793875"/>
                <a:gd name="connsiteY6" fmla="*/ 3355143 h 3952043"/>
                <a:gd name="connsiteX7" fmla="*/ 1308100 w 1793875"/>
                <a:gd name="connsiteY7" fmla="*/ 3259893 h 3952043"/>
                <a:gd name="connsiteX8" fmla="*/ 1174750 w 1793875"/>
                <a:gd name="connsiteY8" fmla="*/ 3259893 h 3952043"/>
                <a:gd name="connsiteX9" fmla="*/ 1174750 w 1793875"/>
                <a:gd name="connsiteY9" fmla="*/ 3174168 h 3952043"/>
                <a:gd name="connsiteX10" fmla="*/ 1047750 w 1793875"/>
                <a:gd name="connsiteY10" fmla="*/ 3170993 h 3952043"/>
                <a:gd name="connsiteX11" fmla="*/ 1050925 w 1793875"/>
                <a:gd name="connsiteY11" fmla="*/ 3097968 h 3952043"/>
                <a:gd name="connsiteX12" fmla="*/ 1000125 w 1793875"/>
                <a:gd name="connsiteY12" fmla="*/ 3097968 h 3952043"/>
                <a:gd name="connsiteX13" fmla="*/ 1003300 w 1793875"/>
                <a:gd name="connsiteY13" fmla="*/ 3021768 h 3952043"/>
                <a:gd name="connsiteX14" fmla="*/ 946150 w 1793875"/>
                <a:gd name="connsiteY14" fmla="*/ 3021768 h 3952043"/>
                <a:gd name="connsiteX15" fmla="*/ 949325 w 1793875"/>
                <a:gd name="connsiteY15" fmla="*/ 2939218 h 3952043"/>
                <a:gd name="connsiteX16" fmla="*/ 904875 w 1793875"/>
                <a:gd name="connsiteY16" fmla="*/ 2939218 h 3952043"/>
                <a:gd name="connsiteX17" fmla="*/ 911225 w 1793875"/>
                <a:gd name="connsiteY17" fmla="*/ 2872543 h 3952043"/>
                <a:gd name="connsiteX18" fmla="*/ 692150 w 1793875"/>
                <a:gd name="connsiteY18" fmla="*/ 2897943 h 3952043"/>
                <a:gd name="connsiteX19" fmla="*/ 898525 w 1793875"/>
                <a:gd name="connsiteY19" fmla="*/ 2872543 h 3952043"/>
                <a:gd name="connsiteX20" fmla="*/ 901700 w 1793875"/>
                <a:gd name="connsiteY20" fmla="*/ 2723318 h 3952043"/>
                <a:gd name="connsiteX21" fmla="*/ 819150 w 1793875"/>
                <a:gd name="connsiteY21" fmla="*/ 2720143 h 3952043"/>
                <a:gd name="connsiteX22" fmla="*/ 825500 w 1793875"/>
                <a:gd name="connsiteY22" fmla="*/ 2650293 h 3952043"/>
                <a:gd name="connsiteX23" fmla="*/ 777875 w 1793875"/>
                <a:gd name="connsiteY23" fmla="*/ 2647118 h 3952043"/>
                <a:gd name="connsiteX24" fmla="*/ 787400 w 1793875"/>
                <a:gd name="connsiteY24" fmla="*/ 2510593 h 3952043"/>
                <a:gd name="connsiteX25" fmla="*/ 758825 w 1793875"/>
                <a:gd name="connsiteY25" fmla="*/ 2507418 h 3952043"/>
                <a:gd name="connsiteX26" fmla="*/ 762000 w 1793875"/>
                <a:gd name="connsiteY26" fmla="*/ 2367718 h 3952043"/>
                <a:gd name="connsiteX27" fmla="*/ 762000 w 1793875"/>
                <a:gd name="connsiteY27" fmla="*/ 2367718 h 3952043"/>
                <a:gd name="connsiteX28" fmla="*/ 762000 w 1793875"/>
                <a:gd name="connsiteY28" fmla="*/ 2367718 h 3952043"/>
                <a:gd name="connsiteX29" fmla="*/ 361950 w 1793875"/>
                <a:gd name="connsiteY29" fmla="*/ 2488368 h 3952043"/>
                <a:gd name="connsiteX30" fmla="*/ 739775 w 1793875"/>
                <a:gd name="connsiteY30" fmla="*/ 2370893 h 3952043"/>
                <a:gd name="connsiteX31" fmla="*/ 742950 w 1793875"/>
                <a:gd name="connsiteY31" fmla="*/ 2301043 h 3952043"/>
                <a:gd name="connsiteX32" fmla="*/ 352425 w 1793875"/>
                <a:gd name="connsiteY32" fmla="*/ 2358193 h 3952043"/>
                <a:gd name="connsiteX33" fmla="*/ 730250 w 1793875"/>
                <a:gd name="connsiteY33" fmla="*/ 2301043 h 3952043"/>
                <a:gd name="connsiteX34" fmla="*/ 730250 w 1793875"/>
                <a:gd name="connsiteY34" fmla="*/ 2237543 h 3952043"/>
                <a:gd name="connsiteX35" fmla="*/ 381000 w 1793875"/>
                <a:gd name="connsiteY35" fmla="*/ 2259768 h 3952043"/>
                <a:gd name="connsiteX36" fmla="*/ 723900 w 1793875"/>
                <a:gd name="connsiteY36" fmla="*/ 2234368 h 3952043"/>
                <a:gd name="connsiteX37" fmla="*/ 723900 w 1793875"/>
                <a:gd name="connsiteY37" fmla="*/ 2234368 h 3952043"/>
                <a:gd name="connsiteX38" fmla="*/ 723900 w 1793875"/>
                <a:gd name="connsiteY38" fmla="*/ 2234368 h 3952043"/>
                <a:gd name="connsiteX39" fmla="*/ 901700 w 1793875"/>
                <a:gd name="connsiteY39" fmla="*/ 2205793 h 3952043"/>
                <a:gd name="connsiteX40" fmla="*/ 727075 w 1793875"/>
                <a:gd name="connsiteY40" fmla="*/ 2215318 h 3952043"/>
                <a:gd name="connsiteX41" fmla="*/ 390525 w 1793875"/>
                <a:gd name="connsiteY41" fmla="*/ 2240718 h 3952043"/>
                <a:gd name="connsiteX42" fmla="*/ 711200 w 1793875"/>
                <a:gd name="connsiteY42" fmla="*/ 2215318 h 3952043"/>
                <a:gd name="connsiteX43" fmla="*/ 714375 w 1793875"/>
                <a:gd name="connsiteY43" fmla="*/ 2116893 h 3952043"/>
                <a:gd name="connsiteX44" fmla="*/ 676275 w 1793875"/>
                <a:gd name="connsiteY44" fmla="*/ 2110543 h 3952043"/>
                <a:gd name="connsiteX45" fmla="*/ 682625 w 1793875"/>
                <a:gd name="connsiteY45" fmla="*/ 2040693 h 3952043"/>
                <a:gd name="connsiteX46" fmla="*/ 622300 w 1793875"/>
                <a:gd name="connsiteY46" fmla="*/ 2034343 h 3952043"/>
                <a:gd name="connsiteX47" fmla="*/ 628650 w 1793875"/>
                <a:gd name="connsiteY47" fmla="*/ 1958143 h 3952043"/>
                <a:gd name="connsiteX48" fmla="*/ 180975 w 1793875"/>
                <a:gd name="connsiteY48" fmla="*/ 2034343 h 3952043"/>
                <a:gd name="connsiteX49" fmla="*/ 612775 w 1793875"/>
                <a:gd name="connsiteY49" fmla="*/ 1958143 h 3952043"/>
                <a:gd name="connsiteX50" fmla="*/ 622300 w 1793875"/>
                <a:gd name="connsiteY50" fmla="*/ 1907343 h 3952043"/>
                <a:gd name="connsiteX51" fmla="*/ 581025 w 1793875"/>
                <a:gd name="connsiteY51" fmla="*/ 1907343 h 3952043"/>
                <a:gd name="connsiteX52" fmla="*/ 587375 w 1793875"/>
                <a:gd name="connsiteY52" fmla="*/ 1840668 h 3952043"/>
                <a:gd name="connsiteX53" fmla="*/ 247650 w 1793875"/>
                <a:gd name="connsiteY53" fmla="*/ 1878768 h 3952043"/>
                <a:gd name="connsiteX54" fmla="*/ 568325 w 1793875"/>
                <a:gd name="connsiteY54" fmla="*/ 1840668 h 3952043"/>
                <a:gd name="connsiteX55" fmla="*/ 568325 w 1793875"/>
                <a:gd name="connsiteY55" fmla="*/ 1802568 h 3952043"/>
                <a:gd name="connsiteX56" fmla="*/ 136525 w 1793875"/>
                <a:gd name="connsiteY56" fmla="*/ 1843843 h 3952043"/>
                <a:gd name="connsiteX57" fmla="*/ 558800 w 1793875"/>
                <a:gd name="connsiteY57" fmla="*/ 1799393 h 3952043"/>
                <a:gd name="connsiteX58" fmla="*/ 558800 w 1793875"/>
                <a:gd name="connsiteY58" fmla="*/ 1659693 h 3952043"/>
                <a:gd name="connsiteX59" fmla="*/ 158750 w 1793875"/>
                <a:gd name="connsiteY59" fmla="*/ 1729543 h 3952043"/>
                <a:gd name="connsiteX60" fmla="*/ 533400 w 1793875"/>
                <a:gd name="connsiteY60" fmla="*/ 1650168 h 3952043"/>
                <a:gd name="connsiteX61" fmla="*/ 542925 w 1793875"/>
                <a:gd name="connsiteY61" fmla="*/ 1478718 h 3952043"/>
                <a:gd name="connsiteX62" fmla="*/ 53975 w 1793875"/>
                <a:gd name="connsiteY62" fmla="*/ 1545393 h 3952043"/>
                <a:gd name="connsiteX63" fmla="*/ 527050 w 1793875"/>
                <a:gd name="connsiteY63" fmla="*/ 1481893 h 3952043"/>
                <a:gd name="connsiteX64" fmla="*/ 530225 w 1793875"/>
                <a:gd name="connsiteY64" fmla="*/ 1348543 h 3952043"/>
                <a:gd name="connsiteX65" fmla="*/ 473075 w 1793875"/>
                <a:gd name="connsiteY65" fmla="*/ 1345368 h 3952043"/>
                <a:gd name="connsiteX66" fmla="*/ 482600 w 1793875"/>
                <a:gd name="connsiteY66" fmla="*/ 1164393 h 3952043"/>
                <a:gd name="connsiteX67" fmla="*/ 454025 w 1793875"/>
                <a:gd name="connsiteY67" fmla="*/ 1158043 h 3952043"/>
                <a:gd name="connsiteX68" fmla="*/ 457200 w 1793875"/>
                <a:gd name="connsiteY68" fmla="*/ 1081843 h 3952043"/>
                <a:gd name="connsiteX69" fmla="*/ 101600 w 1793875"/>
                <a:gd name="connsiteY69" fmla="*/ 1173918 h 3952043"/>
                <a:gd name="connsiteX70" fmla="*/ 444500 w 1793875"/>
                <a:gd name="connsiteY70" fmla="*/ 1085018 h 3952043"/>
                <a:gd name="connsiteX71" fmla="*/ 454025 w 1793875"/>
                <a:gd name="connsiteY71" fmla="*/ 904043 h 3952043"/>
                <a:gd name="connsiteX72" fmla="*/ 12700 w 1793875"/>
                <a:gd name="connsiteY72" fmla="*/ 983418 h 3952043"/>
                <a:gd name="connsiteX73" fmla="*/ 409575 w 1793875"/>
                <a:gd name="connsiteY73" fmla="*/ 910393 h 3952043"/>
                <a:gd name="connsiteX74" fmla="*/ 412750 w 1793875"/>
                <a:gd name="connsiteY74" fmla="*/ 811968 h 3952043"/>
                <a:gd name="connsiteX75" fmla="*/ 377825 w 1793875"/>
                <a:gd name="connsiteY75" fmla="*/ 808793 h 3952043"/>
                <a:gd name="connsiteX76" fmla="*/ 377825 w 1793875"/>
                <a:gd name="connsiteY76" fmla="*/ 707193 h 3952043"/>
                <a:gd name="connsiteX77" fmla="*/ 358775 w 1793875"/>
                <a:gd name="connsiteY77" fmla="*/ 602418 h 3952043"/>
                <a:gd name="connsiteX78" fmla="*/ 349250 w 1793875"/>
                <a:gd name="connsiteY78" fmla="*/ 510343 h 3952043"/>
                <a:gd name="connsiteX79" fmla="*/ 314325 w 1793875"/>
                <a:gd name="connsiteY79" fmla="*/ 376993 h 3952043"/>
                <a:gd name="connsiteX80" fmla="*/ 279400 w 1793875"/>
                <a:gd name="connsiteY80" fmla="*/ 297618 h 3952043"/>
                <a:gd name="connsiteX81" fmla="*/ 784225 w 1793875"/>
                <a:gd name="connsiteY81" fmla="*/ 196018 h 3952043"/>
                <a:gd name="connsiteX82" fmla="*/ 549275 w 1793875"/>
                <a:gd name="connsiteY82" fmla="*/ 2343 h 3952043"/>
                <a:gd name="connsiteX83" fmla="*/ 0 w 1793875"/>
                <a:gd name="connsiteY83" fmla="*/ 21393 h 3952043"/>
                <a:gd name="connsiteX0" fmla="*/ 1790700 w 1793875"/>
                <a:gd name="connsiteY0" fmla="*/ 3952043 h 3952043"/>
                <a:gd name="connsiteX1" fmla="*/ 1793875 w 1793875"/>
                <a:gd name="connsiteY1" fmla="*/ 3586918 h 3952043"/>
                <a:gd name="connsiteX2" fmla="*/ 1581150 w 1793875"/>
                <a:gd name="connsiteY2" fmla="*/ 3586918 h 3952043"/>
                <a:gd name="connsiteX3" fmla="*/ 1584325 w 1793875"/>
                <a:gd name="connsiteY3" fmla="*/ 3466268 h 3952043"/>
                <a:gd name="connsiteX4" fmla="*/ 1520825 w 1793875"/>
                <a:gd name="connsiteY4" fmla="*/ 3466268 h 3952043"/>
                <a:gd name="connsiteX5" fmla="*/ 1524000 w 1793875"/>
                <a:gd name="connsiteY5" fmla="*/ 3351968 h 3952043"/>
                <a:gd name="connsiteX6" fmla="*/ 1304925 w 1793875"/>
                <a:gd name="connsiteY6" fmla="*/ 3355143 h 3952043"/>
                <a:gd name="connsiteX7" fmla="*/ 1308100 w 1793875"/>
                <a:gd name="connsiteY7" fmla="*/ 3259893 h 3952043"/>
                <a:gd name="connsiteX8" fmla="*/ 1174750 w 1793875"/>
                <a:gd name="connsiteY8" fmla="*/ 3259893 h 3952043"/>
                <a:gd name="connsiteX9" fmla="*/ 1174750 w 1793875"/>
                <a:gd name="connsiteY9" fmla="*/ 3174168 h 3952043"/>
                <a:gd name="connsiteX10" fmla="*/ 1047750 w 1793875"/>
                <a:gd name="connsiteY10" fmla="*/ 3170993 h 3952043"/>
                <a:gd name="connsiteX11" fmla="*/ 1050925 w 1793875"/>
                <a:gd name="connsiteY11" fmla="*/ 3097968 h 3952043"/>
                <a:gd name="connsiteX12" fmla="*/ 1000125 w 1793875"/>
                <a:gd name="connsiteY12" fmla="*/ 3097968 h 3952043"/>
                <a:gd name="connsiteX13" fmla="*/ 1003300 w 1793875"/>
                <a:gd name="connsiteY13" fmla="*/ 3021768 h 3952043"/>
                <a:gd name="connsiteX14" fmla="*/ 946150 w 1793875"/>
                <a:gd name="connsiteY14" fmla="*/ 3021768 h 3952043"/>
                <a:gd name="connsiteX15" fmla="*/ 949325 w 1793875"/>
                <a:gd name="connsiteY15" fmla="*/ 2939218 h 3952043"/>
                <a:gd name="connsiteX16" fmla="*/ 904875 w 1793875"/>
                <a:gd name="connsiteY16" fmla="*/ 2939218 h 3952043"/>
                <a:gd name="connsiteX17" fmla="*/ 911225 w 1793875"/>
                <a:gd name="connsiteY17" fmla="*/ 2872543 h 3952043"/>
                <a:gd name="connsiteX18" fmla="*/ 692150 w 1793875"/>
                <a:gd name="connsiteY18" fmla="*/ 2897943 h 3952043"/>
                <a:gd name="connsiteX19" fmla="*/ 898525 w 1793875"/>
                <a:gd name="connsiteY19" fmla="*/ 2872543 h 3952043"/>
                <a:gd name="connsiteX20" fmla="*/ 901700 w 1793875"/>
                <a:gd name="connsiteY20" fmla="*/ 2723318 h 3952043"/>
                <a:gd name="connsiteX21" fmla="*/ 819150 w 1793875"/>
                <a:gd name="connsiteY21" fmla="*/ 2720143 h 3952043"/>
                <a:gd name="connsiteX22" fmla="*/ 825500 w 1793875"/>
                <a:gd name="connsiteY22" fmla="*/ 2650293 h 3952043"/>
                <a:gd name="connsiteX23" fmla="*/ 777875 w 1793875"/>
                <a:gd name="connsiteY23" fmla="*/ 2647118 h 3952043"/>
                <a:gd name="connsiteX24" fmla="*/ 787400 w 1793875"/>
                <a:gd name="connsiteY24" fmla="*/ 2510593 h 3952043"/>
                <a:gd name="connsiteX25" fmla="*/ 758825 w 1793875"/>
                <a:gd name="connsiteY25" fmla="*/ 2507418 h 3952043"/>
                <a:gd name="connsiteX26" fmla="*/ 762000 w 1793875"/>
                <a:gd name="connsiteY26" fmla="*/ 2367718 h 3952043"/>
                <a:gd name="connsiteX27" fmla="*/ 762000 w 1793875"/>
                <a:gd name="connsiteY27" fmla="*/ 2367718 h 3952043"/>
                <a:gd name="connsiteX28" fmla="*/ 762000 w 1793875"/>
                <a:gd name="connsiteY28" fmla="*/ 2367718 h 3952043"/>
                <a:gd name="connsiteX29" fmla="*/ 361950 w 1793875"/>
                <a:gd name="connsiteY29" fmla="*/ 2488368 h 3952043"/>
                <a:gd name="connsiteX30" fmla="*/ 739775 w 1793875"/>
                <a:gd name="connsiteY30" fmla="*/ 2370893 h 3952043"/>
                <a:gd name="connsiteX31" fmla="*/ 742950 w 1793875"/>
                <a:gd name="connsiteY31" fmla="*/ 2301043 h 3952043"/>
                <a:gd name="connsiteX32" fmla="*/ 352425 w 1793875"/>
                <a:gd name="connsiteY32" fmla="*/ 2358193 h 3952043"/>
                <a:gd name="connsiteX33" fmla="*/ 730250 w 1793875"/>
                <a:gd name="connsiteY33" fmla="*/ 2301043 h 3952043"/>
                <a:gd name="connsiteX34" fmla="*/ 730250 w 1793875"/>
                <a:gd name="connsiteY34" fmla="*/ 2237543 h 3952043"/>
                <a:gd name="connsiteX35" fmla="*/ 381000 w 1793875"/>
                <a:gd name="connsiteY35" fmla="*/ 2259768 h 3952043"/>
                <a:gd name="connsiteX36" fmla="*/ 723900 w 1793875"/>
                <a:gd name="connsiteY36" fmla="*/ 2234368 h 3952043"/>
                <a:gd name="connsiteX37" fmla="*/ 723900 w 1793875"/>
                <a:gd name="connsiteY37" fmla="*/ 2234368 h 3952043"/>
                <a:gd name="connsiteX38" fmla="*/ 723900 w 1793875"/>
                <a:gd name="connsiteY38" fmla="*/ 2234368 h 3952043"/>
                <a:gd name="connsiteX39" fmla="*/ 901700 w 1793875"/>
                <a:gd name="connsiteY39" fmla="*/ 2205793 h 3952043"/>
                <a:gd name="connsiteX40" fmla="*/ 727075 w 1793875"/>
                <a:gd name="connsiteY40" fmla="*/ 2215318 h 3952043"/>
                <a:gd name="connsiteX41" fmla="*/ 390525 w 1793875"/>
                <a:gd name="connsiteY41" fmla="*/ 2240718 h 3952043"/>
                <a:gd name="connsiteX42" fmla="*/ 711200 w 1793875"/>
                <a:gd name="connsiteY42" fmla="*/ 2215318 h 3952043"/>
                <a:gd name="connsiteX43" fmla="*/ 714375 w 1793875"/>
                <a:gd name="connsiteY43" fmla="*/ 2116893 h 3952043"/>
                <a:gd name="connsiteX44" fmla="*/ 676275 w 1793875"/>
                <a:gd name="connsiteY44" fmla="*/ 2110543 h 3952043"/>
                <a:gd name="connsiteX45" fmla="*/ 682625 w 1793875"/>
                <a:gd name="connsiteY45" fmla="*/ 2040693 h 3952043"/>
                <a:gd name="connsiteX46" fmla="*/ 622300 w 1793875"/>
                <a:gd name="connsiteY46" fmla="*/ 2034343 h 3952043"/>
                <a:gd name="connsiteX47" fmla="*/ 628650 w 1793875"/>
                <a:gd name="connsiteY47" fmla="*/ 1958143 h 3952043"/>
                <a:gd name="connsiteX48" fmla="*/ 180975 w 1793875"/>
                <a:gd name="connsiteY48" fmla="*/ 2034343 h 3952043"/>
                <a:gd name="connsiteX49" fmla="*/ 612775 w 1793875"/>
                <a:gd name="connsiteY49" fmla="*/ 1958143 h 3952043"/>
                <a:gd name="connsiteX50" fmla="*/ 622300 w 1793875"/>
                <a:gd name="connsiteY50" fmla="*/ 1907343 h 3952043"/>
                <a:gd name="connsiteX51" fmla="*/ 581025 w 1793875"/>
                <a:gd name="connsiteY51" fmla="*/ 1907343 h 3952043"/>
                <a:gd name="connsiteX52" fmla="*/ 587375 w 1793875"/>
                <a:gd name="connsiteY52" fmla="*/ 1840668 h 3952043"/>
                <a:gd name="connsiteX53" fmla="*/ 247650 w 1793875"/>
                <a:gd name="connsiteY53" fmla="*/ 1878768 h 3952043"/>
                <a:gd name="connsiteX54" fmla="*/ 568325 w 1793875"/>
                <a:gd name="connsiteY54" fmla="*/ 1840668 h 3952043"/>
                <a:gd name="connsiteX55" fmla="*/ 568325 w 1793875"/>
                <a:gd name="connsiteY55" fmla="*/ 1802568 h 3952043"/>
                <a:gd name="connsiteX56" fmla="*/ 136525 w 1793875"/>
                <a:gd name="connsiteY56" fmla="*/ 1843843 h 3952043"/>
                <a:gd name="connsiteX57" fmla="*/ 558800 w 1793875"/>
                <a:gd name="connsiteY57" fmla="*/ 1799393 h 3952043"/>
                <a:gd name="connsiteX58" fmla="*/ 558800 w 1793875"/>
                <a:gd name="connsiteY58" fmla="*/ 1659693 h 3952043"/>
                <a:gd name="connsiteX59" fmla="*/ 158750 w 1793875"/>
                <a:gd name="connsiteY59" fmla="*/ 1729543 h 3952043"/>
                <a:gd name="connsiteX60" fmla="*/ 533400 w 1793875"/>
                <a:gd name="connsiteY60" fmla="*/ 1650168 h 3952043"/>
                <a:gd name="connsiteX61" fmla="*/ 542925 w 1793875"/>
                <a:gd name="connsiteY61" fmla="*/ 1478718 h 3952043"/>
                <a:gd name="connsiteX62" fmla="*/ 53975 w 1793875"/>
                <a:gd name="connsiteY62" fmla="*/ 1545393 h 3952043"/>
                <a:gd name="connsiteX63" fmla="*/ 527050 w 1793875"/>
                <a:gd name="connsiteY63" fmla="*/ 1481893 h 3952043"/>
                <a:gd name="connsiteX64" fmla="*/ 530225 w 1793875"/>
                <a:gd name="connsiteY64" fmla="*/ 1348543 h 3952043"/>
                <a:gd name="connsiteX65" fmla="*/ 473075 w 1793875"/>
                <a:gd name="connsiteY65" fmla="*/ 1345368 h 3952043"/>
                <a:gd name="connsiteX66" fmla="*/ 482600 w 1793875"/>
                <a:gd name="connsiteY66" fmla="*/ 1164393 h 3952043"/>
                <a:gd name="connsiteX67" fmla="*/ 454025 w 1793875"/>
                <a:gd name="connsiteY67" fmla="*/ 1158043 h 3952043"/>
                <a:gd name="connsiteX68" fmla="*/ 457200 w 1793875"/>
                <a:gd name="connsiteY68" fmla="*/ 1081843 h 3952043"/>
                <a:gd name="connsiteX69" fmla="*/ 101600 w 1793875"/>
                <a:gd name="connsiteY69" fmla="*/ 1173918 h 3952043"/>
                <a:gd name="connsiteX70" fmla="*/ 444500 w 1793875"/>
                <a:gd name="connsiteY70" fmla="*/ 1085018 h 3952043"/>
                <a:gd name="connsiteX71" fmla="*/ 454025 w 1793875"/>
                <a:gd name="connsiteY71" fmla="*/ 904043 h 3952043"/>
                <a:gd name="connsiteX72" fmla="*/ 12700 w 1793875"/>
                <a:gd name="connsiteY72" fmla="*/ 983418 h 3952043"/>
                <a:gd name="connsiteX73" fmla="*/ 409575 w 1793875"/>
                <a:gd name="connsiteY73" fmla="*/ 910393 h 3952043"/>
                <a:gd name="connsiteX74" fmla="*/ 412750 w 1793875"/>
                <a:gd name="connsiteY74" fmla="*/ 811968 h 3952043"/>
                <a:gd name="connsiteX75" fmla="*/ 377825 w 1793875"/>
                <a:gd name="connsiteY75" fmla="*/ 808793 h 3952043"/>
                <a:gd name="connsiteX76" fmla="*/ 377825 w 1793875"/>
                <a:gd name="connsiteY76" fmla="*/ 707193 h 3952043"/>
                <a:gd name="connsiteX77" fmla="*/ 358775 w 1793875"/>
                <a:gd name="connsiteY77" fmla="*/ 602418 h 3952043"/>
                <a:gd name="connsiteX78" fmla="*/ 349250 w 1793875"/>
                <a:gd name="connsiteY78" fmla="*/ 510343 h 3952043"/>
                <a:gd name="connsiteX79" fmla="*/ 314325 w 1793875"/>
                <a:gd name="connsiteY79" fmla="*/ 376993 h 3952043"/>
                <a:gd name="connsiteX80" fmla="*/ 279400 w 1793875"/>
                <a:gd name="connsiteY80" fmla="*/ 297618 h 3952043"/>
                <a:gd name="connsiteX81" fmla="*/ 263525 w 1793875"/>
                <a:gd name="connsiteY81" fmla="*/ 196018 h 3952043"/>
                <a:gd name="connsiteX82" fmla="*/ 549275 w 1793875"/>
                <a:gd name="connsiteY82" fmla="*/ 2343 h 3952043"/>
                <a:gd name="connsiteX83" fmla="*/ 0 w 1793875"/>
                <a:gd name="connsiteY83" fmla="*/ 21393 h 3952043"/>
                <a:gd name="connsiteX0" fmla="*/ 1790700 w 1793875"/>
                <a:gd name="connsiteY0" fmla="*/ 3930650 h 3930650"/>
                <a:gd name="connsiteX1" fmla="*/ 1793875 w 1793875"/>
                <a:gd name="connsiteY1" fmla="*/ 3565525 h 3930650"/>
                <a:gd name="connsiteX2" fmla="*/ 1581150 w 1793875"/>
                <a:gd name="connsiteY2" fmla="*/ 3565525 h 3930650"/>
                <a:gd name="connsiteX3" fmla="*/ 1584325 w 1793875"/>
                <a:gd name="connsiteY3" fmla="*/ 3444875 h 3930650"/>
                <a:gd name="connsiteX4" fmla="*/ 1520825 w 1793875"/>
                <a:gd name="connsiteY4" fmla="*/ 3444875 h 3930650"/>
                <a:gd name="connsiteX5" fmla="*/ 1524000 w 1793875"/>
                <a:gd name="connsiteY5" fmla="*/ 3330575 h 3930650"/>
                <a:gd name="connsiteX6" fmla="*/ 1304925 w 1793875"/>
                <a:gd name="connsiteY6" fmla="*/ 3333750 h 3930650"/>
                <a:gd name="connsiteX7" fmla="*/ 1308100 w 1793875"/>
                <a:gd name="connsiteY7" fmla="*/ 3238500 h 3930650"/>
                <a:gd name="connsiteX8" fmla="*/ 1174750 w 1793875"/>
                <a:gd name="connsiteY8" fmla="*/ 3238500 h 3930650"/>
                <a:gd name="connsiteX9" fmla="*/ 1174750 w 1793875"/>
                <a:gd name="connsiteY9" fmla="*/ 3152775 h 3930650"/>
                <a:gd name="connsiteX10" fmla="*/ 1047750 w 1793875"/>
                <a:gd name="connsiteY10" fmla="*/ 3149600 h 3930650"/>
                <a:gd name="connsiteX11" fmla="*/ 1050925 w 1793875"/>
                <a:gd name="connsiteY11" fmla="*/ 3076575 h 3930650"/>
                <a:gd name="connsiteX12" fmla="*/ 1000125 w 1793875"/>
                <a:gd name="connsiteY12" fmla="*/ 3076575 h 3930650"/>
                <a:gd name="connsiteX13" fmla="*/ 1003300 w 1793875"/>
                <a:gd name="connsiteY13" fmla="*/ 3000375 h 3930650"/>
                <a:gd name="connsiteX14" fmla="*/ 946150 w 1793875"/>
                <a:gd name="connsiteY14" fmla="*/ 3000375 h 3930650"/>
                <a:gd name="connsiteX15" fmla="*/ 949325 w 1793875"/>
                <a:gd name="connsiteY15" fmla="*/ 2917825 h 3930650"/>
                <a:gd name="connsiteX16" fmla="*/ 904875 w 1793875"/>
                <a:gd name="connsiteY16" fmla="*/ 2917825 h 3930650"/>
                <a:gd name="connsiteX17" fmla="*/ 911225 w 1793875"/>
                <a:gd name="connsiteY17" fmla="*/ 2851150 h 3930650"/>
                <a:gd name="connsiteX18" fmla="*/ 692150 w 1793875"/>
                <a:gd name="connsiteY18" fmla="*/ 2876550 h 3930650"/>
                <a:gd name="connsiteX19" fmla="*/ 898525 w 1793875"/>
                <a:gd name="connsiteY19" fmla="*/ 2851150 h 3930650"/>
                <a:gd name="connsiteX20" fmla="*/ 901700 w 1793875"/>
                <a:gd name="connsiteY20" fmla="*/ 2701925 h 3930650"/>
                <a:gd name="connsiteX21" fmla="*/ 819150 w 1793875"/>
                <a:gd name="connsiteY21" fmla="*/ 2698750 h 3930650"/>
                <a:gd name="connsiteX22" fmla="*/ 825500 w 1793875"/>
                <a:gd name="connsiteY22" fmla="*/ 2628900 h 3930650"/>
                <a:gd name="connsiteX23" fmla="*/ 777875 w 1793875"/>
                <a:gd name="connsiteY23" fmla="*/ 2625725 h 3930650"/>
                <a:gd name="connsiteX24" fmla="*/ 787400 w 1793875"/>
                <a:gd name="connsiteY24" fmla="*/ 2489200 h 3930650"/>
                <a:gd name="connsiteX25" fmla="*/ 758825 w 1793875"/>
                <a:gd name="connsiteY25" fmla="*/ 2486025 h 3930650"/>
                <a:gd name="connsiteX26" fmla="*/ 762000 w 1793875"/>
                <a:gd name="connsiteY26" fmla="*/ 2346325 h 3930650"/>
                <a:gd name="connsiteX27" fmla="*/ 762000 w 1793875"/>
                <a:gd name="connsiteY27" fmla="*/ 2346325 h 3930650"/>
                <a:gd name="connsiteX28" fmla="*/ 762000 w 1793875"/>
                <a:gd name="connsiteY28" fmla="*/ 2346325 h 3930650"/>
                <a:gd name="connsiteX29" fmla="*/ 361950 w 1793875"/>
                <a:gd name="connsiteY29" fmla="*/ 2466975 h 3930650"/>
                <a:gd name="connsiteX30" fmla="*/ 739775 w 1793875"/>
                <a:gd name="connsiteY30" fmla="*/ 2349500 h 3930650"/>
                <a:gd name="connsiteX31" fmla="*/ 742950 w 1793875"/>
                <a:gd name="connsiteY31" fmla="*/ 2279650 h 3930650"/>
                <a:gd name="connsiteX32" fmla="*/ 352425 w 1793875"/>
                <a:gd name="connsiteY32" fmla="*/ 2336800 h 3930650"/>
                <a:gd name="connsiteX33" fmla="*/ 730250 w 1793875"/>
                <a:gd name="connsiteY33" fmla="*/ 2279650 h 3930650"/>
                <a:gd name="connsiteX34" fmla="*/ 730250 w 1793875"/>
                <a:gd name="connsiteY34" fmla="*/ 2216150 h 3930650"/>
                <a:gd name="connsiteX35" fmla="*/ 381000 w 1793875"/>
                <a:gd name="connsiteY35" fmla="*/ 2238375 h 3930650"/>
                <a:gd name="connsiteX36" fmla="*/ 723900 w 1793875"/>
                <a:gd name="connsiteY36" fmla="*/ 2212975 h 3930650"/>
                <a:gd name="connsiteX37" fmla="*/ 723900 w 1793875"/>
                <a:gd name="connsiteY37" fmla="*/ 2212975 h 3930650"/>
                <a:gd name="connsiteX38" fmla="*/ 723900 w 1793875"/>
                <a:gd name="connsiteY38" fmla="*/ 2212975 h 3930650"/>
                <a:gd name="connsiteX39" fmla="*/ 901700 w 1793875"/>
                <a:gd name="connsiteY39" fmla="*/ 2184400 h 3930650"/>
                <a:gd name="connsiteX40" fmla="*/ 727075 w 1793875"/>
                <a:gd name="connsiteY40" fmla="*/ 2193925 h 3930650"/>
                <a:gd name="connsiteX41" fmla="*/ 390525 w 1793875"/>
                <a:gd name="connsiteY41" fmla="*/ 2219325 h 3930650"/>
                <a:gd name="connsiteX42" fmla="*/ 711200 w 1793875"/>
                <a:gd name="connsiteY42" fmla="*/ 2193925 h 3930650"/>
                <a:gd name="connsiteX43" fmla="*/ 714375 w 1793875"/>
                <a:gd name="connsiteY43" fmla="*/ 2095500 h 3930650"/>
                <a:gd name="connsiteX44" fmla="*/ 676275 w 1793875"/>
                <a:gd name="connsiteY44" fmla="*/ 2089150 h 3930650"/>
                <a:gd name="connsiteX45" fmla="*/ 682625 w 1793875"/>
                <a:gd name="connsiteY45" fmla="*/ 2019300 h 3930650"/>
                <a:gd name="connsiteX46" fmla="*/ 622300 w 1793875"/>
                <a:gd name="connsiteY46" fmla="*/ 2012950 h 3930650"/>
                <a:gd name="connsiteX47" fmla="*/ 628650 w 1793875"/>
                <a:gd name="connsiteY47" fmla="*/ 1936750 h 3930650"/>
                <a:gd name="connsiteX48" fmla="*/ 180975 w 1793875"/>
                <a:gd name="connsiteY48" fmla="*/ 2012950 h 3930650"/>
                <a:gd name="connsiteX49" fmla="*/ 612775 w 1793875"/>
                <a:gd name="connsiteY49" fmla="*/ 1936750 h 3930650"/>
                <a:gd name="connsiteX50" fmla="*/ 622300 w 1793875"/>
                <a:gd name="connsiteY50" fmla="*/ 1885950 h 3930650"/>
                <a:gd name="connsiteX51" fmla="*/ 581025 w 1793875"/>
                <a:gd name="connsiteY51" fmla="*/ 1885950 h 3930650"/>
                <a:gd name="connsiteX52" fmla="*/ 587375 w 1793875"/>
                <a:gd name="connsiteY52" fmla="*/ 1819275 h 3930650"/>
                <a:gd name="connsiteX53" fmla="*/ 247650 w 1793875"/>
                <a:gd name="connsiteY53" fmla="*/ 1857375 h 3930650"/>
                <a:gd name="connsiteX54" fmla="*/ 568325 w 1793875"/>
                <a:gd name="connsiteY54" fmla="*/ 1819275 h 3930650"/>
                <a:gd name="connsiteX55" fmla="*/ 568325 w 1793875"/>
                <a:gd name="connsiteY55" fmla="*/ 1781175 h 3930650"/>
                <a:gd name="connsiteX56" fmla="*/ 136525 w 1793875"/>
                <a:gd name="connsiteY56" fmla="*/ 1822450 h 3930650"/>
                <a:gd name="connsiteX57" fmla="*/ 558800 w 1793875"/>
                <a:gd name="connsiteY57" fmla="*/ 1778000 h 3930650"/>
                <a:gd name="connsiteX58" fmla="*/ 558800 w 1793875"/>
                <a:gd name="connsiteY58" fmla="*/ 1638300 h 3930650"/>
                <a:gd name="connsiteX59" fmla="*/ 158750 w 1793875"/>
                <a:gd name="connsiteY59" fmla="*/ 1708150 h 3930650"/>
                <a:gd name="connsiteX60" fmla="*/ 533400 w 1793875"/>
                <a:gd name="connsiteY60" fmla="*/ 1628775 h 3930650"/>
                <a:gd name="connsiteX61" fmla="*/ 542925 w 1793875"/>
                <a:gd name="connsiteY61" fmla="*/ 1457325 h 3930650"/>
                <a:gd name="connsiteX62" fmla="*/ 53975 w 1793875"/>
                <a:gd name="connsiteY62" fmla="*/ 1524000 h 3930650"/>
                <a:gd name="connsiteX63" fmla="*/ 527050 w 1793875"/>
                <a:gd name="connsiteY63" fmla="*/ 1460500 h 3930650"/>
                <a:gd name="connsiteX64" fmla="*/ 530225 w 1793875"/>
                <a:gd name="connsiteY64" fmla="*/ 1327150 h 3930650"/>
                <a:gd name="connsiteX65" fmla="*/ 473075 w 1793875"/>
                <a:gd name="connsiteY65" fmla="*/ 1323975 h 3930650"/>
                <a:gd name="connsiteX66" fmla="*/ 482600 w 1793875"/>
                <a:gd name="connsiteY66" fmla="*/ 1143000 h 3930650"/>
                <a:gd name="connsiteX67" fmla="*/ 454025 w 1793875"/>
                <a:gd name="connsiteY67" fmla="*/ 1136650 h 3930650"/>
                <a:gd name="connsiteX68" fmla="*/ 457200 w 1793875"/>
                <a:gd name="connsiteY68" fmla="*/ 1060450 h 3930650"/>
                <a:gd name="connsiteX69" fmla="*/ 101600 w 1793875"/>
                <a:gd name="connsiteY69" fmla="*/ 1152525 h 3930650"/>
                <a:gd name="connsiteX70" fmla="*/ 444500 w 1793875"/>
                <a:gd name="connsiteY70" fmla="*/ 1063625 h 3930650"/>
                <a:gd name="connsiteX71" fmla="*/ 454025 w 1793875"/>
                <a:gd name="connsiteY71" fmla="*/ 882650 h 3930650"/>
                <a:gd name="connsiteX72" fmla="*/ 12700 w 1793875"/>
                <a:gd name="connsiteY72" fmla="*/ 962025 h 3930650"/>
                <a:gd name="connsiteX73" fmla="*/ 409575 w 1793875"/>
                <a:gd name="connsiteY73" fmla="*/ 889000 h 3930650"/>
                <a:gd name="connsiteX74" fmla="*/ 412750 w 1793875"/>
                <a:gd name="connsiteY74" fmla="*/ 790575 h 3930650"/>
                <a:gd name="connsiteX75" fmla="*/ 377825 w 1793875"/>
                <a:gd name="connsiteY75" fmla="*/ 787400 h 3930650"/>
                <a:gd name="connsiteX76" fmla="*/ 377825 w 1793875"/>
                <a:gd name="connsiteY76" fmla="*/ 685800 h 3930650"/>
                <a:gd name="connsiteX77" fmla="*/ 358775 w 1793875"/>
                <a:gd name="connsiteY77" fmla="*/ 581025 h 3930650"/>
                <a:gd name="connsiteX78" fmla="*/ 349250 w 1793875"/>
                <a:gd name="connsiteY78" fmla="*/ 488950 h 3930650"/>
                <a:gd name="connsiteX79" fmla="*/ 314325 w 1793875"/>
                <a:gd name="connsiteY79" fmla="*/ 355600 h 3930650"/>
                <a:gd name="connsiteX80" fmla="*/ 279400 w 1793875"/>
                <a:gd name="connsiteY80" fmla="*/ 276225 h 3930650"/>
                <a:gd name="connsiteX81" fmla="*/ 263525 w 1793875"/>
                <a:gd name="connsiteY81" fmla="*/ 174625 h 3930650"/>
                <a:gd name="connsiteX82" fmla="*/ 257175 w 1793875"/>
                <a:gd name="connsiteY82" fmla="*/ 92075 h 3930650"/>
                <a:gd name="connsiteX83" fmla="*/ 0 w 1793875"/>
                <a:gd name="connsiteY83" fmla="*/ 0 h 3930650"/>
                <a:gd name="connsiteX0" fmla="*/ 1810687 w 1813862"/>
                <a:gd name="connsiteY0" fmla="*/ 3937470 h 3937470"/>
                <a:gd name="connsiteX1" fmla="*/ 1813862 w 1813862"/>
                <a:gd name="connsiteY1" fmla="*/ 3572345 h 3937470"/>
                <a:gd name="connsiteX2" fmla="*/ 1601137 w 1813862"/>
                <a:gd name="connsiteY2" fmla="*/ 3572345 h 3937470"/>
                <a:gd name="connsiteX3" fmla="*/ 1604312 w 1813862"/>
                <a:gd name="connsiteY3" fmla="*/ 3451695 h 3937470"/>
                <a:gd name="connsiteX4" fmla="*/ 1540812 w 1813862"/>
                <a:gd name="connsiteY4" fmla="*/ 3451695 h 3937470"/>
                <a:gd name="connsiteX5" fmla="*/ 1543987 w 1813862"/>
                <a:gd name="connsiteY5" fmla="*/ 3337395 h 3937470"/>
                <a:gd name="connsiteX6" fmla="*/ 1324912 w 1813862"/>
                <a:gd name="connsiteY6" fmla="*/ 3340570 h 3937470"/>
                <a:gd name="connsiteX7" fmla="*/ 1328087 w 1813862"/>
                <a:gd name="connsiteY7" fmla="*/ 3245320 h 3937470"/>
                <a:gd name="connsiteX8" fmla="*/ 1194737 w 1813862"/>
                <a:gd name="connsiteY8" fmla="*/ 3245320 h 3937470"/>
                <a:gd name="connsiteX9" fmla="*/ 1194737 w 1813862"/>
                <a:gd name="connsiteY9" fmla="*/ 3159595 h 3937470"/>
                <a:gd name="connsiteX10" fmla="*/ 1067737 w 1813862"/>
                <a:gd name="connsiteY10" fmla="*/ 3156420 h 3937470"/>
                <a:gd name="connsiteX11" fmla="*/ 1070912 w 1813862"/>
                <a:gd name="connsiteY11" fmla="*/ 3083395 h 3937470"/>
                <a:gd name="connsiteX12" fmla="*/ 1020112 w 1813862"/>
                <a:gd name="connsiteY12" fmla="*/ 3083395 h 3937470"/>
                <a:gd name="connsiteX13" fmla="*/ 1023287 w 1813862"/>
                <a:gd name="connsiteY13" fmla="*/ 3007195 h 3937470"/>
                <a:gd name="connsiteX14" fmla="*/ 966137 w 1813862"/>
                <a:gd name="connsiteY14" fmla="*/ 3007195 h 3937470"/>
                <a:gd name="connsiteX15" fmla="*/ 969312 w 1813862"/>
                <a:gd name="connsiteY15" fmla="*/ 2924645 h 3937470"/>
                <a:gd name="connsiteX16" fmla="*/ 924862 w 1813862"/>
                <a:gd name="connsiteY16" fmla="*/ 2924645 h 3937470"/>
                <a:gd name="connsiteX17" fmla="*/ 931212 w 1813862"/>
                <a:gd name="connsiteY17" fmla="*/ 2857970 h 3937470"/>
                <a:gd name="connsiteX18" fmla="*/ 712137 w 1813862"/>
                <a:gd name="connsiteY18" fmla="*/ 2883370 h 3937470"/>
                <a:gd name="connsiteX19" fmla="*/ 918512 w 1813862"/>
                <a:gd name="connsiteY19" fmla="*/ 2857970 h 3937470"/>
                <a:gd name="connsiteX20" fmla="*/ 921687 w 1813862"/>
                <a:gd name="connsiteY20" fmla="*/ 2708745 h 3937470"/>
                <a:gd name="connsiteX21" fmla="*/ 839137 w 1813862"/>
                <a:gd name="connsiteY21" fmla="*/ 2705570 h 3937470"/>
                <a:gd name="connsiteX22" fmla="*/ 845487 w 1813862"/>
                <a:gd name="connsiteY22" fmla="*/ 2635720 h 3937470"/>
                <a:gd name="connsiteX23" fmla="*/ 797862 w 1813862"/>
                <a:gd name="connsiteY23" fmla="*/ 2632545 h 3937470"/>
                <a:gd name="connsiteX24" fmla="*/ 807387 w 1813862"/>
                <a:gd name="connsiteY24" fmla="*/ 2496020 h 3937470"/>
                <a:gd name="connsiteX25" fmla="*/ 778812 w 1813862"/>
                <a:gd name="connsiteY25" fmla="*/ 2492845 h 3937470"/>
                <a:gd name="connsiteX26" fmla="*/ 781987 w 1813862"/>
                <a:gd name="connsiteY26" fmla="*/ 2353145 h 3937470"/>
                <a:gd name="connsiteX27" fmla="*/ 781987 w 1813862"/>
                <a:gd name="connsiteY27" fmla="*/ 2353145 h 3937470"/>
                <a:gd name="connsiteX28" fmla="*/ 781987 w 1813862"/>
                <a:gd name="connsiteY28" fmla="*/ 2353145 h 3937470"/>
                <a:gd name="connsiteX29" fmla="*/ 381937 w 1813862"/>
                <a:gd name="connsiteY29" fmla="*/ 2473795 h 3937470"/>
                <a:gd name="connsiteX30" fmla="*/ 759762 w 1813862"/>
                <a:gd name="connsiteY30" fmla="*/ 2356320 h 3937470"/>
                <a:gd name="connsiteX31" fmla="*/ 762937 w 1813862"/>
                <a:gd name="connsiteY31" fmla="*/ 2286470 h 3937470"/>
                <a:gd name="connsiteX32" fmla="*/ 372412 w 1813862"/>
                <a:gd name="connsiteY32" fmla="*/ 2343620 h 3937470"/>
                <a:gd name="connsiteX33" fmla="*/ 750237 w 1813862"/>
                <a:gd name="connsiteY33" fmla="*/ 2286470 h 3937470"/>
                <a:gd name="connsiteX34" fmla="*/ 750237 w 1813862"/>
                <a:gd name="connsiteY34" fmla="*/ 2222970 h 3937470"/>
                <a:gd name="connsiteX35" fmla="*/ 400987 w 1813862"/>
                <a:gd name="connsiteY35" fmla="*/ 2245195 h 3937470"/>
                <a:gd name="connsiteX36" fmla="*/ 743887 w 1813862"/>
                <a:gd name="connsiteY36" fmla="*/ 2219795 h 3937470"/>
                <a:gd name="connsiteX37" fmla="*/ 743887 w 1813862"/>
                <a:gd name="connsiteY37" fmla="*/ 2219795 h 3937470"/>
                <a:gd name="connsiteX38" fmla="*/ 743887 w 1813862"/>
                <a:gd name="connsiteY38" fmla="*/ 2219795 h 3937470"/>
                <a:gd name="connsiteX39" fmla="*/ 921687 w 1813862"/>
                <a:gd name="connsiteY39" fmla="*/ 2191220 h 3937470"/>
                <a:gd name="connsiteX40" fmla="*/ 747062 w 1813862"/>
                <a:gd name="connsiteY40" fmla="*/ 2200745 h 3937470"/>
                <a:gd name="connsiteX41" fmla="*/ 410512 w 1813862"/>
                <a:gd name="connsiteY41" fmla="*/ 2226145 h 3937470"/>
                <a:gd name="connsiteX42" fmla="*/ 731187 w 1813862"/>
                <a:gd name="connsiteY42" fmla="*/ 2200745 h 3937470"/>
                <a:gd name="connsiteX43" fmla="*/ 734362 w 1813862"/>
                <a:gd name="connsiteY43" fmla="*/ 2102320 h 3937470"/>
                <a:gd name="connsiteX44" fmla="*/ 696262 w 1813862"/>
                <a:gd name="connsiteY44" fmla="*/ 2095970 h 3937470"/>
                <a:gd name="connsiteX45" fmla="*/ 702612 w 1813862"/>
                <a:gd name="connsiteY45" fmla="*/ 2026120 h 3937470"/>
                <a:gd name="connsiteX46" fmla="*/ 642287 w 1813862"/>
                <a:gd name="connsiteY46" fmla="*/ 2019770 h 3937470"/>
                <a:gd name="connsiteX47" fmla="*/ 648637 w 1813862"/>
                <a:gd name="connsiteY47" fmla="*/ 1943570 h 3937470"/>
                <a:gd name="connsiteX48" fmla="*/ 200962 w 1813862"/>
                <a:gd name="connsiteY48" fmla="*/ 2019770 h 3937470"/>
                <a:gd name="connsiteX49" fmla="*/ 632762 w 1813862"/>
                <a:gd name="connsiteY49" fmla="*/ 1943570 h 3937470"/>
                <a:gd name="connsiteX50" fmla="*/ 642287 w 1813862"/>
                <a:gd name="connsiteY50" fmla="*/ 1892770 h 3937470"/>
                <a:gd name="connsiteX51" fmla="*/ 601012 w 1813862"/>
                <a:gd name="connsiteY51" fmla="*/ 1892770 h 3937470"/>
                <a:gd name="connsiteX52" fmla="*/ 607362 w 1813862"/>
                <a:gd name="connsiteY52" fmla="*/ 1826095 h 3937470"/>
                <a:gd name="connsiteX53" fmla="*/ 267637 w 1813862"/>
                <a:gd name="connsiteY53" fmla="*/ 1864195 h 3937470"/>
                <a:gd name="connsiteX54" fmla="*/ 588312 w 1813862"/>
                <a:gd name="connsiteY54" fmla="*/ 1826095 h 3937470"/>
                <a:gd name="connsiteX55" fmla="*/ 588312 w 1813862"/>
                <a:gd name="connsiteY55" fmla="*/ 1787995 h 3937470"/>
                <a:gd name="connsiteX56" fmla="*/ 156512 w 1813862"/>
                <a:gd name="connsiteY56" fmla="*/ 1829270 h 3937470"/>
                <a:gd name="connsiteX57" fmla="*/ 578787 w 1813862"/>
                <a:gd name="connsiteY57" fmla="*/ 1784820 h 3937470"/>
                <a:gd name="connsiteX58" fmla="*/ 578787 w 1813862"/>
                <a:gd name="connsiteY58" fmla="*/ 1645120 h 3937470"/>
                <a:gd name="connsiteX59" fmla="*/ 178737 w 1813862"/>
                <a:gd name="connsiteY59" fmla="*/ 1714970 h 3937470"/>
                <a:gd name="connsiteX60" fmla="*/ 553387 w 1813862"/>
                <a:gd name="connsiteY60" fmla="*/ 1635595 h 3937470"/>
                <a:gd name="connsiteX61" fmla="*/ 562912 w 1813862"/>
                <a:gd name="connsiteY61" fmla="*/ 1464145 h 3937470"/>
                <a:gd name="connsiteX62" fmla="*/ 73962 w 1813862"/>
                <a:gd name="connsiteY62" fmla="*/ 1530820 h 3937470"/>
                <a:gd name="connsiteX63" fmla="*/ 547037 w 1813862"/>
                <a:gd name="connsiteY63" fmla="*/ 1467320 h 3937470"/>
                <a:gd name="connsiteX64" fmla="*/ 550212 w 1813862"/>
                <a:gd name="connsiteY64" fmla="*/ 1333970 h 3937470"/>
                <a:gd name="connsiteX65" fmla="*/ 493062 w 1813862"/>
                <a:gd name="connsiteY65" fmla="*/ 1330795 h 3937470"/>
                <a:gd name="connsiteX66" fmla="*/ 502587 w 1813862"/>
                <a:gd name="connsiteY66" fmla="*/ 1149820 h 3937470"/>
                <a:gd name="connsiteX67" fmla="*/ 474012 w 1813862"/>
                <a:gd name="connsiteY67" fmla="*/ 1143470 h 3937470"/>
                <a:gd name="connsiteX68" fmla="*/ 477187 w 1813862"/>
                <a:gd name="connsiteY68" fmla="*/ 1067270 h 3937470"/>
                <a:gd name="connsiteX69" fmla="*/ 121587 w 1813862"/>
                <a:gd name="connsiteY69" fmla="*/ 1159345 h 3937470"/>
                <a:gd name="connsiteX70" fmla="*/ 464487 w 1813862"/>
                <a:gd name="connsiteY70" fmla="*/ 1070445 h 3937470"/>
                <a:gd name="connsiteX71" fmla="*/ 474012 w 1813862"/>
                <a:gd name="connsiteY71" fmla="*/ 889470 h 3937470"/>
                <a:gd name="connsiteX72" fmla="*/ 32687 w 1813862"/>
                <a:gd name="connsiteY72" fmla="*/ 968845 h 3937470"/>
                <a:gd name="connsiteX73" fmla="*/ 429562 w 1813862"/>
                <a:gd name="connsiteY73" fmla="*/ 895820 h 3937470"/>
                <a:gd name="connsiteX74" fmla="*/ 432737 w 1813862"/>
                <a:gd name="connsiteY74" fmla="*/ 797395 h 3937470"/>
                <a:gd name="connsiteX75" fmla="*/ 397812 w 1813862"/>
                <a:gd name="connsiteY75" fmla="*/ 794220 h 3937470"/>
                <a:gd name="connsiteX76" fmla="*/ 397812 w 1813862"/>
                <a:gd name="connsiteY76" fmla="*/ 692620 h 3937470"/>
                <a:gd name="connsiteX77" fmla="*/ 378762 w 1813862"/>
                <a:gd name="connsiteY77" fmla="*/ 587845 h 3937470"/>
                <a:gd name="connsiteX78" fmla="*/ 369237 w 1813862"/>
                <a:gd name="connsiteY78" fmla="*/ 495770 h 3937470"/>
                <a:gd name="connsiteX79" fmla="*/ 334312 w 1813862"/>
                <a:gd name="connsiteY79" fmla="*/ 362420 h 3937470"/>
                <a:gd name="connsiteX80" fmla="*/ 299387 w 1813862"/>
                <a:gd name="connsiteY80" fmla="*/ 283045 h 3937470"/>
                <a:gd name="connsiteX81" fmla="*/ 283512 w 1813862"/>
                <a:gd name="connsiteY81" fmla="*/ 181445 h 3937470"/>
                <a:gd name="connsiteX82" fmla="*/ 277162 w 1813862"/>
                <a:gd name="connsiteY82" fmla="*/ 98895 h 3937470"/>
                <a:gd name="connsiteX83" fmla="*/ 19987 w 1813862"/>
                <a:gd name="connsiteY83" fmla="*/ 6820 h 3937470"/>
                <a:gd name="connsiteX84" fmla="*/ 16812 w 1813862"/>
                <a:gd name="connsiteY84" fmla="*/ 6819 h 3937470"/>
                <a:gd name="connsiteX0" fmla="*/ 1806481 w 1809656"/>
                <a:gd name="connsiteY0" fmla="*/ 4000501 h 4000501"/>
                <a:gd name="connsiteX1" fmla="*/ 1809656 w 1809656"/>
                <a:gd name="connsiteY1" fmla="*/ 3635376 h 4000501"/>
                <a:gd name="connsiteX2" fmla="*/ 1596931 w 1809656"/>
                <a:gd name="connsiteY2" fmla="*/ 3635376 h 4000501"/>
                <a:gd name="connsiteX3" fmla="*/ 1600106 w 1809656"/>
                <a:gd name="connsiteY3" fmla="*/ 3514726 h 4000501"/>
                <a:gd name="connsiteX4" fmla="*/ 1536606 w 1809656"/>
                <a:gd name="connsiteY4" fmla="*/ 3514726 h 4000501"/>
                <a:gd name="connsiteX5" fmla="*/ 1539781 w 1809656"/>
                <a:gd name="connsiteY5" fmla="*/ 3400426 h 4000501"/>
                <a:gd name="connsiteX6" fmla="*/ 1320706 w 1809656"/>
                <a:gd name="connsiteY6" fmla="*/ 3403601 h 4000501"/>
                <a:gd name="connsiteX7" fmla="*/ 1323881 w 1809656"/>
                <a:gd name="connsiteY7" fmla="*/ 3308351 h 4000501"/>
                <a:gd name="connsiteX8" fmla="*/ 1190531 w 1809656"/>
                <a:gd name="connsiteY8" fmla="*/ 3308351 h 4000501"/>
                <a:gd name="connsiteX9" fmla="*/ 1190531 w 1809656"/>
                <a:gd name="connsiteY9" fmla="*/ 3222626 h 4000501"/>
                <a:gd name="connsiteX10" fmla="*/ 1063531 w 1809656"/>
                <a:gd name="connsiteY10" fmla="*/ 3219451 h 4000501"/>
                <a:gd name="connsiteX11" fmla="*/ 1066706 w 1809656"/>
                <a:gd name="connsiteY11" fmla="*/ 3146426 h 4000501"/>
                <a:gd name="connsiteX12" fmla="*/ 1015906 w 1809656"/>
                <a:gd name="connsiteY12" fmla="*/ 3146426 h 4000501"/>
                <a:gd name="connsiteX13" fmla="*/ 1019081 w 1809656"/>
                <a:gd name="connsiteY13" fmla="*/ 3070226 h 4000501"/>
                <a:gd name="connsiteX14" fmla="*/ 961931 w 1809656"/>
                <a:gd name="connsiteY14" fmla="*/ 3070226 h 4000501"/>
                <a:gd name="connsiteX15" fmla="*/ 965106 w 1809656"/>
                <a:gd name="connsiteY15" fmla="*/ 2987676 h 4000501"/>
                <a:gd name="connsiteX16" fmla="*/ 920656 w 1809656"/>
                <a:gd name="connsiteY16" fmla="*/ 2987676 h 4000501"/>
                <a:gd name="connsiteX17" fmla="*/ 927006 w 1809656"/>
                <a:gd name="connsiteY17" fmla="*/ 2921001 h 4000501"/>
                <a:gd name="connsiteX18" fmla="*/ 707931 w 1809656"/>
                <a:gd name="connsiteY18" fmla="*/ 2946401 h 4000501"/>
                <a:gd name="connsiteX19" fmla="*/ 914306 w 1809656"/>
                <a:gd name="connsiteY19" fmla="*/ 2921001 h 4000501"/>
                <a:gd name="connsiteX20" fmla="*/ 917481 w 1809656"/>
                <a:gd name="connsiteY20" fmla="*/ 2771776 h 4000501"/>
                <a:gd name="connsiteX21" fmla="*/ 834931 w 1809656"/>
                <a:gd name="connsiteY21" fmla="*/ 2768601 h 4000501"/>
                <a:gd name="connsiteX22" fmla="*/ 841281 w 1809656"/>
                <a:gd name="connsiteY22" fmla="*/ 2698751 h 4000501"/>
                <a:gd name="connsiteX23" fmla="*/ 793656 w 1809656"/>
                <a:gd name="connsiteY23" fmla="*/ 2695576 h 4000501"/>
                <a:gd name="connsiteX24" fmla="*/ 803181 w 1809656"/>
                <a:gd name="connsiteY24" fmla="*/ 2559051 h 4000501"/>
                <a:gd name="connsiteX25" fmla="*/ 774606 w 1809656"/>
                <a:gd name="connsiteY25" fmla="*/ 2555876 h 4000501"/>
                <a:gd name="connsiteX26" fmla="*/ 777781 w 1809656"/>
                <a:gd name="connsiteY26" fmla="*/ 2416176 h 4000501"/>
                <a:gd name="connsiteX27" fmla="*/ 777781 w 1809656"/>
                <a:gd name="connsiteY27" fmla="*/ 2416176 h 4000501"/>
                <a:gd name="connsiteX28" fmla="*/ 777781 w 1809656"/>
                <a:gd name="connsiteY28" fmla="*/ 2416176 h 4000501"/>
                <a:gd name="connsiteX29" fmla="*/ 377731 w 1809656"/>
                <a:gd name="connsiteY29" fmla="*/ 2536826 h 4000501"/>
                <a:gd name="connsiteX30" fmla="*/ 755556 w 1809656"/>
                <a:gd name="connsiteY30" fmla="*/ 2419351 h 4000501"/>
                <a:gd name="connsiteX31" fmla="*/ 758731 w 1809656"/>
                <a:gd name="connsiteY31" fmla="*/ 2349501 h 4000501"/>
                <a:gd name="connsiteX32" fmla="*/ 368206 w 1809656"/>
                <a:gd name="connsiteY32" fmla="*/ 2406651 h 4000501"/>
                <a:gd name="connsiteX33" fmla="*/ 746031 w 1809656"/>
                <a:gd name="connsiteY33" fmla="*/ 2349501 h 4000501"/>
                <a:gd name="connsiteX34" fmla="*/ 746031 w 1809656"/>
                <a:gd name="connsiteY34" fmla="*/ 2286001 h 4000501"/>
                <a:gd name="connsiteX35" fmla="*/ 396781 w 1809656"/>
                <a:gd name="connsiteY35" fmla="*/ 2308226 h 4000501"/>
                <a:gd name="connsiteX36" fmla="*/ 739681 w 1809656"/>
                <a:gd name="connsiteY36" fmla="*/ 2282826 h 4000501"/>
                <a:gd name="connsiteX37" fmla="*/ 739681 w 1809656"/>
                <a:gd name="connsiteY37" fmla="*/ 2282826 h 4000501"/>
                <a:gd name="connsiteX38" fmla="*/ 739681 w 1809656"/>
                <a:gd name="connsiteY38" fmla="*/ 2282826 h 4000501"/>
                <a:gd name="connsiteX39" fmla="*/ 917481 w 1809656"/>
                <a:gd name="connsiteY39" fmla="*/ 2254251 h 4000501"/>
                <a:gd name="connsiteX40" fmla="*/ 742856 w 1809656"/>
                <a:gd name="connsiteY40" fmla="*/ 2263776 h 4000501"/>
                <a:gd name="connsiteX41" fmla="*/ 406306 w 1809656"/>
                <a:gd name="connsiteY41" fmla="*/ 2289176 h 4000501"/>
                <a:gd name="connsiteX42" fmla="*/ 726981 w 1809656"/>
                <a:gd name="connsiteY42" fmla="*/ 2263776 h 4000501"/>
                <a:gd name="connsiteX43" fmla="*/ 730156 w 1809656"/>
                <a:gd name="connsiteY43" fmla="*/ 2165351 h 4000501"/>
                <a:gd name="connsiteX44" fmla="*/ 692056 w 1809656"/>
                <a:gd name="connsiteY44" fmla="*/ 2159001 h 4000501"/>
                <a:gd name="connsiteX45" fmla="*/ 698406 w 1809656"/>
                <a:gd name="connsiteY45" fmla="*/ 2089151 h 4000501"/>
                <a:gd name="connsiteX46" fmla="*/ 638081 w 1809656"/>
                <a:gd name="connsiteY46" fmla="*/ 2082801 h 4000501"/>
                <a:gd name="connsiteX47" fmla="*/ 644431 w 1809656"/>
                <a:gd name="connsiteY47" fmla="*/ 2006601 h 4000501"/>
                <a:gd name="connsiteX48" fmla="*/ 196756 w 1809656"/>
                <a:gd name="connsiteY48" fmla="*/ 2082801 h 4000501"/>
                <a:gd name="connsiteX49" fmla="*/ 628556 w 1809656"/>
                <a:gd name="connsiteY49" fmla="*/ 2006601 h 4000501"/>
                <a:gd name="connsiteX50" fmla="*/ 638081 w 1809656"/>
                <a:gd name="connsiteY50" fmla="*/ 1955801 h 4000501"/>
                <a:gd name="connsiteX51" fmla="*/ 596806 w 1809656"/>
                <a:gd name="connsiteY51" fmla="*/ 1955801 h 4000501"/>
                <a:gd name="connsiteX52" fmla="*/ 603156 w 1809656"/>
                <a:gd name="connsiteY52" fmla="*/ 1889126 h 4000501"/>
                <a:gd name="connsiteX53" fmla="*/ 263431 w 1809656"/>
                <a:gd name="connsiteY53" fmla="*/ 1927226 h 4000501"/>
                <a:gd name="connsiteX54" fmla="*/ 584106 w 1809656"/>
                <a:gd name="connsiteY54" fmla="*/ 1889126 h 4000501"/>
                <a:gd name="connsiteX55" fmla="*/ 584106 w 1809656"/>
                <a:gd name="connsiteY55" fmla="*/ 1851026 h 4000501"/>
                <a:gd name="connsiteX56" fmla="*/ 152306 w 1809656"/>
                <a:gd name="connsiteY56" fmla="*/ 1892301 h 4000501"/>
                <a:gd name="connsiteX57" fmla="*/ 574581 w 1809656"/>
                <a:gd name="connsiteY57" fmla="*/ 1847851 h 4000501"/>
                <a:gd name="connsiteX58" fmla="*/ 574581 w 1809656"/>
                <a:gd name="connsiteY58" fmla="*/ 1708151 h 4000501"/>
                <a:gd name="connsiteX59" fmla="*/ 174531 w 1809656"/>
                <a:gd name="connsiteY59" fmla="*/ 1778001 h 4000501"/>
                <a:gd name="connsiteX60" fmla="*/ 549181 w 1809656"/>
                <a:gd name="connsiteY60" fmla="*/ 1698626 h 4000501"/>
                <a:gd name="connsiteX61" fmla="*/ 558706 w 1809656"/>
                <a:gd name="connsiteY61" fmla="*/ 1527176 h 4000501"/>
                <a:gd name="connsiteX62" fmla="*/ 69756 w 1809656"/>
                <a:gd name="connsiteY62" fmla="*/ 1593851 h 4000501"/>
                <a:gd name="connsiteX63" fmla="*/ 542831 w 1809656"/>
                <a:gd name="connsiteY63" fmla="*/ 1530351 h 4000501"/>
                <a:gd name="connsiteX64" fmla="*/ 546006 w 1809656"/>
                <a:gd name="connsiteY64" fmla="*/ 1397001 h 4000501"/>
                <a:gd name="connsiteX65" fmla="*/ 488856 w 1809656"/>
                <a:gd name="connsiteY65" fmla="*/ 1393826 h 4000501"/>
                <a:gd name="connsiteX66" fmla="*/ 498381 w 1809656"/>
                <a:gd name="connsiteY66" fmla="*/ 1212851 h 4000501"/>
                <a:gd name="connsiteX67" fmla="*/ 469806 w 1809656"/>
                <a:gd name="connsiteY67" fmla="*/ 1206501 h 4000501"/>
                <a:gd name="connsiteX68" fmla="*/ 472981 w 1809656"/>
                <a:gd name="connsiteY68" fmla="*/ 1130301 h 4000501"/>
                <a:gd name="connsiteX69" fmla="*/ 117381 w 1809656"/>
                <a:gd name="connsiteY69" fmla="*/ 1222376 h 4000501"/>
                <a:gd name="connsiteX70" fmla="*/ 460281 w 1809656"/>
                <a:gd name="connsiteY70" fmla="*/ 1133476 h 4000501"/>
                <a:gd name="connsiteX71" fmla="*/ 469806 w 1809656"/>
                <a:gd name="connsiteY71" fmla="*/ 952501 h 4000501"/>
                <a:gd name="connsiteX72" fmla="*/ 28481 w 1809656"/>
                <a:gd name="connsiteY72" fmla="*/ 1031876 h 4000501"/>
                <a:gd name="connsiteX73" fmla="*/ 425356 w 1809656"/>
                <a:gd name="connsiteY73" fmla="*/ 958851 h 4000501"/>
                <a:gd name="connsiteX74" fmla="*/ 428531 w 1809656"/>
                <a:gd name="connsiteY74" fmla="*/ 860426 h 4000501"/>
                <a:gd name="connsiteX75" fmla="*/ 393606 w 1809656"/>
                <a:gd name="connsiteY75" fmla="*/ 857251 h 4000501"/>
                <a:gd name="connsiteX76" fmla="*/ 393606 w 1809656"/>
                <a:gd name="connsiteY76" fmla="*/ 755651 h 4000501"/>
                <a:gd name="connsiteX77" fmla="*/ 374556 w 1809656"/>
                <a:gd name="connsiteY77" fmla="*/ 650876 h 4000501"/>
                <a:gd name="connsiteX78" fmla="*/ 365031 w 1809656"/>
                <a:gd name="connsiteY78" fmla="*/ 558801 h 4000501"/>
                <a:gd name="connsiteX79" fmla="*/ 330106 w 1809656"/>
                <a:gd name="connsiteY79" fmla="*/ 425451 h 4000501"/>
                <a:gd name="connsiteX80" fmla="*/ 295181 w 1809656"/>
                <a:gd name="connsiteY80" fmla="*/ 346076 h 4000501"/>
                <a:gd name="connsiteX81" fmla="*/ 279306 w 1809656"/>
                <a:gd name="connsiteY81" fmla="*/ 244476 h 4000501"/>
                <a:gd name="connsiteX82" fmla="*/ 272956 w 1809656"/>
                <a:gd name="connsiteY82" fmla="*/ 161926 h 4000501"/>
                <a:gd name="connsiteX83" fmla="*/ 15781 w 1809656"/>
                <a:gd name="connsiteY83" fmla="*/ 69851 h 4000501"/>
                <a:gd name="connsiteX84" fmla="*/ 31656 w 1809656"/>
                <a:gd name="connsiteY84" fmla="*/ 0 h 4000501"/>
                <a:gd name="connsiteX0" fmla="*/ 1778000 w 1781175"/>
                <a:gd name="connsiteY0" fmla="*/ 4000501 h 4000501"/>
                <a:gd name="connsiteX1" fmla="*/ 1781175 w 1781175"/>
                <a:gd name="connsiteY1" fmla="*/ 3635376 h 4000501"/>
                <a:gd name="connsiteX2" fmla="*/ 1568450 w 1781175"/>
                <a:gd name="connsiteY2" fmla="*/ 3635376 h 4000501"/>
                <a:gd name="connsiteX3" fmla="*/ 1571625 w 1781175"/>
                <a:gd name="connsiteY3" fmla="*/ 3514726 h 4000501"/>
                <a:gd name="connsiteX4" fmla="*/ 1508125 w 1781175"/>
                <a:gd name="connsiteY4" fmla="*/ 3514726 h 4000501"/>
                <a:gd name="connsiteX5" fmla="*/ 1511300 w 1781175"/>
                <a:gd name="connsiteY5" fmla="*/ 3400426 h 4000501"/>
                <a:gd name="connsiteX6" fmla="*/ 1292225 w 1781175"/>
                <a:gd name="connsiteY6" fmla="*/ 3403601 h 4000501"/>
                <a:gd name="connsiteX7" fmla="*/ 1295400 w 1781175"/>
                <a:gd name="connsiteY7" fmla="*/ 3308351 h 4000501"/>
                <a:gd name="connsiteX8" fmla="*/ 1162050 w 1781175"/>
                <a:gd name="connsiteY8" fmla="*/ 3308351 h 4000501"/>
                <a:gd name="connsiteX9" fmla="*/ 1162050 w 1781175"/>
                <a:gd name="connsiteY9" fmla="*/ 3222626 h 4000501"/>
                <a:gd name="connsiteX10" fmla="*/ 1035050 w 1781175"/>
                <a:gd name="connsiteY10" fmla="*/ 3219451 h 4000501"/>
                <a:gd name="connsiteX11" fmla="*/ 1038225 w 1781175"/>
                <a:gd name="connsiteY11" fmla="*/ 3146426 h 4000501"/>
                <a:gd name="connsiteX12" fmla="*/ 987425 w 1781175"/>
                <a:gd name="connsiteY12" fmla="*/ 3146426 h 4000501"/>
                <a:gd name="connsiteX13" fmla="*/ 990600 w 1781175"/>
                <a:gd name="connsiteY13" fmla="*/ 3070226 h 4000501"/>
                <a:gd name="connsiteX14" fmla="*/ 933450 w 1781175"/>
                <a:gd name="connsiteY14" fmla="*/ 3070226 h 4000501"/>
                <a:gd name="connsiteX15" fmla="*/ 936625 w 1781175"/>
                <a:gd name="connsiteY15" fmla="*/ 2987676 h 4000501"/>
                <a:gd name="connsiteX16" fmla="*/ 892175 w 1781175"/>
                <a:gd name="connsiteY16" fmla="*/ 2987676 h 4000501"/>
                <a:gd name="connsiteX17" fmla="*/ 898525 w 1781175"/>
                <a:gd name="connsiteY17" fmla="*/ 2921001 h 4000501"/>
                <a:gd name="connsiteX18" fmla="*/ 679450 w 1781175"/>
                <a:gd name="connsiteY18" fmla="*/ 2946401 h 4000501"/>
                <a:gd name="connsiteX19" fmla="*/ 885825 w 1781175"/>
                <a:gd name="connsiteY19" fmla="*/ 2921001 h 4000501"/>
                <a:gd name="connsiteX20" fmla="*/ 889000 w 1781175"/>
                <a:gd name="connsiteY20" fmla="*/ 2771776 h 4000501"/>
                <a:gd name="connsiteX21" fmla="*/ 806450 w 1781175"/>
                <a:gd name="connsiteY21" fmla="*/ 2768601 h 4000501"/>
                <a:gd name="connsiteX22" fmla="*/ 812800 w 1781175"/>
                <a:gd name="connsiteY22" fmla="*/ 2698751 h 4000501"/>
                <a:gd name="connsiteX23" fmla="*/ 765175 w 1781175"/>
                <a:gd name="connsiteY23" fmla="*/ 2695576 h 4000501"/>
                <a:gd name="connsiteX24" fmla="*/ 774700 w 1781175"/>
                <a:gd name="connsiteY24" fmla="*/ 2559051 h 4000501"/>
                <a:gd name="connsiteX25" fmla="*/ 746125 w 1781175"/>
                <a:gd name="connsiteY25" fmla="*/ 2555876 h 4000501"/>
                <a:gd name="connsiteX26" fmla="*/ 749300 w 1781175"/>
                <a:gd name="connsiteY26" fmla="*/ 2416176 h 4000501"/>
                <a:gd name="connsiteX27" fmla="*/ 749300 w 1781175"/>
                <a:gd name="connsiteY27" fmla="*/ 2416176 h 4000501"/>
                <a:gd name="connsiteX28" fmla="*/ 749300 w 1781175"/>
                <a:gd name="connsiteY28" fmla="*/ 2416176 h 4000501"/>
                <a:gd name="connsiteX29" fmla="*/ 349250 w 1781175"/>
                <a:gd name="connsiteY29" fmla="*/ 2536826 h 4000501"/>
                <a:gd name="connsiteX30" fmla="*/ 727075 w 1781175"/>
                <a:gd name="connsiteY30" fmla="*/ 2419351 h 4000501"/>
                <a:gd name="connsiteX31" fmla="*/ 730250 w 1781175"/>
                <a:gd name="connsiteY31" fmla="*/ 2349501 h 4000501"/>
                <a:gd name="connsiteX32" fmla="*/ 339725 w 1781175"/>
                <a:gd name="connsiteY32" fmla="*/ 2406651 h 4000501"/>
                <a:gd name="connsiteX33" fmla="*/ 717550 w 1781175"/>
                <a:gd name="connsiteY33" fmla="*/ 2349501 h 4000501"/>
                <a:gd name="connsiteX34" fmla="*/ 717550 w 1781175"/>
                <a:gd name="connsiteY34" fmla="*/ 2286001 h 4000501"/>
                <a:gd name="connsiteX35" fmla="*/ 368300 w 1781175"/>
                <a:gd name="connsiteY35" fmla="*/ 2308226 h 4000501"/>
                <a:gd name="connsiteX36" fmla="*/ 711200 w 1781175"/>
                <a:gd name="connsiteY36" fmla="*/ 2282826 h 4000501"/>
                <a:gd name="connsiteX37" fmla="*/ 711200 w 1781175"/>
                <a:gd name="connsiteY37" fmla="*/ 2282826 h 4000501"/>
                <a:gd name="connsiteX38" fmla="*/ 711200 w 1781175"/>
                <a:gd name="connsiteY38" fmla="*/ 2282826 h 4000501"/>
                <a:gd name="connsiteX39" fmla="*/ 889000 w 1781175"/>
                <a:gd name="connsiteY39" fmla="*/ 2254251 h 4000501"/>
                <a:gd name="connsiteX40" fmla="*/ 714375 w 1781175"/>
                <a:gd name="connsiteY40" fmla="*/ 2263776 h 4000501"/>
                <a:gd name="connsiteX41" fmla="*/ 377825 w 1781175"/>
                <a:gd name="connsiteY41" fmla="*/ 2289176 h 4000501"/>
                <a:gd name="connsiteX42" fmla="*/ 698500 w 1781175"/>
                <a:gd name="connsiteY42" fmla="*/ 2263776 h 4000501"/>
                <a:gd name="connsiteX43" fmla="*/ 701675 w 1781175"/>
                <a:gd name="connsiteY43" fmla="*/ 2165351 h 4000501"/>
                <a:gd name="connsiteX44" fmla="*/ 663575 w 1781175"/>
                <a:gd name="connsiteY44" fmla="*/ 2159001 h 4000501"/>
                <a:gd name="connsiteX45" fmla="*/ 669925 w 1781175"/>
                <a:gd name="connsiteY45" fmla="*/ 2089151 h 4000501"/>
                <a:gd name="connsiteX46" fmla="*/ 609600 w 1781175"/>
                <a:gd name="connsiteY46" fmla="*/ 2082801 h 4000501"/>
                <a:gd name="connsiteX47" fmla="*/ 615950 w 1781175"/>
                <a:gd name="connsiteY47" fmla="*/ 2006601 h 4000501"/>
                <a:gd name="connsiteX48" fmla="*/ 168275 w 1781175"/>
                <a:gd name="connsiteY48" fmla="*/ 2082801 h 4000501"/>
                <a:gd name="connsiteX49" fmla="*/ 600075 w 1781175"/>
                <a:gd name="connsiteY49" fmla="*/ 2006601 h 4000501"/>
                <a:gd name="connsiteX50" fmla="*/ 609600 w 1781175"/>
                <a:gd name="connsiteY50" fmla="*/ 1955801 h 4000501"/>
                <a:gd name="connsiteX51" fmla="*/ 568325 w 1781175"/>
                <a:gd name="connsiteY51" fmla="*/ 1955801 h 4000501"/>
                <a:gd name="connsiteX52" fmla="*/ 574675 w 1781175"/>
                <a:gd name="connsiteY52" fmla="*/ 1889126 h 4000501"/>
                <a:gd name="connsiteX53" fmla="*/ 234950 w 1781175"/>
                <a:gd name="connsiteY53" fmla="*/ 1927226 h 4000501"/>
                <a:gd name="connsiteX54" fmla="*/ 555625 w 1781175"/>
                <a:gd name="connsiteY54" fmla="*/ 1889126 h 4000501"/>
                <a:gd name="connsiteX55" fmla="*/ 555625 w 1781175"/>
                <a:gd name="connsiteY55" fmla="*/ 1851026 h 4000501"/>
                <a:gd name="connsiteX56" fmla="*/ 123825 w 1781175"/>
                <a:gd name="connsiteY56" fmla="*/ 1892301 h 4000501"/>
                <a:gd name="connsiteX57" fmla="*/ 546100 w 1781175"/>
                <a:gd name="connsiteY57" fmla="*/ 1847851 h 4000501"/>
                <a:gd name="connsiteX58" fmla="*/ 546100 w 1781175"/>
                <a:gd name="connsiteY58" fmla="*/ 1708151 h 4000501"/>
                <a:gd name="connsiteX59" fmla="*/ 146050 w 1781175"/>
                <a:gd name="connsiteY59" fmla="*/ 1778001 h 4000501"/>
                <a:gd name="connsiteX60" fmla="*/ 520700 w 1781175"/>
                <a:gd name="connsiteY60" fmla="*/ 1698626 h 4000501"/>
                <a:gd name="connsiteX61" fmla="*/ 530225 w 1781175"/>
                <a:gd name="connsiteY61" fmla="*/ 1527176 h 4000501"/>
                <a:gd name="connsiteX62" fmla="*/ 41275 w 1781175"/>
                <a:gd name="connsiteY62" fmla="*/ 1593851 h 4000501"/>
                <a:gd name="connsiteX63" fmla="*/ 514350 w 1781175"/>
                <a:gd name="connsiteY63" fmla="*/ 1530351 h 4000501"/>
                <a:gd name="connsiteX64" fmla="*/ 517525 w 1781175"/>
                <a:gd name="connsiteY64" fmla="*/ 1397001 h 4000501"/>
                <a:gd name="connsiteX65" fmla="*/ 460375 w 1781175"/>
                <a:gd name="connsiteY65" fmla="*/ 1393826 h 4000501"/>
                <a:gd name="connsiteX66" fmla="*/ 469900 w 1781175"/>
                <a:gd name="connsiteY66" fmla="*/ 1212851 h 4000501"/>
                <a:gd name="connsiteX67" fmla="*/ 441325 w 1781175"/>
                <a:gd name="connsiteY67" fmla="*/ 1206501 h 4000501"/>
                <a:gd name="connsiteX68" fmla="*/ 444500 w 1781175"/>
                <a:gd name="connsiteY68" fmla="*/ 1130301 h 4000501"/>
                <a:gd name="connsiteX69" fmla="*/ 88900 w 1781175"/>
                <a:gd name="connsiteY69" fmla="*/ 1222376 h 4000501"/>
                <a:gd name="connsiteX70" fmla="*/ 431800 w 1781175"/>
                <a:gd name="connsiteY70" fmla="*/ 1133476 h 4000501"/>
                <a:gd name="connsiteX71" fmla="*/ 441325 w 1781175"/>
                <a:gd name="connsiteY71" fmla="*/ 952501 h 4000501"/>
                <a:gd name="connsiteX72" fmla="*/ 0 w 1781175"/>
                <a:gd name="connsiteY72" fmla="*/ 1031876 h 4000501"/>
                <a:gd name="connsiteX73" fmla="*/ 396875 w 1781175"/>
                <a:gd name="connsiteY73" fmla="*/ 958851 h 4000501"/>
                <a:gd name="connsiteX74" fmla="*/ 400050 w 1781175"/>
                <a:gd name="connsiteY74" fmla="*/ 860426 h 4000501"/>
                <a:gd name="connsiteX75" fmla="*/ 365125 w 1781175"/>
                <a:gd name="connsiteY75" fmla="*/ 857251 h 4000501"/>
                <a:gd name="connsiteX76" fmla="*/ 365125 w 1781175"/>
                <a:gd name="connsiteY76" fmla="*/ 755651 h 4000501"/>
                <a:gd name="connsiteX77" fmla="*/ 346075 w 1781175"/>
                <a:gd name="connsiteY77" fmla="*/ 650876 h 4000501"/>
                <a:gd name="connsiteX78" fmla="*/ 336550 w 1781175"/>
                <a:gd name="connsiteY78" fmla="*/ 558801 h 4000501"/>
                <a:gd name="connsiteX79" fmla="*/ 301625 w 1781175"/>
                <a:gd name="connsiteY79" fmla="*/ 425451 h 4000501"/>
                <a:gd name="connsiteX80" fmla="*/ 266700 w 1781175"/>
                <a:gd name="connsiteY80" fmla="*/ 346076 h 4000501"/>
                <a:gd name="connsiteX81" fmla="*/ 250825 w 1781175"/>
                <a:gd name="connsiteY81" fmla="*/ 244476 h 4000501"/>
                <a:gd name="connsiteX82" fmla="*/ 244475 w 1781175"/>
                <a:gd name="connsiteY82" fmla="*/ 161926 h 4000501"/>
                <a:gd name="connsiteX83" fmla="*/ 206375 w 1781175"/>
                <a:gd name="connsiteY83" fmla="*/ 139701 h 4000501"/>
                <a:gd name="connsiteX84" fmla="*/ 3175 w 1781175"/>
                <a:gd name="connsiteY84" fmla="*/ 0 h 4000501"/>
                <a:gd name="connsiteX0" fmla="*/ 1778000 w 1781175"/>
                <a:gd name="connsiteY0" fmla="*/ 3921126 h 3921126"/>
                <a:gd name="connsiteX1" fmla="*/ 1781175 w 1781175"/>
                <a:gd name="connsiteY1" fmla="*/ 3556001 h 3921126"/>
                <a:gd name="connsiteX2" fmla="*/ 1568450 w 1781175"/>
                <a:gd name="connsiteY2" fmla="*/ 3556001 h 3921126"/>
                <a:gd name="connsiteX3" fmla="*/ 1571625 w 1781175"/>
                <a:gd name="connsiteY3" fmla="*/ 3435351 h 3921126"/>
                <a:gd name="connsiteX4" fmla="*/ 1508125 w 1781175"/>
                <a:gd name="connsiteY4" fmla="*/ 3435351 h 3921126"/>
                <a:gd name="connsiteX5" fmla="*/ 1511300 w 1781175"/>
                <a:gd name="connsiteY5" fmla="*/ 3321051 h 3921126"/>
                <a:gd name="connsiteX6" fmla="*/ 1292225 w 1781175"/>
                <a:gd name="connsiteY6" fmla="*/ 3324226 h 3921126"/>
                <a:gd name="connsiteX7" fmla="*/ 1295400 w 1781175"/>
                <a:gd name="connsiteY7" fmla="*/ 3228976 h 3921126"/>
                <a:gd name="connsiteX8" fmla="*/ 1162050 w 1781175"/>
                <a:gd name="connsiteY8" fmla="*/ 3228976 h 3921126"/>
                <a:gd name="connsiteX9" fmla="*/ 1162050 w 1781175"/>
                <a:gd name="connsiteY9" fmla="*/ 3143251 h 3921126"/>
                <a:gd name="connsiteX10" fmla="*/ 1035050 w 1781175"/>
                <a:gd name="connsiteY10" fmla="*/ 3140076 h 3921126"/>
                <a:gd name="connsiteX11" fmla="*/ 1038225 w 1781175"/>
                <a:gd name="connsiteY11" fmla="*/ 3067051 h 3921126"/>
                <a:gd name="connsiteX12" fmla="*/ 987425 w 1781175"/>
                <a:gd name="connsiteY12" fmla="*/ 3067051 h 3921126"/>
                <a:gd name="connsiteX13" fmla="*/ 990600 w 1781175"/>
                <a:gd name="connsiteY13" fmla="*/ 2990851 h 3921126"/>
                <a:gd name="connsiteX14" fmla="*/ 933450 w 1781175"/>
                <a:gd name="connsiteY14" fmla="*/ 2990851 h 3921126"/>
                <a:gd name="connsiteX15" fmla="*/ 936625 w 1781175"/>
                <a:gd name="connsiteY15" fmla="*/ 2908301 h 3921126"/>
                <a:gd name="connsiteX16" fmla="*/ 892175 w 1781175"/>
                <a:gd name="connsiteY16" fmla="*/ 2908301 h 3921126"/>
                <a:gd name="connsiteX17" fmla="*/ 898525 w 1781175"/>
                <a:gd name="connsiteY17" fmla="*/ 2841626 h 3921126"/>
                <a:gd name="connsiteX18" fmla="*/ 679450 w 1781175"/>
                <a:gd name="connsiteY18" fmla="*/ 2867026 h 3921126"/>
                <a:gd name="connsiteX19" fmla="*/ 885825 w 1781175"/>
                <a:gd name="connsiteY19" fmla="*/ 2841626 h 3921126"/>
                <a:gd name="connsiteX20" fmla="*/ 889000 w 1781175"/>
                <a:gd name="connsiteY20" fmla="*/ 2692401 h 3921126"/>
                <a:gd name="connsiteX21" fmla="*/ 806450 w 1781175"/>
                <a:gd name="connsiteY21" fmla="*/ 2689226 h 3921126"/>
                <a:gd name="connsiteX22" fmla="*/ 812800 w 1781175"/>
                <a:gd name="connsiteY22" fmla="*/ 2619376 h 3921126"/>
                <a:gd name="connsiteX23" fmla="*/ 765175 w 1781175"/>
                <a:gd name="connsiteY23" fmla="*/ 2616201 h 3921126"/>
                <a:gd name="connsiteX24" fmla="*/ 774700 w 1781175"/>
                <a:gd name="connsiteY24" fmla="*/ 2479676 h 3921126"/>
                <a:gd name="connsiteX25" fmla="*/ 746125 w 1781175"/>
                <a:gd name="connsiteY25" fmla="*/ 2476501 h 3921126"/>
                <a:gd name="connsiteX26" fmla="*/ 749300 w 1781175"/>
                <a:gd name="connsiteY26" fmla="*/ 2336801 h 3921126"/>
                <a:gd name="connsiteX27" fmla="*/ 749300 w 1781175"/>
                <a:gd name="connsiteY27" fmla="*/ 2336801 h 3921126"/>
                <a:gd name="connsiteX28" fmla="*/ 749300 w 1781175"/>
                <a:gd name="connsiteY28" fmla="*/ 2336801 h 3921126"/>
                <a:gd name="connsiteX29" fmla="*/ 349250 w 1781175"/>
                <a:gd name="connsiteY29" fmla="*/ 2457451 h 3921126"/>
                <a:gd name="connsiteX30" fmla="*/ 727075 w 1781175"/>
                <a:gd name="connsiteY30" fmla="*/ 2339976 h 3921126"/>
                <a:gd name="connsiteX31" fmla="*/ 730250 w 1781175"/>
                <a:gd name="connsiteY31" fmla="*/ 2270126 h 3921126"/>
                <a:gd name="connsiteX32" fmla="*/ 339725 w 1781175"/>
                <a:gd name="connsiteY32" fmla="*/ 2327276 h 3921126"/>
                <a:gd name="connsiteX33" fmla="*/ 717550 w 1781175"/>
                <a:gd name="connsiteY33" fmla="*/ 2270126 h 3921126"/>
                <a:gd name="connsiteX34" fmla="*/ 717550 w 1781175"/>
                <a:gd name="connsiteY34" fmla="*/ 2206626 h 3921126"/>
                <a:gd name="connsiteX35" fmla="*/ 368300 w 1781175"/>
                <a:gd name="connsiteY35" fmla="*/ 2228851 h 3921126"/>
                <a:gd name="connsiteX36" fmla="*/ 711200 w 1781175"/>
                <a:gd name="connsiteY36" fmla="*/ 2203451 h 3921126"/>
                <a:gd name="connsiteX37" fmla="*/ 711200 w 1781175"/>
                <a:gd name="connsiteY37" fmla="*/ 2203451 h 3921126"/>
                <a:gd name="connsiteX38" fmla="*/ 711200 w 1781175"/>
                <a:gd name="connsiteY38" fmla="*/ 2203451 h 3921126"/>
                <a:gd name="connsiteX39" fmla="*/ 889000 w 1781175"/>
                <a:gd name="connsiteY39" fmla="*/ 2174876 h 3921126"/>
                <a:gd name="connsiteX40" fmla="*/ 714375 w 1781175"/>
                <a:gd name="connsiteY40" fmla="*/ 2184401 h 3921126"/>
                <a:gd name="connsiteX41" fmla="*/ 377825 w 1781175"/>
                <a:gd name="connsiteY41" fmla="*/ 2209801 h 3921126"/>
                <a:gd name="connsiteX42" fmla="*/ 698500 w 1781175"/>
                <a:gd name="connsiteY42" fmla="*/ 2184401 h 3921126"/>
                <a:gd name="connsiteX43" fmla="*/ 701675 w 1781175"/>
                <a:gd name="connsiteY43" fmla="*/ 2085976 h 3921126"/>
                <a:gd name="connsiteX44" fmla="*/ 663575 w 1781175"/>
                <a:gd name="connsiteY44" fmla="*/ 2079626 h 3921126"/>
                <a:gd name="connsiteX45" fmla="*/ 669925 w 1781175"/>
                <a:gd name="connsiteY45" fmla="*/ 2009776 h 3921126"/>
                <a:gd name="connsiteX46" fmla="*/ 609600 w 1781175"/>
                <a:gd name="connsiteY46" fmla="*/ 2003426 h 3921126"/>
                <a:gd name="connsiteX47" fmla="*/ 615950 w 1781175"/>
                <a:gd name="connsiteY47" fmla="*/ 1927226 h 3921126"/>
                <a:gd name="connsiteX48" fmla="*/ 168275 w 1781175"/>
                <a:gd name="connsiteY48" fmla="*/ 2003426 h 3921126"/>
                <a:gd name="connsiteX49" fmla="*/ 600075 w 1781175"/>
                <a:gd name="connsiteY49" fmla="*/ 1927226 h 3921126"/>
                <a:gd name="connsiteX50" fmla="*/ 609600 w 1781175"/>
                <a:gd name="connsiteY50" fmla="*/ 1876426 h 3921126"/>
                <a:gd name="connsiteX51" fmla="*/ 568325 w 1781175"/>
                <a:gd name="connsiteY51" fmla="*/ 1876426 h 3921126"/>
                <a:gd name="connsiteX52" fmla="*/ 574675 w 1781175"/>
                <a:gd name="connsiteY52" fmla="*/ 1809751 h 3921126"/>
                <a:gd name="connsiteX53" fmla="*/ 234950 w 1781175"/>
                <a:gd name="connsiteY53" fmla="*/ 1847851 h 3921126"/>
                <a:gd name="connsiteX54" fmla="*/ 555625 w 1781175"/>
                <a:gd name="connsiteY54" fmla="*/ 1809751 h 3921126"/>
                <a:gd name="connsiteX55" fmla="*/ 555625 w 1781175"/>
                <a:gd name="connsiteY55" fmla="*/ 1771651 h 3921126"/>
                <a:gd name="connsiteX56" fmla="*/ 123825 w 1781175"/>
                <a:gd name="connsiteY56" fmla="*/ 1812926 h 3921126"/>
                <a:gd name="connsiteX57" fmla="*/ 546100 w 1781175"/>
                <a:gd name="connsiteY57" fmla="*/ 1768476 h 3921126"/>
                <a:gd name="connsiteX58" fmla="*/ 546100 w 1781175"/>
                <a:gd name="connsiteY58" fmla="*/ 1628776 h 3921126"/>
                <a:gd name="connsiteX59" fmla="*/ 146050 w 1781175"/>
                <a:gd name="connsiteY59" fmla="*/ 1698626 h 3921126"/>
                <a:gd name="connsiteX60" fmla="*/ 520700 w 1781175"/>
                <a:gd name="connsiteY60" fmla="*/ 1619251 h 3921126"/>
                <a:gd name="connsiteX61" fmla="*/ 530225 w 1781175"/>
                <a:gd name="connsiteY61" fmla="*/ 1447801 h 3921126"/>
                <a:gd name="connsiteX62" fmla="*/ 41275 w 1781175"/>
                <a:gd name="connsiteY62" fmla="*/ 1514476 h 3921126"/>
                <a:gd name="connsiteX63" fmla="*/ 514350 w 1781175"/>
                <a:gd name="connsiteY63" fmla="*/ 1450976 h 3921126"/>
                <a:gd name="connsiteX64" fmla="*/ 517525 w 1781175"/>
                <a:gd name="connsiteY64" fmla="*/ 1317626 h 3921126"/>
                <a:gd name="connsiteX65" fmla="*/ 460375 w 1781175"/>
                <a:gd name="connsiteY65" fmla="*/ 1314451 h 3921126"/>
                <a:gd name="connsiteX66" fmla="*/ 469900 w 1781175"/>
                <a:gd name="connsiteY66" fmla="*/ 1133476 h 3921126"/>
                <a:gd name="connsiteX67" fmla="*/ 441325 w 1781175"/>
                <a:gd name="connsiteY67" fmla="*/ 1127126 h 3921126"/>
                <a:gd name="connsiteX68" fmla="*/ 444500 w 1781175"/>
                <a:gd name="connsiteY68" fmla="*/ 1050926 h 3921126"/>
                <a:gd name="connsiteX69" fmla="*/ 88900 w 1781175"/>
                <a:gd name="connsiteY69" fmla="*/ 1143001 h 3921126"/>
                <a:gd name="connsiteX70" fmla="*/ 431800 w 1781175"/>
                <a:gd name="connsiteY70" fmla="*/ 1054101 h 3921126"/>
                <a:gd name="connsiteX71" fmla="*/ 441325 w 1781175"/>
                <a:gd name="connsiteY71" fmla="*/ 873126 h 3921126"/>
                <a:gd name="connsiteX72" fmla="*/ 0 w 1781175"/>
                <a:gd name="connsiteY72" fmla="*/ 952501 h 3921126"/>
                <a:gd name="connsiteX73" fmla="*/ 396875 w 1781175"/>
                <a:gd name="connsiteY73" fmla="*/ 879476 h 3921126"/>
                <a:gd name="connsiteX74" fmla="*/ 400050 w 1781175"/>
                <a:gd name="connsiteY74" fmla="*/ 781051 h 3921126"/>
                <a:gd name="connsiteX75" fmla="*/ 365125 w 1781175"/>
                <a:gd name="connsiteY75" fmla="*/ 777876 h 3921126"/>
                <a:gd name="connsiteX76" fmla="*/ 365125 w 1781175"/>
                <a:gd name="connsiteY76" fmla="*/ 676276 h 3921126"/>
                <a:gd name="connsiteX77" fmla="*/ 346075 w 1781175"/>
                <a:gd name="connsiteY77" fmla="*/ 571501 h 3921126"/>
                <a:gd name="connsiteX78" fmla="*/ 336550 w 1781175"/>
                <a:gd name="connsiteY78" fmla="*/ 479426 h 3921126"/>
                <a:gd name="connsiteX79" fmla="*/ 301625 w 1781175"/>
                <a:gd name="connsiteY79" fmla="*/ 346076 h 3921126"/>
                <a:gd name="connsiteX80" fmla="*/ 266700 w 1781175"/>
                <a:gd name="connsiteY80" fmla="*/ 266701 h 3921126"/>
                <a:gd name="connsiteX81" fmla="*/ 250825 w 1781175"/>
                <a:gd name="connsiteY81" fmla="*/ 165101 h 3921126"/>
                <a:gd name="connsiteX82" fmla="*/ 244475 w 1781175"/>
                <a:gd name="connsiteY82" fmla="*/ 82551 h 3921126"/>
                <a:gd name="connsiteX83" fmla="*/ 206375 w 1781175"/>
                <a:gd name="connsiteY83" fmla="*/ 60326 h 3921126"/>
                <a:gd name="connsiteX84" fmla="*/ 200025 w 1781175"/>
                <a:gd name="connsiteY84" fmla="*/ 0 h 3921126"/>
                <a:gd name="connsiteX0" fmla="*/ 1778000 w 1781175"/>
                <a:gd name="connsiteY0" fmla="*/ 3921126 h 3921126"/>
                <a:gd name="connsiteX1" fmla="*/ 1781175 w 1781175"/>
                <a:gd name="connsiteY1" fmla="*/ 3556001 h 3921126"/>
                <a:gd name="connsiteX2" fmla="*/ 1568450 w 1781175"/>
                <a:gd name="connsiteY2" fmla="*/ 3556001 h 3921126"/>
                <a:gd name="connsiteX3" fmla="*/ 1571625 w 1781175"/>
                <a:gd name="connsiteY3" fmla="*/ 3435351 h 3921126"/>
                <a:gd name="connsiteX4" fmla="*/ 1508125 w 1781175"/>
                <a:gd name="connsiteY4" fmla="*/ 3435351 h 3921126"/>
                <a:gd name="connsiteX5" fmla="*/ 1511300 w 1781175"/>
                <a:gd name="connsiteY5" fmla="*/ 3321051 h 3921126"/>
                <a:gd name="connsiteX6" fmla="*/ 1292225 w 1781175"/>
                <a:gd name="connsiteY6" fmla="*/ 3324226 h 3921126"/>
                <a:gd name="connsiteX7" fmla="*/ 1295400 w 1781175"/>
                <a:gd name="connsiteY7" fmla="*/ 3228976 h 3921126"/>
                <a:gd name="connsiteX8" fmla="*/ 1162050 w 1781175"/>
                <a:gd name="connsiteY8" fmla="*/ 3228976 h 3921126"/>
                <a:gd name="connsiteX9" fmla="*/ 1162050 w 1781175"/>
                <a:gd name="connsiteY9" fmla="*/ 3143251 h 3921126"/>
                <a:gd name="connsiteX10" fmla="*/ 1035050 w 1781175"/>
                <a:gd name="connsiteY10" fmla="*/ 3140076 h 3921126"/>
                <a:gd name="connsiteX11" fmla="*/ 1038225 w 1781175"/>
                <a:gd name="connsiteY11" fmla="*/ 3067051 h 3921126"/>
                <a:gd name="connsiteX12" fmla="*/ 987425 w 1781175"/>
                <a:gd name="connsiteY12" fmla="*/ 3067051 h 3921126"/>
                <a:gd name="connsiteX13" fmla="*/ 990600 w 1781175"/>
                <a:gd name="connsiteY13" fmla="*/ 2990851 h 3921126"/>
                <a:gd name="connsiteX14" fmla="*/ 933450 w 1781175"/>
                <a:gd name="connsiteY14" fmla="*/ 2990851 h 3921126"/>
                <a:gd name="connsiteX15" fmla="*/ 936625 w 1781175"/>
                <a:gd name="connsiteY15" fmla="*/ 2908301 h 3921126"/>
                <a:gd name="connsiteX16" fmla="*/ 892175 w 1781175"/>
                <a:gd name="connsiteY16" fmla="*/ 2908301 h 3921126"/>
                <a:gd name="connsiteX17" fmla="*/ 898525 w 1781175"/>
                <a:gd name="connsiteY17" fmla="*/ 2841626 h 3921126"/>
                <a:gd name="connsiteX18" fmla="*/ 679450 w 1781175"/>
                <a:gd name="connsiteY18" fmla="*/ 2867026 h 3921126"/>
                <a:gd name="connsiteX19" fmla="*/ 885825 w 1781175"/>
                <a:gd name="connsiteY19" fmla="*/ 2841626 h 3921126"/>
                <a:gd name="connsiteX20" fmla="*/ 889000 w 1781175"/>
                <a:gd name="connsiteY20" fmla="*/ 2692401 h 3921126"/>
                <a:gd name="connsiteX21" fmla="*/ 806450 w 1781175"/>
                <a:gd name="connsiteY21" fmla="*/ 2689226 h 3921126"/>
                <a:gd name="connsiteX22" fmla="*/ 812800 w 1781175"/>
                <a:gd name="connsiteY22" fmla="*/ 2619376 h 3921126"/>
                <a:gd name="connsiteX23" fmla="*/ 765175 w 1781175"/>
                <a:gd name="connsiteY23" fmla="*/ 2616201 h 3921126"/>
                <a:gd name="connsiteX24" fmla="*/ 774700 w 1781175"/>
                <a:gd name="connsiteY24" fmla="*/ 2479676 h 3921126"/>
                <a:gd name="connsiteX25" fmla="*/ 746125 w 1781175"/>
                <a:gd name="connsiteY25" fmla="*/ 2476501 h 3921126"/>
                <a:gd name="connsiteX26" fmla="*/ 749300 w 1781175"/>
                <a:gd name="connsiteY26" fmla="*/ 2336801 h 3921126"/>
                <a:gd name="connsiteX27" fmla="*/ 749300 w 1781175"/>
                <a:gd name="connsiteY27" fmla="*/ 2336801 h 3921126"/>
                <a:gd name="connsiteX28" fmla="*/ 749300 w 1781175"/>
                <a:gd name="connsiteY28" fmla="*/ 2336801 h 3921126"/>
                <a:gd name="connsiteX29" fmla="*/ 349250 w 1781175"/>
                <a:gd name="connsiteY29" fmla="*/ 2457451 h 3921126"/>
                <a:gd name="connsiteX30" fmla="*/ 727075 w 1781175"/>
                <a:gd name="connsiteY30" fmla="*/ 2339976 h 3921126"/>
                <a:gd name="connsiteX31" fmla="*/ 730250 w 1781175"/>
                <a:gd name="connsiteY31" fmla="*/ 2270126 h 3921126"/>
                <a:gd name="connsiteX32" fmla="*/ 339725 w 1781175"/>
                <a:gd name="connsiteY32" fmla="*/ 2327276 h 3921126"/>
                <a:gd name="connsiteX33" fmla="*/ 717550 w 1781175"/>
                <a:gd name="connsiteY33" fmla="*/ 2270126 h 3921126"/>
                <a:gd name="connsiteX34" fmla="*/ 717550 w 1781175"/>
                <a:gd name="connsiteY34" fmla="*/ 2206626 h 3921126"/>
                <a:gd name="connsiteX35" fmla="*/ 368300 w 1781175"/>
                <a:gd name="connsiteY35" fmla="*/ 2228851 h 3921126"/>
                <a:gd name="connsiteX36" fmla="*/ 711200 w 1781175"/>
                <a:gd name="connsiteY36" fmla="*/ 2203451 h 3921126"/>
                <a:gd name="connsiteX37" fmla="*/ 711200 w 1781175"/>
                <a:gd name="connsiteY37" fmla="*/ 2203451 h 3921126"/>
                <a:gd name="connsiteX38" fmla="*/ 711200 w 1781175"/>
                <a:gd name="connsiteY38" fmla="*/ 2203451 h 3921126"/>
                <a:gd name="connsiteX39" fmla="*/ 889000 w 1781175"/>
                <a:gd name="connsiteY39" fmla="*/ 2174876 h 3921126"/>
                <a:gd name="connsiteX40" fmla="*/ 714375 w 1781175"/>
                <a:gd name="connsiteY40" fmla="*/ 2184401 h 3921126"/>
                <a:gd name="connsiteX41" fmla="*/ 377825 w 1781175"/>
                <a:gd name="connsiteY41" fmla="*/ 2209801 h 3921126"/>
                <a:gd name="connsiteX42" fmla="*/ 698500 w 1781175"/>
                <a:gd name="connsiteY42" fmla="*/ 2184401 h 3921126"/>
                <a:gd name="connsiteX43" fmla="*/ 701675 w 1781175"/>
                <a:gd name="connsiteY43" fmla="*/ 2085976 h 3921126"/>
                <a:gd name="connsiteX44" fmla="*/ 663575 w 1781175"/>
                <a:gd name="connsiteY44" fmla="*/ 2079626 h 3921126"/>
                <a:gd name="connsiteX45" fmla="*/ 669925 w 1781175"/>
                <a:gd name="connsiteY45" fmla="*/ 2009776 h 3921126"/>
                <a:gd name="connsiteX46" fmla="*/ 609600 w 1781175"/>
                <a:gd name="connsiteY46" fmla="*/ 2003426 h 3921126"/>
                <a:gd name="connsiteX47" fmla="*/ 615950 w 1781175"/>
                <a:gd name="connsiteY47" fmla="*/ 1927226 h 3921126"/>
                <a:gd name="connsiteX48" fmla="*/ 168275 w 1781175"/>
                <a:gd name="connsiteY48" fmla="*/ 2003426 h 3921126"/>
                <a:gd name="connsiteX49" fmla="*/ 600075 w 1781175"/>
                <a:gd name="connsiteY49" fmla="*/ 1927226 h 3921126"/>
                <a:gd name="connsiteX50" fmla="*/ 609600 w 1781175"/>
                <a:gd name="connsiteY50" fmla="*/ 1876426 h 3921126"/>
                <a:gd name="connsiteX51" fmla="*/ 568325 w 1781175"/>
                <a:gd name="connsiteY51" fmla="*/ 1876426 h 3921126"/>
                <a:gd name="connsiteX52" fmla="*/ 574675 w 1781175"/>
                <a:gd name="connsiteY52" fmla="*/ 1809751 h 3921126"/>
                <a:gd name="connsiteX53" fmla="*/ 234950 w 1781175"/>
                <a:gd name="connsiteY53" fmla="*/ 1847851 h 3921126"/>
                <a:gd name="connsiteX54" fmla="*/ 555625 w 1781175"/>
                <a:gd name="connsiteY54" fmla="*/ 1809751 h 3921126"/>
                <a:gd name="connsiteX55" fmla="*/ 555625 w 1781175"/>
                <a:gd name="connsiteY55" fmla="*/ 1771651 h 3921126"/>
                <a:gd name="connsiteX56" fmla="*/ 123825 w 1781175"/>
                <a:gd name="connsiteY56" fmla="*/ 1812926 h 3921126"/>
                <a:gd name="connsiteX57" fmla="*/ 546100 w 1781175"/>
                <a:gd name="connsiteY57" fmla="*/ 1768476 h 3921126"/>
                <a:gd name="connsiteX58" fmla="*/ 546100 w 1781175"/>
                <a:gd name="connsiteY58" fmla="*/ 1628776 h 3921126"/>
                <a:gd name="connsiteX59" fmla="*/ 146050 w 1781175"/>
                <a:gd name="connsiteY59" fmla="*/ 1698626 h 3921126"/>
                <a:gd name="connsiteX60" fmla="*/ 520700 w 1781175"/>
                <a:gd name="connsiteY60" fmla="*/ 1619251 h 3921126"/>
                <a:gd name="connsiteX61" fmla="*/ 530225 w 1781175"/>
                <a:gd name="connsiteY61" fmla="*/ 1447801 h 3921126"/>
                <a:gd name="connsiteX62" fmla="*/ 41275 w 1781175"/>
                <a:gd name="connsiteY62" fmla="*/ 1514476 h 3921126"/>
                <a:gd name="connsiteX63" fmla="*/ 514350 w 1781175"/>
                <a:gd name="connsiteY63" fmla="*/ 1450976 h 3921126"/>
                <a:gd name="connsiteX64" fmla="*/ 517525 w 1781175"/>
                <a:gd name="connsiteY64" fmla="*/ 1317626 h 3921126"/>
                <a:gd name="connsiteX65" fmla="*/ 460375 w 1781175"/>
                <a:gd name="connsiteY65" fmla="*/ 1314451 h 3921126"/>
                <a:gd name="connsiteX66" fmla="*/ 469900 w 1781175"/>
                <a:gd name="connsiteY66" fmla="*/ 1133476 h 3921126"/>
                <a:gd name="connsiteX67" fmla="*/ 441325 w 1781175"/>
                <a:gd name="connsiteY67" fmla="*/ 1127126 h 3921126"/>
                <a:gd name="connsiteX68" fmla="*/ 444500 w 1781175"/>
                <a:gd name="connsiteY68" fmla="*/ 1050926 h 3921126"/>
                <a:gd name="connsiteX69" fmla="*/ 88900 w 1781175"/>
                <a:gd name="connsiteY69" fmla="*/ 1143001 h 3921126"/>
                <a:gd name="connsiteX70" fmla="*/ 431800 w 1781175"/>
                <a:gd name="connsiteY70" fmla="*/ 1054101 h 3921126"/>
                <a:gd name="connsiteX71" fmla="*/ 441325 w 1781175"/>
                <a:gd name="connsiteY71" fmla="*/ 873126 h 3921126"/>
                <a:gd name="connsiteX72" fmla="*/ 0 w 1781175"/>
                <a:gd name="connsiteY72" fmla="*/ 952501 h 3921126"/>
                <a:gd name="connsiteX73" fmla="*/ 396875 w 1781175"/>
                <a:gd name="connsiteY73" fmla="*/ 879476 h 3921126"/>
                <a:gd name="connsiteX74" fmla="*/ 400050 w 1781175"/>
                <a:gd name="connsiteY74" fmla="*/ 781051 h 3921126"/>
                <a:gd name="connsiteX75" fmla="*/ 365125 w 1781175"/>
                <a:gd name="connsiteY75" fmla="*/ 777876 h 3921126"/>
                <a:gd name="connsiteX76" fmla="*/ 365125 w 1781175"/>
                <a:gd name="connsiteY76" fmla="*/ 676276 h 3921126"/>
                <a:gd name="connsiteX77" fmla="*/ 346075 w 1781175"/>
                <a:gd name="connsiteY77" fmla="*/ 571501 h 3921126"/>
                <a:gd name="connsiteX78" fmla="*/ 336550 w 1781175"/>
                <a:gd name="connsiteY78" fmla="*/ 479426 h 3921126"/>
                <a:gd name="connsiteX79" fmla="*/ 301625 w 1781175"/>
                <a:gd name="connsiteY79" fmla="*/ 346076 h 3921126"/>
                <a:gd name="connsiteX80" fmla="*/ 266700 w 1781175"/>
                <a:gd name="connsiteY80" fmla="*/ 266701 h 3921126"/>
                <a:gd name="connsiteX81" fmla="*/ 250825 w 1781175"/>
                <a:gd name="connsiteY81" fmla="*/ 165101 h 3921126"/>
                <a:gd name="connsiteX82" fmla="*/ 244475 w 1781175"/>
                <a:gd name="connsiteY82" fmla="*/ 82551 h 3921126"/>
                <a:gd name="connsiteX83" fmla="*/ 206375 w 1781175"/>
                <a:gd name="connsiteY83" fmla="*/ 60326 h 3921126"/>
                <a:gd name="connsiteX84" fmla="*/ 200025 w 1781175"/>
                <a:gd name="connsiteY84" fmla="*/ 0 h 3921126"/>
                <a:gd name="connsiteX0" fmla="*/ 1778000 w 1781175"/>
                <a:gd name="connsiteY0" fmla="*/ 3921126 h 3921126"/>
                <a:gd name="connsiteX1" fmla="*/ 1781175 w 1781175"/>
                <a:gd name="connsiteY1" fmla="*/ 3556001 h 3921126"/>
                <a:gd name="connsiteX2" fmla="*/ 1568450 w 1781175"/>
                <a:gd name="connsiteY2" fmla="*/ 3556001 h 3921126"/>
                <a:gd name="connsiteX3" fmla="*/ 1571625 w 1781175"/>
                <a:gd name="connsiteY3" fmla="*/ 3435351 h 3921126"/>
                <a:gd name="connsiteX4" fmla="*/ 1508125 w 1781175"/>
                <a:gd name="connsiteY4" fmla="*/ 3435351 h 3921126"/>
                <a:gd name="connsiteX5" fmla="*/ 1511300 w 1781175"/>
                <a:gd name="connsiteY5" fmla="*/ 3321051 h 3921126"/>
                <a:gd name="connsiteX6" fmla="*/ 1292225 w 1781175"/>
                <a:gd name="connsiteY6" fmla="*/ 3324226 h 3921126"/>
                <a:gd name="connsiteX7" fmla="*/ 1295400 w 1781175"/>
                <a:gd name="connsiteY7" fmla="*/ 3228976 h 3921126"/>
                <a:gd name="connsiteX8" fmla="*/ 1162050 w 1781175"/>
                <a:gd name="connsiteY8" fmla="*/ 3228976 h 3921126"/>
                <a:gd name="connsiteX9" fmla="*/ 1162050 w 1781175"/>
                <a:gd name="connsiteY9" fmla="*/ 3143251 h 3921126"/>
                <a:gd name="connsiteX10" fmla="*/ 1035050 w 1781175"/>
                <a:gd name="connsiteY10" fmla="*/ 3140076 h 3921126"/>
                <a:gd name="connsiteX11" fmla="*/ 1038225 w 1781175"/>
                <a:gd name="connsiteY11" fmla="*/ 3067051 h 3921126"/>
                <a:gd name="connsiteX12" fmla="*/ 987425 w 1781175"/>
                <a:gd name="connsiteY12" fmla="*/ 3067051 h 3921126"/>
                <a:gd name="connsiteX13" fmla="*/ 990600 w 1781175"/>
                <a:gd name="connsiteY13" fmla="*/ 2990851 h 3921126"/>
                <a:gd name="connsiteX14" fmla="*/ 933450 w 1781175"/>
                <a:gd name="connsiteY14" fmla="*/ 2990851 h 3921126"/>
                <a:gd name="connsiteX15" fmla="*/ 936625 w 1781175"/>
                <a:gd name="connsiteY15" fmla="*/ 2908301 h 3921126"/>
                <a:gd name="connsiteX16" fmla="*/ 892175 w 1781175"/>
                <a:gd name="connsiteY16" fmla="*/ 2908301 h 3921126"/>
                <a:gd name="connsiteX17" fmla="*/ 898525 w 1781175"/>
                <a:gd name="connsiteY17" fmla="*/ 2841626 h 3921126"/>
                <a:gd name="connsiteX18" fmla="*/ 679450 w 1781175"/>
                <a:gd name="connsiteY18" fmla="*/ 2867026 h 3921126"/>
                <a:gd name="connsiteX19" fmla="*/ 885825 w 1781175"/>
                <a:gd name="connsiteY19" fmla="*/ 2841626 h 3921126"/>
                <a:gd name="connsiteX20" fmla="*/ 889000 w 1781175"/>
                <a:gd name="connsiteY20" fmla="*/ 2692401 h 3921126"/>
                <a:gd name="connsiteX21" fmla="*/ 806450 w 1781175"/>
                <a:gd name="connsiteY21" fmla="*/ 2689226 h 3921126"/>
                <a:gd name="connsiteX22" fmla="*/ 812800 w 1781175"/>
                <a:gd name="connsiteY22" fmla="*/ 2619376 h 3921126"/>
                <a:gd name="connsiteX23" fmla="*/ 765175 w 1781175"/>
                <a:gd name="connsiteY23" fmla="*/ 2616201 h 3921126"/>
                <a:gd name="connsiteX24" fmla="*/ 774700 w 1781175"/>
                <a:gd name="connsiteY24" fmla="*/ 2479676 h 3921126"/>
                <a:gd name="connsiteX25" fmla="*/ 746125 w 1781175"/>
                <a:gd name="connsiteY25" fmla="*/ 2476501 h 3921126"/>
                <a:gd name="connsiteX26" fmla="*/ 749300 w 1781175"/>
                <a:gd name="connsiteY26" fmla="*/ 2336801 h 3921126"/>
                <a:gd name="connsiteX27" fmla="*/ 749300 w 1781175"/>
                <a:gd name="connsiteY27" fmla="*/ 2336801 h 3921126"/>
                <a:gd name="connsiteX28" fmla="*/ 749300 w 1781175"/>
                <a:gd name="connsiteY28" fmla="*/ 2336801 h 3921126"/>
                <a:gd name="connsiteX29" fmla="*/ 349250 w 1781175"/>
                <a:gd name="connsiteY29" fmla="*/ 2457451 h 3921126"/>
                <a:gd name="connsiteX30" fmla="*/ 727075 w 1781175"/>
                <a:gd name="connsiteY30" fmla="*/ 2339976 h 3921126"/>
                <a:gd name="connsiteX31" fmla="*/ 730250 w 1781175"/>
                <a:gd name="connsiteY31" fmla="*/ 2270126 h 3921126"/>
                <a:gd name="connsiteX32" fmla="*/ 339725 w 1781175"/>
                <a:gd name="connsiteY32" fmla="*/ 2327276 h 3921126"/>
                <a:gd name="connsiteX33" fmla="*/ 717550 w 1781175"/>
                <a:gd name="connsiteY33" fmla="*/ 2270126 h 3921126"/>
                <a:gd name="connsiteX34" fmla="*/ 717550 w 1781175"/>
                <a:gd name="connsiteY34" fmla="*/ 2206626 h 3921126"/>
                <a:gd name="connsiteX35" fmla="*/ 368300 w 1781175"/>
                <a:gd name="connsiteY35" fmla="*/ 2228851 h 3921126"/>
                <a:gd name="connsiteX36" fmla="*/ 711200 w 1781175"/>
                <a:gd name="connsiteY36" fmla="*/ 2203451 h 3921126"/>
                <a:gd name="connsiteX37" fmla="*/ 711200 w 1781175"/>
                <a:gd name="connsiteY37" fmla="*/ 2203451 h 3921126"/>
                <a:gd name="connsiteX38" fmla="*/ 711200 w 1781175"/>
                <a:gd name="connsiteY38" fmla="*/ 2203451 h 3921126"/>
                <a:gd name="connsiteX39" fmla="*/ 889000 w 1781175"/>
                <a:gd name="connsiteY39" fmla="*/ 2174876 h 3921126"/>
                <a:gd name="connsiteX40" fmla="*/ 714375 w 1781175"/>
                <a:gd name="connsiteY40" fmla="*/ 2184401 h 3921126"/>
                <a:gd name="connsiteX41" fmla="*/ 377825 w 1781175"/>
                <a:gd name="connsiteY41" fmla="*/ 2209801 h 3921126"/>
                <a:gd name="connsiteX42" fmla="*/ 698500 w 1781175"/>
                <a:gd name="connsiteY42" fmla="*/ 2184401 h 3921126"/>
                <a:gd name="connsiteX43" fmla="*/ 701675 w 1781175"/>
                <a:gd name="connsiteY43" fmla="*/ 2085976 h 3921126"/>
                <a:gd name="connsiteX44" fmla="*/ 663575 w 1781175"/>
                <a:gd name="connsiteY44" fmla="*/ 2079626 h 3921126"/>
                <a:gd name="connsiteX45" fmla="*/ 669925 w 1781175"/>
                <a:gd name="connsiteY45" fmla="*/ 2009776 h 3921126"/>
                <a:gd name="connsiteX46" fmla="*/ 609600 w 1781175"/>
                <a:gd name="connsiteY46" fmla="*/ 2003426 h 3921126"/>
                <a:gd name="connsiteX47" fmla="*/ 615950 w 1781175"/>
                <a:gd name="connsiteY47" fmla="*/ 1927226 h 3921126"/>
                <a:gd name="connsiteX48" fmla="*/ 168275 w 1781175"/>
                <a:gd name="connsiteY48" fmla="*/ 2003426 h 3921126"/>
                <a:gd name="connsiteX49" fmla="*/ 600075 w 1781175"/>
                <a:gd name="connsiteY49" fmla="*/ 1927226 h 3921126"/>
                <a:gd name="connsiteX50" fmla="*/ 609600 w 1781175"/>
                <a:gd name="connsiteY50" fmla="*/ 1876426 h 3921126"/>
                <a:gd name="connsiteX51" fmla="*/ 568325 w 1781175"/>
                <a:gd name="connsiteY51" fmla="*/ 1876426 h 3921126"/>
                <a:gd name="connsiteX52" fmla="*/ 574675 w 1781175"/>
                <a:gd name="connsiteY52" fmla="*/ 1809751 h 3921126"/>
                <a:gd name="connsiteX53" fmla="*/ 234950 w 1781175"/>
                <a:gd name="connsiteY53" fmla="*/ 1847851 h 3921126"/>
                <a:gd name="connsiteX54" fmla="*/ 555625 w 1781175"/>
                <a:gd name="connsiteY54" fmla="*/ 1809751 h 3921126"/>
                <a:gd name="connsiteX55" fmla="*/ 555625 w 1781175"/>
                <a:gd name="connsiteY55" fmla="*/ 1771651 h 3921126"/>
                <a:gd name="connsiteX56" fmla="*/ 123825 w 1781175"/>
                <a:gd name="connsiteY56" fmla="*/ 1812926 h 3921126"/>
                <a:gd name="connsiteX57" fmla="*/ 546100 w 1781175"/>
                <a:gd name="connsiteY57" fmla="*/ 1768476 h 3921126"/>
                <a:gd name="connsiteX58" fmla="*/ 546100 w 1781175"/>
                <a:gd name="connsiteY58" fmla="*/ 1628776 h 3921126"/>
                <a:gd name="connsiteX59" fmla="*/ 146050 w 1781175"/>
                <a:gd name="connsiteY59" fmla="*/ 1698626 h 3921126"/>
                <a:gd name="connsiteX60" fmla="*/ 520700 w 1781175"/>
                <a:gd name="connsiteY60" fmla="*/ 1619251 h 3921126"/>
                <a:gd name="connsiteX61" fmla="*/ 530225 w 1781175"/>
                <a:gd name="connsiteY61" fmla="*/ 1447801 h 3921126"/>
                <a:gd name="connsiteX62" fmla="*/ 41275 w 1781175"/>
                <a:gd name="connsiteY62" fmla="*/ 1514476 h 3921126"/>
                <a:gd name="connsiteX63" fmla="*/ 514350 w 1781175"/>
                <a:gd name="connsiteY63" fmla="*/ 1450976 h 3921126"/>
                <a:gd name="connsiteX64" fmla="*/ 517525 w 1781175"/>
                <a:gd name="connsiteY64" fmla="*/ 1317626 h 3921126"/>
                <a:gd name="connsiteX65" fmla="*/ 460375 w 1781175"/>
                <a:gd name="connsiteY65" fmla="*/ 1314451 h 3921126"/>
                <a:gd name="connsiteX66" fmla="*/ 469900 w 1781175"/>
                <a:gd name="connsiteY66" fmla="*/ 1133476 h 3921126"/>
                <a:gd name="connsiteX67" fmla="*/ 441325 w 1781175"/>
                <a:gd name="connsiteY67" fmla="*/ 1127126 h 3921126"/>
                <a:gd name="connsiteX68" fmla="*/ 444500 w 1781175"/>
                <a:gd name="connsiteY68" fmla="*/ 1050926 h 3921126"/>
                <a:gd name="connsiteX69" fmla="*/ 88900 w 1781175"/>
                <a:gd name="connsiteY69" fmla="*/ 1143001 h 3921126"/>
                <a:gd name="connsiteX70" fmla="*/ 431800 w 1781175"/>
                <a:gd name="connsiteY70" fmla="*/ 1054101 h 3921126"/>
                <a:gd name="connsiteX71" fmla="*/ 441325 w 1781175"/>
                <a:gd name="connsiteY71" fmla="*/ 873126 h 3921126"/>
                <a:gd name="connsiteX72" fmla="*/ 0 w 1781175"/>
                <a:gd name="connsiteY72" fmla="*/ 952501 h 3921126"/>
                <a:gd name="connsiteX73" fmla="*/ 396875 w 1781175"/>
                <a:gd name="connsiteY73" fmla="*/ 879476 h 3921126"/>
                <a:gd name="connsiteX74" fmla="*/ 400050 w 1781175"/>
                <a:gd name="connsiteY74" fmla="*/ 781051 h 3921126"/>
                <a:gd name="connsiteX75" fmla="*/ 365125 w 1781175"/>
                <a:gd name="connsiteY75" fmla="*/ 777876 h 3921126"/>
                <a:gd name="connsiteX76" fmla="*/ 365125 w 1781175"/>
                <a:gd name="connsiteY76" fmla="*/ 676276 h 3921126"/>
                <a:gd name="connsiteX77" fmla="*/ 346075 w 1781175"/>
                <a:gd name="connsiteY77" fmla="*/ 571501 h 3921126"/>
                <a:gd name="connsiteX78" fmla="*/ 336550 w 1781175"/>
                <a:gd name="connsiteY78" fmla="*/ 479426 h 3921126"/>
                <a:gd name="connsiteX79" fmla="*/ 301625 w 1781175"/>
                <a:gd name="connsiteY79" fmla="*/ 346076 h 3921126"/>
                <a:gd name="connsiteX80" fmla="*/ 266700 w 1781175"/>
                <a:gd name="connsiteY80" fmla="*/ 266701 h 3921126"/>
                <a:gd name="connsiteX81" fmla="*/ 250825 w 1781175"/>
                <a:gd name="connsiteY81" fmla="*/ 165101 h 3921126"/>
                <a:gd name="connsiteX82" fmla="*/ 244475 w 1781175"/>
                <a:gd name="connsiteY82" fmla="*/ 82551 h 3921126"/>
                <a:gd name="connsiteX83" fmla="*/ 206375 w 1781175"/>
                <a:gd name="connsiteY83" fmla="*/ 60326 h 3921126"/>
                <a:gd name="connsiteX84" fmla="*/ 200025 w 1781175"/>
                <a:gd name="connsiteY84" fmla="*/ 0 h 3921126"/>
                <a:gd name="connsiteX0" fmla="*/ 1778000 w 1781175"/>
                <a:gd name="connsiteY0" fmla="*/ 3921126 h 3921126"/>
                <a:gd name="connsiteX1" fmla="*/ 1781175 w 1781175"/>
                <a:gd name="connsiteY1" fmla="*/ 3556001 h 3921126"/>
                <a:gd name="connsiteX2" fmla="*/ 1568450 w 1781175"/>
                <a:gd name="connsiteY2" fmla="*/ 3556001 h 3921126"/>
                <a:gd name="connsiteX3" fmla="*/ 1571625 w 1781175"/>
                <a:gd name="connsiteY3" fmla="*/ 3435351 h 3921126"/>
                <a:gd name="connsiteX4" fmla="*/ 1508125 w 1781175"/>
                <a:gd name="connsiteY4" fmla="*/ 3435351 h 3921126"/>
                <a:gd name="connsiteX5" fmla="*/ 1511300 w 1781175"/>
                <a:gd name="connsiteY5" fmla="*/ 3321051 h 3921126"/>
                <a:gd name="connsiteX6" fmla="*/ 1292225 w 1781175"/>
                <a:gd name="connsiteY6" fmla="*/ 3324226 h 3921126"/>
                <a:gd name="connsiteX7" fmla="*/ 1295400 w 1781175"/>
                <a:gd name="connsiteY7" fmla="*/ 3228976 h 3921126"/>
                <a:gd name="connsiteX8" fmla="*/ 1162050 w 1781175"/>
                <a:gd name="connsiteY8" fmla="*/ 3228976 h 3921126"/>
                <a:gd name="connsiteX9" fmla="*/ 1162050 w 1781175"/>
                <a:gd name="connsiteY9" fmla="*/ 3143251 h 3921126"/>
                <a:gd name="connsiteX10" fmla="*/ 1035050 w 1781175"/>
                <a:gd name="connsiteY10" fmla="*/ 3140076 h 3921126"/>
                <a:gd name="connsiteX11" fmla="*/ 1038225 w 1781175"/>
                <a:gd name="connsiteY11" fmla="*/ 3067051 h 3921126"/>
                <a:gd name="connsiteX12" fmla="*/ 987425 w 1781175"/>
                <a:gd name="connsiteY12" fmla="*/ 3067051 h 3921126"/>
                <a:gd name="connsiteX13" fmla="*/ 990600 w 1781175"/>
                <a:gd name="connsiteY13" fmla="*/ 2990851 h 3921126"/>
                <a:gd name="connsiteX14" fmla="*/ 933450 w 1781175"/>
                <a:gd name="connsiteY14" fmla="*/ 2990851 h 3921126"/>
                <a:gd name="connsiteX15" fmla="*/ 936625 w 1781175"/>
                <a:gd name="connsiteY15" fmla="*/ 2908301 h 3921126"/>
                <a:gd name="connsiteX16" fmla="*/ 892175 w 1781175"/>
                <a:gd name="connsiteY16" fmla="*/ 2908301 h 3921126"/>
                <a:gd name="connsiteX17" fmla="*/ 898525 w 1781175"/>
                <a:gd name="connsiteY17" fmla="*/ 2841626 h 3921126"/>
                <a:gd name="connsiteX18" fmla="*/ 679450 w 1781175"/>
                <a:gd name="connsiteY18" fmla="*/ 2867026 h 3921126"/>
                <a:gd name="connsiteX19" fmla="*/ 885825 w 1781175"/>
                <a:gd name="connsiteY19" fmla="*/ 2841626 h 3921126"/>
                <a:gd name="connsiteX20" fmla="*/ 889000 w 1781175"/>
                <a:gd name="connsiteY20" fmla="*/ 2692401 h 3921126"/>
                <a:gd name="connsiteX21" fmla="*/ 806450 w 1781175"/>
                <a:gd name="connsiteY21" fmla="*/ 2689226 h 3921126"/>
                <a:gd name="connsiteX22" fmla="*/ 812800 w 1781175"/>
                <a:gd name="connsiteY22" fmla="*/ 2619376 h 3921126"/>
                <a:gd name="connsiteX23" fmla="*/ 765175 w 1781175"/>
                <a:gd name="connsiteY23" fmla="*/ 2616201 h 3921126"/>
                <a:gd name="connsiteX24" fmla="*/ 774700 w 1781175"/>
                <a:gd name="connsiteY24" fmla="*/ 2479676 h 3921126"/>
                <a:gd name="connsiteX25" fmla="*/ 746125 w 1781175"/>
                <a:gd name="connsiteY25" fmla="*/ 2476501 h 3921126"/>
                <a:gd name="connsiteX26" fmla="*/ 749300 w 1781175"/>
                <a:gd name="connsiteY26" fmla="*/ 2336801 h 3921126"/>
                <a:gd name="connsiteX27" fmla="*/ 749300 w 1781175"/>
                <a:gd name="connsiteY27" fmla="*/ 2336801 h 3921126"/>
                <a:gd name="connsiteX28" fmla="*/ 749300 w 1781175"/>
                <a:gd name="connsiteY28" fmla="*/ 2336801 h 3921126"/>
                <a:gd name="connsiteX29" fmla="*/ 349250 w 1781175"/>
                <a:gd name="connsiteY29" fmla="*/ 2457451 h 3921126"/>
                <a:gd name="connsiteX30" fmla="*/ 727075 w 1781175"/>
                <a:gd name="connsiteY30" fmla="*/ 2339976 h 3921126"/>
                <a:gd name="connsiteX31" fmla="*/ 730250 w 1781175"/>
                <a:gd name="connsiteY31" fmla="*/ 2270126 h 3921126"/>
                <a:gd name="connsiteX32" fmla="*/ 339725 w 1781175"/>
                <a:gd name="connsiteY32" fmla="*/ 2327276 h 3921126"/>
                <a:gd name="connsiteX33" fmla="*/ 717550 w 1781175"/>
                <a:gd name="connsiteY33" fmla="*/ 2270126 h 3921126"/>
                <a:gd name="connsiteX34" fmla="*/ 717550 w 1781175"/>
                <a:gd name="connsiteY34" fmla="*/ 2206626 h 3921126"/>
                <a:gd name="connsiteX35" fmla="*/ 368300 w 1781175"/>
                <a:gd name="connsiteY35" fmla="*/ 2228851 h 3921126"/>
                <a:gd name="connsiteX36" fmla="*/ 711200 w 1781175"/>
                <a:gd name="connsiteY36" fmla="*/ 2203451 h 3921126"/>
                <a:gd name="connsiteX37" fmla="*/ 711200 w 1781175"/>
                <a:gd name="connsiteY37" fmla="*/ 2203451 h 3921126"/>
                <a:gd name="connsiteX38" fmla="*/ 711200 w 1781175"/>
                <a:gd name="connsiteY38" fmla="*/ 2203451 h 3921126"/>
                <a:gd name="connsiteX39" fmla="*/ 889000 w 1781175"/>
                <a:gd name="connsiteY39" fmla="*/ 2174876 h 3921126"/>
                <a:gd name="connsiteX40" fmla="*/ 714375 w 1781175"/>
                <a:gd name="connsiteY40" fmla="*/ 2184401 h 3921126"/>
                <a:gd name="connsiteX41" fmla="*/ 377825 w 1781175"/>
                <a:gd name="connsiteY41" fmla="*/ 2209801 h 3921126"/>
                <a:gd name="connsiteX42" fmla="*/ 698500 w 1781175"/>
                <a:gd name="connsiteY42" fmla="*/ 2184401 h 3921126"/>
                <a:gd name="connsiteX43" fmla="*/ 701675 w 1781175"/>
                <a:gd name="connsiteY43" fmla="*/ 2085976 h 3921126"/>
                <a:gd name="connsiteX44" fmla="*/ 663575 w 1781175"/>
                <a:gd name="connsiteY44" fmla="*/ 2079626 h 3921126"/>
                <a:gd name="connsiteX45" fmla="*/ 669925 w 1781175"/>
                <a:gd name="connsiteY45" fmla="*/ 2009776 h 3921126"/>
                <a:gd name="connsiteX46" fmla="*/ 609600 w 1781175"/>
                <a:gd name="connsiteY46" fmla="*/ 2003426 h 3921126"/>
                <a:gd name="connsiteX47" fmla="*/ 615950 w 1781175"/>
                <a:gd name="connsiteY47" fmla="*/ 1927226 h 3921126"/>
                <a:gd name="connsiteX48" fmla="*/ 168275 w 1781175"/>
                <a:gd name="connsiteY48" fmla="*/ 2003426 h 3921126"/>
                <a:gd name="connsiteX49" fmla="*/ 600075 w 1781175"/>
                <a:gd name="connsiteY49" fmla="*/ 1927226 h 3921126"/>
                <a:gd name="connsiteX50" fmla="*/ 609600 w 1781175"/>
                <a:gd name="connsiteY50" fmla="*/ 1876426 h 3921126"/>
                <a:gd name="connsiteX51" fmla="*/ 568325 w 1781175"/>
                <a:gd name="connsiteY51" fmla="*/ 1876426 h 3921126"/>
                <a:gd name="connsiteX52" fmla="*/ 574675 w 1781175"/>
                <a:gd name="connsiteY52" fmla="*/ 1809751 h 3921126"/>
                <a:gd name="connsiteX53" fmla="*/ 234950 w 1781175"/>
                <a:gd name="connsiteY53" fmla="*/ 1847851 h 3921126"/>
                <a:gd name="connsiteX54" fmla="*/ 555625 w 1781175"/>
                <a:gd name="connsiteY54" fmla="*/ 1809751 h 3921126"/>
                <a:gd name="connsiteX55" fmla="*/ 555625 w 1781175"/>
                <a:gd name="connsiteY55" fmla="*/ 1771651 h 3921126"/>
                <a:gd name="connsiteX56" fmla="*/ 123825 w 1781175"/>
                <a:gd name="connsiteY56" fmla="*/ 1812926 h 3921126"/>
                <a:gd name="connsiteX57" fmla="*/ 546100 w 1781175"/>
                <a:gd name="connsiteY57" fmla="*/ 1768476 h 3921126"/>
                <a:gd name="connsiteX58" fmla="*/ 546100 w 1781175"/>
                <a:gd name="connsiteY58" fmla="*/ 1628776 h 3921126"/>
                <a:gd name="connsiteX59" fmla="*/ 146050 w 1781175"/>
                <a:gd name="connsiteY59" fmla="*/ 1698626 h 3921126"/>
                <a:gd name="connsiteX60" fmla="*/ 520700 w 1781175"/>
                <a:gd name="connsiteY60" fmla="*/ 1619251 h 3921126"/>
                <a:gd name="connsiteX61" fmla="*/ 530225 w 1781175"/>
                <a:gd name="connsiteY61" fmla="*/ 1447801 h 3921126"/>
                <a:gd name="connsiteX62" fmla="*/ 41275 w 1781175"/>
                <a:gd name="connsiteY62" fmla="*/ 1514476 h 3921126"/>
                <a:gd name="connsiteX63" fmla="*/ 514350 w 1781175"/>
                <a:gd name="connsiteY63" fmla="*/ 1450976 h 3921126"/>
                <a:gd name="connsiteX64" fmla="*/ 517525 w 1781175"/>
                <a:gd name="connsiteY64" fmla="*/ 1317626 h 3921126"/>
                <a:gd name="connsiteX65" fmla="*/ 460375 w 1781175"/>
                <a:gd name="connsiteY65" fmla="*/ 1314451 h 3921126"/>
                <a:gd name="connsiteX66" fmla="*/ 469900 w 1781175"/>
                <a:gd name="connsiteY66" fmla="*/ 1133476 h 3921126"/>
                <a:gd name="connsiteX67" fmla="*/ 441325 w 1781175"/>
                <a:gd name="connsiteY67" fmla="*/ 1127126 h 3921126"/>
                <a:gd name="connsiteX68" fmla="*/ 444500 w 1781175"/>
                <a:gd name="connsiteY68" fmla="*/ 1050926 h 3921126"/>
                <a:gd name="connsiteX69" fmla="*/ 88900 w 1781175"/>
                <a:gd name="connsiteY69" fmla="*/ 1143001 h 3921126"/>
                <a:gd name="connsiteX70" fmla="*/ 431800 w 1781175"/>
                <a:gd name="connsiteY70" fmla="*/ 1054101 h 3921126"/>
                <a:gd name="connsiteX71" fmla="*/ 441325 w 1781175"/>
                <a:gd name="connsiteY71" fmla="*/ 873126 h 3921126"/>
                <a:gd name="connsiteX72" fmla="*/ 0 w 1781175"/>
                <a:gd name="connsiteY72" fmla="*/ 952501 h 3921126"/>
                <a:gd name="connsiteX73" fmla="*/ 396875 w 1781175"/>
                <a:gd name="connsiteY73" fmla="*/ 879476 h 3921126"/>
                <a:gd name="connsiteX74" fmla="*/ 400050 w 1781175"/>
                <a:gd name="connsiteY74" fmla="*/ 781051 h 3921126"/>
                <a:gd name="connsiteX75" fmla="*/ 365125 w 1781175"/>
                <a:gd name="connsiteY75" fmla="*/ 777876 h 3921126"/>
                <a:gd name="connsiteX76" fmla="*/ 365125 w 1781175"/>
                <a:gd name="connsiteY76" fmla="*/ 676276 h 3921126"/>
                <a:gd name="connsiteX77" fmla="*/ 346075 w 1781175"/>
                <a:gd name="connsiteY77" fmla="*/ 571501 h 3921126"/>
                <a:gd name="connsiteX78" fmla="*/ 336550 w 1781175"/>
                <a:gd name="connsiteY78" fmla="*/ 479426 h 3921126"/>
                <a:gd name="connsiteX79" fmla="*/ 301625 w 1781175"/>
                <a:gd name="connsiteY79" fmla="*/ 346076 h 3921126"/>
                <a:gd name="connsiteX80" fmla="*/ 266700 w 1781175"/>
                <a:gd name="connsiteY80" fmla="*/ 266701 h 3921126"/>
                <a:gd name="connsiteX81" fmla="*/ 250825 w 1781175"/>
                <a:gd name="connsiteY81" fmla="*/ 165101 h 3921126"/>
                <a:gd name="connsiteX82" fmla="*/ 244475 w 1781175"/>
                <a:gd name="connsiteY82" fmla="*/ 82551 h 3921126"/>
                <a:gd name="connsiteX83" fmla="*/ 206375 w 1781175"/>
                <a:gd name="connsiteY83" fmla="*/ 60326 h 3921126"/>
                <a:gd name="connsiteX84" fmla="*/ 200025 w 1781175"/>
                <a:gd name="connsiteY84" fmla="*/ 0 h 3921126"/>
                <a:gd name="connsiteX0" fmla="*/ 1778000 w 1781175"/>
                <a:gd name="connsiteY0" fmla="*/ 3921126 h 3921126"/>
                <a:gd name="connsiteX1" fmla="*/ 1781175 w 1781175"/>
                <a:gd name="connsiteY1" fmla="*/ 3556001 h 3921126"/>
                <a:gd name="connsiteX2" fmla="*/ 1568450 w 1781175"/>
                <a:gd name="connsiteY2" fmla="*/ 3556001 h 3921126"/>
                <a:gd name="connsiteX3" fmla="*/ 1571625 w 1781175"/>
                <a:gd name="connsiteY3" fmla="*/ 3435351 h 3921126"/>
                <a:gd name="connsiteX4" fmla="*/ 1508125 w 1781175"/>
                <a:gd name="connsiteY4" fmla="*/ 3435351 h 3921126"/>
                <a:gd name="connsiteX5" fmla="*/ 1511300 w 1781175"/>
                <a:gd name="connsiteY5" fmla="*/ 3321051 h 3921126"/>
                <a:gd name="connsiteX6" fmla="*/ 1292225 w 1781175"/>
                <a:gd name="connsiteY6" fmla="*/ 3324226 h 3921126"/>
                <a:gd name="connsiteX7" fmla="*/ 1295400 w 1781175"/>
                <a:gd name="connsiteY7" fmla="*/ 3228976 h 3921126"/>
                <a:gd name="connsiteX8" fmla="*/ 1162050 w 1781175"/>
                <a:gd name="connsiteY8" fmla="*/ 3228976 h 3921126"/>
                <a:gd name="connsiteX9" fmla="*/ 1162050 w 1781175"/>
                <a:gd name="connsiteY9" fmla="*/ 3143251 h 3921126"/>
                <a:gd name="connsiteX10" fmla="*/ 1035050 w 1781175"/>
                <a:gd name="connsiteY10" fmla="*/ 3140076 h 3921126"/>
                <a:gd name="connsiteX11" fmla="*/ 1038225 w 1781175"/>
                <a:gd name="connsiteY11" fmla="*/ 3067051 h 3921126"/>
                <a:gd name="connsiteX12" fmla="*/ 987425 w 1781175"/>
                <a:gd name="connsiteY12" fmla="*/ 3067051 h 3921126"/>
                <a:gd name="connsiteX13" fmla="*/ 990600 w 1781175"/>
                <a:gd name="connsiteY13" fmla="*/ 2990851 h 3921126"/>
                <a:gd name="connsiteX14" fmla="*/ 933450 w 1781175"/>
                <a:gd name="connsiteY14" fmla="*/ 2990851 h 3921126"/>
                <a:gd name="connsiteX15" fmla="*/ 936625 w 1781175"/>
                <a:gd name="connsiteY15" fmla="*/ 2908301 h 3921126"/>
                <a:gd name="connsiteX16" fmla="*/ 892175 w 1781175"/>
                <a:gd name="connsiteY16" fmla="*/ 2908301 h 3921126"/>
                <a:gd name="connsiteX17" fmla="*/ 898525 w 1781175"/>
                <a:gd name="connsiteY17" fmla="*/ 2841626 h 3921126"/>
                <a:gd name="connsiteX18" fmla="*/ 679450 w 1781175"/>
                <a:gd name="connsiteY18" fmla="*/ 2867026 h 3921126"/>
                <a:gd name="connsiteX19" fmla="*/ 885825 w 1781175"/>
                <a:gd name="connsiteY19" fmla="*/ 2841626 h 3921126"/>
                <a:gd name="connsiteX20" fmla="*/ 889000 w 1781175"/>
                <a:gd name="connsiteY20" fmla="*/ 2692401 h 3921126"/>
                <a:gd name="connsiteX21" fmla="*/ 806450 w 1781175"/>
                <a:gd name="connsiteY21" fmla="*/ 2689226 h 3921126"/>
                <a:gd name="connsiteX22" fmla="*/ 812800 w 1781175"/>
                <a:gd name="connsiteY22" fmla="*/ 2619376 h 3921126"/>
                <a:gd name="connsiteX23" fmla="*/ 765175 w 1781175"/>
                <a:gd name="connsiteY23" fmla="*/ 2616201 h 3921126"/>
                <a:gd name="connsiteX24" fmla="*/ 774700 w 1781175"/>
                <a:gd name="connsiteY24" fmla="*/ 2479676 h 3921126"/>
                <a:gd name="connsiteX25" fmla="*/ 746125 w 1781175"/>
                <a:gd name="connsiteY25" fmla="*/ 2476501 h 3921126"/>
                <a:gd name="connsiteX26" fmla="*/ 749300 w 1781175"/>
                <a:gd name="connsiteY26" fmla="*/ 2336801 h 3921126"/>
                <a:gd name="connsiteX27" fmla="*/ 749300 w 1781175"/>
                <a:gd name="connsiteY27" fmla="*/ 2336801 h 3921126"/>
                <a:gd name="connsiteX28" fmla="*/ 749300 w 1781175"/>
                <a:gd name="connsiteY28" fmla="*/ 2336801 h 3921126"/>
                <a:gd name="connsiteX29" fmla="*/ 349250 w 1781175"/>
                <a:gd name="connsiteY29" fmla="*/ 2457451 h 3921126"/>
                <a:gd name="connsiteX30" fmla="*/ 727075 w 1781175"/>
                <a:gd name="connsiteY30" fmla="*/ 2339976 h 3921126"/>
                <a:gd name="connsiteX31" fmla="*/ 730250 w 1781175"/>
                <a:gd name="connsiteY31" fmla="*/ 2270126 h 3921126"/>
                <a:gd name="connsiteX32" fmla="*/ 339725 w 1781175"/>
                <a:gd name="connsiteY32" fmla="*/ 2327276 h 3921126"/>
                <a:gd name="connsiteX33" fmla="*/ 717550 w 1781175"/>
                <a:gd name="connsiteY33" fmla="*/ 2270126 h 3921126"/>
                <a:gd name="connsiteX34" fmla="*/ 717550 w 1781175"/>
                <a:gd name="connsiteY34" fmla="*/ 2206626 h 3921126"/>
                <a:gd name="connsiteX35" fmla="*/ 368300 w 1781175"/>
                <a:gd name="connsiteY35" fmla="*/ 2228851 h 3921126"/>
                <a:gd name="connsiteX36" fmla="*/ 711200 w 1781175"/>
                <a:gd name="connsiteY36" fmla="*/ 2203451 h 3921126"/>
                <a:gd name="connsiteX37" fmla="*/ 711200 w 1781175"/>
                <a:gd name="connsiteY37" fmla="*/ 2203451 h 3921126"/>
                <a:gd name="connsiteX38" fmla="*/ 711200 w 1781175"/>
                <a:gd name="connsiteY38" fmla="*/ 2203451 h 3921126"/>
                <a:gd name="connsiteX39" fmla="*/ 889000 w 1781175"/>
                <a:gd name="connsiteY39" fmla="*/ 2174876 h 3921126"/>
                <a:gd name="connsiteX40" fmla="*/ 714375 w 1781175"/>
                <a:gd name="connsiteY40" fmla="*/ 2184401 h 3921126"/>
                <a:gd name="connsiteX41" fmla="*/ 377825 w 1781175"/>
                <a:gd name="connsiteY41" fmla="*/ 2209801 h 3921126"/>
                <a:gd name="connsiteX42" fmla="*/ 698500 w 1781175"/>
                <a:gd name="connsiteY42" fmla="*/ 2184401 h 3921126"/>
                <a:gd name="connsiteX43" fmla="*/ 701675 w 1781175"/>
                <a:gd name="connsiteY43" fmla="*/ 2085976 h 3921126"/>
                <a:gd name="connsiteX44" fmla="*/ 663575 w 1781175"/>
                <a:gd name="connsiteY44" fmla="*/ 2079626 h 3921126"/>
                <a:gd name="connsiteX45" fmla="*/ 669925 w 1781175"/>
                <a:gd name="connsiteY45" fmla="*/ 2009776 h 3921126"/>
                <a:gd name="connsiteX46" fmla="*/ 609600 w 1781175"/>
                <a:gd name="connsiteY46" fmla="*/ 2003426 h 3921126"/>
                <a:gd name="connsiteX47" fmla="*/ 615950 w 1781175"/>
                <a:gd name="connsiteY47" fmla="*/ 1927226 h 3921126"/>
                <a:gd name="connsiteX48" fmla="*/ 168275 w 1781175"/>
                <a:gd name="connsiteY48" fmla="*/ 2003426 h 3921126"/>
                <a:gd name="connsiteX49" fmla="*/ 600075 w 1781175"/>
                <a:gd name="connsiteY49" fmla="*/ 1927226 h 3921126"/>
                <a:gd name="connsiteX50" fmla="*/ 609600 w 1781175"/>
                <a:gd name="connsiteY50" fmla="*/ 1876426 h 3921126"/>
                <a:gd name="connsiteX51" fmla="*/ 568325 w 1781175"/>
                <a:gd name="connsiteY51" fmla="*/ 1876426 h 3921126"/>
                <a:gd name="connsiteX52" fmla="*/ 574675 w 1781175"/>
                <a:gd name="connsiteY52" fmla="*/ 1809751 h 3921126"/>
                <a:gd name="connsiteX53" fmla="*/ 234950 w 1781175"/>
                <a:gd name="connsiteY53" fmla="*/ 1847851 h 3921126"/>
                <a:gd name="connsiteX54" fmla="*/ 555625 w 1781175"/>
                <a:gd name="connsiteY54" fmla="*/ 1809751 h 3921126"/>
                <a:gd name="connsiteX55" fmla="*/ 555625 w 1781175"/>
                <a:gd name="connsiteY55" fmla="*/ 1771651 h 3921126"/>
                <a:gd name="connsiteX56" fmla="*/ 123825 w 1781175"/>
                <a:gd name="connsiteY56" fmla="*/ 1812926 h 3921126"/>
                <a:gd name="connsiteX57" fmla="*/ 546100 w 1781175"/>
                <a:gd name="connsiteY57" fmla="*/ 1768476 h 3921126"/>
                <a:gd name="connsiteX58" fmla="*/ 546100 w 1781175"/>
                <a:gd name="connsiteY58" fmla="*/ 1628776 h 3921126"/>
                <a:gd name="connsiteX59" fmla="*/ 146050 w 1781175"/>
                <a:gd name="connsiteY59" fmla="*/ 1698626 h 3921126"/>
                <a:gd name="connsiteX60" fmla="*/ 520700 w 1781175"/>
                <a:gd name="connsiteY60" fmla="*/ 1619251 h 3921126"/>
                <a:gd name="connsiteX61" fmla="*/ 530225 w 1781175"/>
                <a:gd name="connsiteY61" fmla="*/ 1447801 h 3921126"/>
                <a:gd name="connsiteX62" fmla="*/ 41275 w 1781175"/>
                <a:gd name="connsiteY62" fmla="*/ 1514476 h 3921126"/>
                <a:gd name="connsiteX63" fmla="*/ 514350 w 1781175"/>
                <a:gd name="connsiteY63" fmla="*/ 1450976 h 3921126"/>
                <a:gd name="connsiteX64" fmla="*/ 517525 w 1781175"/>
                <a:gd name="connsiteY64" fmla="*/ 1317626 h 3921126"/>
                <a:gd name="connsiteX65" fmla="*/ 460375 w 1781175"/>
                <a:gd name="connsiteY65" fmla="*/ 1314451 h 3921126"/>
                <a:gd name="connsiteX66" fmla="*/ 469900 w 1781175"/>
                <a:gd name="connsiteY66" fmla="*/ 1133476 h 3921126"/>
                <a:gd name="connsiteX67" fmla="*/ 441325 w 1781175"/>
                <a:gd name="connsiteY67" fmla="*/ 1127126 h 3921126"/>
                <a:gd name="connsiteX68" fmla="*/ 444500 w 1781175"/>
                <a:gd name="connsiteY68" fmla="*/ 1050926 h 3921126"/>
                <a:gd name="connsiteX69" fmla="*/ 88900 w 1781175"/>
                <a:gd name="connsiteY69" fmla="*/ 1143001 h 3921126"/>
                <a:gd name="connsiteX70" fmla="*/ 431800 w 1781175"/>
                <a:gd name="connsiteY70" fmla="*/ 1054101 h 3921126"/>
                <a:gd name="connsiteX71" fmla="*/ 441325 w 1781175"/>
                <a:gd name="connsiteY71" fmla="*/ 873126 h 3921126"/>
                <a:gd name="connsiteX72" fmla="*/ 0 w 1781175"/>
                <a:gd name="connsiteY72" fmla="*/ 952501 h 3921126"/>
                <a:gd name="connsiteX73" fmla="*/ 396875 w 1781175"/>
                <a:gd name="connsiteY73" fmla="*/ 879476 h 3921126"/>
                <a:gd name="connsiteX74" fmla="*/ 400050 w 1781175"/>
                <a:gd name="connsiteY74" fmla="*/ 781051 h 3921126"/>
                <a:gd name="connsiteX75" fmla="*/ 365125 w 1781175"/>
                <a:gd name="connsiteY75" fmla="*/ 777876 h 3921126"/>
                <a:gd name="connsiteX76" fmla="*/ 365125 w 1781175"/>
                <a:gd name="connsiteY76" fmla="*/ 676276 h 3921126"/>
                <a:gd name="connsiteX77" fmla="*/ 346075 w 1781175"/>
                <a:gd name="connsiteY77" fmla="*/ 571501 h 3921126"/>
                <a:gd name="connsiteX78" fmla="*/ 336550 w 1781175"/>
                <a:gd name="connsiteY78" fmla="*/ 479426 h 3921126"/>
                <a:gd name="connsiteX79" fmla="*/ 301625 w 1781175"/>
                <a:gd name="connsiteY79" fmla="*/ 346076 h 3921126"/>
                <a:gd name="connsiteX80" fmla="*/ 266700 w 1781175"/>
                <a:gd name="connsiteY80" fmla="*/ 266701 h 3921126"/>
                <a:gd name="connsiteX81" fmla="*/ 250825 w 1781175"/>
                <a:gd name="connsiteY81" fmla="*/ 165101 h 3921126"/>
                <a:gd name="connsiteX82" fmla="*/ 244475 w 1781175"/>
                <a:gd name="connsiteY82" fmla="*/ 82551 h 3921126"/>
                <a:gd name="connsiteX83" fmla="*/ 206375 w 1781175"/>
                <a:gd name="connsiteY83" fmla="*/ 60326 h 3921126"/>
                <a:gd name="connsiteX84" fmla="*/ 200025 w 1781175"/>
                <a:gd name="connsiteY84" fmla="*/ 0 h 3921126"/>
                <a:gd name="connsiteX0" fmla="*/ 1778000 w 1781175"/>
                <a:gd name="connsiteY0" fmla="*/ 3921126 h 3921126"/>
                <a:gd name="connsiteX1" fmla="*/ 1781175 w 1781175"/>
                <a:gd name="connsiteY1" fmla="*/ 3556001 h 3921126"/>
                <a:gd name="connsiteX2" fmla="*/ 1568450 w 1781175"/>
                <a:gd name="connsiteY2" fmla="*/ 3556001 h 3921126"/>
                <a:gd name="connsiteX3" fmla="*/ 1571625 w 1781175"/>
                <a:gd name="connsiteY3" fmla="*/ 3435351 h 3921126"/>
                <a:gd name="connsiteX4" fmla="*/ 1508125 w 1781175"/>
                <a:gd name="connsiteY4" fmla="*/ 3435351 h 3921126"/>
                <a:gd name="connsiteX5" fmla="*/ 1511300 w 1781175"/>
                <a:gd name="connsiteY5" fmla="*/ 3321051 h 3921126"/>
                <a:gd name="connsiteX6" fmla="*/ 1292225 w 1781175"/>
                <a:gd name="connsiteY6" fmla="*/ 3324226 h 3921126"/>
                <a:gd name="connsiteX7" fmla="*/ 1295400 w 1781175"/>
                <a:gd name="connsiteY7" fmla="*/ 3228976 h 3921126"/>
                <a:gd name="connsiteX8" fmla="*/ 1162050 w 1781175"/>
                <a:gd name="connsiteY8" fmla="*/ 3228976 h 3921126"/>
                <a:gd name="connsiteX9" fmla="*/ 1162050 w 1781175"/>
                <a:gd name="connsiteY9" fmla="*/ 3143251 h 3921126"/>
                <a:gd name="connsiteX10" fmla="*/ 1035050 w 1781175"/>
                <a:gd name="connsiteY10" fmla="*/ 3140076 h 3921126"/>
                <a:gd name="connsiteX11" fmla="*/ 1038225 w 1781175"/>
                <a:gd name="connsiteY11" fmla="*/ 3067051 h 3921126"/>
                <a:gd name="connsiteX12" fmla="*/ 987425 w 1781175"/>
                <a:gd name="connsiteY12" fmla="*/ 3067051 h 3921126"/>
                <a:gd name="connsiteX13" fmla="*/ 990600 w 1781175"/>
                <a:gd name="connsiteY13" fmla="*/ 2990851 h 3921126"/>
                <a:gd name="connsiteX14" fmla="*/ 933450 w 1781175"/>
                <a:gd name="connsiteY14" fmla="*/ 2990851 h 3921126"/>
                <a:gd name="connsiteX15" fmla="*/ 936625 w 1781175"/>
                <a:gd name="connsiteY15" fmla="*/ 2908301 h 3921126"/>
                <a:gd name="connsiteX16" fmla="*/ 892175 w 1781175"/>
                <a:gd name="connsiteY16" fmla="*/ 2908301 h 3921126"/>
                <a:gd name="connsiteX17" fmla="*/ 898525 w 1781175"/>
                <a:gd name="connsiteY17" fmla="*/ 2841626 h 3921126"/>
                <a:gd name="connsiteX18" fmla="*/ 679450 w 1781175"/>
                <a:gd name="connsiteY18" fmla="*/ 2867026 h 3921126"/>
                <a:gd name="connsiteX19" fmla="*/ 885825 w 1781175"/>
                <a:gd name="connsiteY19" fmla="*/ 2841626 h 3921126"/>
                <a:gd name="connsiteX20" fmla="*/ 889000 w 1781175"/>
                <a:gd name="connsiteY20" fmla="*/ 2692401 h 3921126"/>
                <a:gd name="connsiteX21" fmla="*/ 806450 w 1781175"/>
                <a:gd name="connsiteY21" fmla="*/ 2689226 h 3921126"/>
                <a:gd name="connsiteX22" fmla="*/ 812800 w 1781175"/>
                <a:gd name="connsiteY22" fmla="*/ 2619376 h 3921126"/>
                <a:gd name="connsiteX23" fmla="*/ 765175 w 1781175"/>
                <a:gd name="connsiteY23" fmla="*/ 2616201 h 3921126"/>
                <a:gd name="connsiteX24" fmla="*/ 774700 w 1781175"/>
                <a:gd name="connsiteY24" fmla="*/ 2479676 h 3921126"/>
                <a:gd name="connsiteX25" fmla="*/ 746125 w 1781175"/>
                <a:gd name="connsiteY25" fmla="*/ 2476501 h 3921126"/>
                <a:gd name="connsiteX26" fmla="*/ 749300 w 1781175"/>
                <a:gd name="connsiteY26" fmla="*/ 2336801 h 3921126"/>
                <a:gd name="connsiteX27" fmla="*/ 749300 w 1781175"/>
                <a:gd name="connsiteY27" fmla="*/ 2336801 h 3921126"/>
                <a:gd name="connsiteX28" fmla="*/ 749300 w 1781175"/>
                <a:gd name="connsiteY28" fmla="*/ 2336801 h 3921126"/>
                <a:gd name="connsiteX29" fmla="*/ 349250 w 1781175"/>
                <a:gd name="connsiteY29" fmla="*/ 2457451 h 3921126"/>
                <a:gd name="connsiteX30" fmla="*/ 727075 w 1781175"/>
                <a:gd name="connsiteY30" fmla="*/ 2339976 h 3921126"/>
                <a:gd name="connsiteX31" fmla="*/ 730250 w 1781175"/>
                <a:gd name="connsiteY31" fmla="*/ 2270126 h 3921126"/>
                <a:gd name="connsiteX32" fmla="*/ 339725 w 1781175"/>
                <a:gd name="connsiteY32" fmla="*/ 2327276 h 3921126"/>
                <a:gd name="connsiteX33" fmla="*/ 717550 w 1781175"/>
                <a:gd name="connsiteY33" fmla="*/ 2270126 h 3921126"/>
                <a:gd name="connsiteX34" fmla="*/ 717550 w 1781175"/>
                <a:gd name="connsiteY34" fmla="*/ 2206626 h 3921126"/>
                <a:gd name="connsiteX35" fmla="*/ 368300 w 1781175"/>
                <a:gd name="connsiteY35" fmla="*/ 2228851 h 3921126"/>
                <a:gd name="connsiteX36" fmla="*/ 711200 w 1781175"/>
                <a:gd name="connsiteY36" fmla="*/ 2203451 h 3921126"/>
                <a:gd name="connsiteX37" fmla="*/ 711200 w 1781175"/>
                <a:gd name="connsiteY37" fmla="*/ 2203451 h 3921126"/>
                <a:gd name="connsiteX38" fmla="*/ 711200 w 1781175"/>
                <a:gd name="connsiteY38" fmla="*/ 2203451 h 3921126"/>
                <a:gd name="connsiteX39" fmla="*/ 889000 w 1781175"/>
                <a:gd name="connsiteY39" fmla="*/ 2174876 h 3921126"/>
                <a:gd name="connsiteX40" fmla="*/ 714375 w 1781175"/>
                <a:gd name="connsiteY40" fmla="*/ 2184401 h 3921126"/>
                <a:gd name="connsiteX41" fmla="*/ 377825 w 1781175"/>
                <a:gd name="connsiteY41" fmla="*/ 2209801 h 3921126"/>
                <a:gd name="connsiteX42" fmla="*/ 698500 w 1781175"/>
                <a:gd name="connsiteY42" fmla="*/ 2184401 h 3921126"/>
                <a:gd name="connsiteX43" fmla="*/ 701675 w 1781175"/>
                <a:gd name="connsiteY43" fmla="*/ 2085976 h 3921126"/>
                <a:gd name="connsiteX44" fmla="*/ 663575 w 1781175"/>
                <a:gd name="connsiteY44" fmla="*/ 2079626 h 3921126"/>
                <a:gd name="connsiteX45" fmla="*/ 669925 w 1781175"/>
                <a:gd name="connsiteY45" fmla="*/ 2009776 h 3921126"/>
                <a:gd name="connsiteX46" fmla="*/ 609600 w 1781175"/>
                <a:gd name="connsiteY46" fmla="*/ 2003426 h 3921126"/>
                <a:gd name="connsiteX47" fmla="*/ 615950 w 1781175"/>
                <a:gd name="connsiteY47" fmla="*/ 1927226 h 3921126"/>
                <a:gd name="connsiteX48" fmla="*/ 168275 w 1781175"/>
                <a:gd name="connsiteY48" fmla="*/ 2003426 h 3921126"/>
                <a:gd name="connsiteX49" fmla="*/ 600075 w 1781175"/>
                <a:gd name="connsiteY49" fmla="*/ 1927226 h 3921126"/>
                <a:gd name="connsiteX50" fmla="*/ 609600 w 1781175"/>
                <a:gd name="connsiteY50" fmla="*/ 1876426 h 3921126"/>
                <a:gd name="connsiteX51" fmla="*/ 568325 w 1781175"/>
                <a:gd name="connsiteY51" fmla="*/ 1876426 h 3921126"/>
                <a:gd name="connsiteX52" fmla="*/ 574675 w 1781175"/>
                <a:gd name="connsiteY52" fmla="*/ 1809751 h 3921126"/>
                <a:gd name="connsiteX53" fmla="*/ 234950 w 1781175"/>
                <a:gd name="connsiteY53" fmla="*/ 1847851 h 3921126"/>
                <a:gd name="connsiteX54" fmla="*/ 555625 w 1781175"/>
                <a:gd name="connsiteY54" fmla="*/ 1809751 h 3921126"/>
                <a:gd name="connsiteX55" fmla="*/ 555625 w 1781175"/>
                <a:gd name="connsiteY55" fmla="*/ 1771651 h 3921126"/>
                <a:gd name="connsiteX56" fmla="*/ 123825 w 1781175"/>
                <a:gd name="connsiteY56" fmla="*/ 1812926 h 3921126"/>
                <a:gd name="connsiteX57" fmla="*/ 546100 w 1781175"/>
                <a:gd name="connsiteY57" fmla="*/ 1768476 h 3921126"/>
                <a:gd name="connsiteX58" fmla="*/ 546100 w 1781175"/>
                <a:gd name="connsiteY58" fmla="*/ 1628776 h 3921126"/>
                <a:gd name="connsiteX59" fmla="*/ 146050 w 1781175"/>
                <a:gd name="connsiteY59" fmla="*/ 1698626 h 3921126"/>
                <a:gd name="connsiteX60" fmla="*/ 520700 w 1781175"/>
                <a:gd name="connsiteY60" fmla="*/ 1619251 h 3921126"/>
                <a:gd name="connsiteX61" fmla="*/ 530225 w 1781175"/>
                <a:gd name="connsiteY61" fmla="*/ 1447801 h 3921126"/>
                <a:gd name="connsiteX62" fmla="*/ 41275 w 1781175"/>
                <a:gd name="connsiteY62" fmla="*/ 1514476 h 3921126"/>
                <a:gd name="connsiteX63" fmla="*/ 514350 w 1781175"/>
                <a:gd name="connsiteY63" fmla="*/ 1450976 h 3921126"/>
                <a:gd name="connsiteX64" fmla="*/ 517525 w 1781175"/>
                <a:gd name="connsiteY64" fmla="*/ 1317626 h 3921126"/>
                <a:gd name="connsiteX65" fmla="*/ 460375 w 1781175"/>
                <a:gd name="connsiteY65" fmla="*/ 1314451 h 3921126"/>
                <a:gd name="connsiteX66" fmla="*/ 469900 w 1781175"/>
                <a:gd name="connsiteY66" fmla="*/ 1133476 h 3921126"/>
                <a:gd name="connsiteX67" fmla="*/ 441325 w 1781175"/>
                <a:gd name="connsiteY67" fmla="*/ 1127126 h 3921126"/>
                <a:gd name="connsiteX68" fmla="*/ 444500 w 1781175"/>
                <a:gd name="connsiteY68" fmla="*/ 1050926 h 3921126"/>
                <a:gd name="connsiteX69" fmla="*/ 88900 w 1781175"/>
                <a:gd name="connsiteY69" fmla="*/ 1143001 h 3921126"/>
                <a:gd name="connsiteX70" fmla="*/ 431800 w 1781175"/>
                <a:gd name="connsiteY70" fmla="*/ 1054101 h 3921126"/>
                <a:gd name="connsiteX71" fmla="*/ 441325 w 1781175"/>
                <a:gd name="connsiteY71" fmla="*/ 873126 h 3921126"/>
                <a:gd name="connsiteX72" fmla="*/ 0 w 1781175"/>
                <a:gd name="connsiteY72" fmla="*/ 952501 h 3921126"/>
                <a:gd name="connsiteX73" fmla="*/ 396875 w 1781175"/>
                <a:gd name="connsiteY73" fmla="*/ 879476 h 3921126"/>
                <a:gd name="connsiteX74" fmla="*/ 400050 w 1781175"/>
                <a:gd name="connsiteY74" fmla="*/ 781051 h 3921126"/>
                <a:gd name="connsiteX75" fmla="*/ 365125 w 1781175"/>
                <a:gd name="connsiteY75" fmla="*/ 777876 h 3921126"/>
                <a:gd name="connsiteX76" fmla="*/ 365125 w 1781175"/>
                <a:gd name="connsiteY76" fmla="*/ 676276 h 3921126"/>
                <a:gd name="connsiteX77" fmla="*/ 346075 w 1781175"/>
                <a:gd name="connsiteY77" fmla="*/ 571501 h 3921126"/>
                <a:gd name="connsiteX78" fmla="*/ 336550 w 1781175"/>
                <a:gd name="connsiteY78" fmla="*/ 479426 h 3921126"/>
                <a:gd name="connsiteX79" fmla="*/ 301625 w 1781175"/>
                <a:gd name="connsiteY79" fmla="*/ 346076 h 3921126"/>
                <a:gd name="connsiteX80" fmla="*/ 266700 w 1781175"/>
                <a:gd name="connsiteY80" fmla="*/ 266701 h 3921126"/>
                <a:gd name="connsiteX81" fmla="*/ 250825 w 1781175"/>
                <a:gd name="connsiteY81" fmla="*/ 165101 h 3921126"/>
                <a:gd name="connsiteX82" fmla="*/ 244475 w 1781175"/>
                <a:gd name="connsiteY82" fmla="*/ 82551 h 3921126"/>
                <a:gd name="connsiteX83" fmla="*/ 206375 w 1781175"/>
                <a:gd name="connsiteY83" fmla="*/ 60326 h 3921126"/>
                <a:gd name="connsiteX84" fmla="*/ 200025 w 1781175"/>
                <a:gd name="connsiteY84" fmla="*/ 0 h 3921126"/>
                <a:gd name="connsiteX0" fmla="*/ 1736725 w 1739900"/>
                <a:gd name="connsiteY0" fmla="*/ 3921126 h 3921126"/>
                <a:gd name="connsiteX1" fmla="*/ 1739900 w 1739900"/>
                <a:gd name="connsiteY1" fmla="*/ 3556001 h 3921126"/>
                <a:gd name="connsiteX2" fmla="*/ 1527175 w 1739900"/>
                <a:gd name="connsiteY2" fmla="*/ 3556001 h 3921126"/>
                <a:gd name="connsiteX3" fmla="*/ 1530350 w 1739900"/>
                <a:gd name="connsiteY3" fmla="*/ 3435351 h 3921126"/>
                <a:gd name="connsiteX4" fmla="*/ 1466850 w 1739900"/>
                <a:gd name="connsiteY4" fmla="*/ 3435351 h 3921126"/>
                <a:gd name="connsiteX5" fmla="*/ 1470025 w 1739900"/>
                <a:gd name="connsiteY5" fmla="*/ 3321051 h 3921126"/>
                <a:gd name="connsiteX6" fmla="*/ 1250950 w 1739900"/>
                <a:gd name="connsiteY6" fmla="*/ 3324226 h 3921126"/>
                <a:gd name="connsiteX7" fmla="*/ 1254125 w 1739900"/>
                <a:gd name="connsiteY7" fmla="*/ 3228976 h 3921126"/>
                <a:gd name="connsiteX8" fmla="*/ 1120775 w 1739900"/>
                <a:gd name="connsiteY8" fmla="*/ 3228976 h 3921126"/>
                <a:gd name="connsiteX9" fmla="*/ 1120775 w 1739900"/>
                <a:gd name="connsiteY9" fmla="*/ 3143251 h 3921126"/>
                <a:gd name="connsiteX10" fmla="*/ 993775 w 1739900"/>
                <a:gd name="connsiteY10" fmla="*/ 3140076 h 3921126"/>
                <a:gd name="connsiteX11" fmla="*/ 996950 w 1739900"/>
                <a:gd name="connsiteY11" fmla="*/ 3067051 h 3921126"/>
                <a:gd name="connsiteX12" fmla="*/ 946150 w 1739900"/>
                <a:gd name="connsiteY12" fmla="*/ 3067051 h 3921126"/>
                <a:gd name="connsiteX13" fmla="*/ 949325 w 1739900"/>
                <a:gd name="connsiteY13" fmla="*/ 2990851 h 3921126"/>
                <a:gd name="connsiteX14" fmla="*/ 892175 w 1739900"/>
                <a:gd name="connsiteY14" fmla="*/ 2990851 h 3921126"/>
                <a:gd name="connsiteX15" fmla="*/ 895350 w 1739900"/>
                <a:gd name="connsiteY15" fmla="*/ 2908301 h 3921126"/>
                <a:gd name="connsiteX16" fmla="*/ 850900 w 1739900"/>
                <a:gd name="connsiteY16" fmla="*/ 2908301 h 3921126"/>
                <a:gd name="connsiteX17" fmla="*/ 857250 w 1739900"/>
                <a:gd name="connsiteY17" fmla="*/ 2841626 h 3921126"/>
                <a:gd name="connsiteX18" fmla="*/ 638175 w 1739900"/>
                <a:gd name="connsiteY18" fmla="*/ 2867026 h 3921126"/>
                <a:gd name="connsiteX19" fmla="*/ 844550 w 1739900"/>
                <a:gd name="connsiteY19" fmla="*/ 2841626 h 3921126"/>
                <a:gd name="connsiteX20" fmla="*/ 847725 w 1739900"/>
                <a:gd name="connsiteY20" fmla="*/ 2692401 h 3921126"/>
                <a:gd name="connsiteX21" fmla="*/ 765175 w 1739900"/>
                <a:gd name="connsiteY21" fmla="*/ 2689226 h 3921126"/>
                <a:gd name="connsiteX22" fmla="*/ 771525 w 1739900"/>
                <a:gd name="connsiteY22" fmla="*/ 2619376 h 3921126"/>
                <a:gd name="connsiteX23" fmla="*/ 723900 w 1739900"/>
                <a:gd name="connsiteY23" fmla="*/ 2616201 h 3921126"/>
                <a:gd name="connsiteX24" fmla="*/ 733425 w 1739900"/>
                <a:gd name="connsiteY24" fmla="*/ 2479676 h 3921126"/>
                <a:gd name="connsiteX25" fmla="*/ 704850 w 1739900"/>
                <a:gd name="connsiteY25" fmla="*/ 2476501 h 3921126"/>
                <a:gd name="connsiteX26" fmla="*/ 708025 w 1739900"/>
                <a:gd name="connsiteY26" fmla="*/ 2336801 h 3921126"/>
                <a:gd name="connsiteX27" fmla="*/ 708025 w 1739900"/>
                <a:gd name="connsiteY27" fmla="*/ 2336801 h 3921126"/>
                <a:gd name="connsiteX28" fmla="*/ 708025 w 1739900"/>
                <a:gd name="connsiteY28" fmla="*/ 2336801 h 3921126"/>
                <a:gd name="connsiteX29" fmla="*/ 307975 w 1739900"/>
                <a:gd name="connsiteY29" fmla="*/ 2457451 h 3921126"/>
                <a:gd name="connsiteX30" fmla="*/ 685800 w 1739900"/>
                <a:gd name="connsiteY30" fmla="*/ 2339976 h 3921126"/>
                <a:gd name="connsiteX31" fmla="*/ 688975 w 1739900"/>
                <a:gd name="connsiteY31" fmla="*/ 2270126 h 3921126"/>
                <a:gd name="connsiteX32" fmla="*/ 298450 w 1739900"/>
                <a:gd name="connsiteY32" fmla="*/ 2327276 h 3921126"/>
                <a:gd name="connsiteX33" fmla="*/ 676275 w 1739900"/>
                <a:gd name="connsiteY33" fmla="*/ 2270126 h 3921126"/>
                <a:gd name="connsiteX34" fmla="*/ 676275 w 1739900"/>
                <a:gd name="connsiteY34" fmla="*/ 2206626 h 3921126"/>
                <a:gd name="connsiteX35" fmla="*/ 327025 w 1739900"/>
                <a:gd name="connsiteY35" fmla="*/ 2228851 h 3921126"/>
                <a:gd name="connsiteX36" fmla="*/ 669925 w 1739900"/>
                <a:gd name="connsiteY36" fmla="*/ 2203451 h 3921126"/>
                <a:gd name="connsiteX37" fmla="*/ 669925 w 1739900"/>
                <a:gd name="connsiteY37" fmla="*/ 2203451 h 3921126"/>
                <a:gd name="connsiteX38" fmla="*/ 669925 w 1739900"/>
                <a:gd name="connsiteY38" fmla="*/ 2203451 h 3921126"/>
                <a:gd name="connsiteX39" fmla="*/ 847725 w 1739900"/>
                <a:gd name="connsiteY39" fmla="*/ 2174876 h 3921126"/>
                <a:gd name="connsiteX40" fmla="*/ 673100 w 1739900"/>
                <a:gd name="connsiteY40" fmla="*/ 2184401 h 3921126"/>
                <a:gd name="connsiteX41" fmla="*/ 336550 w 1739900"/>
                <a:gd name="connsiteY41" fmla="*/ 2209801 h 3921126"/>
                <a:gd name="connsiteX42" fmla="*/ 657225 w 1739900"/>
                <a:gd name="connsiteY42" fmla="*/ 2184401 h 3921126"/>
                <a:gd name="connsiteX43" fmla="*/ 660400 w 1739900"/>
                <a:gd name="connsiteY43" fmla="*/ 2085976 h 3921126"/>
                <a:gd name="connsiteX44" fmla="*/ 622300 w 1739900"/>
                <a:gd name="connsiteY44" fmla="*/ 2079626 h 3921126"/>
                <a:gd name="connsiteX45" fmla="*/ 628650 w 1739900"/>
                <a:gd name="connsiteY45" fmla="*/ 2009776 h 3921126"/>
                <a:gd name="connsiteX46" fmla="*/ 568325 w 1739900"/>
                <a:gd name="connsiteY46" fmla="*/ 2003426 h 3921126"/>
                <a:gd name="connsiteX47" fmla="*/ 574675 w 1739900"/>
                <a:gd name="connsiteY47" fmla="*/ 1927226 h 3921126"/>
                <a:gd name="connsiteX48" fmla="*/ 127000 w 1739900"/>
                <a:gd name="connsiteY48" fmla="*/ 2003426 h 3921126"/>
                <a:gd name="connsiteX49" fmla="*/ 558800 w 1739900"/>
                <a:gd name="connsiteY49" fmla="*/ 1927226 h 3921126"/>
                <a:gd name="connsiteX50" fmla="*/ 568325 w 1739900"/>
                <a:gd name="connsiteY50" fmla="*/ 1876426 h 3921126"/>
                <a:gd name="connsiteX51" fmla="*/ 527050 w 1739900"/>
                <a:gd name="connsiteY51" fmla="*/ 1876426 h 3921126"/>
                <a:gd name="connsiteX52" fmla="*/ 533400 w 1739900"/>
                <a:gd name="connsiteY52" fmla="*/ 1809751 h 3921126"/>
                <a:gd name="connsiteX53" fmla="*/ 193675 w 1739900"/>
                <a:gd name="connsiteY53" fmla="*/ 1847851 h 3921126"/>
                <a:gd name="connsiteX54" fmla="*/ 514350 w 1739900"/>
                <a:gd name="connsiteY54" fmla="*/ 1809751 h 3921126"/>
                <a:gd name="connsiteX55" fmla="*/ 514350 w 1739900"/>
                <a:gd name="connsiteY55" fmla="*/ 1771651 h 3921126"/>
                <a:gd name="connsiteX56" fmla="*/ 82550 w 1739900"/>
                <a:gd name="connsiteY56" fmla="*/ 1812926 h 3921126"/>
                <a:gd name="connsiteX57" fmla="*/ 504825 w 1739900"/>
                <a:gd name="connsiteY57" fmla="*/ 1768476 h 3921126"/>
                <a:gd name="connsiteX58" fmla="*/ 504825 w 1739900"/>
                <a:gd name="connsiteY58" fmla="*/ 1628776 h 3921126"/>
                <a:gd name="connsiteX59" fmla="*/ 104775 w 1739900"/>
                <a:gd name="connsiteY59" fmla="*/ 1698626 h 3921126"/>
                <a:gd name="connsiteX60" fmla="*/ 479425 w 1739900"/>
                <a:gd name="connsiteY60" fmla="*/ 1619251 h 3921126"/>
                <a:gd name="connsiteX61" fmla="*/ 488950 w 1739900"/>
                <a:gd name="connsiteY61" fmla="*/ 1447801 h 3921126"/>
                <a:gd name="connsiteX62" fmla="*/ 0 w 1739900"/>
                <a:gd name="connsiteY62" fmla="*/ 1514476 h 3921126"/>
                <a:gd name="connsiteX63" fmla="*/ 473075 w 1739900"/>
                <a:gd name="connsiteY63" fmla="*/ 1450976 h 3921126"/>
                <a:gd name="connsiteX64" fmla="*/ 476250 w 1739900"/>
                <a:gd name="connsiteY64" fmla="*/ 1317626 h 3921126"/>
                <a:gd name="connsiteX65" fmla="*/ 419100 w 1739900"/>
                <a:gd name="connsiteY65" fmla="*/ 1314451 h 3921126"/>
                <a:gd name="connsiteX66" fmla="*/ 428625 w 1739900"/>
                <a:gd name="connsiteY66" fmla="*/ 1133476 h 3921126"/>
                <a:gd name="connsiteX67" fmla="*/ 400050 w 1739900"/>
                <a:gd name="connsiteY67" fmla="*/ 1127126 h 3921126"/>
                <a:gd name="connsiteX68" fmla="*/ 403225 w 1739900"/>
                <a:gd name="connsiteY68" fmla="*/ 1050926 h 3921126"/>
                <a:gd name="connsiteX69" fmla="*/ 47625 w 1739900"/>
                <a:gd name="connsiteY69" fmla="*/ 1143001 h 3921126"/>
                <a:gd name="connsiteX70" fmla="*/ 390525 w 1739900"/>
                <a:gd name="connsiteY70" fmla="*/ 1054101 h 3921126"/>
                <a:gd name="connsiteX71" fmla="*/ 400050 w 1739900"/>
                <a:gd name="connsiteY71" fmla="*/ 873126 h 3921126"/>
                <a:gd name="connsiteX72" fmla="*/ 355600 w 1739900"/>
                <a:gd name="connsiteY72" fmla="*/ 879476 h 3921126"/>
                <a:gd name="connsiteX73" fmla="*/ 358775 w 1739900"/>
                <a:gd name="connsiteY73" fmla="*/ 781051 h 3921126"/>
                <a:gd name="connsiteX74" fmla="*/ 323850 w 1739900"/>
                <a:gd name="connsiteY74" fmla="*/ 777876 h 3921126"/>
                <a:gd name="connsiteX75" fmla="*/ 323850 w 1739900"/>
                <a:gd name="connsiteY75" fmla="*/ 676276 h 3921126"/>
                <a:gd name="connsiteX76" fmla="*/ 304800 w 1739900"/>
                <a:gd name="connsiteY76" fmla="*/ 571501 h 3921126"/>
                <a:gd name="connsiteX77" fmla="*/ 295275 w 1739900"/>
                <a:gd name="connsiteY77" fmla="*/ 479426 h 3921126"/>
                <a:gd name="connsiteX78" fmla="*/ 260350 w 1739900"/>
                <a:gd name="connsiteY78" fmla="*/ 346076 h 3921126"/>
                <a:gd name="connsiteX79" fmla="*/ 225425 w 1739900"/>
                <a:gd name="connsiteY79" fmla="*/ 266701 h 3921126"/>
                <a:gd name="connsiteX80" fmla="*/ 209550 w 1739900"/>
                <a:gd name="connsiteY80" fmla="*/ 165101 h 3921126"/>
                <a:gd name="connsiteX81" fmla="*/ 203200 w 1739900"/>
                <a:gd name="connsiteY81" fmla="*/ 82551 h 3921126"/>
                <a:gd name="connsiteX82" fmla="*/ 165100 w 1739900"/>
                <a:gd name="connsiteY82" fmla="*/ 60326 h 3921126"/>
                <a:gd name="connsiteX83" fmla="*/ 158750 w 1739900"/>
                <a:gd name="connsiteY83" fmla="*/ 0 h 3921126"/>
                <a:gd name="connsiteX0" fmla="*/ 1736725 w 1739900"/>
                <a:gd name="connsiteY0" fmla="*/ 3921126 h 3921126"/>
                <a:gd name="connsiteX1" fmla="*/ 1739900 w 1739900"/>
                <a:gd name="connsiteY1" fmla="*/ 3556001 h 3921126"/>
                <a:gd name="connsiteX2" fmla="*/ 1527175 w 1739900"/>
                <a:gd name="connsiteY2" fmla="*/ 3556001 h 3921126"/>
                <a:gd name="connsiteX3" fmla="*/ 1530350 w 1739900"/>
                <a:gd name="connsiteY3" fmla="*/ 3435351 h 3921126"/>
                <a:gd name="connsiteX4" fmla="*/ 1466850 w 1739900"/>
                <a:gd name="connsiteY4" fmla="*/ 3435351 h 3921126"/>
                <a:gd name="connsiteX5" fmla="*/ 1470025 w 1739900"/>
                <a:gd name="connsiteY5" fmla="*/ 3321051 h 3921126"/>
                <a:gd name="connsiteX6" fmla="*/ 1250950 w 1739900"/>
                <a:gd name="connsiteY6" fmla="*/ 3324226 h 3921126"/>
                <a:gd name="connsiteX7" fmla="*/ 1254125 w 1739900"/>
                <a:gd name="connsiteY7" fmla="*/ 3228976 h 3921126"/>
                <a:gd name="connsiteX8" fmla="*/ 1120775 w 1739900"/>
                <a:gd name="connsiteY8" fmla="*/ 3228976 h 3921126"/>
                <a:gd name="connsiteX9" fmla="*/ 1120775 w 1739900"/>
                <a:gd name="connsiteY9" fmla="*/ 3143251 h 3921126"/>
                <a:gd name="connsiteX10" fmla="*/ 993775 w 1739900"/>
                <a:gd name="connsiteY10" fmla="*/ 3140076 h 3921126"/>
                <a:gd name="connsiteX11" fmla="*/ 996950 w 1739900"/>
                <a:gd name="connsiteY11" fmla="*/ 3067051 h 3921126"/>
                <a:gd name="connsiteX12" fmla="*/ 946150 w 1739900"/>
                <a:gd name="connsiteY12" fmla="*/ 3067051 h 3921126"/>
                <a:gd name="connsiteX13" fmla="*/ 949325 w 1739900"/>
                <a:gd name="connsiteY13" fmla="*/ 2990851 h 3921126"/>
                <a:gd name="connsiteX14" fmla="*/ 892175 w 1739900"/>
                <a:gd name="connsiteY14" fmla="*/ 2990851 h 3921126"/>
                <a:gd name="connsiteX15" fmla="*/ 895350 w 1739900"/>
                <a:gd name="connsiteY15" fmla="*/ 2908301 h 3921126"/>
                <a:gd name="connsiteX16" fmla="*/ 850900 w 1739900"/>
                <a:gd name="connsiteY16" fmla="*/ 2908301 h 3921126"/>
                <a:gd name="connsiteX17" fmla="*/ 857250 w 1739900"/>
                <a:gd name="connsiteY17" fmla="*/ 2841626 h 3921126"/>
                <a:gd name="connsiteX18" fmla="*/ 638175 w 1739900"/>
                <a:gd name="connsiteY18" fmla="*/ 2867026 h 3921126"/>
                <a:gd name="connsiteX19" fmla="*/ 844550 w 1739900"/>
                <a:gd name="connsiteY19" fmla="*/ 2841626 h 3921126"/>
                <a:gd name="connsiteX20" fmla="*/ 847725 w 1739900"/>
                <a:gd name="connsiteY20" fmla="*/ 2692401 h 3921126"/>
                <a:gd name="connsiteX21" fmla="*/ 765175 w 1739900"/>
                <a:gd name="connsiteY21" fmla="*/ 2689226 h 3921126"/>
                <a:gd name="connsiteX22" fmla="*/ 771525 w 1739900"/>
                <a:gd name="connsiteY22" fmla="*/ 2619376 h 3921126"/>
                <a:gd name="connsiteX23" fmla="*/ 723900 w 1739900"/>
                <a:gd name="connsiteY23" fmla="*/ 2616201 h 3921126"/>
                <a:gd name="connsiteX24" fmla="*/ 733425 w 1739900"/>
                <a:gd name="connsiteY24" fmla="*/ 2479676 h 3921126"/>
                <a:gd name="connsiteX25" fmla="*/ 704850 w 1739900"/>
                <a:gd name="connsiteY25" fmla="*/ 2476501 h 3921126"/>
                <a:gd name="connsiteX26" fmla="*/ 708025 w 1739900"/>
                <a:gd name="connsiteY26" fmla="*/ 2336801 h 3921126"/>
                <a:gd name="connsiteX27" fmla="*/ 708025 w 1739900"/>
                <a:gd name="connsiteY27" fmla="*/ 2336801 h 3921126"/>
                <a:gd name="connsiteX28" fmla="*/ 708025 w 1739900"/>
                <a:gd name="connsiteY28" fmla="*/ 2336801 h 3921126"/>
                <a:gd name="connsiteX29" fmla="*/ 307975 w 1739900"/>
                <a:gd name="connsiteY29" fmla="*/ 2457451 h 3921126"/>
                <a:gd name="connsiteX30" fmla="*/ 685800 w 1739900"/>
                <a:gd name="connsiteY30" fmla="*/ 2339976 h 3921126"/>
                <a:gd name="connsiteX31" fmla="*/ 688975 w 1739900"/>
                <a:gd name="connsiteY31" fmla="*/ 2270126 h 3921126"/>
                <a:gd name="connsiteX32" fmla="*/ 298450 w 1739900"/>
                <a:gd name="connsiteY32" fmla="*/ 2327276 h 3921126"/>
                <a:gd name="connsiteX33" fmla="*/ 676275 w 1739900"/>
                <a:gd name="connsiteY33" fmla="*/ 2270126 h 3921126"/>
                <a:gd name="connsiteX34" fmla="*/ 676275 w 1739900"/>
                <a:gd name="connsiteY34" fmla="*/ 2206626 h 3921126"/>
                <a:gd name="connsiteX35" fmla="*/ 327025 w 1739900"/>
                <a:gd name="connsiteY35" fmla="*/ 2228851 h 3921126"/>
                <a:gd name="connsiteX36" fmla="*/ 669925 w 1739900"/>
                <a:gd name="connsiteY36" fmla="*/ 2203451 h 3921126"/>
                <a:gd name="connsiteX37" fmla="*/ 669925 w 1739900"/>
                <a:gd name="connsiteY37" fmla="*/ 2203451 h 3921126"/>
                <a:gd name="connsiteX38" fmla="*/ 669925 w 1739900"/>
                <a:gd name="connsiteY38" fmla="*/ 2203451 h 3921126"/>
                <a:gd name="connsiteX39" fmla="*/ 847725 w 1739900"/>
                <a:gd name="connsiteY39" fmla="*/ 2174876 h 3921126"/>
                <a:gd name="connsiteX40" fmla="*/ 673100 w 1739900"/>
                <a:gd name="connsiteY40" fmla="*/ 2184401 h 3921126"/>
                <a:gd name="connsiteX41" fmla="*/ 336550 w 1739900"/>
                <a:gd name="connsiteY41" fmla="*/ 2209801 h 3921126"/>
                <a:gd name="connsiteX42" fmla="*/ 657225 w 1739900"/>
                <a:gd name="connsiteY42" fmla="*/ 2184401 h 3921126"/>
                <a:gd name="connsiteX43" fmla="*/ 660400 w 1739900"/>
                <a:gd name="connsiteY43" fmla="*/ 2085976 h 3921126"/>
                <a:gd name="connsiteX44" fmla="*/ 622300 w 1739900"/>
                <a:gd name="connsiteY44" fmla="*/ 2079626 h 3921126"/>
                <a:gd name="connsiteX45" fmla="*/ 628650 w 1739900"/>
                <a:gd name="connsiteY45" fmla="*/ 2009776 h 3921126"/>
                <a:gd name="connsiteX46" fmla="*/ 568325 w 1739900"/>
                <a:gd name="connsiteY46" fmla="*/ 2003426 h 3921126"/>
                <a:gd name="connsiteX47" fmla="*/ 574675 w 1739900"/>
                <a:gd name="connsiteY47" fmla="*/ 1927226 h 3921126"/>
                <a:gd name="connsiteX48" fmla="*/ 127000 w 1739900"/>
                <a:gd name="connsiteY48" fmla="*/ 2003426 h 3921126"/>
                <a:gd name="connsiteX49" fmla="*/ 558800 w 1739900"/>
                <a:gd name="connsiteY49" fmla="*/ 1927226 h 3921126"/>
                <a:gd name="connsiteX50" fmla="*/ 568325 w 1739900"/>
                <a:gd name="connsiteY50" fmla="*/ 1876426 h 3921126"/>
                <a:gd name="connsiteX51" fmla="*/ 527050 w 1739900"/>
                <a:gd name="connsiteY51" fmla="*/ 1876426 h 3921126"/>
                <a:gd name="connsiteX52" fmla="*/ 533400 w 1739900"/>
                <a:gd name="connsiteY52" fmla="*/ 1809751 h 3921126"/>
                <a:gd name="connsiteX53" fmla="*/ 193675 w 1739900"/>
                <a:gd name="connsiteY53" fmla="*/ 1847851 h 3921126"/>
                <a:gd name="connsiteX54" fmla="*/ 514350 w 1739900"/>
                <a:gd name="connsiteY54" fmla="*/ 1809751 h 3921126"/>
                <a:gd name="connsiteX55" fmla="*/ 514350 w 1739900"/>
                <a:gd name="connsiteY55" fmla="*/ 1771651 h 3921126"/>
                <a:gd name="connsiteX56" fmla="*/ 82550 w 1739900"/>
                <a:gd name="connsiteY56" fmla="*/ 1812926 h 3921126"/>
                <a:gd name="connsiteX57" fmla="*/ 504825 w 1739900"/>
                <a:gd name="connsiteY57" fmla="*/ 1768476 h 3921126"/>
                <a:gd name="connsiteX58" fmla="*/ 504825 w 1739900"/>
                <a:gd name="connsiteY58" fmla="*/ 1628776 h 3921126"/>
                <a:gd name="connsiteX59" fmla="*/ 104775 w 1739900"/>
                <a:gd name="connsiteY59" fmla="*/ 1698626 h 3921126"/>
                <a:gd name="connsiteX60" fmla="*/ 479425 w 1739900"/>
                <a:gd name="connsiteY60" fmla="*/ 1619251 h 3921126"/>
                <a:gd name="connsiteX61" fmla="*/ 488950 w 1739900"/>
                <a:gd name="connsiteY61" fmla="*/ 1447801 h 3921126"/>
                <a:gd name="connsiteX62" fmla="*/ 0 w 1739900"/>
                <a:gd name="connsiteY62" fmla="*/ 1514476 h 3921126"/>
                <a:gd name="connsiteX63" fmla="*/ 473075 w 1739900"/>
                <a:gd name="connsiteY63" fmla="*/ 1450976 h 3921126"/>
                <a:gd name="connsiteX64" fmla="*/ 476250 w 1739900"/>
                <a:gd name="connsiteY64" fmla="*/ 1317626 h 3921126"/>
                <a:gd name="connsiteX65" fmla="*/ 419100 w 1739900"/>
                <a:gd name="connsiteY65" fmla="*/ 1314451 h 3921126"/>
                <a:gd name="connsiteX66" fmla="*/ 428625 w 1739900"/>
                <a:gd name="connsiteY66" fmla="*/ 1133476 h 3921126"/>
                <a:gd name="connsiteX67" fmla="*/ 400050 w 1739900"/>
                <a:gd name="connsiteY67" fmla="*/ 1127126 h 3921126"/>
                <a:gd name="connsiteX68" fmla="*/ 403225 w 1739900"/>
                <a:gd name="connsiteY68" fmla="*/ 1050926 h 3921126"/>
                <a:gd name="connsiteX69" fmla="*/ 390525 w 1739900"/>
                <a:gd name="connsiteY69" fmla="*/ 1054101 h 3921126"/>
                <a:gd name="connsiteX70" fmla="*/ 400050 w 1739900"/>
                <a:gd name="connsiteY70" fmla="*/ 873126 h 3921126"/>
                <a:gd name="connsiteX71" fmla="*/ 355600 w 1739900"/>
                <a:gd name="connsiteY71" fmla="*/ 879476 h 3921126"/>
                <a:gd name="connsiteX72" fmla="*/ 358775 w 1739900"/>
                <a:gd name="connsiteY72" fmla="*/ 781051 h 3921126"/>
                <a:gd name="connsiteX73" fmla="*/ 323850 w 1739900"/>
                <a:gd name="connsiteY73" fmla="*/ 777876 h 3921126"/>
                <a:gd name="connsiteX74" fmla="*/ 323850 w 1739900"/>
                <a:gd name="connsiteY74" fmla="*/ 676276 h 3921126"/>
                <a:gd name="connsiteX75" fmla="*/ 304800 w 1739900"/>
                <a:gd name="connsiteY75" fmla="*/ 571501 h 3921126"/>
                <a:gd name="connsiteX76" fmla="*/ 295275 w 1739900"/>
                <a:gd name="connsiteY76" fmla="*/ 479426 h 3921126"/>
                <a:gd name="connsiteX77" fmla="*/ 260350 w 1739900"/>
                <a:gd name="connsiteY77" fmla="*/ 346076 h 3921126"/>
                <a:gd name="connsiteX78" fmla="*/ 225425 w 1739900"/>
                <a:gd name="connsiteY78" fmla="*/ 266701 h 3921126"/>
                <a:gd name="connsiteX79" fmla="*/ 209550 w 1739900"/>
                <a:gd name="connsiteY79" fmla="*/ 165101 h 3921126"/>
                <a:gd name="connsiteX80" fmla="*/ 203200 w 1739900"/>
                <a:gd name="connsiteY80" fmla="*/ 82551 h 3921126"/>
                <a:gd name="connsiteX81" fmla="*/ 165100 w 1739900"/>
                <a:gd name="connsiteY81" fmla="*/ 60326 h 3921126"/>
                <a:gd name="connsiteX82" fmla="*/ 158750 w 1739900"/>
                <a:gd name="connsiteY82" fmla="*/ 0 h 3921126"/>
                <a:gd name="connsiteX0" fmla="*/ 1654175 w 1657350"/>
                <a:gd name="connsiteY0" fmla="*/ 3921126 h 3921126"/>
                <a:gd name="connsiteX1" fmla="*/ 1657350 w 1657350"/>
                <a:gd name="connsiteY1" fmla="*/ 3556001 h 3921126"/>
                <a:gd name="connsiteX2" fmla="*/ 1444625 w 1657350"/>
                <a:gd name="connsiteY2" fmla="*/ 3556001 h 3921126"/>
                <a:gd name="connsiteX3" fmla="*/ 1447800 w 1657350"/>
                <a:gd name="connsiteY3" fmla="*/ 3435351 h 3921126"/>
                <a:gd name="connsiteX4" fmla="*/ 1384300 w 1657350"/>
                <a:gd name="connsiteY4" fmla="*/ 3435351 h 3921126"/>
                <a:gd name="connsiteX5" fmla="*/ 1387475 w 1657350"/>
                <a:gd name="connsiteY5" fmla="*/ 3321051 h 3921126"/>
                <a:gd name="connsiteX6" fmla="*/ 1168400 w 1657350"/>
                <a:gd name="connsiteY6" fmla="*/ 3324226 h 3921126"/>
                <a:gd name="connsiteX7" fmla="*/ 1171575 w 1657350"/>
                <a:gd name="connsiteY7" fmla="*/ 3228976 h 3921126"/>
                <a:gd name="connsiteX8" fmla="*/ 1038225 w 1657350"/>
                <a:gd name="connsiteY8" fmla="*/ 3228976 h 3921126"/>
                <a:gd name="connsiteX9" fmla="*/ 1038225 w 1657350"/>
                <a:gd name="connsiteY9" fmla="*/ 3143251 h 3921126"/>
                <a:gd name="connsiteX10" fmla="*/ 911225 w 1657350"/>
                <a:gd name="connsiteY10" fmla="*/ 3140076 h 3921126"/>
                <a:gd name="connsiteX11" fmla="*/ 914400 w 1657350"/>
                <a:gd name="connsiteY11" fmla="*/ 3067051 h 3921126"/>
                <a:gd name="connsiteX12" fmla="*/ 863600 w 1657350"/>
                <a:gd name="connsiteY12" fmla="*/ 3067051 h 3921126"/>
                <a:gd name="connsiteX13" fmla="*/ 866775 w 1657350"/>
                <a:gd name="connsiteY13" fmla="*/ 2990851 h 3921126"/>
                <a:gd name="connsiteX14" fmla="*/ 809625 w 1657350"/>
                <a:gd name="connsiteY14" fmla="*/ 2990851 h 3921126"/>
                <a:gd name="connsiteX15" fmla="*/ 812800 w 1657350"/>
                <a:gd name="connsiteY15" fmla="*/ 2908301 h 3921126"/>
                <a:gd name="connsiteX16" fmla="*/ 768350 w 1657350"/>
                <a:gd name="connsiteY16" fmla="*/ 2908301 h 3921126"/>
                <a:gd name="connsiteX17" fmla="*/ 774700 w 1657350"/>
                <a:gd name="connsiteY17" fmla="*/ 2841626 h 3921126"/>
                <a:gd name="connsiteX18" fmla="*/ 555625 w 1657350"/>
                <a:gd name="connsiteY18" fmla="*/ 2867026 h 3921126"/>
                <a:gd name="connsiteX19" fmla="*/ 762000 w 1657350"/>
                <a:gd name="connsiteY19" fmla="*/ 2841626 h 3921126"/>
                <a:gd name="connsiteX20" fmla="*/ 765175 w 1657350"/>
                <a:gd name="connsiteY20" fmla="*/ 2692401 h 3921126"/>
                <a:gd name="connsiteX21" fmla="*/ 682625 w 1657350"/>
                <a:gd name="connsiteY21" fmla="*/ 2689226 h 3921126"/>
                <a:gd name="connsiteX22" fmla="*/ 688975 w 1657350"/>
                <a:gd name="connsiteY22" fmla="*/ 2619376 h 3921126"/>
                <a:gd name="connsiteX23" fmla="*/ 641350 w 1657350"/>
                <a:gd name="connsiteY23" fmla="*/ 2616201 h 3921126"/>
                <a:gd name="connsiteX24" fmla="*/ 650875 w 1657350"/>
                <a:gd name="connsiteY24" fmla="*/ 2479676 h 3921126"/>
                <a:gd name="connsiteX25" fmla="*/ 622300 w 1657350"/>
                <a:gd name="connsiteY25" fmla="*/ 2476501 h 3921126"/>
                <a:gd name="connsiteX26" fmla="*/ 625475 w 1657350"/>
                <a:gd name="connsiteY26" fmla="*/ 2336801 h 3921126"/>
                <a:gd name="connsiteX27" fmla="*/ 625475 w 1657350"/>
                <a:gd name="connsiteY27" fmla="*/ 2336801 h 3921126"/>
                <a:gd name="connsiteX28" fmla="*/ 625475 w 1657350"/>
                <a:gd name="connsiteY28" fmla="*/ 2336801 h 3921126"/>
                <a:gd name="connsiteX29" fmla="*/ 225425 w 1657350"/>
                <a:gd name="connsiteY29" fmla="*/ 2457451 h 3921126"/>
                <a:gd name="connsiteX30" fmla="*/ 603250 w 1657350"/>
                <a:gd name="connsiteY30" fmla="*/ 2339976 h 3921126"/>
                <a:gd name="connsiteX31" fmla="*/ 606425 w 1657350"/>
                <a:gd name="connsiteY31" fmla="*/ 2270126 h 3921126"/>
                <a:gd name="connsiteX32" fmla="*/ 215900 w 1657350"/>
                <a:gd name="connsiteY32" fmla="*/ 2327276 h 3921126"/>
                <a:gd name="connsiteX33" fmla="*/ 593725 w 1657350"/>
                <a:gd name="connsiteY33" fmla="*/ 2270126 h 3921126"/>
                <a:gd name="connsiteX34" fmla="*/ 593725 w 1657350"/>
                <a:gd name="connsiteY34" fmla="*/ 2206626 h 3921126"/>
                <a:gd name="connsiteX35" fmla="*/ 244475 w 1657350"/>
                <a:gd name="connsiteY35" fmla="*/ 2228851 h 3921126"/>
                <a:gd name="connsiteX36" fmla="*/ 587375 w 1657350"/>
                <a:gd name="connsiteY36" fmla="*/ 2203451 h 3921126"/>
                <a:gd name="connsiteX37" fmla="*/ 587375 w 1657350"/>
                <a:gd name="connsiteY37" fmla="*/ 2203451 h 3921126"/>
                <a:gd name="connsiteX38" fmla="*/ 587375 w 1657350"/>
                <a:gd name="connsiteY38" fmla="*/ 2203451 h 3921126"/>
                <a:gd name="connsiteX39" fmla="*/ 765175 w 1657350"/>
                <a:gd name="connsiteY39" fmla="*/ 2174876 h 3921126"/>
                <a:gd name="connsiteX40" fmla="*/ 590550 w 1657350"/>
                <a:gd name="connsiteY40" fmla="*/ 2184401 h 3921126"/>
                <a:gd name="connsiteX41" fmla="*/ 254000 w 1657350"/>
                <a:gd name="connsiteY41" fmla="*/ 2209801 h 3921126"/>
                <a:gd name="connsiteX42" fmla="*/ 574675 w 1657350"/>
                <a:gd name="connsiteY42" fmla="*/ 2184401 h 3921126"/>
                <a:gd name="connsiteX43" fmla="*/ 577850 w 1657350"/>
                <a:gd name="connsiteY43" fmla="*/ 2085976 h 3921126"/>
                <a:gd name="connsiteX44" fmla="*/ 539750 w 1657350"/>
                <a:gd name="connsiteY44" fmla="*/ 2079626 h 3921126"/>
                <a:gd name="connsiteX45" fmla="*/ 546100 w 1657350"/>
                <a:gd name="connsiteY45" fmla="*/ 2009776 h 3921126"/>
                <a:gd name="connsiteX46" fmla="*/ 485775 w 1657350"/>
                <a:gd name="connsiteY46" fmla="*/ 2003426 h 3921126"/>
                <a:gd name="connsiteX47" fmla="*/ 492125 w 1657350"/>
                <a:gd name="connsiteY47" fmla="*/ 1927226 h 3921126"/>
                <a:gd name="connsiteX48" fmla="*/ 44450 w 1657350"/>
                <a:gd name="connsiteY48" fmla="*/ 2003426 h 3921126"/>
                <a:gd name="connsiteX49" fmla="*/ 476250 w 1657350"/>
                <a:gd name="connsiteY49" fmla="*/ 1927226 h 3921126"/>
                <a:gd name="connsiteX50" fmla="*/ 485775 w 1657350"/>
                <a:gd name="connsiteY50" fmla="*/ 1876426 h 3921126"/>
                <a:gd name="connsiteX51" fmla="*/ 444500 w 1657350"/>
                <a:gd name="connsiteY51" fmla="*/ 1876426 h 3921126"/>
                <a:gd name="connsiteX52" fmla="*/ 450850 w 1657350"/>
                <a:gd name="connsiteY52" fmla="*/ 1809751 h 3921126"/>
                <a:gd name="connsiteX53" fmla="*/ 111125 w 1657350"/>
                <a:gd name="connsiteY53" fmla="*/ 1847851 h 3921126"/>
                <a:gd name="connsiteX54" fmla="*/ 431800 w 1657350"/>
                <a:gd name="connsiteY54" fmla="*/ 1809751 h 3921126"/>
                <a:gd name="connsiteX55" fmla="*/ 431800 w 1657350"/>
                <a:gd name="connsiteY55" fmla="*/ 1771651 h 3921126"/>
                <a:gd name="connsiteX56" fmla="*/ 0 w 1657350"/>
                <a:gd name="connsiteY56" fmla="*/ 1812926 h 3921126"/>
                <a:gd name="connsiteX57" fmla="*/ 422275 w 1657350"/>
                <a:gd name="connsiteY57" fmla="*/ 1768476 h 3921126"/>
                <a:gd name="connsiteX58" fmla="*/ 422275 w 1657350"/>
                <a:gd name="connsiteY58" fmla="*/ 1628776 h 3921126"/>
                <a:gd name="connsiteX59" fmla="*/ 22225 w 1657350"/>
                <a:gd name="connsiteY59" fmla="*/ 1698626 h 3921126"/>
                <a:gd name="connsiteX60" fmla="*/ 396875 w 1657350"/>
                <a:gd name="connsiteY60" fmla="*/ 1619251 h 3921126"/>
                <a:gd name="connsiteX61" fmla="*/ 406400 w 1657350"/>
                <a:gd name="connsiteY61" fmla="*/ 1447801 h 3921126"/>
                <a:gd name="connsiteX62" fmla="*/ 390525 w 1657350"/>
                <a:gd name="connsiteY62" fmla="*/ 1450976 h 3921126"/>
                <a:gd name="connsiteX63" fmla="*/ 393700 w 1657350"/>
                <a:gd name="connsiteY63" fmla="*/ 1317626 h 3921126"/>
                <a:gd name="connsiteX64" fmla="*/ 336550 w 1657350"/>
                <a:gd name="connsiteY64" fmla="*/ 1314451 h 3921126"/>
                <a:gd name="connsiteX65" fmla="*/ 346075 w 1657350"/>
                <a:gd name="connsiteY65" fmla="*/ 1133476 h 3921126"/>
                <a:gd name="connsiteX66" fmla="*/ 317500 w 1657350"/>
                <a:gd name="connsiteY66" fmla="*/ 1127126 h 3921126"/>
                <a:gd name="connsiteX67" fmla="*/ 320675 w 1657350"/>
                <a:gd name="connsiteY67" fmla="*/ 1050926 h 3921126"/>
                <a:gd name="connsiteX68" fmla="*/ 307975 w 1657350"/>
                <a:gd name="connsiteY68" fmla="*/ 1054101 h 3921126"/>
                <a:gd name="connsiteX69" fmla="*/ 317500 w 1657350"/>
                <a:gd name="connsiteY69" fmla="*/ 873126 h 3921126"/>
                <a:gd name="connsiteX70" fmla="*/ 273050 w 1657350"/>
                <a:gd name="connsiteY70" fmla="*/ 879476 h 3921126"/>
                <a:gd name="connsiteX71" fmla="*/ 276225 w 1657350"/>
                <a:gd name="connsiteY71" fmla="*/ 781051 h 3921126"/>
                <a:gd name="connsiteX72" fmla="*/ 241300 w 1657350"/>
                <a:gd name="connsiteY72" fmla="*/ 777876 h 3921126"/>
                <a:gd name="connsiteX73" fmla="*/ 241300 w 1657350"/>
                <a:gd name="connsiteY73" fmla="*/ 676276 h 3921126"/>
                <a:gd name="connsiteX74" fmla="*/ 222250 w 1657350"/>
                <a:gd name="connsiteY74" fmla="*/ 571501 h 3921126"/>
                <a:gd name="connsiteX75" fmla="*/ 212725 w 1657350"/>
                <a:gd name="connsiteY75" fmla="*/ 479426 h 3921126"/>
                <a:gd name="connsiteX76" fmla="*/ 177800 w 1657350"/>
                <a:gd name="connsiteY76" fmla="*/ 346076 h 3921126"/>
                <a:gd name="connsiteX77" fmla="*/ 142875 w 1657350"/>
                <a:gd name="connsiteY77" fmla="*/ 266701 h 3921126"/>
                <a:gd name="connsiteX78" fmla="*/ 127000 w 1657350"/>
                <a:gd name="connsiteY78" fmla="*/ 165101 h 3921126"/>
                <a:gd name="connsiteX79" fmla="*/ 120650 w 1657350"/>
                <a:gd name="connsiteY79" fmla="*/ 82551 h 3921126"/>
                <a:gd name="connsiteX80" fmla="*/ 82550 w 1657350"/>
                <a:gd name="connsiteY80" fmla="*/ 60326 h 3921126"/>
                <a:gd name="connsiteX81" fmla="*/ 76200 w 1657350"/>
                <a:gd name="connsiteY81" fmla="*/ 0 h 3921126"/>
                <a:gd name="connsiteX0" fmla="*/ 1654175 w 1657350"/>
                <a:gd name="connsiteY0" fmla="*/ 3921126 h 3921126"/>
                <a:gd name="connsiteX1" fmla="*/ 1657350 w 1657350"/>
                <a:gd name="connsiteY1" fmla="*/ 3556001 h 3921126"/>
                <a:gd name="connsiteX2" fmla="*/ 1444625 w 1657350"/>
                <a:gd name="connsiteY2" fmla="*/ 3556001 h 3921126"/>
                <a:gd name="connsiteX3" fmla="*/ 1447800 w 1657350"/>
                <a:gd name="connsiteY3" fmla="*/ 3435351 h 3921126"/>
                <a:gd name="connsiteX4" fmla="*/ 1384300 w 1657350"/>
                <a:gd name="connsiteY4" fmla="*/ 3435351 h 3921126"/>
                <a:gd name="connsiteX5" fmla="*/ 1387475 w 1657350"/>
                <a:gd name="connsiteY5" fmla="*/ 3321051 h 3921126"/>
                <a:gd name="connsiteX6" fmla="*/ 1168400 w 1657350"/>
                <a:gd name="connsiteY6" fmla="*/ 3324226 h 3921126"/>
                <a:gd name="connsiteX7" fmla="*/ 1171575 w 1657350"/>
                <a:gd name="connsiteY7" fmla="*/ 3228976 h 3921126"/>
                <a:gd name="connsiteX8" fmla="*/ 1038225 w 1657350"/>
                <a:gd name="connsiteY8" fmla="*/ 3228976 h 3921126"/>
                <a:gd name="connsiteX9" fmla="*/ 1038225 w 1657350"/>
                <a:gd name="connsiteY9" fmla="*/ 3143251 h 3921126"/>
                <a:gd name="connsiteX10" fmla="*/ 911225 w 1657350"/>
                <a:gd name="connsiteY10" fmla="*/ 3140076 h 3921126"/>
                <a:gd name="connsiteX11" fmla="*/ 914400 w 1657350"/>
                <a:gd name="connsiteY11" fmla="*/ 3067051 h 3921126"/>
                <a:gd name="connsiteX12" fmla="*/ 863600 w 1657350"/>
                <a:gd name="connsiteY12" fmla="*/ 3067051 h 3921126"/>
                <a:gd name="connsiteX13" fmla="*/ 866775 w 1657350"/>
                <a:gd name="connsiteY13" fmla="*/ 2990851 h 3921126"/>
                <a:gd name="connsiteX14" fmla="*/ 809625 w 1657350"/>
                <a:gd name="connsiteY14" fmla="*/ 2990851 h 3921126"/>
                <a:gd name="connsiteX15" fmla="*/ 812800 w 1657350"/>
                <a:gd name="connsiteY15" fmla="*/ 2908301 h 3921126"/>
                <a:gd name="connsiteX16" fmla="*/ 768350 w 1657350"/>
                <a:gd name="connsiteY16" fmla="*/ 2908301 h 3921126"/>
                <a:gd name="connsiteX17" fmla="*/ 774700 w 1657350"/>
                <a:gd name="connsiteY17" fmla="*/ 2841626 h 3921126"/>
                <a:gd name="connsiteX18" fmla="*/ 555625 w 1657350"/>
                <a:gd name="connsiteY18" fmla="*/ 2867026 h 3921126"/>
                <a:gd name="connsiteX19" fmla="*/ 762000 w 1657350"/>
                <a:gd name="connsiteY19" fmla="*/ 2841626 h 3921126"/>
                <a:gd name="connsiteX20" fmla="*/ 765175 w 1657350"/>
                <a:gd name="connsiteY20" fmla="*/ 2692401 h 3921126"/>
                <a:gd name="connsiteX21" fmla="*/ 682625 w 1657350"/>
                <a:gd name="connsiteY21" fmla="*/ 2689226 h 3921126"/>
                <a:gd name="connsiteX22" fmla="*/ 688975 w 1657350"/>
                <a:gd name="connsiteY22" fmla="*/ 2619376 h 3921126"/>
                <a:gd name="connsiteX23" fmla="*/ 641350 w 1657350"/>
                <a:gd name="connsiteY23" fmla="*/ 2616201 h 3921126"/>
                <a:gd name="connsiteX24" fmla="*/ 650875 w 1657350"/>
                <a:gd name="connsiteY24" fmla="*/ 2479676 h 3921126"/>
                <a:gd name="connsiteX25" fmla="*/ 622300 w 1657350"/>
                <a:gd name="connsiteY25" fmla="*/ 2476501 h 3921126"/>
                <a:gd name="connsiteX26" fmla="*/ 625475 w 1657350"/>
                <a:gd name="connsiteY26" fmla="*/ 2336801 h 3921126"/>
                <a:gd name="connsiteX27" fmla="*/ 625475 w 1657350"/>
                <a:gd name="connsiteY27" fmla="*/ 2336801 h 3921126"/>
                <a:gd name="connsiteX28" fmla="*/ 625475 w 1657350"/>
                <a:gd name="connsiteY28" fmla="*/ 2336801 h 3921126"/>
                <a:gd name="connsiteX29" fmla="*/ 225425 w 1657350"/>
                <a:gd name="connsiteY29" fmla="*/ 2457451 h 3921126"/>
                <a:gd name="connsiteX30" fmla="*/ 603250 w 1657350"/>
                <a:gd name="connsiteY30" fmla="*/ 2339976 h 3921126"/>
                <a:gd name="connsiteX31" fmla="*/ 606425 w 1657350"/>
                <a:gd name="connsiteY31" fmla="*/ 2270126 h 3921126"/>
                <a:gd name="connsiteX32" fmla="*/ 215900 w 1657350"/>
                <a:gd name="connsiteY32" fmla="*/ 2327276 h 3921126"/>
                <a:gd name="connsiteX33" fmla="*/ 593725 w 1657350"/>
                <a:gd name="connsiteY33" fmla="*/ 2270126 h 3921126"/>
                <a:gd name="connsiteX34" fmla="*/ 593725 w 1657350"/>
                <a:gd name="connsiteY34" fmla="*/ 2206626 h 3921126"/>
                <a:gd name="connsiteX35" fmla="*/ 244475 w 1657350"/>
                <a:gd name="connsiteY35" fmla="*/ 2228851 h 3921126"/>
                <a:gd name="connsiteX36" fmla="*/ 587375 w 1657350"/>
                <a:gd name="connsiteY36" fmla="*/ 2203451 h 3921126"/>
                <a:gd name="connsiteX37" fmla="*/ 587375 w 1657350"/>
                <a:gd name="connsiteY37" fmla="*/ 2203451 h 3921126"/>
                <a:gd name="connsiteX38" fmla="*/ 587375 w 1657350"/>
                <a:gd name="connsiteY38" fmla="*/ 2203451 h 3921126"/>
                <a:gd name="connsiteX39" fmla="*/ 765175 w 1657350"/>
                <a:gd name="connsiteY39" fmla="*/ 2174876 h 3921126"/>
                <a:gd name="connsiteX40" fmla="*/ 590550 w 1657350"/>
                <a:gd name="connsiteY40" fmla="*/ 2184401 h 3921126"/>
                <a:gd name="connsiteX41" fmla="*/ 254000 w 1657350"/>
                <a:gd name="connsiteY41" fmla="*/ 2209801 h 3921126"/>
                <a:gd name="connsiteX42" fmla="*/ 574675 w 1657350"/>
                <a:gd name="connsiteY42" fmla="*/ 2184401 h 3921126"/>
                <a:gd name="connsiteX43" fmla="*/ 577850 w 1657350"/>
                <a:gd name="connsiteY43" fmla="*/ 2085976 h 3921126"/>
                <a:gd name="connsiteX44" fmla="*/ 539750 w 1657350"/>
                <a:gd name="connsiteY44" fmla="*/ 2079626 h 3921126"/>
                <a:gd name="connsiteX45" fmla="*/ 546100 w 1657350"/>
                <a:gd name="connsiteY45" fmla="*/ 2009776 h 3921126"/>
                <a:gd name="connsiteX46" fmla="*/ 485775 w 1657350"/>
                <a:gd name="connsiteY46" fmla="*/ 2003426 h 3921126"/>
                <a:gd name="connsiteX47" fmla="*/ 492125 w 1657350"/>
                <a:gd name="connsiteY47" fmla="*/ 1927226 h 3921126"/>
                <a:gd name="connsiteX48" fmla="*/ 44450 w 1657350"/>
                <a:gd name="connsiteY48" fmla="*/ 2003426 h 3921126"/>
                <a:gd name="connsiteX49" fmla="*/ 476250 w 1657350"/>
                <a:gd name="connsiteY49" fmla="*/ 1927226 h 3921126"/>
                <a:gd name="connsiteX50" fmla="*/ 485775 w 1657350"/>
                <a:gd name="connsiteY50" fmla="*/ 1876426 h 3921126"/>
                <a:gd name="connsiteX51" fmla="*/ 444500 w 1657350"/>
                <a:gd name="connsiteY51" fmla="*/ 1876426 h 3921126"/>
                <a:gd name="connsiteX52" fmla="*/ 450850 w 1657350"/>
                <a:gd name="connsiteY52" fmla="*/ 1809751 h 3921126"/>
                <a:gd name="connsiteX53" fmla="*/ 111125 w 1657350"/>
                <a:gd name="connsiteY53" fmla="*/ 1847851 h 3921126"/>
                <a:gd name="connsiteX54" fmla="*/ 431800 w 1657350"/>
                <a:gd name="connsiteY54" fmla="*/ 1809751 h 3921126"/>
                <a:gd name="connsiteX55" fmla="*/ 431800 w 1657350"/>
                <a:gd name="connsiteY55" fmla="*/ 1771651 h 3921126"/>
                <a:gd name="connsiteX56" fmla="*/ 0 w 1657350"/>
                <a:gd name="connsiteY56" fmla="*/ 1812926 h 3921126"/>
                <a:gd name="connsiteX57" fmla="*/ 422275 w 1657350"/>
                <a:gd name="connsiteY57" fmla="*/ 1768476 h 3921126"/>
                <a:gd name="connsiteX58" fmla="*/ 422275 w 1657350"/>
                <a:gd name="connsiteY58" fmla="*/ 1628776 h 3921126"/>
                <a:gd name="connsiteX59" fmla="*/ 396875 w 1657350"/>
                <a:gd name="connsiteY59" fmla="*/ 1619251 h 3921126"/>
                <a:gd name="connsiteX60" fmla="*/ 406400 w 1657350"/>
                <a:gd name="connsiteY60" fmla="*/ 1447801 h 3921126"/>
                <a:gd name="connsiteX61" fmla="*/ 390525 w 1657350"/>
                <a:gd name="connsiteY61" fmla="*/ 1450976 h 3921126"/>
                <a:gd name="connsiteX62" fmla="*/ 393700 w 1657350"/>
                <a:gd name="connsiteY62" fmla="*/ 1317626 h 3921126"/>
                <a:gd name="connsiteX63" fmla="*/ 336550 w 1657350"/>
                <a:gd name="connsiteY63" fmla="*/ 1314451 h 3921126"/>
                <a:gd name="connsiteX64" fmla="*/ 346075 w 1657350"/>
                <a:gd name="connsiteY64" fmla="*/ 1133476 h 3921126"/>
                <a:gd name="connsiteX65" fmla="*/ 317500 w 1657350"/>
                <a:gd name="connsiteY65" fmla="*/ 1127126 h 3921126"/>
                <a:gd name="connsiteX66" fmla="*/ 320675 w 1657350"/>
                <a:gd name="connsiteY66" fmla="*/ 1050926 h 3921126"/>
                <a:gd name="connsiteX67" fmla="*/ 307975 w 1657350"/>
                <a:gd name="connsiteY67" fmla="*/ 1054101 h 3921126"/>
                <a:gd name="connsiteX68" fmla="*/ 317500 w 1657350"/>
                <a:gd name="connsiteY68" fmla="*/ 873126 h 3921126"/>
                <a:gd name="connsiteX69" fmla="*/ 273050 w 1657350"/>
                <a:gd name="connsiteY69" fmla="*/ 879476 h 3921126"/>
                <a:gd name="connsiteX70" fmla="*/ 276225 w 1657350"/>
                <a:gd name="connsiteY70" fmla="*/ 781051 h 3921126"/>
                <a:gd name="connsiteX71" fmla="*/ 241300 w 1657350"/>
                <a:gd name="connsiteY71" fmla="*/ 777876 h 3921126"/>
                <a:gd name="connsiteX72" fmla="*/ 241300 w 1657350"/>
                <a:gd name="connsiteY72" fmla="*/ 676276 h 3921126"/>
                <a:gd name="connsiteX73" fmla="*/ 222250 w 1657350"/>
                <a:gd name="connsiteY73" fmla="*/ 571501 h 3921126"/>
                <a:gd name="connsiteX74" fmla="*/ 212725 w 1657350"/>
                <a:gd name="connsiteY74" fmla="*/ 479426 h 3921126"/>
                <a:gd name="connsiteX75" fmla="*/ 177800 w 1657350"/>
                <a:gd name="connsiteY75" fmla="*/ 346076 h 3921126"/>
                <a:gd name="connsiteX76" fmla="*/ 142875 w 1657350"/>
                <a:gd name="connsiteY76" fmla="*/ 266701 h 3921126"/>
                <a:gd name="connsiteX77" fmla="*/ 127000 w 1657350"/>
                <a:gd name="connsiteY77" fmla="*/ 165101 h 3921126"/>
                <a:gd name="connsiteX78" fmla="*/ 120650 w 1657350"/>
                <a:gd name="connsiteY78" fmla="*/ 82551 h 3921126"/>
                <a:gd name="connsiteX79" fmla="*/ 82550 w 1657350"/>
                <a:gd name="connsiteY79" fmla="*/ 60326 h 3921126"/>
                <a:gd name="connsiteX80" fmla="*/ 76200 w 1657350"/>
                <a:gd name="connsiteY80" fmla="*/ 0 h 3921126"/>
                <a:gd name="connsiteX0" fmla="*/ 1609725 w 1612900"/>
                <a:gd name="connsiteY0" fmla="*/ 3921126 h 3921126"/>
                <a:gd name="connsiteX1" fmla="*/ 1612900 w 1612900"/>
                <a:gd name="connsiteY1" fmla="*/ 3556001 h 3921126"/>
                <a:gd name="connsiteX2" fmla="*/ 1400175 w 1612900"/>
                <a:gd name="connsiteY2" fmla="*/ 3556001 h 3921126"/>
                <a:gd name="connsiteX3" fmla="*/ 1403350 w 1612900"/>
                <a:gd name="connsiteY3" fmla="*/ 3435351 h 3921126"/>
                <a:gd name="connsiteX4" fmla="*/ 1339850 w 1612900"/>
                <a:gd name="connsiteY4" fmla="*/ 3435351 h 3921126"/>
                <a:gd name="connsiteX5" fmla="*/ 1343025 w 1612900"/>
                <a:gd name="connsiteY5" fmla="*/ 3321051 h 3921126"/>
                <a:gd name="connsiteX6" fmla="*/ 1123950 w 1612900"/>
                <a:gd name="connsiteY6" fmla="*/ 3324226 h 3921126"/>
                <a:gd name="connsiteX7" fmla="*/ 1127125 w 1612900"/>
                <a:gd name="connsiteY7" fmla="*/ 3228976 h 3921126"/>
                <a:gd name="connsiteX8" fmla="*/ 993775 w 1612900"/>
                <a:gd name="connsiteY8" fmla="*/ 3228976 h 3921126"/>
                <a:gd name="connsiteX9" fmla="*/ 993775 w 1612900"/>
                <a:gd name="connsiteY9" fmla="*/ 3143251 h 3921126"/>
                <a:gd name="connsiteX10" fmla="*/ 866775 w 1612900"/>
                <a:gd name="connsiteY10" fmla="*/ 3140076 h 3921126"/>
                <a:gd name="connsiteX11" fmla="*/ 869950 w 1612900"/>
                <a:gd name="connsiteY11" fmla="*/ 3067051 h 3921126"/>
                <a:gd name="connsiteX12" fmla="*/ 819150 w 1612900"/>
                <a:gd name="connsiteY12" fmla="*/ 3067051 h 3921126"/>
                <a:gd name="connsiteX13" fmla="*/ 822325 w 1612900"/>
                <a:gd name="connsiteY13" fmla="*/ 2990851 h 3921126"/>
                <a:gd name="connsiteX14" fmla="*/ 765175 w 1612900"/>
                <a:gd name="connsiteY14" fmla="*/ 2990851 h 3921126"/>
                <a:gd name="connsiteX15" fmla="*/ 768350 w 1612900"/>
                <a:gd name="connsiteY15" fmla="*/ 2908301 h 3921126"/>
                <a:gd name="connsiteX16" fmla="*/ 723900 w 1612900"/>
                <a:gd name="connsiteY16" fmla="*/ 2908301 h 3921126"/>
                <a:gd name="connsiteX17" fmla="*/ 730250 w 1612900"/>
                <a:gd name="connsiteY17" fmla="*/ 2841626 h 3921126"/>
                <a:gd name="connsiteX18" fmla="*/ 511175 w 1612900"/>
                <a:gd name="connsiteY18" fmla="*/ 2867026 h 3921126"/>
                <a:gd name="connsiteX19" fmla="*/ 717550 w 1612900"/>
                <a:gd name="connsiteY19" fmla="*/ 2841626 h 3921126"/>
                <a:gd name="connsiteX20" fmla="*/ 720725 w 1612900"/>
                <a:gd name="connsiteY20" fmla="*/ 2692401 h 3921126"/>
                <a:gd name="connsiteX21" fmla="*/ 638175 w 1612900"/>
                <a:gd name="connsiteY21" fmla="*/ 2689226 h 3921126"/>
                <a:gd name="connsiteX22" fmla="*/ 644525 w 1612900"/>
                <a:gd name="connsiteY22" fmla="*/ 2619376 h 3921126"/>
                <a:gd name="connsiteX23" fmla="*/ 596900 w 1612900"/>
                <a:gd name="connsiteY23" fmla="*/ 2616201 h 3921126"/>
                <a:gd name="connsiteX24" fmla="*/ 606425 w 1612900"/>
                <a:gd name="connsiteY24" fmla="*/ 2479676 h 3921126"/>
                <a:gd name="connsiteX25" fmla="*/ 577850 w 1612900"/>
                <a:gd name="connsiteY25" fmla="*/ 2476501 h 3921126"/>
                <a:gd name="connsiteX26" fmla="*/ 581025 w 1612900"/>
                <a:gd name="connsiteY26" fmla="*/ 2336801 h 3921126"/>
                <a:gd name="connsiteX27" fmla="*/ 581025 w 1612900"/>
                <a:gd name="connsiteY27" fmla="*/ 2336801 h 3921126"/>
                <a:gd name="connsiteX28" fmla="*/ 581025 w 1612900"/>
                <a:gd name="connsiteY28" fmla="*/ 2336801 h 3921126"/>
                <a:gd name="connsiteX29" fmla="*/ 180975 w 1612900"/>
                <a:gd name="connsiteY29" fmla="*/ 2457451 h 3921126"/>
                <a:gd name="connsiteX30" fmla="*/ 558800 w 1612900"/>
                <a:gd name="connsiteY30" fmla="*/ 2339976 h 3921126"/>
                <a:gd name="connsiteX31" fmla="*/ 561975 w 1612900"/>
                <a:gd name="connsiteY31" fmla="*/ 2270126 h 3921126"/>
                <a:gd name="connsiteX32" fmla="*/ 171450 w 1612900"/>
                <a:gd name="connsiteY32" fmla="*/ 2327276 h 3921126"/>
                <a:gd name="connsiteX33" fmla="*/ 549275 w 1612900"/>
                <a:gd name="connsiteY33" fmla="*/ 2270126 h 3921126"/>
                <a:gd name="connsiteX34" fmla="*/ 549275 w 1612900"/>
                <a:gd name="connsiteY34" fmla="*/ 2206626 h 3921126"/>
                <a:gd name="connsiteX35" fmla="*/ 200025 w 1612900"/>
                <a:gd name="connsiteY35" fmla="*/ 2228851 h 3921126"/>
                <a:gd name="connsiteX36" fmla="*/ 542925 w 1612900"/>
                <a:gd name="connsiteY36" fmla="*/ 2203451 h 3921126"/>
                <a:gd name="connsiteX37" fmla="*/ 542925 w 1612900"/>
                <a:gd name="connsiteY37" fmla="*/ 2203451 h 3921126"/>
                <a:gd name="connsiteX38" fmla="*/ 542925 w 1612900"/>
                <a:gd name="connsiteY38" fmla="*/ 2203451 h 3921126"/>
                <a:gd name="connsiteX39" fmla="*/ 720725 w 1612900"/>
                <a:gd name="connsiteY39" fmla="*/ 2174876 h 3921126"/>
                <a:gd name="connsiteX40" fmla="*/ 546100 w 1612900"/>
                <a:gd name="connsiteY40" fmla="*/ 2184401 h 3921126"/>
                <a:gd name="connsiteX41" fmla="*/ 209550 w 1612900"/>
                <a:gd name="connsiteY41" fmla="*/ 2209801 h 3921126"/>
                <a:gd name="connsiteX42" fmla="*/ 530225 w 1612900"/>
                <a:gd name="connsiteY42" fmla="*/ 2184401 h 3921126"/>
                <a:gd name="connsiteX43" fmla="*/ 533400 w 1612900"/>
                <a:gd name="connsiteY43" fmla="*/ 2085976 h 3921126"/>
                <a:gd name="connsiteX44" fmla="*/ 495300 w 1612900"/>
                <a:gd name="connsiteY44" fmla="*/ 2079626 h 3921126"/>
                <a:gd name="connsiteX45" fmla="*/ 501650 w 1612900"/>
                <a:gd name="connsiteY45" fmla="*/ 2009776 h 3921126"/>
                <a:gd name="connsiteX46" fmla="*/ 441325 w 1612900"/>
                <a:gd name="connsiteY46" fmla="*/ 2003426 h 3921126"/>
                <a:gd name="connsiteX47" fmla="*/ 447675 w 1612900"/>
                <a:gd name="connsiteY47" fmla="*/ 1927226 h 3921126"/>
                <a:gd name="connsiteX48" fmla="*/ 0 w 1612900"/>
                <a:gd name="connsiteY48" fmla="*/ 2003426 h 3921126"/>
                <a:gd name="connsiteX49" fmla="*/ 431800 w 1612900"/>
                <a:gd name="connsiteY49" fmla="*/ 1927226 h 3921126"/>
                <a:gd name="connsiteX50" fmla="*/ 441325 w 1612900"/>
                <a:gd name="connsiteY50" fmla="*/ 1876426 h 3921126"/>
                <a:gd name="connsiteX51" fmla="*/ 400050 w 1612900"/>
                <a:gd name="connsiteY51" fmla="*/ 1876426 h 3921126"/>
                <a:gd name="connsiteX52" fmla="*/ 406400 w 1612900"/>
                <a:gd name="connsiteY52" fmla="*/ 1809751 h 3921126"/>
                <a:gd name="connsiteX53" fmla="*/ 66675 w 1612900"/>
                <a:gd name="connsiteY53" fmla="*/ 1847851 h 3921126"/>
                <a:gd name="connsiteX54" fmla="*/ 387350 w 1612900"/>
                <a:gd name="connsiteY54" fmla="*/ 1809751 h 3921126"/>
                <a:gd name="connsiteX55" fmla="*/ 387350 w 1612900"/>
                <a:gd name="connsiteY55" fmla="*/ 1771651 h 3921126"/>
                <a:gd name="connsiteX56" fmla="*/ 377825 w 1612900"/>
                <a:gd name="connsiteY56" fmla="*/ 1768476 h 3921126"/>
                <a:gd name="connsiteX57" fmla="*/ 377825 w 1612900"/>
                <a:gd name="connsiteY57" fmla="*/ 1628776 h 3921126"/>
                <a:gd name="connsiteX58" fmla="*/ 352425 w 1612900"/>
                <a:gd name="connsiteY58" fmla="*/ 1619251 h 3921126"/>
                <a:gd name="connsiteX59" fmla="*/ 361950 w 1612900"/>
                <a:gd name="connsiteY59" fmla="*/ 1447801 h 3921126"/>
                <a:gd name="connsiteX60" fmla="*/ 346075 w 1612900"/>
                <a:gd name="connsiteY60" fmla="*/ 1450976 h 3921126"/>
                <a:gd name="connsiteX61" fmla="*/ 349250 w 1612900"/>
                <a:gd name="connsiteY61" fmla="*/ 1317626 h 3921126"/>
                <a:gd name="connsiteX62" fmla="*/ 292100 w 1612900"/>
                <a:gd name="connsiteY62" fmla="*/ 1314451 h 3921126"/>
                <a:gd name="connsiteX63" fmla="*/ 301625 w 1612900"/>
                <a:gd name="connsiteY63" fmla="*/ 1133476 h 3921126"/>
                <a:gd name="connsiteX64" fmla="*/ 273050 w 1612900"/>
                <a:gd name="connsiteY64" fmla="*/ 1127126 h 3921126"/>
                <a:gd name="connsiteX65" fmla="*/ 276225 w 1612900"/>
                <a:gd name="connsiteY65" fmla="*/ 1050926 h 3921126"/>
                <a:gd name="connsiteX66" fmla="*/ 263525 w 1612900"/>
                <a:gd name="connsiteY66" fmla="*/ 1054101 h 3921126"/>
                <a:gd name="connsiteX67" fmla="*/ 273050 w 1612900"/>
                <a:gd name="connsiteY67" fmla="*/ 873126 h 3921126"/>
                <a:gd name="connsiteX68" fmla="*/ 228600 w 1612900"/>
                <a:gd name="connsiteY68" fmla="*/ 879476 h 3921126"/>
                <a:gd name="connsiteX69" fmla="*/ 231775 w 1612900"/>
                <a:gd name="connsiteY69" fmla="*/ 781051 h 3921126"/>
                <a:gd name="connsiteX70" fmla="*/ 196850 w 1612900"/>
                <a:gd name="connsiteY70" fmla="*/ 777876 h 3921126"/>
                <a:gd name="connsiteX71" fmla="*/ 196850 w 1612900"/>
                <a:gd name="connsiteY71" fmla="*/ 676276 h 3921126"/>
                <a:gd name="connsiteX72" fmla="*/ 177800 w 1612900"/>
                <a:gd name="connsiteY72" fmla="*/ 571501 h 3921126"/>
                <a:gd name="connsiteX73" fmla="*/ 168275 w 1612900"/>
                <a:gd name="connsiteY73" fmla="*/ 479426 h 3921126"/>
                <a:gd name="connsiteX74" fmla="*/ 133350 w 1612900"/>
                <a:gd name="connsiteY74" fmla="*/ 346076 h 3921126"/>
                <a:gd name="connsiteX75" fmla="*/ 98425 w 1612900"/>
                <a:gd name="connsiteY75" fmla="*/ 266701 h 3921126"/>
                <a:gd name="connsiteX76" fmla="*/ 82550 w 1612900"/>
                <a:gd name="connsiteY76" fmla="*/ 165101 h 3921126"/>
                <a:gd name="connsiteX77" fmla="*/ 76200 w 1612900"/>
                <a:gd name="connsiteY77" fmla="*/ 82551 h 3921126"/>
                <a:gd name="connsiteX78" fmla="*/ 38100 w 1612900"/>
                <a:gd name="connsiteY78" fmla="*/ 60326 h 3921126"/>
                <a:gd name="connsiteX79" fmla="*/ 31750 w 1612900"/>
                <a:gd name="connsiteY79" fmla="*/ 0 h 3921126"/>
                <a:gd name="connsiteX0" fmla="*/ 1609725 w 1612900"/>
                <a:gd name="connsiteY0" fmla="*/ 3921126 h 3921126"/>
                <a:gd name="connsiteX1" fmla="*/ 1612900 w 1612900"/>
                <a:gd name="connsiteY1" fmla="*/ 3556001 h 3921126"/>
                <a:gd name="connsiteX2" fmla="*/ 1400175 w 1612900"/>
                <a:gd name="connsiteY2" fmla="*/ 3556001 h 3921126"/>
                <a:gd name="connsiteX3" fmla="*/ 1403350 w 1612900"/>
                <a:gd name="connsiteY3" fmla="*/ 3435351 h 3921126"/>
                <a:gd name="connsiteX4" fmla="*/ 1339850 w 1612900"/>
                <a:gd name="connsiteY4" fmla="*/ 3435351 h 3921126"/>
                <a:gd name="connsiteX5" fmla="*/ 1343025 w 1612900"/>
                <a:gd name="connsiteY5" fmla="*/ 3321051 h 3921126"/>
                <a:gd name="connsiteX6" fmla="*/ 1123950 w 1612900"/>
                <a:gd name="connsiteY6" fmla="*/ 3324226 h 3921126"/>
                <a:gd name="connsiteX7" fmla="*/ 1127125 w 1612900"/>
                <a:gd name="connsiteY7" fmla="*/ 3228976 h 3921126"/>
                <a:gd name="connsiteX8" fmla="*/ 993775 w 1612900"/>
                <a:gd name="connsiteY8" fmla="*/ 3228976 h 3921126"/>
                <a:gd name="connsiteX9" fmla="*/ 993775 w 1612900"/>
                <a:gd name="connsiteY9" fmla="*/ 3143251 h 3921126"/>
                <a:gd name="connsiteX10" fmla="*/ 866775 w 1612900"/>
                <a:gd name="connsiteY10" fmla="*/ 3140076 h 3921126"/>
                <a:gd name="connsiteX11" fmla="*/ 869950 w 1612900"/>
                <a:gd name="connsiteY11" fmla="*/ 3067051 h 3921126"/>
                <a:gd name="connsiteX12" fmla="*/ 819150 w 1612900"/>
                <a:gd name="connsiteY12" fmla="*/ 3067051 h 3921126"/>
                <a:gd name="connsiteX13" fmla="*/ 822325 w 1612900"/>
                <a:gd name="connsiteY13" fmla="*/ 2990851 h 3921126"/>
                <a:gd name="connsiteX14" fmla="*/ 765175 w 1612900"/>
                <a:gd name="connsiteY14" fmla="*/ 2990851 h 3921126"/>
                <a:gd name="connsiteX15" fmla="*/ 768350 w 1612900"/>
                <a:gd name="connsiteY15" fmla="*/ 2908301 h 3921126"/>
                <a:gd name="connsiteX16" fmla="*/ 723900 w 1612900"/>
                <a:gd name="connsiteY16" fmla="*/ 2908301 h 3921126"/>
                <a:gd name="connsiteX17" fmla="*/ 730250 w 1612900"/>
                <a:gd name="connsiteY17" fmla="*/ 2841626 h 3921126"/>
                <a:gd name="connsiteX18" fmla="*/ 511175 w 1612900"/>
                <a:gd name="connsiteY18" fmla="*/ 2867026 h 3921126"/>
                <a:gd name="connsiteX19" fmla="*/ 717550 w 1612900"/>
                <a:gd name="connsiteY19" fmla="*/ 2841626 h 3921126"/>
                <a:gd name="connsiteX20" fmla="*/ 720725 w 1612900"/>
                <a:gd name="connsiteY20" fmla="*/ 2692401 h 3921126"/>
                <a:gd name="connsiteX21" fmla="*/ 638175 w 1612900"/>
                <a:gd name="connsiteY21" fmla="*/ 2689226 h 3921126"/>
                <a:gd name="connsiteX22" fmla="*/ 644525 w 1612900"/>
                <a:gd name="connsiteY22" fmla="*/ 2619376 h 3921126"/>
                <a:gd name="connsiteX23" fmla="*/ 596900 w 1612900"/>
                <a:gd name="connsiteY23" fmla="*/ 2616201 h 3921126"/>
                <a:gd name="connsiteX24" fmla="*/ 606425 w 1612900"/>
                <a:gd name="connsiteY24" fmla="*/ 2479676 h 3921126"/>
                <a:gd name="connsiteX25" fmla="*/ 577850 w 1612900"/>
                <a:gd name="connsiteY25" fmla="*/ 2476501 h 3921126"/>
                <a:gd name="connsiteX26" fmla="*/ 581025 w 1612900"/>
                <a:gd name="connsiteY26" fmla="*/ 2336801 h 3921126"/>
                <a:gd name="connsiteX27" fmla="*/ 581025 w 1612900"/>
                <a:gd name="connsiteY27" fmla="*/ 2336801 h 3921126"/>
                <a:gd name="connsiteX28" fmla="*/ 581025 w 1612900"/>
                <a:gd name="connsiteY28" fmla="*/ 2336801 h 3921126"/>
                <a:gd name="connsiteX29" fmla="*/ 180975 w 1612900"/>
                <a:gd name="connsiteY29" fmla="*/ 2457451 h 3921126"/>
                <a:gd name="connsiteX30" fmla="*/ 558800 w 1612900"/>
                <a:gd name="connsiteY30" fmla="*/ 2339976 h 3921126"/>
                <a:gd name="connsiteX31" fmla="*/ 561975 w 1612900"/>
                <a:gd name="connsiteY31" fmla="*/ 2270126 h 3921126"/>
                <a:gd name="connsiteX32" fmla="*/ 171450 w 1612900"/>
                <a:gd name="connsiteY32" fmla="*/ 2327276 h 3921126"/>
                <a:gd name="connsiteX33" fmla="*/ 549275 w 1612900"/>
                <a:gd name="connsiteY33" fmla="*/ 2270126 h 3921126"/>
                <a:gd name="connsiteX34" fmla="*/ 549275 w 1612900"/>
                <a:gd name="connsiteY34" fmla="*/ 2206626 h 3921126"/>
                <a:gd name="connsiteX35" fmla="*/ 200025 w 1612900"/>
                <a:gd name="connsiteY35" fmla="*/ 2228851 h 3921126"/>
                <a:gd name="connsiteX36" fmla="*/ 542925 w 1612900"/>
                <a:gd name="connsiteY36" fmla="*/ 2203451 h 3921126"/>
                <a:gd name="connsiteX37" fmla="*/ 542925 w 1612900"/>
                <a:gd name="connsiteY37" fmla="*/ 2203451 h 3921126"/>
                <a:gd name="connsiteX38" fmla="*/ 542925 w 1612900"/>
                <a:gd name="connsiteY38" fmla="*/ 2203451 h 3921126"/>
                <a:gd name="connsiteX39" fmla="*/ 720725 w 1612900"/>
                <a:gd name="connsiteY39" fmla="*/ 2174876 h 3921126"/>
                <a:gd name="connsiteX40" fmla="*/ 546100 w 1612900"/>
                <a:gd name="connsiteY40" fmla="*/ 2184401 h 3921126"/>
                <a:gd name="connsiteX41" fmla="*/ 209550 w 1612900"/>
                <a:gd name="connsiteY41" fmla="*/ 2209801 h 3921126"/>
                <a:gd name="connsiteX42" fmla="*/ 530225 w 1612900"/>
                <a:gd name="connsiteY42" fmla="*/ 2184401 h 3921126"/>
                <a:gd name="connsiteX43" fmla="*/ 533400 w 1612900"/>
                <a:gd name="connsiteY43" fmla="*/ 2085976 h 3921126"/>
                <a:gd name="connsiteX44" fmla="*/ 495300 w 1612900"/>
                <a:gd name="connsiteY44" fmla="*/ 2079626 h 3921126"/>
                <a:gd name="connsiteX45" fmla="*/ 501650 w 1612900"/>
                <a:gd name="connsiteY45" fmla="*/ 2009776 h 3921126"/>
                <a:gd name="connsiteX46" fmla="*/ 441325 w 1612900"/>
                <a:gd name="connsiteY46" fmla="*/ 2003426 h 3921126"/>
                <a:gd name="connsiteX47" fmla="*/ 447675 w 1612900"/>
                <a:gd name="connsiteY47" fmla="*/ 1927226 h 3921126"/>
                <a:gd name="connsiteX48" fmla="*/ 0 w 1612900"/>
                <a:gd name="connsiteY48" fmla="*/ 2003426 h 3921126"/>
                <a:gd name="connsiteX49" fmla="*/ 431800 w 1612900"/>
                <a:gd name="connsiteY49" fmla="*/ 1927226 h 3921126"/>
                <a:gd name="connsiteX50" fmla="*/ 441325 w 1612900"/>
                <a:gd name="connsiteY50" fmla="*/ 1876426 h 3921126"/>
                <a:gd name="connsiteX51" fmla="*/ 400050 w 1612900"/>
                <a:gd name="connsiteY51" fmla="*/ 1876426 h 3921126"/>
                <a:gd name="connsiteX52" fmla="*/ 406400 w 1612900"/>
                <a:gd name="connsiteY52" fmla="*/ 1809751 h 3921126"/>
                <a:gd name="connsiteX53" fmla="*/ 387350 w 1612900"/>
                <a:gd name="connsiteY53" fmla="*/ 1809751 h 3921126"/>
                <a:gd name="connsiteX54" fmla="*/ 387350 w 1612900"/>
                <a:gd name="connsiteY54" fmla="*/ 1771651 h 3921126"/>
                <a:gd name="connsiteX55" fmla="*/ 377825 w 1612900"/>
                <a:gd name="connsiteY55" fmla="*/ 1768476 h 3921126"/>
                <a:gd name="connsiteX56" fmla="*/ 377825 w 1612900"/>
                <a:gd name="connsiteY56" fmla="*/ 1628776 h 3921126"/>
                <a:gd name="connsiteX57" fmla="*/ 352425 w 1612900"/>
                <a:gd name="connsiteY57" fmla="*/ 1619251 h 3921126"/>
                <a:gd name="connsiteX58" fmla="*/ 361950 w 1612900"/>
                <a:gd name="connsiteY58" fmla="*/ 1447801 h 3921126"/>
                <a:gd name="connsiteX59" fmla="*/ 346075 w 1612900"/>
                <a:gd name="connsiteY59" fmla="*/ 1450976 h 3921126"/>
                <a:gd name="connsiteX60" fmla="*/ 349250 w 1612900"/>
                <a:gd name="connsiteY60" fmla="*/ 1317626 h 3921126"/>
                <a:gd name="connsiteX61" fmla="*/ 292100 w 1612900"/>
                <a:gd name="connsiteY61" fmla="*/ 1314451 h 3921126"/>
                <a:gd name="connsiteX62" fmla="*/ 301625 w 1612900"/>
                <a:gd name="connsiteY62" fmla="*/ 1133476 h 3921126"/>
                <a:gd name="connsiteX63" fmla="*/ 273050 w 1612900"/>
                <a:gd name="connsiteY63" fmla="*/ 1127126 h 3921126"/>
                <a:gd name="connsiteX64" fmla="*/ 276225 w 1612900"/>
                <a:gd name="connsiteY64" fmla="*/ 1050926 h 3921126"/>
                <a:gd name="connsiteX65" fmla="*/ 263525 w 1612900"/>
                <a:gd name="connsiteY65" fmla="*/ 1054101 h 3921126"/>
                <a:gd name="connsiteX66" fmla="*/ 273050 w 1612900"/>
                <a:gd name="connsiteY66" fmla="*/ 873126 h 3921126"/>
                <a:gd name="connsiteX67" fmla="*/ 228600 w 1612900"/>
                <a:gd name="connsiteY67" fmla="*/ 879476 h 3921126"/>
                <a:gd name="connsiteX68" fmla="*/ 231775 w 1612900"/>
                <a:gd name="connsiteY68" fmla="*/ 781051 h 3921126"/>
                <a:gd name="connsiteX69" fmla="*/ 196850 w 1612900"/>
                <a:gd name="connsiteY69" fmla="*/ 777876 h 3921126"/>
                <a:gd name="connsiteX70" fmla="*/ 196850 w 1612900"/>
                <a:gd name="connsiteY70" fmla="*/ 676276 h 3921126"/>
                <a:gd name="connsiteX71" fmla="*/ 177800 w 1612900"/>
                <a:gd name="connsiteY71" fmla="*/ 571501 h 3921126"/>
                <a:gd name="connsiteX72" fmla="*/ 168275 w 1612900"/>
                <a:gd name="connsiteY72" fmla="*/ 479426 h 3921126"/>
                <a:gd name="connsiteX73" fmla="*/ 133350 w 1612900"/>
                <a:gd name="connsiteY73" fmla="*/ 346076 h 3921126"/>
                <a:gd name="connsiteX74" fmla="*/ 98425 w 1612900"/>
                <a:gd name="connsiteY74" fmla="*/ 266701 h 3921126"/>
                <a:gd name="connsiteX75" fmla="*/ 82550 w 1612900"/>
                <a:gd name="connsiteY75" fmla="*/ 165101 h 3921126"/>
                <a:gd name="connsiteX76" fmla="*/ 76200 w 1612900"/>
                <a:gd name="connsiteY76" fmla="*/ 82551 h 3921126"/>
                <a:gd name="connsiteX77" fmla="*/ 38100 w 1612900"/>
                <a:gd name="connsiteY77" fmla="*/ 60326 h 3921126"/>
                <a:gd name="connsiteX78" fmla="*/ 31750 w 1612900"/>
                <a:gd name="connsiteY78"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36801 h 3921126"/>
                <a:gd name="connsiteX27" fmla="*/ 549275 w 1581150"/>
                <a:gd name="connsiteY27" fmla="*/ 2336801 h 3921126"/>
                <a:gd name="connsiteX28" fmla="*/ 549275 w 1581150"/>
                <a:gd name="connsiteY28" fmla="*/ 2336801 h 3921126"/>
                <a:gd name="connsiteX29" fmla="*/ 149225 w 1581150"/>
                <a:gd name="connsiteY29" fmla="*/ 2457451 h 3921126"/>
                <a:gd name="connsiteX30" fmla="*/ 527050 w 1581150"/>
                <a:gd name="connsiteY30" fmla="*/ 2339976 h 3921126"/>
                <a:gd name="connsiteX31" fmla="*/ 530225 w 1581150"/>
                <a:gd name="connsiteY31" fmla="*/ 2270126 h 3921126"/>
                <a:gd name="connsiteX32" fmla="*/ 139700 w 1581150"/>
                <a:gd name="connsiteY32" fmla="*/ 2327276 h 3921126"/>
                <a:gd name="connsiteX33" fmla="*/ 517525 w 1581150"/>
                <a:gd name="connsiteY33" fmla="*/ 2270126 h 3921126"/>
                <a:gd name="connsiteX34" fmla="*/ 517525 w 1581150"/>
                <a:gd name="connsiteY34" fmla="*/ 2206626 h 3921126"/>
                <a:gd name="connsiteX35" fmla="*/ 168275 w 1581150"/>
                <a:gd name="connsiteY35" fmla="*/ 2228851 h 3921126"/>
                <a:gd name="connsiteX36" fmla="*/ 511175 w 1581150"/>
                <a:gd name="connsiteY36" fmla="*/ 2203451 h 3921126"/>
                <a:gd name="connsiteX37" fmla="*/ 511175 w 1581150"/>
                <a:gd name="connsiteY37" fmla="*/ 2203451 h 3921126"/>
                <a:gd name="connsiteX38" fmla="*/ 511175 w 1581150"/>
                <a:gd name="connsiteY38" fmla="*/ 2203451 h 3921126"/>
                <a:gd name="connsiteX39" fmla="*/ 688975 w 1581150"/>
                <a:gd name="connsiteY39" fmla="*/ 2174876 h 3921126"/>
                <a:gd name="connsiteX40" fmla="*/ 514350 w 1581150"/>
                <a:gd name="connsiteY40" fmla="*/ 2184401 h 3921126"/>
                <a:gd name="connsiteX41" fmla="*/ 177800 w 1581150"/>
                <a:gd name="connsiteY41" fmla="*/ 2209801 h 3921126"/>
                <a:gd name="connsiteX42" fmla="*/ 498475 w 1581150"/>
                <a:gd name="connsiteY42" fmla="*/ 2184401 h 3921126"/>
                <a:gd name="connsiteX43" fmla="*/ 501650 w 1581150"/>
                <a:gd name="connsiteY43" fmla="*/ 2085976 h 3921126"/>
                <a:gd name="connsiteX44" fmla="*/ 463550 w 1581150"/>
                <a:gd name="connsiteY44" fmla="*/ 2079626 h 3921126"/>
                <a:gd name="connsiteX45" fmla="*/ 469900 w 1581150"/>
                <a:gd name="connsiteY45" fmla="*/ 2009776 h 3921126"/>
                <a:gd name="connsiteX46" fmla="*/ 409575 w 1581150"/>
                <a:gd name="connsiteY46" fmla="*/ 2003426 h 3921126"/>
                <a:gd name="connsiteX47" fmla="*/ 415925 w 1581150"/>
                <a:gd name="connsiteY47" fmla="*/ 1927226 h 3921126"/>
                <a:gd name="connsiteX48" fmla="*/ 400050 w 1581150"/>
                <a:gd name="connsiteY48" fmla="*/ 1927226 h 3921126"/>
                <a:gd name="connsiteX49" fmla="*/ 409575 w 1581150"/>
                <a:gd name="connsiteY49" fmla="*/ 1876426 h 3921126"/>
                <a:gd name="connsiteX50" fmla="*/ 368300 w 1581150"/>
                <a:gd name="connsiteY50" fmla="*/ 1876426 h 3921126"/>
                <a:gd name="connsiteX51" fmla="*/ 374650 w 1581150"/>
                <a:gd name="connsiteY51" fmla="*/ 1809751 h 3921126"/>
                <a:gd name="connsiteX52" fmla="*/ 355600 w 1581150"/>
                <a:gd name="connsiteY52" fmla="*/ 1809751 h 3921126"/>
                <a:gd name="connsiteX53" fmla="*/ 355600 w 1581150"/>
                <a:gd name="connsiteY53" fmla="*/ 1771651 h 3921126"/>
                <a:gd name="connsiteX54" fmla="*/ 346075 w 1581150"/>
                <a:gd name="connsiteY54" fmla="*/ 1768476 h 3921126"/>
                <a:gd name="connsiteX55" fmla="*/ 346075 w 1581150"/>
                <a:gd name="connsiteY55" fmla="*/ 1628776 h 3921126"/>
                <a:gd name="connsiteX56" fmla="*/ 320675 w 1581150"/>
                <a:gd name="connsiteY56" fmla="*/ 1619251 h 3921126"/>
                <a:gd name="connsiteX57" fmla="*/ 330200 w 1581150"/>
                <a:gd name="connsiteY57" fmla="*/ 1447801 h 3921126"/>
                <a:gd name="connsiteX58" fmla="*/ 314325 w 1581150"/>
                <a:gd name="connsiteY58" fmla="*/ 1450976 h 3921126"/>
                <a:gd name="connsiteX59" fmla="*/ 317500 w 1581150"/>
                <a:gd name="connsiteY59" fmla="*/ 1317626 h 3921126"/>
                <a:gd name="connsiteX60" fmla="*/ 260350 w 1581150"/>
                <a:gd name="connsiteY60" fmla="*/ 1314451 h 3921126"/>
                <a:gd name="connsiteX61" fmla="*/ 269875 w 1581150"/>
                <a:gd name="connsiteY61" fmla="*/ 1133476 h 3921126"/>
                <a:gd name="connsiteX62" fmla="*/ 241300 w 1581150"/>
                <a:gd name="connsiteY62" fmla="*/ 1127126 h 3921126"/>
                <a:gd name="connsiteX63" fmla="*/ 244475 w 1581150"/>
                <a:gd name="connsiteY63" fmla="*/ 1050926 h 3921126"/>
                <a:gd name="connsiteX64" fmla="*/ 231775 w 1581150"/>
                <a:gd name="connsiteY64" fmla="*/ 1054101 h 3921126"/>
                <a:gd name="connsiteX65" fmla="*/ 241300 w 1581150"/>
                <a:gd name="connsiteY65" fmla="*/ 873126 h 3921126"/>
                <a:gd name="connsiteX66" fmla="*/ 196850 w 1581150"/>
                <a:gd name="connsiteY66" fmla="*/ 879476 h 3921126"/>
                <a:gd name="connsiteX67" fmla="*/ 200025 w 1581150"/>
                <a:gd name="connsiteY67" fmla="*/ 781051 h 3921126"/>
                <a:gd name="connsiteX68" fmla="*/ 165100 w 1581150"/>
                <a:gd name="connsiteY68" fmla="*/ 777876 h 3921126"/>
                <a:gd name="connsiteX69" fmla="*/ 165100 w 1581150"/>
                <a:gd name="connsiteY69" fmla="*/ 676276 h 3921126"/>
                <a:gd name="connsiteX70" fmla="*/ 146050 w 1581150"/>
                <a:gd name="connsiteY70" fmla="*/ 571501 h 3921126"/>
                <a:gd name="connsiteX71" fmla="*/ 136525 w 1581150"/>
                <a:gd name="connsiteY71" fmla="*/ 479426 h 3921126"/>
                <a:gd name="connsiteX72" fmla="*/ 101600 w 1581150"/>
                <a:gd name="connsiteY72" fmla="*/ 346076 h 3921126"/>
                <a:gd name="connsiteX73" fmla="*/ 66675 w 1581150"/>
                <a:gd name="connsiteY73" fmla="*/ 266701 h 3921126"/>
                <a:gd name="connsiteX74" fmla="*/ 50800 w 1581150"/>
                <a:gd name="connsiteY74" fmla="*/ 165101 h 3921126"/>
                <a:gd name="connsiteX75" fmla="*/ 44450 w 1581150"/>
                <a:gd name="connsiteY75" fmla="*/ 82551 h 3921126"/>
                <a:gd name="connsiteX76" fmla="*/ 6350 w 1581150"/>
                <a:gd name="connsiteY76" fmla="*/ 60326 h 3921126"/>
                <a:gd name="connsiteX77" fmla="*/ 0 w 1581150"/>
                <a:gd name="connsiteY77"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36801 h 3921126"/>
                <a:gd name="connsiteX27" fmla="*/ 549275 w 1581150"/>
                <a:gd name="connsiteY27" fmla="*/ 2336801 h 3921126"/>
                <a:gd name="connsiteX28" fmla="*/ 549275 w 1581150"/>
                <a:gd name="connsiteY28" fmla="*/ 2336801 h 3921126"/>
                <a:gd name="connsiteX29" fmla="*/ 149225 w 1581150"/>
                <a:gd name="connsiteY29" fmla="*/ 2457451 h 3921126"/>
                <a:gd name="connsiteX30" fmla="*/ 527050 w 1581150"/>
                <a:gd name="connsiteY30" fmla="*/ 2339976 h 3921126"/>
                <a:gd name="connsiteX31" fmla="*/ 530225 w 1581150"/>
                <a:gd name="connsiteY31" fmla="*/ 2270126 h 3921126"/>
                <a:gd name="connsiteX32" fmla="*/ 139700 w 1581150"/>
                <a:gd name="connsiteY32" fmla="*/ 2327276 h 3921126"/>
                <a:gd name="connsiteX33" fmla="*/ 517525 w 1581150"/>
                <a:gd name="connsiteY33" fmla="*/ 2270126 h 3921126"/>
                <a:gd name="connsiteX34" fmla="*/ 517525 w 1581150"/>
                <a:gd name="connsiteY34" fmla="*/ 2206626 h 3921126"/>
                <a:gd name="connsiteX35" fmla="*/ 168275 w 1581150"/>
                <a:gd name="connsiteY35" fmla="*/ 2228851 h 3921126"/>
                <a:gd name="connsiteX36" fmla="*/ 511175 w 1581150"/>
                <a:gd name="connsiteY36" fmla="*/ 2203451 h 3921126"/>
                <a:gd name="connsiteX37" fmla="*/ 511175 w 1581150"/>
                <a:gd name="connsiteY37" fmla="*/ 2203451 h 3921126"/>
                <a:gd name="connsiteX38" fmla="*/ 511175 w 1581150"/>
                <a:gd name="connsiteY38" fmla="*/ 2203451 h 3921126"/>
                <a:gd name="connsiteX39" fmla="*/ 688975 w 1581150"/>
                <a:gd name="connsiteY39" fmla="*/ 2174876 h 3921126"/>
                <a:gd name="connsiteX40" fmla="*/ 514350 w 1581150"/>
                <a:gd name="connsiteY40" fmla="*/ 2184401 h 3921126"/>
                <a:gd name="connsiteX41" fmla="*/ 498475 w 1581150"/>
                <a:gd name="connsiteY41" fmla="*/ 2184401 h 3921126"/>
                <a:gd name="connsiteX42" fmla="*/ 501650 w 1581150"/>
                <a:gd name="connsiteY42" fmla="*/ 2085976 h 3921126"/>
                <a:gd name="connsiteX43" fmla="*/ 463550 w 1581150"/>
                <a:gd name="connsiteY43" fmla="*/ 2079626 h 3921126"/>
                <a:gd name="connsiteX44" fmla="*/ 469900 w 1581150"/>
                <a:gd name="connsiteY44" fmla="*/ 2009776 h 3921126"/>
                <a:gd name="connsiteX45" fmla="*/ 409575 w 1581150"/>
                <a:gd name="connsiteY45" fmla="*/ 2003426 h 3921126"/>
                <a:gd name="connsiteX46" fmla="*/ 415925 w 1581150"/>
                <a:gd name="connsiteY46" fmla="*/ 1927226 h 3921126"/>
                <a:gd name="connsiteX47" fmla="*/ 400050 w 1581150"/>
                <a:gd name="connsiteY47" fmla="*/ 1927226 h 3921126"/>
                <a:gd name="connsiteX48" fmla="*/ 409575 w 1581150"/>
                <a:gd name="connsiteY48" fmla="*/ 1876426 h 3921126"/>
                <a:gd name="connsiteX49" fmla="*/ 368300 w 1581150"/>
                <a:gd name="connsiteY49" fmla="*/ 1876426 h 3921126"/>
                <a:gd name="connsiteX50" fmla="*/ 374650 w 1581150"/>
                <a:gd name="connsiteY50" fmla="*/ 1809751 h 3921126"/>
                <a:gd name="connsiteX51" fmla="*/ 355600 w 1581150"/>
                <a:gd name="connsiteY51" fmla="*/ 1809751 h 3921126"/>
                <a:gd name="connsiteX52" fmla="*/ 355600 w 1581150"/>
                <a:gd name="connsiteY52" fmla="*/ 1771651 h 3921126"/>
                <a:gd name="connsiteX53" fmla="*/ 346075 w 1581150"/>
                <a:gd name="connsiteY53" fmla="*/ 1768476 h 3921126"/>
                <a:gd name="connsiteX54" fmla="*/ 346075 w 1581150"/>
                <a:gd name="connsiteY54" fmla="*/ 1628776 h 3921126"/>
                <a:gd name="connsiteX55" fmla="*/ 320675 w 1581150"/>
                <a:gd name="connsiteY55" fmla="*/ 1619251 h 3921126"/>
                <a:gd name="connsiteX56" fmla="*/ 330200 w 1581150"/>
                <a:gd name="connsiteY56" fmla="*/ 1447801 h 3921126"/>
                <a:gd name="connsiteX57" fmla="*/ 314325 w 1581150"/>
                <a:gd name="connsiteY57" fmla="*/ 1450976 h 3921126"/>
                <a:gd name="connsiteX58" fmla="*/ 317500 w 1581150"/>
                <a:gd name="connsiteY58" fmla="*/ 1317626 h 3921126"/>
                <a:gd name="connsiteX59" fmla="*/ 260350 w 1581150"/>
                <a:gd name="connsiteY59" fmla="*/ 1314451 h 3921126"/>
                <a:gd name="connsiteX60" fmla="*/ 269875 w 1581150"/>
                <a:gd name="connsiteY60" fmla="*/ 1133476 h 3921126"/>
                <a:gd name="connsiteX61" fmla="*/ 241300 w 1581150"/>
                <a:gd name="connsiteY61" fmla="*/ 1127126 h 3921126"/>
                <a:gd name="connsiteX62" fmla="*/ 244475 w 1581150"/>
                <a:gd name="connsiteY62" fmla="*/ 1050926 h 3921126"/>
                <a:gd name="connsiteX63" fmla="*/ 231775 w 1581150"/>
                <a:gd name="connsiteY63" fmla="*/ 1054101 h 3921126"/>
                <a:gd name="connsiteX64" fmla="*/ 241300 w 1581150"/>
                <a:gd name="connsiteY64" fmla="*/ 873126 h 3921126"/>
                <a:gd name="connsiteX65" fmla="*/ 196850 w 1581150"/>
                <a:gd name="connsiteY65" fmla="*/ 879476 h 3921126"/>
                <a:gd name="connsiteX66" fmla="*/ 200025 w 1581150"/>
                <a:gd name="connsiteY66" fmla="*/ 781051 h 3921126"/>
                <a:gd name="connsiteX67" fmla="*/ 165100 w 1581150"/>
                <a:gd name="connsiteY67" fmla="*/ 777876 h 3921126"/>
                <a:gd name="connsiteX68" fmla="*/ 165100 w 1581150"/>
                <a:gd name="connsiteY68" fmla="*/ 676276 h 3921126"/>
                <a:gd name="connsiteX69" fmla="*/ 146050 w 1581150"/>
                <a:gd name="connsiteY69" fmla="*/ 571501 h 3921126"/>
                <a:gd name="connsiteX70" fmla="*/ 136525 w 1581150"/>
                <a:gd name="connsiteY70" fmla="*/ 479426 h 3921126"/>
                <a:gd name="connsiteX71" fmla="*/ 101600 w 1581150"/>
                <a:gd name="connsiteY71" fmla="*/ 346076 h 3921126"/>
                <a:gd name="connsiteX72" fmla="*/ 66675 w 1581150"/>
                <a:gd name="connsiteY72" fmla="*/ 266701 h 3921126"/>
                <a:gd name="connsiteX73" fmla="*/ 50800 w 1581150"/>
                <a:gd name="connsiteY73" fmla="*/ 165101 h 3921126"/>
                <a:gd name="connsiteX74" fmla="*/ 44450 w 1581150"/>
                <a:gd name="connsiteY74" fmla="*/ 82551 h 3921126"/>
                <a:gd name="connsiteX75" fmla="*/ 6350 w 1581150"/>
                <a:gd name="connsiteY75" fmla="*/ 60326 h 3921126"/>
                <a:gd name="connsiteX76" fmla="*/ 0 w 1581150"/>
                <a:gd name="connsiteY76"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36801 h 3921126"/>
                <a:gd name="connsiteX27" fmla="*/ 549275 w 1581150"/>
                <a:gd name="connsiteY27" fmla="*/ 2336801 h 3921126"/>
                <a:gd name="connsiteX28" fmla="*/ 549275 w 1581150"/>
                <a:gd name="connsiteY28" fmla="*/ 2336801 h 3921126"/>
                <a:gd name="connsiteX29" fmla="*/ 149225 w 1581150"/>
                <a:gd name="connsiteY29" fmla="*/ 2457451 h 3921126"/>
                <a:gd name="connsiteX30" fmla="*/ 527050 w 1581150"/>
                <a:gd name="connsiteY30" fmla="*/ 2339976 h 3921126"/>
                <a:gd name="connsiteX31" fmla="*/ 530225 w 1581150"/>
                <a:gd name="connsiteY31" fmla="*/ 2270126 h 3921126"/>
                <a:gd name="connsiteX32" fmla="*/ 139700 w 1581150"/>
                <a:gd name="connsiteY32" fmla="*/ 2327276 h 3921126"/>
                <a:gd name="connsiteX33" fmla="*/ 517525 w 1581150"/>
                <a:gd name="connsiteY33" fmla="*/ 2270126 h 3921126"/>
                <a:gd name="connsiteX34" fmla="*/ 517525 w 1581150"/>
                <a:gd name="connsiteY34" fmla="*/ 2206626 h 3921126"/>
                <a:gd name="connsiteX35" fmla="*/ 168275 w 1581150"/>
                <a:gd name="connsiteY35" fmla="*/ 2228851 h 3921126"/>
                <a:gd name="connsiteX36" fmla="*/ 511175 w 1581150"/>
                <a:gd name="connsiteY36" fmla="*/ 2203451 h 3921126"/>
                <a:gd name="connsiteX37" fmla="*/ 511175 w 1581150"/>
                <a:gd name="connsiteY37" fmla="*/ 2203451 h 3921126"/>
                <a:gd name="connsiteX38" fmla="*/ 511175 w 1581150"/>
                <a:gd name="connsiteY38" fmla="*/ 2203451 h 3921126"/>
                <a:gd name="connsiteX39" fmla="*/ 514350 w 1581150"/>
                <a:gd name="connsiteY39" fmla="*/ 2184401 h 3921126"/>
                <a:gd name="connsiteX40" fmla="*/ 498475 w 1581150"/>
                <a:gd name="connsiteY40" fmla="*/ 2184401 h 3921126"/>
                <a:gd name="connsiteX41" fmla="*/ 501650 w 1581150"/>
                <a:gd name="connsiteY41" fmla="*/ 2085976 h 3921126"/>
                <a:gd name="connsiteX42" fmla="*/ 463550 w 1581150"/>
                <a:gd name="connsiteY42" fmla="*/ 2079626 h 3921126"/>
                <a:gd name="connsiteX43" fmla="*/ 469900 w 1581150"/>
                <a:gd name="connsiteY43" fmla="*/ 2009776 h 3921126"/>
                <a:gd name="connsiteX44" fmla="*/ 409575 w 1581150"/>
                <a:gd name="connsiteY44" fmla="*/ 2003426 h 3921126"/>
                <a:gd name="connsiteX45" fmla="*/ 415925 w 1581150"/>
                <a:gd name="connsiteY45" fmla="*/ 1927226 h 3921126"/>
                <a:gd name="connsiteX46" fmla="*/ 400050 w 1581150"/>
                <a:gd name="connsiteY46" fmla="*/ 1927226 h 3921126"/>
                <a:gd name="connsiteX47" fmla="*/ 409575 w 1581150"/>
                <a:gd name="connsiteY47" fmla="*/ 1876426 h 3921126"/>
                <a:gd name="connsiteX48" fmla="*/ 368300 w 1581150"/>
                <a:gd name="connsiteY48" fmla="*/ 1876426 h 3921126"/>
                <a:gd name="connsiteX49" fmla="*/ 374650 w 1581150"/>
                <a:gd name="connsiteY49" fmla="*/ 1809751 h 3921126"/>
                <a:gd name="connsiteX50" fmla="*/ 355600 w 1581150"/>
                <a:gd name="connsiteY50" fmla="*/ 1809751 h 3921126"/>
                <a:gd name="connsiteX51" fmla="*/ 355600 w 1581150"/>
                <a:gd name="connsiteY51" fmla="*/ 1771651 h 3921126"/>
                <a:gd name="connsiteX52" fmla="*/ 346075 w 1581150"/>
                <a:gd name="connsiteY52" fmla="*/ 1768476 h 3921126"/>
                <a:gd name="connsiteX53" fmla="*/ 346075 w 1581150"/>
                <a:gd name="connsiteY53" fmla="*/ 1628776 h 3921126"/>
                <a:gd name="connsiteX54" fmla="*/ 320675 w 1581150"/>
                <a:gd name="connsiteY54" fmla="*/ 1619251 h 3921126"/>
                <a:gd name="connsiteX55" fmla="*/ 330200 w 1581150"/>
                <a:gd name="connsiteY55" fmla="*/ 1447801 h 3921126"/>
                <a:gd name="connsiteX56" fmla="*/ 314325 w 1581150"/>
                <a:gd name="connsiteY56" fmla="*/ 1450976 h 3921126"/>
                <a:gd name="connsiteX57" fmla="*/ 317500 w 1581150"/>
                <a:gd name="connsiteY57" fmla="*/ 1317626 h 3921126"/>
                <a:gd name="connsiteX58" fmla="*/ 260350 w 1581150"/>
                <a:gd name="connsiteY58" fmla="*/ 1314451 h 3921126"/>
                <a:gd name="connsiteX59" fmla="*/ 269875 w 1581150"/>
                <a:gd name="connsiteY59" fmla="*/ 1133476 h 3921126"/>
                <a:gd name="connsiteX60" fmla="*/ 241300 w 1581150"/>
                <a:gd name="connsiteY60" fmla="*/ 1127126 h 3921126"/>
                <a:gd name="connsiteX61" fmla="*/ 244475 w 1581150"/>
                <a:gd name="connsiteY61" fmla="*/ 1050926 h 3921126"/>
                <a:gd name="connsiteX62" fmla="*/ 231775 w 1581150"/>
                <a:gd name="connsiteY62" fmla="*/ 1054101 h 3921126"/>
                <a:gd name="connsiteX63" fmla="*/ 241300 w 1581150"/>
                <a:gd name="connsiteY63" fmla="*/ 873126 h 3921126"/>
                <a:gd name="connsiteX64" fmla="*/ 196850 w 1581150"/>
                <a:gd name="connsiteY64" fmla="*/ 879476 h 3921126"/>
                <a:gd name="connsiteX65" fmla="*/ 200025 w 1581150"/>
                <a:gd name="connsiteY65" fmla="*/ 781051 h 3921126"/>
                <a:gd name="connsiteX66" fmla="*/ 165100 w 1581150"/>
                <a:gd name="connsiteY66" fmla="*/ 777876 h 3921126"/>
                <a:gd name="connsiteX67" fmla="*/ 165100 w 1581150"/>
                <a:gd name="connsiteY67" fmla="*/ 676276 h 3921126"/>
                <a:gd name="connsiteX68" fmla="*/ 146050 w 1581150"/>
                <a:gd name="connsiteY68" fmla="*/ 571501 h 3921126"/>
                <a:gd name="connsiteX69" fmla="*/ 136525 w 1581150"/>
                <a:gd name="connsiteY69" fmla="*/ 479426 h 3921126"/>
                <a:gd name="connsiteX70" fmla="*/ 101600 w 1581150"/>
                <a:gd name="connsiteY70" fmla="*/ 346076 h 3921126"/>
                <a:gd name="connsiteX71" fmla="*/ 66675 w 1581150"/>
                <a:gd name="connsiteY71" fmla="*/ 266701 h 3921126"/>
                <a:gd name="connsiteX72" fmla="*/ 50800 w 1581150"/>
                <a:gd name="connsiteY72" fmla="*/ 165101 h 3921126"/>
                <a:gd name="connsiteX73" fmla="*/ 44450 w 1581150"/>
                <a:gd name="connsiteY73" fmla="*/ 82551 h 3921126"/>
                <a:gd name="connsiteX74" fmla="*/ 6350 w 1581150"/>
                <a:gd name="connsiteY74" fmla="*/ 60326 h 3921126"/>
                <a:gd name="connsiteX75" fmla="*/ 0 w 1581150"/>
                <a:gd name="connsiteY75"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36801 h 3921126"/>
                <a:gd name="connsiteX27" fmla="*/ 549275 w 1581150"/>
                <a:gd name="connsiteY27" fmla="*/ 2336801 h 3921126"/>
                <a:gd name="connsiteX28" fmla="*/ 549275 w 1581150"/>
                <a:gd name="connsiteY28" fmla="*/ 2336801 h 3921126"/>
                <a:gd name="connsiteX29" fmla="*/ 149225 w 1581150"/>
                <a:gd name="connsiteY29" fmla="*/ 2457451 h 3921126"/>
                <a:gd name="connsiteX30" fmla="*/ 527050 w 1581150"/>
                <a:gd name="connsiteY30" fmla="*/ 2339976 h 3921126"/>
                <a:gd name="connsiteX31" fmla="*/ 530225 w 1581150"/>
                <a:gd name="connsiteY31" fmla="*/ 2270126 h 3921126"/>
                <a:gd name="connsiteX32" fmla="*/ 139700 w 1581150"/>
                <a:gd name="connsiteY32" fmla="*/ 2327276 h 3921126"/>
                <a:gd name="connsiteX33" fmla="*/ 517525 w 1581150"/>
                <a:gd name="connsiteY33" fmla="*/ 2270126 h 3921126"/>
                <a:gd name="connsiteX34" fmla="*/ 517525 w 1581150"/>
                <a:gd name="connsiteY34" fmla="*/ 2206626 h 3921126"/>
                <a:gd name="connsiteX35" fmla="*/ 511175 w 1581150"/>
                <a:gd name="connsiteY35" fmla="*/ 2203451 h 3921126"/>
                <a:gd name="connsiteX36" fmla="*/ 511175 w 1581150"/>
                <a:gd name="connsiteY36" fmla="*/ 2203451 h 3921126"/>
                <a:gd name="connsiteX37" fmla="*/ 511175 w 1581150"/>
                <a:gd name="connsiteY37" fmla="*/ 2203451 h 3921126"/>
                <a:gd name="connsiteX38" fmla="*/ 514350 w 1581150"/>
                <a:gd name="connsiteY38" fmla="*/ 2184401 h 3921126"/>
                <a:gd name="connsiteX39" fmla="*/ 498475 w 1581150"/>
                <a:gd name="connsiteY39" fmla="*/ 2184401 h 3921126"/>
                <a:gd name="connsiteX40" fmla="*/ 501650 w 1581150"/>
                <a:gd name="connsiteY40" fmla="*/ 2085976 h 3921126"/>
                <a:gd name="connsiteX41" fmla="*/ 463550 w 1581150"/>
                <a:gd name="connsiteY41" fmla="*/ 2079626 h 3921126"/>
                <a:gd name="connsiteX42" fmla="*/ 469900 w 1581150"/>
                <a:gd name="connsiteY42" fmla="*/ 2009776 h 3921126"/>
                <a:gd name="connsiteX43" fmla="*/ 409575 w 1581150"/>
                <a:gd name="connsiteY43" fmla="*/ 2003426 h 3921126"/>
                <a:gd name="connsiteX44" fmla="*/ 415925 w 1581150"/>
                <a:gd name="connsiteY44" fmla="*/ 1927226 h 3921126"/>
                <a:gd name="connsiteX45" fmla="*/ 400050 w 1581150"/>
                <a:gd name="connsiteY45" fmla="*/ 1927226 h 3921126"/>
                <a:gd name="connsiteX46" fmla="*/ 409575 w 1581150"/>
                <a:gd name="connsiteY46" fmla="*/ 1876426 h 3921126"/>
                <a:gd name="connsiteX47" fmla="*/ 368300 w 1581150"/>
                <a:gd name="connsiteY47" fmla="*/ 1876426 h 3921126"/>
                <a:gd name="connsiteX48" fmla="*/ 374650 w 1581150"/>
                <a:gd name="connsiteY48" fmla="*/ 1809751 h 3921126"/>
                <a:gd name="connsiteX49" fmla="*/ 355600 w 1581150"/>
                <a:gd name="connsiteY49" fmla="*/ 1809751 h 3921126"/>
                <a:gd name="connsiteX50" fmla="*/ 355600 w 1581150"/>
                <a:gd name="connsiteY50" fmla="*/ 1771651 h 3921126"/>
                <a:gd name="connsiteX51" fmla="*/ 346075 w 1581150"/>
                <a:gd name="connsiteY51" fmla="*/ 1768476 h 3921126"/>
                <a:gd name="connsiteX52" fmla="*/ 346075 w 1581150"/>
                <a:gd name="connsiteY52" fmla="*/ 1628776 h 3921126"/>
                <a:gd name="connsiteX53" fmla="*/ 320675 w 1581150"/>
                <a:gd name="connsiteY53" fmla="*/ 1619251 h 3921126"/>
                <a:gd name="connsiteX54" fmla="*/ 330200 w 1581150"/>
                <a:gd name="connsiteY54" fmla="*/ 1447801 h 3921126"/>
                <a:gd name="connsiteX55" fmla="*/ 314325 w 1581150"/>
                <a:gd name="connsiteY55" fmla="*/ 1450976 h 3921126"/>
                <a:gd name="connsiteX56" fmla="*/ 317500 w 1581150"/>
                <a:gd name="connsiteY56" fmla="*/ 1317626 h 3921126"/>
                <a:gd name="connsiteX57" fmla="*/ 260350 w 1581150"/>
                <a:gd name="connsiteY57" fmla="*/ 1314451 h 3921126"/>
                <a:gd name="connsiteX58" fmla="*/ 269875 w 1581150"/>
                <a:gd name="connsiteY58" fmla="*/ 1133476 h 3921126"/>
                <a:gd name="connsiteX59" fmla="*/ 241300 w 1581150"/>
                <a:gd name="connsiteY59" fmla="*/ 1127126 h 3921126"/>
                <a:gd name="connsiteX60" fmla="*/ 244475 w 1581150"/>
                <a:gd name="connsiteY60" fmla="*/ 1050926 h 3921126"/>
                <a:gd name="connsiteX61" fmla="*/ 231775 w 1581150"/>
                <a:gd name="connsiteY61" fmla="*/ 1054101 h 3921126"/>
                <a:gd name="connsiteX62" fmla="*/ 241300 w 1581150"/>
                <a:gd name="connsiteY62" fmla="*/ 873126 h 3921126"/>
                <a:gd name="connsiteX63" fmla="*/ 196850 w 1581150"/>
                <a:gd name="connsiteY63" fmla="*/ 879476 h 3921126"/>
                <a:gd name="connsiteX64" fmla="*/ 200025 w 1581150"/>
                <a:gd name="connsiteY64" fmla="*/ 781051 h 3921126"/>
                <a:gd name="connsiteX65" fmla="*/ 165100 w 1581150"/>
                <a:gd name="connsiteY65" fmla="*/ 777876 h 3921126"/>
                <a:gd name="connsiteX66" fmla="*/ 165100 w 1581150"/>
                <a:gd name="connsiteY66" fmla="*/ 676276 h 3921126"/>
                <a:gd name="connsiteX67" fmla="*/ 146050 w 1581150"/>
                <a:gd name="connsiteY67" fmla="*/ 571501 h 3921126"/>
                <a:gd name="connsiteX68" fmla="*/ 136525 w 1581150"/>
                <a:gd name="connsiteY68" fmla="*/ 479426 h 3921126"/>
                <a:gd name="connsiteX69" fmla="*/ 101600 w 1581150"/>
                <a:gd name="connsiteY69" fmla="*/ 346076 h 3921126"/>
                <a:gd name="connsiteX70" fmla="*/ 66675 w 1581150"/>
                <a:gd name="connsiteY70" fmla="*/ 266701 h 3921126"/>
                <a:gd name="connsiteX71" fmla="*/ 50800 w 1581150"/>
                <a:gd name="connsiteY71" fmla="*/ 165101 h 3921126"/>
                <a:gd name="connsiteX72" fmla="*/ 44450 w 1581150"/>
                <a:gd name="connsiteY72" fmla="*/ 82551 h 3921126"/>
                <a:gd name="connsiteX73" fmla="*/ 6350 w 1581150"/>
                <a:gd name="connsiteY73" fmla="*/ 60326 h 3921126"/>
                <a:gd name="connsiteX74" fmla="*/ 0 w 1581150"/>
                <a:gd name="connsiteY74"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36801 h 3921126"/>
                <a:gd name="connsiteX27" fmla="*/ 549275 w 1581150"/>
                <a:gd name="connsiteY27" fmla="*/ 2336801 h 3921126"/>
                <a:gd name="connsiteX28" fmla="*/ 549275 w 1581150"/>
                <a:gd name="connsiteY28" fmla="*/ 2336801 h 3921126"/>
                <a:gd name="connsiteX29" fmla="*/ 149225 w 1581150"/>
                <a:gd name="connsiteY29" fmla="*/ 2457451 h 3921126"/>
                <a:gd name="connsiteX30" fmla="*/ 527050 w 1581150"/>
                <a:gd name="connsiteY30" fmla="*/ 2339976 h 3921126"/>
                <a:gd name="connsiteX31" fmla="*/ 530225 w 1581150"/>
                <a:gd name="connsiteY31" fmla="*/ 2270126 h 3921126"/>
                <a:gd name="connsiteX32" fmla="*/ 517525 w 1581150"/>
                <a:gd name="connsiteY32" fmla="*/ 2270126 h 3921126"/>
                <a:gd name="connsiteX33" fmla="*/ 517525 w 1581150"/>
                <a:gd name="connsiteY33" fmla="*/ 2206626 h 3921126"/>
                <a:gd name="connsiteX34" fmla="*/ 511175 w 1581150"/>
                <a:gd name="connsiteY34" fmla="*/ 2203451 h 3921126"/>
                <a:gd name="connsiteX35" fmla="*/ 511175 w 1581150"/>
                <a:gd name="connsiteY35" fmla="*/ 2203451 h 3921126"/>
                <a:gd name="connsiteX36" fmla="*/ 511175 w 1581150"/>
                <a:gd name="connsiteY36" fmla="*/ 2203451 h 3921126"/>
                <a:gd name="connsiteX37" fmla="*/ 514350 w 1581150"/>
                <a:gd name="connsiteY37" fmla="*/ 2184401 h 3921126"/>
                <a:gd name="connsiteX38" fmla="*/ 498475 w 1581150"/>
                <a:gd name="connsiteY38" fmla="*/ 2184401 h 3921126"/>
                <a:gd name="connsiteX39" fmla="*/ 501650 w 1581150"/>
                <a:gd name="connsiteY39" fmla="*/ 2085976 h 3921126"/>
                <a:gd name="connsiteX40" fmla="*/ 463550 w 1581150"/>
                <a:gd name="connsiteY40" fmla="*/ 2079626 h 3921126"/>
                <a:gd name="connsiteX41" fmla="*/ 469900 w 1581150"/>
                <a:gd name="connsiteY41" fmla="*/ 2009776 h 3921126"/>
                <a:gd name="connsiteX42" fmla="*/ 409575 w 1581150"/>
                <a:gd name="connsiteY42" fmla="*/ 2003426 h 3921126"/>
                <a:gd name="connsiteX43" fmla="*/ 415925 w 1581150"/>
                <a:gd name="connsiteY43" fmla="*/ 1927226 h 3921126"/>
                <a:gd name="connsiteX44" fmla="*/ 400050 w 1581150"/>
                <a:gd name="connsiteY44" fmla="*/ 1927226 h 3921126"/>
                <a:gd name="connsiteX45" fmla="*/ 409575 w 1581150"/>
                <a:gd name="connsiteY45" fmla="*/ 1876426 h 3921126"/>
                <a:gd name="connsiteX46" fmla="*/ 368300 w 1581150"/>
                <a:gd name="connsiteY46" fmla="*/ 1876426 h 3921126"/>
                <a:gd name="connsiteX47" fmla="*/ 374650 w 1581150"/>
                <a:gd name="connsiteY47" fmla="*/ 1809751 h 3921126"/>
                <a:gd name="connsiteX48" fmla="*/ 355600 w 1581150"/>
                <a:gd name="connsiteY48" fmla="*/ 1809751 h 3921126"/>
                <a:gd name="connsiteX49" fmla="*/ 355600 w 1581150"/>
                <a:gd name="connsiteY49" fmla="*/ 1771651 h 3921126"/>
                <a:gd name="connsiteX50" fmla="*/ 346075 w 1581150"/>
                <a:gd name="connsiteY50" fmla="*/ 1768476 h 3921126"/>
                <a:gd name="connsiteX51" fmla="*/ 346075 w 1581150"/>
                <a:gd name="connsiteY51" fmla="*/ 1628776 h 3921126"/>
                <a:gd name="connsiteX52" fmla="*/ 320675 w 1581150"/>
                <a:gd name="connsiteY52" fmla="*/ 1619251 h 3921126"/>
                <a:gd name="connsiteX53" fmla="*/ 330200 w 1581150"/>
                <a:gd name="connsiteY53" fmla="*/ 1447801 h 3921126"/>
                <a:gd name="connsiteX54" fmla="*/ 314325 w 1581150"/>
                <a:gd name="connsiteY54" fmla="*/ 1450976 h 3921126"/>
                <a:gd name="connsiteX55" fmla="*/ 317500 w 1581150"/>
                <a:gd name="connsiteY55" fmla="*/ 1317626 h 3921126"/>
                <a:gd name="connsiteX56" fmla="*/ 260350 w 1581150"/>
                <a:gd name="connsiteY56" fmla="*/ 1314451 h 3921126"/>
                <a:gd name="connsiteX57" fmla="*/ 269875 w 1581150"/>
                <a:gd name="connsiteY57" fmla="*/ 1133476 h 3921126"/>
                <a:gd name="connsiteX58" fmla="*/ 241300 w 1581150"/>
                <a:gd name="connsiteY58" fmla="*/ 1127126 h 3921126"/>
                <a:gd name="connsiteX59" fmla="*/ 244475 w 1581150"/>
                <a:gd name="connsiteY59" fmla="*/ 1050926 h 3921126"/>
                <a:gd name="connsiteX60" fmla="*/ 231775 w 1581150"/>
                <a:gd name="connsiteY60" fmla="*/ 1054101 h 3921126"/>
                <a:gd name="connsiteX61" fmla="*/ 241300 w 1581150"/>
                <a:gd name="connsiteY61" fmla="*/ 873126 h 3921126"/>
                <a:gd name="connsiteX62" fmla="*/ 196850 w 1581150"/>
                <a:gd name="connsiteY62" fmla="*/ 879476 h 3921126"/>
                <a:gd name="connsiteX63" fmla="*/ 200025 w 1581150"/>
                <a:gd name="connsiteY63" fmla="*/ 781051 h 3921126"/>
                <a:gd name="connsiteX64" fmla="*/ 165100 w 1581150"/>
                <a:gd name="connsiteY64" fmla="*/ 777876 h 3921126"/>
                <a:gd name="connsiteX65" fmla="*/ 165100 w 1581150"/>
                <a:gd name="connsiteY65" fmla="*/ 676276 h 3921126"/>
                <a:gd name="connsiteX66" fmla="*/ 146050 w 1581150"/>
                <a:gd name="connsiteY66" fmla="*/ 571501 h 3921126"/>
                <a:gd name="connsiteX67" fmla="*/ 136525 w 1581150"/>
                <a:gd name="connsiteY67" fmla="*/ 479426 h 3921126"/>
                <a:gd name="connsiteX68" fmla="*/ 101600 w 1581150"/>
                <a:gd name="connsiteY68" fmla="*/ 346076 h 3921126"/>
                <a:gd name="connsiteX69" fmla="*/ 66675 w 1581150"/>
                <a:gd name="connsiteY69" fmla="*/ 266701 h 3921126"/>
                <a:gd name="connsiteX70" fmla="*/ 50800 w 1581150"/>
                <a:gd name="connsiteY70" fmla="*/ 165101 h 3921126"/>
                <a:gd name="connsiteX71" fmla="*/ 44450 w 1581150"/>
                <a:gd name="connsiteY71" fmla="*/ 82551 h 3921126"/>
                <a:gd name="connsiteX72" fmla="*/ 6350 w 1581150"/>
                <a:gd name="connsiteY72" fmla="*/ 60326 h 3921126"/>
                <a:gd name="connsiteX73" fmla="*/ 0 w 1581150"/>
                <a:gd name="connsiteY73"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36801 h 3921126"/>
                <a:gd name="connsiteX27" fmla="*/ 549275 w 1581150"/>
                <a:gd name="connsiteY27" fmla="*/ 2336801 h 3921126"/>
                <a:gd name="connsiteX28" fmla="*/ 549275 w 1581150"/>
                <a:gd name="connsiteY28" fmla="*/ 2336801 h 3921126"/>
                <a:gd name="connsiteX29" fmla="*/ 527050 w 1581150"/>
                <a:gd name="connsiteY29" fmla="*/ 2339976 h 3921126"/>
                <a:gd name="connsiteX30" fmla="*/ 530225 w 1581150"/>
                <a:gd name="connsiteY30" fmla="*/ 2270126 h 3921126"/>
                <a:gd name="connsiteX31" fmla="*/ 517525 w 1581150"/>
                <a:gd name="connsiteY31" fmla="*/ 2270126 h 3921126"/>
                <a:gd name="connsiteX32" fmla="*/ 517525 w 1581150"/>
                <a:gd name="connsiteY32" fmla="*/ 2206626 h 3921126"/>
                <a:gd name="connsiteX33" fmla="*/ 511175 w 1581150"/>
                <a:gd name="connsiteY33" fmla="*/ 2203451 h 3921126"/>
                <a:gd name="connsiteX34" fmla="*/ 511175 w 1581150"/>
                <a:gd name="connsiteY34" fmla="*/ 2203451 h 3921126"/>
                <a:gd name="connsiteX35" fmla="*/ 511175 w 1581150"/>
                <a:gd name="connsiteY35" fmla="*/ 2203451 h 3921126"/>
                <a:gd name="connsiteX36" fmla="*/ 514350 w 1581150"/>
                <a:gd name="connsiteY36" fmla="*/ 2184401 h 3921126"/>
                <a:gd name="connsiteX37" fmla="*/ 498475 w 1581150"/>
                <a:gd name="connsiteY37" fmla="*/ 2184401 h 3921126"/>
                <a:gd name="connsiteX38" fmla="*/ 501650 w 1581150"/>
                <a:gd name="connsiteY38" fmla="*/ 2085976 h 3921126"/>
                <a:gd name="connsiteX39" fmla="*/ 463550 w 1581150"/>
                <a:gd name="connsiteY39" fmla="*/ 2079626 h 3921126"/>
                <a:gd name="connsiteX40" fmla="*/ 469900 w 1581150"/>
                <a:gd name="connsiteY40" fmla="*/ 2009776 h 3921126"/>
                <a:gd name="connsiteX41" fmla="*/ 409575 w 1581150"/>
                <a:gd name="connsiteY41" fmla="*/ 2003426 h 3921126"/>
                <a:gd name="connsiteX42" fmla="*/ 415925 w 1581150"/>
                <a:gd name="connsiteY42" fmla="*/ 1927226 h 3921126"/>
                <a:gd name="connsiteX43" fmla="*/ 400050 w 1581150"/>
                <a:gd name="connsiteY43" fmla="*/ 1927226 h 3921126"/>
                <a:gd name="connsiteX44" fmla="*/ 409575 w 1581150"/>
                <a:gd name="connsiteY44" fmla="*/ 1876426 h 3921126"/>
                <a:gd name="connsiteX45" fmla="*/ 368300 w 1581150"/>
                <a:gd name="connsiteY45" fmla="*/ 1876426 h 3921126"/>
                <a:gd name="connsiteX46" fmla="*/ 374650 w 1581150"/>
                <a:gd name="connsiteY46" fmla="*/ 1809751 h 3921126"/>
                <a:gd name="connsiteX47" fmla="*/ 355600 w 1581150"/>
                <a:gd name="connsiteY47" fmla="*/ 1809751 h 3921126"/>
                <a:gd name="connsiteX48" fmla="*/ 355600 w 1581150"/>
                <a:gd name="connsiteY48" fmla="*/ 1771651 h 3921126"/>
                <a:gd name="connsiteX49" fmla="*/ 346075 w 1581150"/>
                <a:gd name="connsiteY49" fmla="*/ 1768476 h 3921126"/>
                <a:gd name="connsiteX50" fmla="*/ 346075 w 1581150"/>
                <a:gd name="connsiteY50" fmla="*/ 1628776 h 3921126"/>
                <a:gd name="connsiteX51" fmla="*/ 320675 w 1581150"/>
                <a:gd name="connsiteY51" fmla="*/ 1619251 h 3921126"/>
                <a:gd name="connsiteX52" fmla="*/ 330200 w 1581150"/>
                <a:gd name="connsiteY52" fmla="*/ 1447801 h 3921126"/>
                <a:gd name="connsiteX53" fmla="*/ 314325 w 1581150"/>
                <a:gd name="connsiteY53" fmla="*/ 1450976 h 3921126"/>
                <a:gd name="connsiteX54" fmla="*/ 317500 w 1581150"/>
                <a:gd name="connsiteY54" fmla="*/ 1317626 h 3921126"/>
                <a:gd name="connsiteX55" fmla="*/ 260350 w 1581150"/>
                <a:gd name="connsiteY55" fmla="*/ 1314451 h 3921126"/>
                <a:gd name="connsiteX56" fmla="*/ 269875 w 1581150"/>
                <a:gd name="connsiteY56" fmla="*/ 1133476 h 3921126"/>
                <a:gd name="connsiteX57" fmla="*/ 241300 w 1581150"/>
                <a:gd name="connsiteY57" fmla="*/ 1127126 h 3921126"/>
                <a:gd name="connsiteX58" fmla="*/ 244475 w 1581150"/>
                <a:gd name="connsiteY58" fmla="*/ 1050926 h 3921126"/>
                <a:gd name="connsiteX59" fmla="*/ 231775 w 1581150"/>
                <a:gd name="connsiteY59" fmla="*/ 1054101 h 3921126"/>
                <a:gd name="connsiteX60" fmla="*/ 241300 w 1581150"/>
                <a:gd name="connsiteY60" fmla="*/ 873126 h 3921126"/>
                <a:gd name="connsiteX61" fmla="*/ 196850 w 1581150"/>
                <a:gd name="connsiteY61" fmla="*/ 879476 h 3921126"/>
                <a:gd name="connsiteX62" fmla="*/ 200025 w 1581150"/>
                <a:gd name="connsiteY62" fmla="*/ 781051 h 3921126"/>
                <a:gd name="connsiteX63" fmla="*/ 165100 w 1581150"/>
                <a:gd name="connsiteY63" fmla="*/ 777876 h 3921126"/>
                <a:gd name="connsiteX64" fmla="*/ 165100 w 1581150"/>
                <a:gd name="connsiteY64" fmla="*/ 676276 h 3921126"/>
                <a:gd name="connsiteX65" fmla="*/ 146050 w 1581150"/>
                <a:gd name="connsiteY65" fmla="*/ 571501 h 3921126"/>
                <a:gd name="connsiteX66" fmla="*/ 136525 w 1581150"/>
                <a:gd name="connsiteY66" fmla="*/ 479426 h 3921126"/>
                <a:gd name="connsiteX67" fmla="*/ 101600 w 1581150"/>
                <a:gd name="connsiteY67" fmla="*/ 346076 h 3921126"/>
                <a:gd name="connsiteX68" fmla="*/ 66675 w 1581150"/>
                <a:gd name="connsiteY68" fmla="*/ 266701 h 3921126"/>
                <a:gd name="connsiteX69" fmla="*/ 50800 w 1581150"/>
                <a:gd name="connsiteY69" fmla="*/ 165101 h 3921126"/>
                <a:gd name="connsiteX70" fmla="*/ 44450 w 1581150"/>
                <a:gd name="connsiteY70" fmla="*/ 82551 h 3921126"/>
                <a:gd name="connsiteX71" fmla="*/ 6350 w 1581150"/>
                <a:gd name="connsiteY71" fmla="*/ 60326 h 3921126"/>
                <a:gd name="connsiteX72" fmla="*/ 0 w 1581150"/>
                <a:gd name="connsiteY72"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36801 h 3921126"/>
                <a:gd name="connsiteX27" fmla="*/ 549275 w 1581150"/>
                <a:gd name="connsiteY27" fmla="*/ 2336801 h 3921126"/>
                <a:gd name="connsiteX28" fmla="*/ 546100 w 1581150"/>
                <a:gd name="connsiteY28" fmla="*/ 2346326 h 3921126"/>
                <a:gd name="connsiteX29" fmla="*/ 527050 w 1581150"/>
                <a:gd name="connsiteY29" fmla="*/ 2339976 h 3921126"/>
                <a:gd name="connsiteX30" fmla="*/ 530225 w 1581150"/>
                <a:gd name="connsiteY30" fmla="*/ 2270126 h 3921126"/>
                <a:gd name="connsiteX31" fmla="*/ 517525 w 1581150"/>
                <a:gd name="connsiteY31" fmla="*/ 2270126 h 3921126"/>
                <a:gd name="connsiteX32" fmla="*/ 517525 w 1581150"/>
                <a:gd name="connsiteY32" fmla="*/ 2206626 h 3921126"/>
                <a:gd name="connsiteX33" fmla="*/ 511175 w 1581150"/>
                <a:gd name="connsiteY33" fmla="*/ 2203451 h 3921126"/>
                <a:gd name="connsiteX34" fmla="*/ 511175 w 1581150"/>
                <a:gd name="connsiteY34" fmla="*/ 2203451 h 3921126"/>
                <a:gd name="connsiteX35" fmla="*/ 511175 w 1581150"/>
                <a:gd name="connsiteY35" fmla="*/ 2203451 h 3921126"/>
                <a:gd name="connsiteX36" fmla="*/ 514350 w 1581150"/>
                <a:gd name="connsiteY36" fmla="*/ 2184401 h 3921126"/>
                <a:gd name="connsiteX37" fmla="*/ 498475 w 1581150"/>
                <a:gd name="connsiteY37" fmla="*/ 2184401 h 3921126"/>
                <a:gd name="connsiteX38" fmla="*/ 501650 w 1581150"/>
                <a:gd name="connsiteY38" fmla="*/ 2085976 h 3921126"/>
                <a:gd name="connsiteX39" fmla="*/ 463550 w 1581150"/>
                <a:gd name="connsiteY39" fmla="*/ 2079626 h 3921126"/>
                <a:gd name="connsiteX40" fmla="*/ 469900 w 1581150"/>
                <a:gd name="connsiteY40" fmla="*/ 2009776 h 3921126"/>
                <a:gd name="connsiteX41" fmla="*/ 409575 w 1581150"/>
                <a:gd name="connsiteY41" fmla="*/ 2003426 h 3921126"/>
                <a:gd name="connsiteX42" fmla="*/ 415925 w 1581150"/>
                <a:gd name="connsiteY42" fmla="*/ 1927226 h 3921126"/>
                <a:gd name="connsiteX43" fmla="*/ 400050 w 1581150"/>
                <a:gd name="connsiteY43" fmla="*/ 1927226 h 3921126"/>
                <a:gd name="connsiteX44" fmla="*/ 409575 w 1581150"/>
                <a:gd name="connsiteY44" fmla="*/ 1876426 h 3921126"/>
                <a:gd name="connsiteX45" fmla="*/ 368300 w 1581150"/>
                <a:gd name="connsiteY45" fmla="*/ 1876426 h 3921126"/>
                <a:gd name="connsiteX46" fmla="*/ 374650 w 1581150"/>
                <a:gd name="connsiteY46" fmla="*/ 1809751 h 3921126"/>
                <a:gd name="connsiteX47" fmla="*/ 355600 w 1581150"/>
                <a:gd name="connsiteY47" fmla="*/ 1809751 h 3921126"/>
                <a:gd name="connsiteX48" fmla="*/ 355600 w 1581150"/>
                <a:gd name="connsiteY48" fmla="*/ 1771651 h 3921126"/>
                <a:gd name="connsiteX49" fmla="*/ 346075 w 1581150"/>
                <a:gd name="connsiteY49" fmla="*/ 1768476 h 3921126"/>
                <a:gd name="connsiteX50" fmla="*/ 346075 w 1581150"/>
                <a:gd name="connsiteY50" fmla="*/ 1628776 h 3921126"/>
                <a:gd name="connsiteX51" fmla="*/ 320675 w 1581150"/>
                <a:gd name="connsiteY51" fmla="*/ 1619251 h 3921126"/>
                <a:gd name="connsiteX52" fmla="*/ 330200 w 1581150"/>
                <a:gd name="connsiteY52" fmla="*/ 1447801 h 3921126"/>
                <a:gd name="connsiteX53" fmla="*/ 314325 w 1581150"/>
                <a:gd name="connsiteY53" fmla="*/ 1450976 h 3921126"/>
                <a:gd name="connsiteX54" fmla="*/ 317500 w 1581150"/>
                <a:gd name="connsiteY54" fmla="*/ 1317626 h 3921126"/>
                <a:gd name="connsiteX55" fmla="*/ 260350 w 1581150"/>
                <a:gd name="connsiteY55" fmla="*/ 1314451 h 3921126"/>
                <a:gd name="connsiteX56" fmla="*/ 269875 w 1581150"/>
                <a:gd name="connsiteY56" fmla="*/ 1133476 h 3921126"/>
                <a:gd name="connsiteX57" fmla="*/ 241300 w 1581150"/>
                <a:gd name="connsiteY57" fmla="*/ 1127126 h 3921126"/>
                <a:gd name="connsiteX58" fmla="*/ 244475 w 1581150"/>
                <a:gd name="connsiteY58" fmla="*/ 1050926 h 3921126"/>
                <a:gd name="connsiteX59" fmla="*/ 231775 w 1581150"/>
                <a:gd name="connsiteY59" fmla="*/ 1054101 h 3921126"/>
                <a:gd name="connsiteX60" fmla="*/ 241300 w 1581150"/>
                <a:gd name="connsiteY60" fmla="*/ 873126 h 3921126"/>
                <a:gd name="connsiteX61" fmla="*/ 196850 w 1581150"/>
                <a:gd name="connsiteY61" fmla="*/ 879476 h 3921126"/>
                <a:gd name="connsiteX62" fmla="*/ 200025 w 1581150"/>
                <a:gd name="connsiteY62" fmla="*/ 781051 h 3921126"/>
                <a:gd name="connsiteX63" fmla="*/ 165100 w 1581150"/>
                <a:gd name="connsiteY63" fmla="*/ 777876 h 3921126"/>
                <a:gd name="connsiteX64" fmla="*/ 165100 w 1581150"/>
                <a:gd name="connsiteY64" fmla="*/ 676276 h 3921126"/>
                <a:gd name="connsiteX65" fmla="*/ 146050 w 1581150"/>
                <a:gd name="connsiteY65" fmla="*/ 571501 h 3921126"/>
                <a:gd name="connsiteX66" fmla="*/ 136525 w 1581150"/>
                <a:gd name="connsiteY66" fmla="*/ 479426 h 3921126"/>
                <a:gd name="connsiteX67" fmla="*/ 101600 w 1581150"/>
                <a:gd name="connsiteY67" fmla="*/ 346076 h 3921126"/>
                <a:gd name="connsiteX68" fmla="*/ 66675 w 1581150"/>
                <a:gd name="connsiteY68" fmla="*/ 266701 h 3921126"/>
                <a:gd name="connsiteX69" fmla="*/ 50800 w 1581150"/>
                <a:gd name="connsiteY69" fmla="*/ 165101 h 3921126"/>
                <a:gd name="connsiteX70" fmla="*/ 44450 w 1581150"/>
                <a:gd name="connsiteY70" fmla="*/ 82551 h 3921126"/>
                <a:gd name="connsiteX71" fmla="*/ 6350 w 1581150"/>
                <a:gd name="connsiteY71" fmla="*/ 60326 h 3921126"/>
                <a:gd name="connsiteX72" fmla="*/ 0 w 1581150"/>
                <a:gd name="connsiteY72"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36801 h 3921126"/>
                <a:gd name="connsiteX27" fmla="*/ 549275 w 1581150"/>
                <a:gd name="connsiteY27" fmla="*/ 2336801 h 3921126"/>
                <a:gd name="connsiteX28" fmla="*/ 527050 w 1581150"/>
                <a:gd name="connsiteY28" fmla="*/ 2339976 h 3921126"/>
                <a:gd name="connsiteX29" fmla="*/ 530225 w 1581150"/>
                <a:gd name="connsiteY29" fmla="*/ 2270126 h 3921126"/>
                <a:gd name="connsiteX30" fmla="*/ 517525 w 1581150"/>
                <a:gd name="connsiteY30" fmla="*/ 2270126 h 3921126"/>
                <a:gd name="connsiteX31" fmla="*/ 517525 w 1581150"/>
                <a:gd name="connsiteY31" fmla="*/ 2206626 h 3921126"/>
                <a:gd name="connsiteX32" fmla="*/ 511175 w 1581150"/>
                <a:gd name="connsiteY32" fmla="*/ 2203451 h 3921126"/>
                <a:gd name="connsiteX33" fmla="*/ 511175 w 1581150"/>
                <a:gd name="connsiteY33" fmla="*/ 2203451 h 3921126"/>
                <a:gd name="connsiteX34" fmla="*/ 511175 w 1581150"/>
                <a:gd name="connsiteY34" fmla="*/ 2203451 h 3921126"/>
                <a:gd name="connsiteX35" fmla="*/ 514350 w 1581150"/>
                <a:gd name="connsiteY35" fmla="*/ 2184401 h 3921126"/>
                <a:gd name="connsiteX36" fmla="*/ 498475 w 1581150"/>
                <a:gd name="connsiteY36" fmla="*/ 2184401 h 3921126"/>
                <a:gd name="connsiteX37" fmla="*/ 501650 w 1581150"/>
                <a:gd name="connsiteY37" fmla="*/ 2085976 h 3921126"/>
                <a:gd name="connsiteX38" fmla="*/ 463550 w 1581150"/>
                <a:gd name="connsiteY38" fmla="*/ 2079626 h 3921126"/>
                <a:gd name="connsiteX39" fmla="*/ 469900 w 1581150"/>
                <a:gd name="connsiteY39" fmla="*/ 2009776 h 3921126"/>
                <a:gd name="connsiteX40" fmla="*/ 409575 w 1581150"/>
                <a:gd name="connsiteY40" fmla="*/ 2003426 h 3921126"/>
                <a:gd name="connsiteX41" fmla="*/ 415925 w 1581150"/>
                <a:gd name="connsiteY41" fmla="*/ 1927226 h 3921126"/>
                <a:gd name="connsiteX42" fmla="*/ 400050 w 1581150"/>
                <a:gd name="connsiteY42" fmla="*/ 1927226 h 3921126"/>
                <a:gd name="connsiteX43" fmla="*/ 409575 w 1581150"/>
                <a:gd name="connsiteY43" fmla="*/ 1876426 h 3921126"/>
                <a:gd name="connsiteX44" fmla="*/ 368300 w 1581150"/>
                <a:gd name="connsiteY44" fmla="*/ 1876426 h 3921126"/>
                <a:gd name="connsiteX45" fmla="*/ 374650 w 1581150"/>
                <a:gd name="connsiteY45" fmla="*/ 1809751 h 3921126"/>
                <a:gd name="connsiteX46" fmla="*/ 355600 w 1581150"/>
                <a:gd name="connsiteY46" fmla="*/ 1809751 h 3921126"/>
                <a:gd name="connsiteX47" fmla="*/ 355600 w 1581150"/>
                <a:gd name="connsiteY47" fmla="*/ 1771651 h 3921126"/>
                <a:gd name="connsiteX48" fmla="*/ 346075 w 1581150"/>
                <a:gd name="connsiteY48" fmla="*/ 1768476 h 3921126"/>
                <a:gd name="connsiteX49" fmla="*/ 346075 w 1581150"/>
                <a:gd name="connsiteY49" fmla="*/ 1628776 h 3921126"/>
                <a:gd name="connsiteX50" fmla="*/ 320675 w 1581150"/>
                <a:gd name="connsiteY50" fmla="*/ 1619251 h 3921126"/>
                <a:gd name="connsiteX51" fmla="*/ 330200 w 1581150"/>
                <a:gd name="connsiteY51" fmla="*/ 1447801 h 3921126"/>
                <a:gd name="connsiteX52" fmla="*/ 314325 w 1581150"/>
                <a:gd name="connsiteY52" fmla="*/ 1450976 h 3921126"/>
                <a:gd name="connsiteX53" fmla="*/ 317500 w 1581150"/>
                <a:gd name="connsiteY53" fmla="*/ 1317626 h 3921126"/>
                <a:gd name="connsiteX54" fmla="*/ 260350 w 1581150"/>
                <a:gd name="connsiteY54" fmla="*/ 1314451 h 3921126"/>
                <a:gd name="connsiteX55" fmla="*/ 269875 w 1581150"/>
                <a:gd name="connsiteY55" fmla="*/ 1133476 h 3921126"/>
                <a:gd name="connsiteX56" fmla="*/ 241300 w 1581150"/>
                <a:gd name="connsiteY56" fmla="*/ 1127126 h 3921126"/>
                <a:gd name="connsiteX57" fmla="*/ 244475 w 1581150"/>
                <a:gd name="connsiteY57" fmla="*/ 1050926 h 3921126"/>
                <a:gd name="connsiteX58" fmla="*/ 231775 w 1581150"/>
                <a:gd name="connsiteY58" fmla="*/ 1054101 h 3921126"/>
                <a:gd name="connsiteX59" fmla="*/ 241300 w 1581150"/>
                <a:gd name="connsiteY59" fmla="*/ 873126 h 3921126"/>
                <a:gd name="connsiteX60" fmla="*/ 196850 w 1581150"/>
                <a:gd name="connsiteY60" fmla="*/ 879476 h 3921126"/>
                <a:gd name="connsiteX61" fmla="*/ 200025 w 1581150"/>
                <a:gd name="connsiteY61" fmla="*/ 781051 h 3921126"/>
                <a:gd name="connsiteX62" fmla="*/ 165100 w 1581150"/>
                <a:gd name="connsiteY62" fmla="*/ 777876 h 3921126"/>
                <a:gd name="connsiteX63" fmla="*/ 165100 w 1581150"/>
                <a:gd name="connsiteY63" fmla="*/ 676276 h 3921126"/>
                <a:gd name="connsiteX64" fmla="*/ 146050 w 1581150"/>
                <a:gd name="connsiteY64" fmla="*/ 571501 h 3921126"/>
                <a:gd name="connsiteX65" fmla="*/ 136525 w 1581150"/>
                <a:gd name="connsiteY65" fmla="*/ 479426 h 3921126"/>
                <a:gd name="connsiteX66" fmla="*/ 101600 w 1581150"/>
                <a:gd name="connsiteY66" fmla="*/ 346076 h 3921126"/>
                <a:gd name="connsiteX67" fmla="*/ 66675 w 1581150"/>
                <a:gd name="connsiteY67" fmla="*/ 266701 h 3921126"/>
                <a:gd name="connsiteX68" fmla="*/ 50800 w 1581150"/>
                <a:gd name="connsiteY68" fmla="*/ 165101 h 3921126"/>
                <a:gd name="connsiteX69" fmla="*/ 44450 w 1581150"/>
                <a:gd name="connsiteY69" fmla="*/ 82551 h 3921126"/>
                <a:gd name="connsiteX70" fmla="*/ 6350 w 1581150"/>
                <a:gd name="connsiteY70" fmla="*/ 60326 h 3921126"/>
                <a:gd name="connsiteX71" fmla="*/ 0 w 1581150"/>
                <a:gd name="connsiteY71"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36801 h 3921126"/>
                <a:gd name="connsiteX27" fmla="*/ 527050 w 1581150"/>
                <a:gd name="connsiteY27" fmla="*/ 2339976 h 3921126"/>
                <a:gd name="connsiteX28" fmla="*/ 530225 w 1581150"/>
                <a:gd name="connsiteY28" fmla="*/ 2270126 h 3921126"/>
                <a:gd name="connsiteX29" fmla="*/ 517525 w 1581150"/>
                <a:gd name="connsiteY29" fmla="*/ 2270126 h 3921126"/>
                <a:gd name="connsiteX30" fmla="*/ 517525 w 1581150"/>
                <a:gd name="connsiteY30" fmla="*/ 2206626 h 3921126"/>
                <a:gd name="connsiteX31" fmla="*/ 511175 w 1581150"/>
                <a:gd name="connsiteY31" fmla="*/ 2203451 h 3921126"/>
                <a:gd name="connsiteX32" fmla="*/ 511175 w 1581150"/>
                <a:gd name="connsiteY32" fmla="*/ 2203451 h 3921126"/>
                <a:gd name="connsiteX33" fmla="*/ 511175 w 1581150"/>
                <a:gd name="connsiteY33" fmla="*/ 2203451 h 3921126"/>
                <a:gd name="connsiteX34" fmla="*/ 514350 w 1581150"/>
                <a:gd name="connsiteY34" fmla="*/ 2184401 h 3921126"/>
                <a:gd name="connsiteX35" fmla="*/ 498475 w 1581150"/>
                <a:gd name="connsiteY35" fmla="*/ 2184401 h 3921126"/>
                <a:gd name="connsiteX36" fmla="*/ 501650 w 1581150"/>
                <a:gd name="connsiteY36" fmla="*/ 2085976 h 3921126"/>
                <a:gd name="connsiteX37" fmla="*/ 463550 w 1581150"/>
                <a:gd name="connsiteY37" fmla="*/ 2079626 h 3921126"/>
                <a:gd name="connsiteX38" fmla="*/ 469900 w 1581150"/>
                <a:gd name="connsiteY38" fmla="*/ 2009776 h 3921126"/>
                <a:gd name="connsiteX39" fmla="*/ 409575 w 1581150"/>
                <a:gd name="connsiteY39" fmla="*/ 2003426 h 3921126"/>
                <a:gd name="connsiteX40" fmla="*/ 415925 w 1581150"/>
                <a:gd name="connsiteY40" fmla="*/ 1927226 h 3921126"/>
                <a:gd name="connsiteX41" fmla="*/ 400050 w 1581150"/>
                <a:gd name="connsiteY41" fmla="*/ 1927226 h 3921126"/>
                <a:gd name="connsiteX42" fmla="*/ 409575 w 1581150"/>
                <a:gd name="connsiteY42" fmla="*/ 1876426 h 3921126"/>
                <a:gd name="connsiteX43" fmla="*/ 368300 w 1581150"/>
                <a:gd name="connsiteY43" fmla="*/ 1876426 h 3921126"/>
                <a:gd name="connsiteX44" fmla="*/ 374650 w 1581150"/>
                <a:gd name="connsiteY44" fmla="*/ 1809751 h 3921126"/>
                <a:gd name="connsiteX45" fmla="*/ 355600 w 1581150"/>
                <a:gd name="connsiteY45" fmla="*/ 1809751 h 3921126"/>
                <a:gd name="connsiteX46" fmla="*/ 355600 w 1581150"/>
                <a:gd name="connsiteY46" fmla="*/ 1771651 h 3921126"/>
                <a:gd name="connsiteX47" fmla="*/ 346075 w 1581150"/>
                <a:gd name="connsiteY47" fmla="*/ 1768476 h 3921126"/>
                <a:gd name="connsiteX48" fmla="*/ 346075 w 1581150"/>
                <a:gd name="connsiteY48" fmla="*/ 1628776 h 3921126"/>
                <a:gd name="connsiteX49" fmla="*/ 320675 w 1581150"/>
                <a:gd name="connsiteY49" fmla="*/ 1619251 h 3921126"/>
                <a:gd name="connsiteX50" fmla="*/ 330200 w 1581150"/>
                <a:gd name="connsiteY50" fmla="*/ 1447801 h 3921126"/>
                <a:gd name="connsiteX51" fmla="*/ 314325 w 1581150"/>
                <a:gd name="connsiteY51" fmla="*/ 1450976 h 3921126"/>
                <a:gd name="connsiteX52" fmla="*/ 317500 w 1581150"/>
                <a:gd name="connsiteY52" fmla="*/ 1317626 h 3921126"/>
                <a:gd name="connsiteX53" fmla="*/ 260350 w 1581150"/>
                <a:gd name="connsiteY53" fmla="*/ 1314451 h 3921126"/>
                <a:gd name="connsiteX54" fmla="*/ 269875 w 1581150"/>
                <a:gd name="connsiteY54" fmla="*/ 1133476 h 3921126"/>
                <a:gd name="connsiteX55" fmla="*/ 241300 w 1581150"/>
                <a:gd name="connsiteY55" fmla="*/ 1127126 h 3921126"/>
                <a:gd name="connsiteX56" fmla="*/ 244475 w 1581150"/>
                <a:gd name="connsiteY56" fmla="*/ 1050926 h 3921126"/>
                <a:gd name="connsiteX57" fmla="*/ 231775 w 1581150"/>
                <a:gd name="connsiteY57" fmla="*/ 1054101 h 3921126"/>
                <a:gd name="connsiteX58" fmla="*/ 241300 w 1581150"/>
                <a:gd name="connsiteY58" fmla="*/ 873126 h 3921126"/>
                <a:gd name="connsiteX59" fmla="*/ 196850 w 1581150"/>
                <a:gd name="connsiteY59" fmla="*/ 879476 h 3921126"/>
                <a:gd name="connsiteX60" fmla="*/ 200025 w 1581150"/>
                <a:gd name="connsiteY60" fmla="*/ 781051 h 3921126"/>
                <a:gd name="connsiteX61" fmla="*/ 165100 w 1581150"/>
                <a:gd name="connsiteY61" fmla="*/ 777876 h 3921126"/>
                <a:gd name="connsiteX62" fmla="*/ 165100 w 1581150"/>
                <a:gd name="connsiteY62" fmla="*/ 676276 h 3921126"/>
                <a:gd name="connsiteX63" fmla="*/ 146050 w 1581150"/>
                <a:gd name="connsiteY63" fmla="*/ 571501 h 3921126"/>
                <a:gd name="connsiteX64" fmla="*/ 136525 w 1581150"/>
                <a:gd name="connsiteY64" fmla="*/ 479426 h 3921126"/>
                <a:gd name="connsiteX65" fmla="*/ 101600 w 1581150"/>
                <a:gd name="connsiteY65" fmla="*/ 346076 h 3921126"/>
                <a:gd name="connsiteX66" fmla="*/ 66675 w 1581150"/>
                <a:gd name="connsiteY66" fmla="*/ 266701 h 3921126"/>
                <a:gd name="connsiteX67" fmla="*/ 50800 w 1581150"/>
                <a:gd name="connsiteY67" fmla="*/ 165101 h 3921126"/>
                <a:gd name="connsiteX68" fmla="*/ 44450 w 1581150"/>
                <a:gd name="connsiteY68" fmla="*/ 82551 h 3921126"/>
                <a:gd name="connsiteX69" fmla="*/ 6350 w 1581150"/>
                <a:gd name="connsiteY69" fmla="*/ 60326 h 3921126"/>
                <a:gd name="connsiteX70" fmla="*/ 0 w 1581150"/>
                <a:gd name="connsiteY70"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43151 h 3921126"/>
                <a:gd name="connsiteX27" fmla="*/ 527050 w 1581150"/>
                <a:gd name="connsiteY27" fmla="*/ 2339976 h 3921126"/>
                <a:gd name="connsiteX28" fmla="*/ 530225 w 1581150"/>
                <a:gd name="connsiteY28" fmla="*/ 2270126 h 3921126"/>
                <a:gd name="connsiteX29" fmla="*/ 517525 w 1581150"/>
                <a:gd name="connsiteY29" fmla="*/ 2270126 h 3921126"/>
                <a:gd name="connsiteX30" fmla="*/ 517525 w 1581150"/>
                <a:gd name="connsiteY30" fmla="*/ 2206626 h 3921126"/>
                <a:gd name="connsiteX31" fmla="*/ 511175 w 1581150"/>
                <a:gd name="connsiteY31" fmla="*/ 2203451 h 3921126"/>
                <a:gd name="connsiteX32" fmla="*/ 511175 w 1581150"/>
                <a:gd name="connsiteY32" fmla="*/ 2203451 h 3921126"/>
                <a:gd name="connsiteX33" fmla="*/ 511175 w 1581150"/>
                <a:gd name="connsiteY33" fmla="*/ 2203451 h 3921126"/>
                <a:gd name="connsiteX34" fmla="*/ 514350 w 1581150"/>
                <a:gd name="connsiteY34" fmla="*/ 2184401 h 3921126"/>
                <a:gd name="connsiteX35" fmla="*/ 498475 w 1581150"/>
                <a:gd name="connsiteY35" fmla="*/ 2184401 h 3921126"/>
                <a:gd name="connsiteX36" fmla="*/ 501650 w 1581150"/>
                <a:gd name="connsiteY36" fmla="*/ 2085976 h 3921126"/>
                <a:gd name="connsiteX37" fmla="*/ 463550 w 1581150"/>
                <a:gd name="connsiteY37" fmla="*/ 2079626 h 3921126"/>
                <a:gd name="connsiteX38" fmla="*/ 469900 w 1581150"/>
                <a:gd name="connsiteY38" fmla="*/ 2009776 h 3921126"/>
                <a:gd name="connsiteX39" fmla="*/ 409575 w 1581150"/>
                <a:gd name="connsiteY39" fmla="*/ 2003426 h 3921126"/>
                <a:gd name="connsiteX40" fmla="*/ 415925 w 1581150"/>
                <a:gd name="connsiteY40" fmla="*/ 1927226 h 3921126"/>
                <a:gd name="connsiteX41" fmla="*/ 400050 w 1581150"/>
                <a:gd name="connsiteY41" fmla="*/ 1927226 h 3921126"/>
                <a:gd name="connsiteX42" fmla="*/ 409575 w 1581150"/>
                <a:gd name="connsiteY42" fmla="*/ 1876426 h 3921126"/>
                <a:gd name="connsiteX43" fmla="*/ 368300 w 1581150"/>
                <a:gd name="connsiteY43" fmla="*/ 1876426 h 3921126"/>
                <a:gd name="connsiteX44" fmla="*/ 374650 w 1581150"/>
                <a:gd name="connsiteY44" fmla="*/ 1809751 h 3921126"/>
                <a:gd name="connsiteX45" fmla="*/ 355600 w 1581150"/>
                <a:gd name="connsiteY45" fmla="*/ 1809751 h 3921126"/>
                <a:gd name="connsiteX46" fmla="*/ 355600 w 1581150"/>
                <a:gd name="connsiteY46" fmla="*/ 1771651 h 3921126"/>
                <a:gd name="connsiteX47" fmla="*/ 346075 w 1581150"/>
                <a:gd name="connsiteY47" fmla="*/ 1768476 h 3921126"/>
                <a:gd name="connsiteX48" fmla="*/ 346075 w 1581150"/>
                <a:gd name="connsiteY48" fmla="*/ 1628776 h 3921126"/>
                <a:gd name="connsiteX49" fmla="*/ 320675 w 1581150"/>
                <a:gd name="connsiteY49" fmla="*/ 1619251 h 3921126"/>
                <a:gd name="connsiteX50" fmla="*/ 330200 w 1581150"/>
                <a:gd name="connsiteY50" fmla="*/ 1447801 h 3921126"/>
                <a:gd name="connsiteX51" fmla="*/ 314325 w 1581150"/>
                <a:gd name="connsiteY51" fmla="*/ 1450976 h 3921126"/>
                <a:gd name="connsiteX52" fmla="*/ 317500 w 1581150"/>
                <a:gd name="connsiteY52" fmla="*/ 1317626 h 3921126"/>
                <a:gd name="connsiteX53" fmla="*/ 260350 w 1581150"/>
                <a:gd name="connsiteY53" fmla="*/ 1314451 h 3921126"/>
                <a:gd name="connsiteX54" fmla="*/ 269875 w 1581150"/>
                <a:gd name="connsiteY54" fmla="*/ 1133476 h 3921126"/>
                <a:gd name="connsiteX55" fmla="*/ 241300 w 1581150"/>
                <a:gd name="connsiteY55" fmla="*/ 1127126 h 3921126"/>
                <a:gd name="connsiteX56" fmla="*/ 244475 w 1581150"/>
                <a:gd name="connsiteY56" fmla="*/ 1050926 h 3921126"/>
                <a:gd name="connsiteX57" fmla="*/ 231775 w 1581150"/>
                <a:gd name="connsiteY57" fmla="*/ 1054101 h 3921126"/>
                <a:gd name="connsiteX58" fmla="*/ 241300 w 1581150"/>
                <a:gd name="connsiteY58" fmla="*/ 873126 h 3921126"/>
                <a:gd name="connsiteX59" fmla="*/ 196850 w 1581150"/>
                <a:gd name="connsiteY59" fmla="*/ 879476 h 3921126"/>
                <a:gd name="connsiteX60" fmla="*/ 200025 w 1581150"/>
                <a:gd name="connsiteY60" fmla="*/ 781051 h 3921126"/>
                <a:gd name="connsiteX61" fmla="*/ 165100 w 1581150"/>
                <a:gd name="connsiteY61" fmla="*/ 777876 h 3921126"/>
                <a:gd name="connsiteX62" fmla="*/ 165100 w 1581150"/>
                <a:gd name="connsiteY62" fmla="*/ 676276 h 3921126"/>
                <a:gd name="connsiteX63" fmla="*/ 146050 w 1581150"/>
                <a:gd name="connsiteY63" fmla="*/ 571501 h 3921126"/>
                <a:gd name="connsiteX64" fmla="*/ 136525 w 1581150"/>
                <a:gd name="connsiteY64" fmla="*/ 479426 h 3921126"/>
                <a:gd name="connsiteX65" fmla="*/ 101600 w 1581150"/>
                <a:gd name="connsiteY65" fmla="*/ 346076 h 3921126"/>
                <a:gd name="connsiteX66" fmla="*/ 66675 w 1581150"/>
                <a:gd name="connsiteY66" fmla="*/ 266701 h 3921126"/>
                <a:gd name="connsiteX67" fmla="*/ 50800 w 1581150"/>
                <a:gd name="connsiteY67" fmla="*/ 165101 h 3921126"/>
                <a:gd name="connsiteX68" fmla="*/ 44450 w 1581150"/>
                <a:gd name="connsiteY68" fmla="*/ 82551 h 3921126"/>
                <a:gd name="connsiteX69" fmla="*/ 6350 w 1581150"/>
                <a:gd name="connsiteY69" fmla="*/ 60326 h 3921126"/>
                <a:gd name="connsiteX70" fmla="*/ 0 w 1581150"/>
                <a:gd name="connsiteY70"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479425 w 1581150"/>
                <a:gd name="connsiteY18" fmla="*/ 2867026 h 3921126"/>
                <a:gd name="connsiteX19" fmla="*/ 685800 w 1581150"/>
                <a:gd name="connsiteY19" fmla="*/ 2841626 h 3921126"/>
                <a:gd name="connsiteX20" fmla="*/ 688975 w 1581150"/>
                <a:gd name="connsiteY20" fmla="*/ 2692401 h 3921126"/>
                <a:gd name="connsiteX21" fmla="*/ 606425 w 1581150"/>
                <a:gd name="connsiteY21" fmla="*/ 2689226 h 3921126"/>
                <a:gd name="connsiteX22" fmla="*/ 612775 w 1581150"/>
                <a:gd name="connsiteY22" fmla="*/ 2619376 h 3921126"/>
                <a:gd name="connsiteX23" fmla="*/ 565150 w 1581150"/>
                <a:gd name="connsiteY23" fmla="*/ 2616201 h 3921126"/>
                <a:gd name="connsiteX24" fmla="*/ 574675 w 1581150"/>
                <a:gd name="connsiteY24" fmla="*/ 2479676 h 3921126"/>
                <a:gd name="connsiteX25" fmla="*/ 546100 w 1581150"/>
                <a:gd name="connsiteY25" fmla="*/ 2476501 h 3921126"/>
                <a:gd name="connsiteX26" fmla="*/ 549275 w 1581150"/>
                <a:gd name="connsiteY26" fmla="*/ 2343151 h 3921126"/>
                <a:gd name="connsiteX27" fmla="*/ 527050 w 1581150"/>
                <a:gd name="connsiteY27" fmla="*/ 2339976 h 3921126"/>
                <a:gd name="connsiteX28" fmla="*/ 530225 w 1581150"/>
                <a:gd name="connsiteY28" fmla="*/ 2270126 h 3921126"/>
                <a:gd name="connsiteX29" fmla="*/ 517525 w 1581150"/>
                <a:gd name="connsiteY29" fmla="*/ 2270126 h 3921126"/>
                <a:gd name="connsiteX30" fmla="*/ 517525 w 1581150"/>
                <a:gd name="connsiteY30" fmla="*/ 2206626 h 3921126"/>
                <a:gd name="connsiteX31" fmla="*/ 511175 w 1581150"/>
                <a:gd name="connsiteY31" fmla="*/ 2203451 h 3921126"/>
                <a:gd name="connsiteX32" fmla="*/ 511175 w 1581150"/>
                <a:gd name="connsiteY32" fmla="*/ 2203451 h 3921126"/>
                <a:gd name="connsiteX33" fmla="*/ 511175 w 1581150"/>
                <a:gd name="connsiteY33" fmla="*/ 2203451 h 3921126"/>
                <a:gd name="connsiteX34" fmla="*/ 514350 w 1581150"/>
                <a:gd name="connsiteY34" fmla="*/ 2184401 h 3921126"/>
                <a:gd name="connsiteX35" fmla="*/ 498475 w 1581150"/>
                <a:gd name="connsiteY35" fmla="*/ 2184401 h 3921126"/>
                <a:gd name="connsiteX36" fmla="*/ 501650 w 1581150"/>
                <a:gd name="connsiteY36" fmla="*/ 2085976 h 3921126"/>
                <a:gd name="connsiteX37" fmla="*/ 463550 w 1581150"/>
                <a:gd name="connsiteY37" fmla="*/ 2079626 h 3921126"/>
                <a:gd name="connsiteX38" fmla="*/ 469900 w 1581150"/>
                <a:gd name="connsiteY38" fmla="*/ 2009776 h 3921126"/>
                <a:gd name="connsiteX39" fmla="*/ 409575 w 1581150"/>
                <a:gd name="connsiteY39" fmla="*/ 2003426 h 3921126"/>
                <a:gd name="connsiteX40" fmla="*/ 415925 w 1581150"/>
                <a:gd name="connsiteY40" fmla="*/ 1927226 h 3921126"/>
                <a:gd name="connsiteX41" fmla="*/ 400050 w 1581150"/>
                <a:gd name="connsiteY41" fmla="*/ 1927226 h 3921126"/>
                <a:gd name="connsiteX42" fmla="*/ 409575 w 1581150"/>
                <a:gd name="connsiteY42" fmla="*/ 1876426 h 3921126"/>
                <a:gd name="connsiteX43" fmla="*/ 368300 w 1581150"/>
                <a:gd name="connsiteY43" fmla="*/ 1876426 h 3921126"/>
                <a:gd name="connsiteX44" fmla="*/ 374650 w 1581150"/>
                <a:gd name="connsiteY44" fmla="*/ 1809751 h 3921126"/>
                <a:gd name="connsiteX45" fmla="*/ 355600 w 1581150"/>
                <a:gd name="connsiteY45" fmla="*/ 1809751 h 3921126"/>
                <a:gd name="connsiteX46" fmla="*/ 355600 w 1581150"/>
                <a:gd name="connsiteY46" fmla="*/ 1771651 h 3921126"/>
                <a:gd name="connsiteX47" fmla="*/ 346075 w 1581150"/>
                <a:gd name="connsiteY47" fmla="*/ 1768476 h 3921126"/>
                <a:gd name="connsiteX48" fmla="*/ 346075 w 1581150"/>
                <a:gd name="connsiteY48" fmla="*/ 1628776 h 3921126"/>
                <a:gd name="connsiteX49" fmla="*/ 320675 w 1581150"/>
                <a:gd name="connsiteY49" fmla="*/ 1619251 h 3921126"/>
                <a:gd name="connsiteX50" fmla="*/ 330200 w 1581150"/>
                <a:gd name="connsiteY50" fmla="*/ 1447801 h 3921126"/>
                <a:gd name="connsiteX51" fmla="*/ 314325 w 1581150"/>
                <a:gd name="connsiteY51" fmla="*/ 1450976 h 3921126"/>
                <a:gd name="connsiteX52" fmla="*/ 317500 w 1581150"/>
                <a:gd name="connsiteY52" fmla="*/ 1317626 h 3921126"/>
                <a:gd name="connsiteX53" fmla="*/ 260350 w 1581150"/>
                <a:gd name="connsiteY53" fmla="*/ 1314451 h 3921126"/>
                <a:gd name="connsiteX54" fmla="*/ 269875 w 1581150"/>
                <a:gd name="connsiteY54" fmla="*/ 1133476 h 3921126"/>
                <a:gd name="connsiteX55" fmla="*/ 241300 w 1581150"/>
                <a:gd name="connsiteY55" fmla="*/ 1127126 h 3921126"/>
                <a:gd name="connsiteX56" fmla="*/ 244475 w 1581150"/>
                <a:gd name="connsiteY56" fmla="*/ 1050926 h 3921126"/>
                <a:gd name="connsiteX57" fmla="*/ 231775 w 1581150"/>
                <a:gd name="connsiteY57" fmla="*/ 1054101 h 3921126"/>
                <a:gd name="connsiteX58" fmla="*/ 241300 w 1581150"/>
                <a:gd name="connsiteY58" fmla="*/ 873126 h 3921126"/>
                <a:gd name="connsiteX59" fmla="*/ 196850 w 1581150"/>
                <a:gd name="connsiteY59" fmla="*/ 879476 h 3921126"/>
                <a:gd name="connsiteX60" fmla="*/ 200025 w 1581150"/>
                <a:gd name="connsiteY60" fmla="*/ 781051 h 3921126"/>
                <a:gd name="connsiteX61" fmla="*/ 165100 w 1581150"/>
                <a:gd name="connsiteY61" fmla="*/ 777876 h 3921126"/>
                <a:gd name="connsiteX62" fmla="*/ 165100 w 1581150"/>
                <a:gd name="connsiteY62" fmla="*/ 676276 h 3921126"/>
                <a:gd name="connsiteX63" fmla="*/ 146050 w 1581150"/>
                <a:gd name="connsiteY63" fmla="*/ 571501 h 3921126"/>
                <a:gd name="connsiteX64" fmla="*/ 136525 w 1581150"/>
                <a:gd name="connsiteY64" fmla="*/ 479426 h 3921126"/>
                <a:gd name="connsiteX65" fmla="*/ 101600 w 1581150"/>
                <a:gd name="connsiteY65" fmla="*/ 346076 h 3921126"/>
                <a:gd name="connsiteX66" fmla="*/ 66675 w 1581150"/>
                <a:gd name="connsiteY66" fmla="*/ 266701 h 3921126"/>
                <a:gd name="connsiteX67" fmla="*/ 50800 w 1581150"/>
                <a:gd name="connsiteY67" fmla="*/ 165101 h 3921126"/>
                <a:gd name="connsiteX68" fmla="*/ 44450 w 1581150"/>
                <a:gd name="connsiteY68" fmla="*/ 82551 h 3921126"/>
                <a:gd name="connsiteX69" fmla="*/ 6350 w 1581150"/>
                <a:gd name="connsiteY69" fmla="*/ 60326 h 3921126"/>
                <a:gd name="connsiteX70" fmla="*/ 0 w 1581150"/>
                <a:gd name="connsiteY70"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8301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98475 w 1581150"/>
                <a:gd name="connsiteY34" fmla="*/ 2184401 h 3921126"/>
                <a:gd name="connsiteX35" fmla="*/ 501650 w 1581150"/>
                <a:gd name="connsiteY35" fmla="*/ 2085976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6350 w 1581150"/>
                <a:gd name="connsiteY68" fmla="*/ 60326 h 3921126"/>
                <a:gd name="connsiteX69" fmla="*/ 0 w 1581150"/>
                <a:gd name="connsiteY69"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5126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98475 w 1581150"/>
                <a:gd name="connsiteY34" fmla="*/ 2184401 h 3921126"/>
                <a:gd name="connsiteX35" fmla="*/ 501650 w 1581150"/>
                <a:gd name="connsiteY35" fmla="*/ 2085976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6350 w 1581150"/>
                <a:gd name="connsiteY68" fmla="*/ 60326 h 3921126"/>
                <a:gd name="connsiteX69" fmla="*/ 0 w 1581150"/>
                <a:gd name="connsiteY69"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5126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98475 w 1581150"/>
                <a:gd name="connsiteY34" fmla="*/ 2184401 h 3921126"/>
                <a:gd name="connsiteX35" fmla="*/ 501650 w 1581150"/>
                <a:gd name="connsiteY35" fmla="*/ 2085976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6350 w 1581150"/>
                <a:gd name="connsiteY68" fmla="*/ 60326 h 3921126"/>
                <a:gd name="connsiteX69" fmla="*/ 0 w 1581150"/>
                <a:gd name="connsiteY69"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5126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86142 w 1581150"/>
                <a:gd name="connsiteY34" fmla="*/ 2184402 h 3921126"/>
                <a:gd name="connsiteX35" fmla="*/ 501650 w 1581150"/>
                <a:gd name="connsiteY35" fmla="*/ 2085976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6350 w 1581150"/>
                <a:gd name="connsiteY68" fmla="*/ 60326 h 3921126"/>
                <a:gd name="connsiteX69" fmla="*/ 0 w 1581150"/>
                <a:gd name="connsiteY69"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5126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86142 w 1581150"/>
                <a:gd name="connsiteY34" fmla="*/ 2184402 h 3921126"/>
                <a:gd name="connsiteX35" fmla="*/ 507818 w 1581150"/>
                <a:gd name="connsiteY35" fmla="*/ 2067662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6350 w 1581150"/>
                <a:gd name="connsiteY68" fmla="*/ 60326 h 3921126"/>
                <a:gd name="connsiteX69" fmla="*/ 0 w 1581150"/>
                <a:gd name="connsiteY69"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5126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86142 w 1581150"/>
                <a:gd name="connsiteY34" fmla="*/ 2184402 h 3921126"/>
                <a:gd name="connsiteX35" fmla="*/ 495485 w 1581150"/>
                <a:gd name="connsiteY35" fmla="*/ 2085976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6350 w 1581150"/>
                <a:gd name="connsiteY68" fmla="*/ 60326 h 3921126"/>
                <a:gd name="connsiteX69" fmla="*/ 0 w 1581150"/>
                <a:gd name="connsiteY69"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5126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86142 w 1581150"/>
                <a:gd name="connsiteY34" fmla="*/ 2184402 h 3921126"/>
                <a:gd name="connsiteX35" fmla="*/ 495485 w 1581150"/>
                <a:gd name="connsiteY35" fmla="*/ 2085976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6350 w 1581150"/>
                <a:gd name="connsiteY68" fmla="*/ 60326 h 3921126"/>
                <a:gd name="connsiteX69" fmla="*/ 0 w 1581150"/>
                <a:gd name="connsiteY69"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5126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92309 w 1581150"/>
                <a:gd name="connsiteY34" fmla="*/ 2184402 h 3921126"/>
                <a:gd name="connsiteX35" fmla="*/ 495485 w 1581150"/>
                <a:gd name="connsiteY35" fmla="*/ 2085976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6350 w 1581150"/>
                <a:gd name="connsiteY68" fmla="*/ 60326 h 3921126"/>
                <a:gd name="connsiteX69" fmla="*/ 0 w 1581150"/>
                <a:gd name="connsiteY69"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5126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92309 w 1581150"/>
                <a:gd name="connsiteY34" fmla="*/ 2184402 h 3921126"/>
                <a:gd name="connsiteX35" fmla="*/ 495485 w 1581150"/>
                <a:gd name="connsiteY35" fmla="*/ 2085976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6350 w 1581150"/>
                <a:gd name="connsiteY68" fmla="*/ 60326 h 3921126"/>
                <a:gd name="connsiteX69" fmla="*/ 0 w 1581150"/>
                <a:gd name="connsiteY69" fmla="*/ 0 h 3921126"/>
                <a:gd name="connsiteX0" fmla="*/ 1577975 w 1581150"/>
                <a:gd name="connsiteY0" fmla="*/ 3921126 h 3921126"/>
                <a:gd name="connsiteX1" fmla="*/ 1581150 w 1581150"/>
                <a:gd name="connsiteY1" fmla="*/ 3556001 h 3921126"/>
                <a:gd name="connsiteX2" fmla="*/ 1368425 w 1581150"/>
                <a:gd name="connsiteY2" fmla="*/ 3556001 h 3921126"/>
                <a:gd name="connsiteX3" fmla="*/ 1371600 w 1581150"/>
                <a:gd name="connsiteY3" fmla="*/ 3435351 h 3921126"/>
                <a:gd name="connsiteX4" fmla="*/ 1308100 w 1581150"/>
                <a:gd name="connsiteY4" fmla="*/ 3435351 h 3921126"/>
                <a:gd name="connsiteX5" fmla="*/ 1311275 w 1581150"/>
                <a:gd name="connsiteY5" fmla="*/ 3321051 h 3921126"/>
                <a:gd name="connsiteX6" fmla="*/ 1092200 w 1581150"/>
                <a:gd name="connsiteY6" fmla="*/ 3324226 h 3921126"/>
                <a:gd name="connsiteX7" fmla="*/ 1095375 w 1581150"/>
                <a:gd name="connsiteY7" fmla="*/ 3228976 h 3921126"/>
                <a:gd name="connsiteX8" fmla="*/ 962025 w 1581150"/>
                <a:gd name="connsiteY8" fmla="*/ 3228976 h 3921126"/>
                <a:gd name="connsiteX9" fmla="*/ 962025 w 1581150"/>
                <a:gd name="connsiteY9" fmla="*/ 3143251 h 3921126"/>
                <a:gd name="connsiteX10" fmla="*/ 835025 w 1581150"/>
                <a:gd name="connsiteY10" fmla="*/ 3140076 h 3921126"/>
                <a:gd name="connsiteX11" fmla="*/ 838200 w 1581150"/>
                <a:gd name="connsiteY11" fmla="*/ 3067051 h 3921126"/>
                <a:gd name="connsiteX12" fmla="*/ 787400 w 1581150"/>
                <a:gd name="connsiteY12" fmla="*/ 3067051 h 3921126"/>
                <a:gd name="connsiteX13" fmla="*/ 790575 w 1581150"/>
                <a:gd name="connsiteY13" fmla="*/ 2990851 h 3921126"/>
                <a:gd name="connsiteX14" fmla="*/ 733425 w 1581150"/>
                <a:gd name="connsiteY14" fmla="*/ 2990851 h 3921126"/>
                <a:gd name="connsiteX15" fmla="*/ 736600 w 1581150"/>
                <a:gd name="connsiteY15" fmla="*/ 2908301 h 3921126"/>
                <a:gd name="connsiteX16" fmla="*/ 692150 w 1581150"/>
                <a:gd name="connsiteY16" fmla="*/ 2905126 h 3921126"/>
                <a:gd name="connsiteX17" fmla="*/ 698500 w 1581150"/>
                <a:gd name="connsiteY17" fmla="*/ 2841626 h 3921126"/>
                <a:gd name="connsiteX18" fmla="*/ 685800 w 1581150"/>
                <a:gd name="connsiteY18" fmla="*/ 2841626 h 3921126"/>
                <a:gd name="connsiteX19" fmla="*/ 688975 w 1581150"/>
                <a:gd name="connsiteY19" fmla="*/ 2692401 h 3921126"/>
                <a:gd name="connsiteX20" fmla="*/ 606425 w 1581150"/>
                <a:gd name="connsiteY20" fmla="*/ 2689226 h 3921126"/>
                <a:gd name="connsiteX21" fmla="*/ 612775 w 1581150"/>
                <a:gd name="connsiteY21" fmla="*/ 2619376 h 3921126"/>
                <a:gd name="connsiteX22" fmla="*/ 565150 w 1581150"/>
                <a:gd name="connsiteY22" fmla="*/ 2616201 h 3921126"/>
                <a:gd name="connsiteX23" fmla="*/ 574675 w 1581150"/>
                <a:gd name="connsiteY23" fmla="*/ 2479676 h 3921126"/>
                <a:gd name="connsiteX24" fmla="*/ 546100 w 1581150"/>
                <a:gd name="connsiteY24" fmla="*/ 2476501 h 3921126"/>
                <a:gd name="connsiteX25" fmla="*/ 549275 w 1581150"/>
                <a:gd name="connsiteY25" fmla="*/ 2343151 h 3921126"/>
                <a:gd name="connsiteX26" fmla="*/ 527050 w 1581150"/>
                <a:gd name="connsiteY26" fmla="*/ 2339976 h 3921126"/>
                <a:gd name="connsiteX27" fmla="*/ 530225 w 1581150"/>
                <a:gd name="connsiteY27" fmla="*/ 2270126 h 3921126"/>
                <a:gd name="connsiteX28" fmla="*/ 517525 w 1581150"/>
                <a:gd name="connsiteY28" fmla="*/ 2270126 h 3921126"/>
                <a:gd name="connsiteX29" fmla="*/ 517525 w 1581150"/>
                <a:gd name="connsiteY29" fmla="*/ 2206626 h 3921126"/>
                <a:gd name="connsiteX30" fmla="*/ 511175 w 1581150"/>
                <a:gd name="connsiteY30" fmla="*/ 2203451 h 3921126"/>
                <a:gd name="connsiteX31" fmla="*/ 511175 w 1581150"/>
                <a:gd name="connsiteY31" fmla="*/ 2203451 h 3921126"/>
                <a:gd name="connsiteX32" fmla="*/ 511175 w 1581150"/>
                <a:gd name="connsiteY32" fmla="*/ 2203451 h 3921126"/>
                <a:gd name="connsiteX33" fmla="*/ 514350 w 1581150"/>
                <a:gd name="connsiteY33" fmla="*/ 2184401 h 3921126"/>
                <a:gd name="connsiteX34" fmla="*/ 492309 w 1581150"/>
                <a:gd name="connsiteY34" fmla="*/ 2184402 h 3921126"/>
                <a:gd name="connsiteX35" fmla="*/ 495485 w 1581150"/>
                <a:gd name="connsiteY35" fmla="*/ 2085976 h 3921126"/>
                <a:gd name="connsiteX36" fmla="*/ 463550 w 1581150"/>
                <a:gd name="connsiteY36" fmla="*/ 2079626 h 3921126"/>
                <a:gd name="connsiteX37" fmla="*/ 469900 w 1581150"/>
                <a:gd name="connsiteY37" fmla="*/ 2009776 h 3921126"/>
                <a:gd name="connsiteX38" fmla="*/ 409575 w 1581150"/>
                <a:gd name="connsiteY38" fmla="*/ 2003426 h 3921126"/>
                <a:gd name="connsiteX39" fmla="*/ 415925 w 1581150"/>
                <a:gd name="connsiteY39" fmla="*/ 1927226 h 3921126"/>
                <a:gd name="connsiteX40" fmla="*/ 400050 w 1581150"/>
                <a:gd name="connsiteY40" fmla="*/ 1927226 h 3921126"/>
                <a:gd name="connsiteX41" fmla="*/ 409575 w 1581150"/>
                <a:gd name="connsiteY41" fmla="*/ 1876426 h 3921126"/>
                <a:gd name="connsiteX42" fmla="*/ 368300 w 1581150"/>
                <a:gd name="connsiteY42" fmla="*/ 1876426 h 3921126"/>
                <a:gd name="connsiteX43" fmla="*/ 374650 w 1581150"/>
                <a:gd name="connsiteY43" fmla="*/ 1809751 h 3921126"/>
                <a:gd name="connsiteX44" fmla="*/ 355600 w 1581150"/>
                <a:gd name="connsiteY44" fmla="*/ 1809751 h 3921126"/>
                <a:gd name="connsiteX45" fmla="*/ 355600 w 1581150"/>
                <a:gd name="connsiteY45" fmla="*/ 1771651 h 3921126"/>
                <a:gd name="connsiteX46" fmla="*/ 346075 w 1581150"/>
                <a:gd name="connsiteY46" fmla="*/ 1768476 h 3921126"/>
                <a:gd name="connsiteX47" fmla="*/ 346075 w 1581150"/>
                <a:gd name="connsiteY47" fmla="*/ 1628776 h 3921126"/>
                <a:gd name="connsiteX48" fmla="*/ 320675 w 1581150"/>
                <a:gd name="connsiteY48" fmla="*/ 1619251 h 3921126"/>
                <a:gd name="connsiteX49" fmla="*/ 330200 w 1581150"/>
                <a:gd name="connsiteY49" fmla="*/ 1447801 h 3921126"/>
                <a:gd name="connsiteX50" fmla="*/ 314325 w 1581150"/>
                <a:gd name="connsiteY50" fmla="*/ 1450976 h 3921126"/>
                <a:gd name="connsiteX51" fmla="*/ 317500 w 1581150"/>
                <a:gd name="connsiteY51" fmla="*/ 1317626 h 3921126"/>
                <a:gd name="connsiteX52" fmla="*/ 260350 w 1581150"/>
                <a:gd name="connsiteY52" fmla="*/ 1314451 h 3921126"/>
                <a:gd name="connsiteX53" fmla="*/ 269875 w 1581150"/>
                <a:gd name="connsiteY53" fmla="*/ 1133476 h 3921126"/>
                <a:gd name="connsiteX54" fmla="*/ 241300 w 1581150"/>
                <a:gd name="connsiteY54" fmla="*/ 1127126 h 3921126"/>
                <a:gd name="connsiteX55" fmla="*/ 244475 w 1581150"/>
                <a:gd name="connsiteY55" fmla="*/ 1050926 h 3921126"/>
                <a:gd name="connsiteX56" fmla="*/ 231775 w 1581150"/>
                <a:gd name="connsiteY56" fmla="*/ 1054101 h 3921126"/>
                <a:gd name="connsiteX57" fmla="*/ 241300 w 1581150"/>
                <a:gd name="connsiteY57" fmla="*/ 873126 h 3921126"/>
                <a:gd name="connsiteX58" fmla="*/ 196850 w 1581150"/>
                <a:gd name="connsiteY58" fmla="*/ 879476 h 3921126"/>
                <a:gd name="connsiteX59" fmla="*/ 200025 w 1581150"/>
                <a:gd name="connsiteY59" fmla="*/ 781051 h 3921126"/>
                <a:gd name="connsiteX60" fmla="*/ 165100 w 1581150"/>
                <a:gd name="connsiteY60" fmla="*/ 777876 h 3921126"/>
                <a:gd name="connsiteX61" fmla="*/ 165100 w 1581150"/>
                <a:gd name="connsiteY61" fmla="*/ 676276 h 3921126"/>
                <a:gd name="connsiteX62" fmla="*/ 146050 w 1581150"/>
                <a:gd name="connsiteY62" fmla="*/ 571501 h 3921126"/>
                <a:gd name="connsiteX63" fmla="*/ 136525 w 1581150"/>
                <a:gd name="connsiteY63" fmla="*/ 479426 h 3921126"/>
                <a:gd name="connsiteX64" fmla="*/ 101600 w 1581150"/>
                <a:gd name="connsiteY64" fmla="*/ 346076 h 3921126"/>
                <a:gd name="connsiteX65" fmla="*/ 66675 w 1581150"/>
                <a:gd name="connsiteY65" fmla="*/ 266701 h 3921126"/>
                <a:gd name="connsiteX66" fmla="*/ 50800 w 1581150"/>
                <a:gd name="connsiteY66" fmla="*/ 165101 h 3921126"/>
                <a:gd name="connsiteX67" fmla="*/ 44450 w 1581150"/>
                <a:gd name="connsiteY67" fmla="*/ 82551 h 3921126"/>
                <a:gd name="connsiteX68" fmla="*/ 26071 w 1581150"/>
                <a:gd name="connsiteY68" fmla="*/ 68137 h 3921126"/>
                <a:gd name="connsiteX69" fmla="*/ 0 w 1581150"/>
                <a:gd name="connsiteY69" fmla="*/ 0 h 392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81150" h="3921126">
                  <a:moveTo>
                    <a:pt x="1577975" y="3921126"/>
                  </a:moveTo>
                  <a:cubicBezTo>
                    <a:pt x="1579033" y="3799418"/>
                    <a:pt x="1580092" y="3677709"/>
                    <a:pt x="1581150" y="3556001"/>
                  </a:cubicBezTo>
                  <a:lnTo>
                    <a:pt x="1368425" y="3556001"/>
                  </a:lnTo>
                  <a:cubicBezTo>
                    <a:pt x="1369483" y="3515784"/>
                    <a:pt x="1370542" y="3475568"/>
                    <a:pt x="1371600" y="3435351"/>
                  </a:cubicBezTo>
                  <a:lnTo>
                    <a:pt x="1308100" y="3435351"/>
                  </a:lnTo>
                  <a:cubicBezTo>
                    <a:pt x="1309158" y="3397251"/>
                    <a:pt x="1310217" y="3359151"/>
                    <a:pt x="1311275" y="3321051"/>
                  </a:cubicBezTo>
                  <a:lnTo>
                    <a:pt x="1092200" y="3324226"/>
                  </a:lnTo>
                  <a:lnTo>
                    <a:pt x="1095375" y="3228976"/>
                  </a:lnTo>
                  <a:lnTo>
                    <a:pt x="962025" y="3228976"/>
                  </a:lnTo>
                  <a:lnTo>
                    <a:pt x="962025" y="3143251"/>
                  </a:lnTo>
                  <a:lnTo>
                    <a:pt x="835025" y="3140076"/>
                  </a:lnTo>
                  <a:lnTo>
                    <a:pt x="838200" y="3067051"/>
                  </a:lnTo>
                  <a:lnTo>
                    <a:pt x="787400" y="3067051"/>
                  </a:lnTo>
                  <a:lnTo>
                    <a:pt x="790575" y="2990851"/>
                  </a:lnTo>
                  <a:lnTo>
                    <a:pt x="733425" y="2990851"/>
                  </a:lnTo>
                  <a:lnTo>
                    <a:pt x="736600" y="2908301"/>
                  </a:lnTo>
                  <a:cubicBezTo>
                    <a:pt x="721783" y="2907243"/>
                    <a:pt x="690033" y="2910418"/>
                    <a:pt x="692150" y="2905126"/>
                  </a:cubicBezTo>
                  <a:cubicBezTo>
                    <a:pt x="694267" y="2899834"/>
                    <a:pt x="696383" y="2862793"/>
                    <a:pt x="698500" y="2841626"/>
                  </a:cubicBezTo>
                  <a:lnTo>
                    <a:pt x="685800" y="2841626"/>
                  </a:lnTo>
                  <a:cubicBezTo>
                    <a:pt x="686858" y="2791884"/>
                    <a:pt x="687917" y="2742143"/>
                    <a:pt x="688975" y="2692401"/>
                  </a:cubicBezTo>
                  <a:lnTo>
                    <a:pt x="606425" y="2689226"/>
                  </a:lnTo>
                  <a:lnTo>
                    <a:pt x="612775" y="2619376"/>
                  </a:lnTo>
                  <a:lnTo>
                    <a:pt x="565150" y="2616201"/>
                  </a:lnTo>
                  <a:lnTo>
                    <a:pt x="574675" y="2479676"/>
                  </a:lnTo>
                  <a:lnTo>
                    <a:pt x="546100" y="2476501"/>
                  </a:lnTo>
                  <a:cubicBezTo>
                    <a:pt x="547158" y="2429934"/>
                    <a:pt x="541867" y="2348443"/>
                    <a:pt x="549275" y="2343151"/>
                  </a:cubicBezTo>
                  <a:lnTo>
                    <a:pt x="527050" y="2339976"/>
                  </a:lnTo>
                  <a:lnTo>
                    <a:pt x="530225" y="2270126"/>
                  </a:lnTo>
                  <a:lnTo>
                    <a:pt x="517525" y="2270126"/>
                  </a:lnTo>
                  <a:lnTo>
                    <a:pt x="517525" y="2206626"/>
                  </a:lnTo>
                  <a:lnTo>
                    <a:pt x="511175" y="2203451"/>
                  </a:lnTo>
                  <a:lnTo>
                    <a:pt x="511175" y="2203451"/>
                  </a:lnTo>
                  <a:lnTo>
                    <a:pt x="511175" y="2203451"/>
                  </a:lnTo>
                  <a:cubicBezTo>
                    <a:pt x="512233" y="2197101"/>
                    <a:pt x="517494" y="2187576"/>
                    <a:pt x="514350" y="2184401"/>
                  </a:cubicBezTo>
                  <a:cubicBezTo>
                    <a:pt x="511206" y="2181226"/>
                    <a:pt x="487140" y="2186685"/>
                    <a:pt x="492309" y="2184402"/>
                  </a:cubicBezTo>
                  <a:cubicBezTo>
                    <a:pt x="497478" y="2182119"/>
                    <a:pt x="500278" y="2103439"/>
                    <a:pt x="495485" y="2085976"/>
                  </a:cubicBezTo>
                  <a:cubicBezTo>
                    <a:pt x="490692" y="2068513"/>
                    <a:pt x="476250" y="2081743"/>
                    <a:pt x="463550" y="2079626"/>
                  </a:cubicBezTo>
                  <a:lnTo>
                    <a:pt x="469900" y="2009776"/>
                  </a:lnTo>
                  <a:lnTo>
                    <a:pt x="409575" y="2003426"/>
                  </a:lnTo>
                  <a:lnTo>
                    <a:pt x="415925" y="1927226"/>
                  </a:lnTo>
                  <a:lnTo>
                    <a:pt x="400050" y="1927226"/>
                  </a:lnTo>
                  <a:lnTo>
                    <a:pt x="409575" y="1876426"/>
                  </a:lnTo>
                  <a:lnTo>
                    <a:pt x="368300" y="1876426"/>
                  </a:lnTo>
                  <a:lnTo>
                    <a:pt x="374650" y="1809751"/>
                  </a:lnTo>
                  <a:lnTo>
                    <a:pt x="355600" y="1809751"/>
                  </a:lnTo>
                  <a:lnTo>
                    <a:pt x="355600" y="1771651"/>
                  </a:lnTo>
                  <a:lnTo>
                    <a:pt x="346075" y="1768476"/>
                  </a:lnTo>
                  <a:lnTo>
                    <a:pt x="346075" y="1628776"/>
                  </a:lnTo>
                  <a:lnTo>
                    <a:pt x="320675" y="1619251"/>
                  </a:lnTo>
                  <a:lnTo>
                    <a:pt x="330200" y="1447801"/>
                  </a:lnTo>
                  <a:lnTo>
                    <a:pt x="314325" y="1450976"/>
                  </a:lnTo>
                  <a:cubicBezTo>
                    <a:pt x="315383" y="1406526"/>
                    <a:pt x="326496" y="1366309"/>
                    <a:pt x="317500" y="1317626"/>
                  </a:cubicBezTo>
                  <a:lnTo>
                    <a:pt x="260350" y="1314451"/>
                  </a:lnTo>
                  <a:lnTo>
                    <a:pt x="269875" y="1133476"/>
                  </a:lnTo>
                  <a:lnTo>
                    <a:pt x="241300" y="1127126"/>
                  </a:lnTo>
                  <a:lnTo>
                    <a:pt x="244475" y="1050926"/>
                  </a:lnTo>
                  <a:lnTo>
                    <a:pt x="231775" y="1054101"/>
                  </a:lnTo>
                  <a:lnTo>
                    <a:pt x="241300" y="873126"/>
                  </a:lnTo>
                  <a:lnTo>
                    <a:pt x="196850" y="879476"/>
                  </a:lnTo>
                  <a:lnTo>
                    <a:pt x="200025" y="781051"/>
                  </a:lnTo>
                  <a:lnTo>
                    <a:pt x="165100" y="777876"/>
                  </a:lnTo>
                  <a:lnTo>
                    <a:pt x="165100" y="676276"/>
                  </a:lnTo>
                  <a:lnTo>
                    <a:pt x="146050" y="571501"/>
                  </a:lnTo>
                  <a:lnTo>
                    <a:pt x="136525" y="479426"/>
                  </a:lnTo>
                  <a:cubicBezTo>
                    <a:pt x="124883" y="434976"/>
                    <a:pt x="103717" y="349251"/>
                    <a:pt x="101600" y="346076"/>
                  </a:cubicBezTo>
                  <a:cubicBezTo>
                    <a:pt x="99483" y="342901"/>
                    <a:pt x="65617" y="270934"/>
                    <a:pt x="66675" y="266701"/>
                  </a:cubicBezTo>
                  <a:cubicBezTo>
                    <a:pt x="67733" y="262468"/>
                    <a:pt x="51858" y="174626"/>
                    <a:pt x="50800" y="165101"/>
                  </a:cubicBezTo>
                  <a:cubicBezTo>
                    <a:pt x="49742" y="155576"/>
                    <a:pt x="48571" y="98712"/>
                    <a:pt x="44450" y="82551"/>
                  </a:cubicBezTo>
                  <a:cubicBezTo>
                    <a:pt x="40329" y="66390"/>
                    <a:pt x="18663" y="64433"/>
                    <a:pt x="26071" y="68137"/>
                  </a:cubicBezTo>
                  <a:cubicBezTo>
                    <a:pt x="33479" y="71841"/>
                    <a:pt x="661" y="0"/>
                    <a:pt x="0" y="0"/>
                  </a:cubicBezTo>
                </a:path>
              </a:pathLst>
            </a:custGeom>
            <a:ln w="25400">
              <a:solidFill>
                <a:srgbClr val="F36633"/>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514350">
                <a:defRPr/>
              </a:pPr>
              <a:endParaRPr lang="en-GB" sz="675">
                <a:solidFill>
                  <a:srgbClr val="595454"/>
                </a:solidFill>
                <a:latin typeface="Calibri" panose="020F0502020204030204"/>
              </a:endParaRPr>
            </a:p>
          </p:txBody>
        </p:sp>
        <p:grpSp>
          <p:nvGrpSpPr>
            <p:cNvPr id="456" name="Group 455">
              <a:extLst>
                <a:ext uri="{FF2B5EF4-FFF2-40B4-BE49-F238E27FC236}">
                  <a16:creationId xmlns:a16="http://schemas.microsoft.com/office/drawing/2014/main" id="{03FDC11F-2F78-4824-A4BC-AB8099A4AFAA}"/>
                </a:ext>
              </a:extLst>
            </p:cNvPr>
            <p:cNvGrpSpPr/>
            <p:nvPr/>
          </p:nvGrpSpPr>
          <p:grpSpPr>
            <a:xfrm>
              <a:off x="1495425" y="1019175"/>
              <a:ext cx="1564250" cy="3624825"/>
              <a:chOff x="1495425" y="1019175"/>
              <a:chExt cx="1564250" cy="3624825"/>
            </a:xfrm>
          </p:grpSpPr>
          <p:grpSp>
            <p:nvGrpSpPr>
              <p:cNvPr id="457" name="Group 456">
                <a:extLst>
                  <a:ext uri="{FF2B5EF4-FFF2-40B4-BE49-F238E27FC236}">
                    <a16:creationId xmlns:a16="http://schemas.microsoft.com/office/drawing/2014/main" id="{191CC3EB-58EF-4C81-BF13-01520D37BFBB}"/>
                  </a:ext>
                </a:extLst>
              </p:cNvPr>
              <p:cNvGrpSpPr/>
              <p:nvPr/>
            </p:nvGrpSpPr>
            <p:grpSpPr>
              <a:xfrm>
                <a:off x="2987675" y="4572000"/>
                <a:ext cx="72000" cy="72000"/>
                <a:chOff x="2619375" y="3260725"/>
                <a:chExt cx="72000" cy="72000"/>
              </a:xfrm>
            </p:grpSpPr>
            <p:cxnSp>
              <p:nvCxnSpPr>
                <p:cNvPr id="509" name="Straight Connector 508">
                  <a:extLst>
                    <a:ext uri="{FF2B5EF4-FFF2-40B4-BE49-F238E27FC236}">
                      <a16:creationId xmlns:a16="http://schemas.microsoft.com/office/drawing/2014/main" id="{B75345FE-8FE6-4FAA-A90F-518E7D21BA6D}"/>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510" name="Straight Connector 509">
                  <a:extLst>
                    <a:ext uri="{FF2B5EF4-FFF2-40B4-BE49-F238E27FC236}">
                      <a16:creationId xmlns:a16="http://schemas.microsoft.com/office/drawing/2014/main" id="{EDB156B4-02A3-4033-9F45-4F06700B6AB7}"/>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58" name="Group 457">
                <a:extLst>
                  <a:ext uri="{FF2B5EF4-FFF2-40B4-BE49-F238E27FC236}">
                    <a16:creationId xmlns:a16="http://schemas.microsoft.com/office/drawing/2014/main" id="{3594ADC6-6CAC-45E7-8909-C37957385D9A}"/>
                  </a:ext>
                </a:extLst>
              </p:cNvPr>
              <p:cNvGrpSpPr/>
              <p:nvPr/>
            </p:nvGrpSpPr>
            <p:grpSpPr>
              <a:xfrm>
                <a:off x="2968625" y="4572000"/>
                <a:ext cx="72000" cy="72000"/>
                <a:chOff x="2619375" y="3260725"/>
                <a:chExt cx="72000" cy="72000"/>
              </a:xfrm>
            </p:grpSpPr>
            <p:cxnSp>
              <p:nvCxnSpPr>
                <p:cNvPr id="507" name="Straight Connector 506">
                  <a:extLst>
                    <a:ext uri="{FF2B5EF4-FFF2-40B4-BE49-F238E27FC236}">
                      <a16:creationId xmlns:a16="http://schemas.microsoft.com/office/drawing/2014/main" id="{22B88F4B-F5FA-4FEB-9D7B-5204B4823337}"/>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508" name="Straight Connector 507">
                  <a:extLst>
                    <a:ext uri="{FF2B5EF4-FFF2-40B4-BE49-F238E27FC236}">
                      <a16:creationId xmlns:a16="http://schemas.microsoft.com/office/drawing/2014/main" id="{F60CCBB0-76BC-4737-8825-654FD949296C}"/>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59" name="Group 458">
                <a:extLst>
                  <a:ext uri="{FF2B5EF4-FFF2-40B4-BE49-F238E27FC236}">
                    <a16:creationId xmlns:a16="http://schemas.microsoft.com/office/drawing/2014/main" id="{6E9A5682-23AF-4F99-A6B6-CD30BBBC06A2}"/>
                  </a:ext>
                </a:extLst>
              </p:cNvPr>
              <p:cNvGrpSpPr/>
              <p:nvPr/>
            </p:nvGrpSpPr>
            <p:grpSpPr>
              <a:xfrm>
                <a:off x="2679700" y="4337050"/>
                <a:ext cx="72000" cy="72000"/>
                <a:chOff x="2619375" y="3260725"/>
                <a:chExt cx="72000" cy="72000"/>
              </a:xfrm>
            </p:grpSpPr>
            <p:cxnSp>
              <p:nvCxnSpPr>
                <p:cNvPr id="505" name="Straight Connector 504">
                  <a:extLst>
                    <a:ext uri="{FF2B5EF4-FFF2-40B4-BE49-F238E27FC236}">
                      <a16:creationId xmlns:a16="http://schemas.microsoft.com/office/drawing/2014/main" id="{AA3A37EF-0A54-4A7F-A802-DBA0F56A2F46}"/>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506" name="Straight Connector 505">
                  <a:extLst>
                    <a:ext uri="{FF2B5EF4-FFF2-40B4-BE49-F238E27FC236}">
                      <a16:creationId xmlns:a16="http://schemas.microsoft.com/office/drawing/2014/main" id="{8CE893F8-80E4-4716-86EE-2E3CEDE55C36}"/>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0" name="Group 459">
                <a:extLst>
                  <a:ext uri="{FF2B5EF4-FFF2-40B4-BE49-F238E27FC236}">
                    <a16:creationId xmlns:a16="http://schemas.microsoft.com/office/drawing/2014/main" id="{2F7DC093-B92D-43C6-8044-1A4DE1989A26}"/>
                  </a:ext>
                </a:extLst>
              </p:cNvPr>
              <p:cNvGrpSpPr/>
              <p:nvPr/>
            </p:nvGrpSpPr>
            <p:grpSpPr>
              <a:xfrm>
                <a:off x="2419350" y="4159250"/>
                <a:ext cx="72000" cy="77135"/>
                <a:chOff x="2619375" y="3260725"/>
                <a:chExt cx="72000" cy="77135"/>
              </a:xfrm>
            </p:grpSpPr>
            <p:cxnSp>
              <p:nvCxnSpPr>
                <p:cNvPr id="502" name="Straight Connector 501">
                  <a:extLst>
                    <a:ext uri="{FF2B5EF4-FFF2-40B4-BE49-F238E27FC236}">
                      <a16:creationId xmlns:a16="http://schemas.microsoft.com/office/drawing/2014/main" id="{0FD39960-D024-4C0A-82B9-E8A60FCB15E0}"/>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503" name="Straight Connector 502">
                  <a:extLst>
                    <a:ext uri="{FF2B5EF4-FFF2-40B4-BE49-F238E27FC236}">
                      <a16:creationId xmlns:a16="http://schemas.microsoft.com/office/drawing/2014/main" id="{69AD6313-7AF0-4B89-8D7F-39FD95C0A7F2}"/>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504" name="Straight Connector 503">
                  <a:extLst>
                    <a:ext uri="{FF2B5EF4-FFF2-40B4-BE49-F238E27FC236}">
                      <a16:creationId xmlns:a16="http://schemas.microsoft.com/office/drawing/2014/main" id="{AFB57349-39D7-47E8-B2BA-C09AB122AD93}"/>
                    </a:ext>
                  </a:extLst>
                </p:cNvPr>
                <p:cNvCxnSpPr/>
                <p:nvPr/>
              </p:nvCxnSpPr>
              <p:spPr>
                <a:xfrm>
                  <a:off x="2662110" y="3265860"/>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1" name="Group 460">
                <a:extLst>
                  <a:ext uri="{FF2B5EF4-FFF2-40B4-BE49-F238E27FC236}">
                    <a16:creationId xmlns:a16="http://schemas.microsoft.com/office/drawing/2014/main" id="{89C94A41-7E75-4A0D-854D-540B6EB886EC}"/>
                  </a:ext>
                </a:extLst>
              </p:cNvPr>
              <p:cNvGrpSpPr/>
              <p:nvPr/>
            </p:nvGrpSpPr>
            <p:grpSpPr>
              <a:xfrm>
                <a:off x="2197100" y="3921125"/>
                <a:ext cx="78735" cy="72000"/>
                <a:chOff x="2619375" y="3260725"/>
                <a:chExt cx="78735" cy="72000"/>
              </a:xfrm>
            </p:grpSpPr>
            <p:cxnSp>
              <p:nvCxnSpPr>
                <p:cNvPr id="499" name="Straight Connector 498">
                  <a:extLst>
                    <a:ext uri="{FF2B5EF4-FFF2-40B4-BE49-F238E27FC236}">
                      <a16:creationId xmlns:a16="http://schemas.microsoft.com/office/drawing/2014/main" id="{6CC7486E-51A1-4C3F-89B6-6ECC72F4C069}"/>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500" name="Straight Connector 499">
                  <a:extLst>
                    <a:ext uri="{FF2B5EF4-FFF2-40B4-BE49-F238E27FC236}">
                      <a16:creationId xmlns:a16="http://schemas.microsoft.com/office/drawing/2014/main" id="{1EF21181-6503-49F6-A095-0E93B2479E2C}"/>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501" name="Straight Connector 500">
                  <a:extLst>
                    <a:ext uri="{FF2B5EF4-FFF2-40B4-BE49-F238E27FC236}">
                      <a16:creationId xmlns:a16="http://schemas.microsoft.com/office/drawing/2014/main" id="{3263BDBA-C6F7-4A04-92E8-E71E198DBE03}"/>
                    </a:ext>
                  </a:extLst>
                </p:cNvPr>
                <p:cNvCxnSpPr/>
                <p:nvPr/>
              </p:nvCxnSpPr>
              <p:spPr>
                <a:xfrm rot="16200000">
                  <a:off x="2662110" y="3265861"/>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2" name="Group 461">
                <a:extLst>
                  <a:ext uri="{FF2B5EF4-FFF2-40B4-BE49-F238E27FC236}">
                    <a16:creationId xmlns:a16="http://schemas.microsoft.com/office/drawing/2014/main" id="{8F2DA33F-C286-43B9-9986-86703D774F81}"/>
                  </a:ext>
                </a:extLst>
              </p:cNvPr>
              <p:cNvGrpSpPr/>
              <p:nvPr/>
            </p:nvGrpSpPr>
            <p:grpSpPr>
              <a:xfrm>
                <a:off x="2070100" y="3629025"/>
                <a:ext cx="72000" cy="77135"/>
                <a:chOff x="2619375" y="3260725"/>
                <a:chExt cx="72000" cy="77135"/>
              </a:xfrm>
            </p:grpSpPr>
            <p:cxnSp>
              <p:nvCxnSpPr>
                <p:cNvPr id="496" name="Straight Connector 495">
                  <a:extLst>
                    <a:ext uri="{FF2B5EF4-FFF2-40B4-BE49-F238E27FC236}">
                      <a16:creationId xmlns:a16="http://schemas.microsoft.com/office/drawing/2014/main" id="{6396D144-96FB-429E-B7F3-67CCB8C98433}"/>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97" name="Straight Connector 496">
                  <a:extLst>
                    <a:ext uri="{FF2B5EF4-FFF2-40B4-BE49-F238E27FC236}">
                      <a16:creationId xmlns:a16="http://schemas.microsoft.com/office/drawing/2014/main" id="{C98D65F4-AE5F-4491-84C8-73843B72CC26}"/>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98" name="Straight Connector 497">
                  <a:extLst>
                    <a:ext uri="{FF2B5EF4-FFF2-40B4-BE49-F238E27FC236}">
                      <a16:creationId xmlns:a16="http://schemas.microsoft.com/office/drawing/2014/main" id="{D0CC3040-C09D-44C6-8056-7CEA8E775630}"/>
                    </a:ext>
                  </a:extLst>
                </p:cNvPr>
                <p:cNvCxnSpPr/>
                <p:nvPr/>
              </p:nvCxnSpPr>
              <p:spPr>
                <a:xfrm>
                  <a:off x="2662110" y="3265860"/>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3" name="Group 462">
                <a:extLst>
                  <a:ext uri="{FF2B5EF4-FFF2-40B4-BE49-F238E27FC236}">
                    <a16:creationId xmlns:a16="http://schemas.microsoft.com/office/drawing/2014/main" id="{DB02ABB3-D934-48D7-AB01-F32D316F5CA6}"/>
                  </a:ext>
                </a:extLst>
              </p:cNvPr>
              <p:cNvGrpSpPr/>
              <p:nvPr/>
            </p:nvGrpSpPr>
            <p:grpSpPr>
              <a:xfrm>
                <a:off x="2012950" y="3222625"/>
                <a:ext cx="72000" cy="72000"/>
                <a:chOff x="2619375" y="3260725"/>
                <a:chExt cx="72000" cy="72000"/>
              </a:xfrm>
            </p:grpSpPr>
            <p:cxnSp>
              <p:nvCxnSpPr>
                <p:cNvPr id="494" name="Straight Connector 493">
                  <a:extLst>
                    <a:ext uri="{FF2B5EF4-FFF2-40B4-BE49-F238E27FC236}">
                      <a16:creationId xmlns:a16="http://schemas.microsoft.com/office/drawing/2014/main" id="{5517845B-6173-4C89-939C-0A1200BE7F9E}"/>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95" name="Straight Connector 494">
                  <a:extLst>
                    <a:ext uri="{FF2B5EF4-FFF2-40B4-BE49-F238E27FC236}">
                      <a16:creationId xmlns:a16="http://schemas.microsoft.com/office/drawing/2014/main" id="{C3BA4902-6228-48E4-AC6E-6AE718163510}"/>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4" name="Group 463">
                <a:extLst>
                  <a:ext uri="{FF2B5EF4-FFF2-40B4-BE49-F238E27FC236}">
                    <a16:creationId xmlns:a16="http://schemas.microsoft.com/office/drawing/2014/main" id="{04C50BA6-74F5-4C51-8849-46ADE44FC012}"/>
                  </a:ext>
                </a:extLst>
              </p:cNvPr>
              <p:cNvGrpSpPr/>
              <p:nvPr/>
            </p:nvGrpSpPr>
            <p:grpSpPr>
              <a:xfrm>
                <a:off x="1901825" y="2889250"/>
                <a:ext cx="72000" cy="72000"/>
                <a:chOff x="2619375" y="3260725"/>
                <a:chExt cx="72000" cy="72000"/>
              </a:xfrm>
            </p:grpSpPr>
            <p:cxnSp>
              <p:nvCxnSpPr>
                <p:cNvPr id="492" name="Straight Connector 491">
                  <a:extLst>
                    <a:ext uri="{FF2B5EF4-FFF2-40B4-BE49-F238E27FC236}">
                      <a16:creationId xmlns:a16="http://schemas.microsoft.com/office/drawing/2014/main" id="{395B2800-021B-4B02-A226-875C98B124CF}"/>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93" name="Straight Connector 492">
                  <a:extLst>
                    <a:ext uri="{FF2B5EF4-FFF2-40B4-BE49-F238E27FC236}">
                      <a16:creationId xmlns:a16="http://schemas.microsoft.com/office/drawing/2014/main" id="{7EE04CC7-0453-4A29-87BA-6076B180CE2B}"/>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5" name="Group 464">
                <a:extLst>
                  <a:ext uri="{FF2B5EF4-FFF2-40B4-BE49-F238E27FC236}">
                    <a16:creationId xmlns:a16="http://schemas.microsoft.com/office/drawing/2014/main" id="{47BDE2EA-D5C9-4F96-9725-6EF422FD113E}"/>
                  </a:ext>
                </a:extLst>
              </p:cNvPr>
              <p:cNvGrpSpPr/>
              <p:nvPr/>
            </p:nvGrpSpPr>
            <p:grpSpPr>
              <a:xfrm>
                <a:off x="1863725" y="2825750"/>
                <a:ext cx="72000" cy="72000"/>
                <a:chOff x="2619375" y="3260725"/>
                <a:chExt cx="72000" cy="72000"/>
              </a:xfrm>
            </p:grpSpPr>
            <p:cxnSp>
              <p:nvCxnSpPr>
                <p:cNvPr id="490" name="Straight Connector 489">
                  <a:extLst>
                    <a:ext uri="{FF2B5EF4-FFF2-40B4-BE49-F238E27FC236}">
                      <a16:creationId xmlns:a16="http://schemas.microsoft.com/office/drawing/2014/main" id="{37FE4095-6E05-4E0F-B61E-C24054D38F00}"/>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91" name="Straight Connector 490">
                  <a:extLst>
                    <a:ext uri="{FF2B5EF4-FFF2-40B4-BE49-F238E27FC236}">
                      <a16:creationId xmlns:a16="http://schemas.microsoft.com/office/drawing/2014/main" id="{CFB5B9A0-9F9E-4715-962C-8DBC12E2C8A2}"/>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6" name="Group 465">
                <a:extLst>
                  <a:ext uri="{FF2B5EF4-FFF2-40B4-BE49-F238E27FC236}">
                    <a16:creationId xmlns:a16="http://schemas.microsoft.com/office/drawing/2014/main" id="{B03AF964-68B6-4BAE-9C89-DD7688358599}"/>
                  </a:ext>
                </a:extLst>
              </p:cNvPr>
              <p:cNvGrpSpPr/>
              <p:nvPr/>
            </p:nvGrpSpPr>
            <p:grpSpPr>
              <a:xfrm>
                <a:off x="1790700" y="2330450"/>
                <a:ext cx="72000" cy="72000"/>
                <a:chOff x="2619375" y="3260725"/>
                <a:chExt cx="72000" cy="72000"/>
              </a:xfrm>
            </p:grpSpPr>
            <p:cxnSp>
              <p:nvCxnSpPr>
                <p:cNvPr id="488" name="Straight Connector 487">
                  <a:extLst>
                    <a:ext uri="{FF2B5EF4-FFF2-40B4-BE49-F238E27FC236}">
                      <a16:creationId xmlns:a16="http://schemas.microsoft.com/office/drawing/2014/main" id="{09073942-72FD-46D7-9540-A92B85C8B113}"/>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89" name="Straight Connector 488">
                  <a:extLst>
                    <a:ext uri="{FF2B5EF4-FFF2-40B4-BE49-F238E27FC236}">
                      <a16:creationId xmlns:a16="http://schemas.microsoft.com/office/drawing/2014/main" id="{4E4C8965-7AF6-4428-9DCE-F552B4C8796F}"/>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7" name="Group 466">
                <a:extLst>
                  <a:ext uri="{FF2B5EF4-FFF2-40B4-BE49-F238E27FC236}">
                    <a16:creationId xmlns:a16="http://schemas.microsoft.com/office/drawing/2014/main" id="{54DFA16D-24DC-48F5-8B24-9C44BE75CFC9}"/>
                  </a:ext>
                </a:extLst>
              </p:cNvPr>
              <p:cNvGrpSpPr/>
              <p:nvPr/>
            </p:nvGrpSpPr>
            <p:grpSpPr>
              <a:xfrm>
                <a:off x="1746250" y="2085975"/>
                <a:ext cx="72000" cy="72000"/>
                <a:chOff x="2619375" y="3260725"/>
                <a:chExt cx="72000" cy="72000"/>
              </a:xfrm>
            </p:grpSpPr>
            <p:cxnSp>
              <p:nvCxnSpPr>
                <p:cNvPr id="486" name="Straight Connector 485">
                  <a:extLst>
                    <a:ext uri="{FF2B5EF4-FFF2-40B4-BE49-F238E27FC236}">
                      <a16:creationId xmlns:a16="http://schemas.microsoft.com/office/drawing/2014/main" id="{C8BBD0F6-C34D-4C48-9ED9-987C9CA1097F}"/>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87" name="Straight Connector 486">
                  <a:extLst>
                    <a:ext uri="{FF2B5EF4-FFF2-40B4-BE49-F238E27FC236}">
                      <a16:creationId xmlns:a16="http://schemas.microsoft.com/office/drawing/2014/main" id="{DAA70ACC-CE9F-4B0E-BEE8-DE1D8B030A17}"/>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8" name="Group 467">
                <a:extLst>
                  <a:ext uri="{FF2B5EF4-FFF2-40B4-BE49-F238E27FC236}">
                    <a16:creationId xmlns:a16="http://schemas.microsoft.com/office/drawing/2014/main" id="{1AD382A6-0886-4DF5-B751-C7F5735674E8}"/>
                  </a:ext>
                </a:extLst>
              </p:cNvPr>
              <p:cNvGrpSpPr/>
              <p:nvPr/>
            </p:nvGrpSpPr>
            <p:grpSpPr>
              <a:xfrm>
                <a:off x="1733550" y="1908175"/>
                <a:ext cx="72000" cy="72000"/>
                <a:chOff x="2619375" y="3260725"/>
                <a:chExt cx="72000" cy="72000"/>
              </a:xfrm>
            </p:grpSpPr>
            <p:cxnSp>
              <p:nvCxnSpPr>
                <p:cNvPr id="484" name="Straight Connector 483">
                  <a:extLst>
                    <a:ext uri="{FF2B5EF4-FFF2-40B4-BE49-F238E27FC236}">
                      <a16:creationId xmlns:a16="http://schemas.microsoft.com/office/drawing/2014/main" id="{5B2C49AD-DA09-4F01-A2DB-FFD719DA9C2C}"/>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85" name="Straight Connector 484">
                  <a:extLst>
                    <a:ext uri="{FF2B5EF4-FFF2-40B4-BE49-F238E27FC236}">
                      <a16:creationId xmlns:a16="http://schemas.microsoft.com/office/drawing/2014/main" id="{18DDACA7-749A-4469-8DBA-B6BCFD457435}"/>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69" name="Group 468">
                <a:extLst>
                  <a:ext uri="{FF2B5EF4-FFF2-40B4-BE49-F238E27FC236}">
                    <a16:creationId xmlns:a16="http://schemas.microsoft.com/office/drawing/2014/main" id="{8B0339C5-2794-459C-9D7D-342264F319D9}"/>
                  </a:ext>
                </a:extLst>
              </p:cNvPr>
              <p:cNvGrpSpPr/>
              <p:nvPr/>
            </p:nvGrpSpPr>
            <p:grpSpPr>
              <a:xfrm>
                <a:off x="1663700" y="1708150"/>
                <a:ext cx="72000" cy="72000"/>
                <a:chOff x="2619375" y="3260725"/>
                <a:chExt cx="72000" cy="72000"/>
              </a:xfrm>
            </p:grpSpPr>
            <p:cxnSp>
              <p:nvCxnSpPr>
                <p:cNvPr id="482" name="Straight Connector 481">
                  <a:extLst>
                    <a:ext uri="{FF2B5EF4-FFF2-40B4-BE49-F238E27FC236}">
                      <a16:creationId xmlns:a16="http://schemas.microsoft.com/office/drawing/2014/main" id="{086DE472-57CE-4870-916E-4EB1FD894362}"/>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83" name="Straight Connector 482">
                  <a:extLst>
                    <a:ext uri="{FF2B5EF4-FFF2-40B4-BE49-F238E27FC236}">
                      <a16:creationId xmlns:a16="http://schemas.microsoft.com/office/drawing/2014/main" id="{D3418B93-0CFC-4ACF-9294-D985F8B3DB6A}"/>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70" name="Group 469">
                <a:extLst>
                  <a:ext uri="{FF2B5EF4-FFF2-40B4-BE49-F238E27FC236}">
                    <a16:creationId xmlns:a16="http://schemas.microsoft.com/office/drawing/2014/main" id="{06331713-7DDB-4D15-8EDB-582C038F1CF6}"/>
                  </a:ext>
                </a:extLst>
              </p:cNvPr>
              <p:cNvGrpSpPr/>
              <p:nvPr/>
            </p:nvGrpSpPr>
            <p:grpSpPr>
              <a:xfrm>
                <a:off x="1651000" y="1593850"/>
                <a:ext cx="72000" cy="72000"/>
                <a:chOff x="2619375" y="3260725"/>
                <a:chExt cx="72000" cy="72000"/>
              </a:xfrm>
            </p:grpSpPr>
            <p:cxnSp>
              <p:nvCxnSpPr>
                <p:cNvPr id="480" name="Straight Connector 479">
                  <a:extLst>
                    <a:ext uri="{FF2B5EF4-FFF2-40B4-BE49-F238E27FC236}">
                      <a16:creationId xmlns:a16="http://schemas.microsoft.com/office/drawing/2014/main" id="{B0136C97-F975-4AC0-935F-88A58C751090}"/>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81" name="Straight Connector 480">
                  <a:extLst>
                    <a:ext uri="{FF2B5EF4-FFF2-40B4-BE49-F238E27FC236}">
                      <a16:creationId xmlns:a16="http://schemas.microsoft.com/office/drawing/2014/main" id="{9342EDA9-EAF4-4EBF-BE34-8803FDDDAA18}"/>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71" name="Group 470">
                <a:extLst>
                  <a:ext uri="{FF2B5EF4-FFF2-40B4-BE49-F238E27FC236}">
                    <a16:creationId xmlns:a16="http://schemas.microsoft.com/office/drawing/2014/main" id="{8122E775-2C6A-4D35-9C7B-C1754DDEC757}"/>
                  </a:ext>
                </a:extLst>
              </p:cNvPr>
              <p:cNvGrpSpPr/>
              <p:nvPr/>
            </p:nvGrpSpPr>
            <p:grpSpPr>
              <a:xfrm>
                <a:off x="1638300" y="1492250"/>
                <a:ext cx="72000" cy="72000"/>
                <a:chOff x="2619375" y="3260725"/>
                <a:chExt cx="72000" cy="72000"/>
              </a:xfrm>
            </p:grpSpPr>
            <p:cxnSp>
              <p:nvCxnSpPr>
                <p:cNvPr id="478" name="Straight Connector 477">
                  <a:extLst>
                    <a:ext uri="{FF2B5EF4-FFF2-40B4-BE49-F238E27FC236}">
                      <a16:creationId xmlns:a16="http://schemas.microsoft.com/office/drawing/2014/main" id="{98E43B07-1D79-4BEF-B721-EDE3C44B7665}"/>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79" name="Straight Connector 478">
                  <a:extLst>
                    <a:ext uri="{FF2B5EF4-FFF2-40B4-BE49-F238E27FC236}">
                      <a16:creationId xmlns:a16="http://schemas.microsoft.com/office/drawing/2014/main" id="{9CAF48CA-C6B7-47E9-A374-2C4817111ABB}"/>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72" name="Group 471">
                <a:extLst>
                  <a:ext uri="{FF2B5EF4-FFF2-40B4-BE49-F238E27FC236}">
                    <a16:creationId xmlns:a16="http://schemas.microsoft.com/office/drawing/2014/main" id="{B779081C-6C8A-48F4-8979-0B49D6E50822}"/>
                  </a:ext>
                </a:extLst>
              </p:cNvPr>
              <p:cNvGrpSpPr/>
              <p:nvPr/>
            </p:nvGrpSpPr>
            <p:grpSpPr>
              <a:xfrm>
                <a:off x="1581150" y="1292225"/>
                <a:ext cx="72000" cy="72000"/>
                <a:chOff x="2619375" y="3260725"/>
                <a:chExt cx="72000" cy="72000"/>
              </a:xfrm>
            </p:grpSpPr>
            <p:cxnSp>
              <p:nvCxnSpPr>
                <p:cNvPr id="476" name="Straight Connector 475">
                  <a:extLst>
                    <a:ext uri="{FF2B5EF4-FFF2-40B4-BE49-F238E27FC236}">
                      <a16:creationId xmlns:a16="http://schemas.microsoft.com/office/drawing/2014/main" id="{5EB077BA-D1A9-4377-8136-335380D67A64}"/>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77" name="Straight Connector 476">
                  <a:extLst>
                    <a:ext uri="{FF2B5EF4-FFF2-40B4-BE49-F238E27FC236}">
                      <a16:creationId xmlns:a16="http://schemas.microsoft.com/office/drawing/2014/main" id="{799CA35D-BF59-4C1D-A5F6-AE08942BE988}"/>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nvGrpSpPr>
              <p:cNvPr id="473" name="Group 472">
                <a:extLst>
                  <a:ext uri="{FF2B5EF4-FFF2-40B4-BE49-F238E27FC236}">
                    <a16:creationId xmlns:a16="http://schemas.microsoft.com/office/drawing/2014/main" id="{DD5149DD-D4DE-4524-931F-ACECA1A3A377}"/>
                  </a:ext>
                </a:extLst>
              </p:cNvPr>
              <p:cNvGrpSpPr/>
              <p:nvPr/>
            </p:nvGrpSpPr>
            <p:grpSpPr>
              <a:xfrm>
                <a:off x="1495425" y="1019175"/>
                <a:ext cx="72000" cy="72000"/>
                <a:chOff x="2619375" y="3260725"/>
                <a:chExt cx="72000" cy="72000"/>
              </a:xfrm>
            </p:grpSpPr>
            <p:cxnSp>
              <p:nvCxnSpPr>
                <p:cNvPr id="474" name="Straight Connector 473">
                  <a:extLst>
                    <a:ext uri="{FF2B5EF4-FFF2-40B4-BE49-F238E27FC236}">
                      <a16:creationId xmlns:a16="http://schemas.microsoft.com/office/drawing/2014/main" id="{AB3432A5-5298-468F-A474-CE359E73C9D6}"/>
                    </a:ext>
                  </a:extLst>
                </p:cNvPr>
                <p:cNvCxnSpPr/>
                <p:nvPr/>
              </p:nvCxnSpPr>
              <p:spPr>
                <a:xfrm>
                  <a:off x="2655375" y="3260725"/>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cxnSp>
              <p:nvCxnSpPr>
                <p:cNvPr id="475" name="Straight Connector 474">
                  <a:extLst>
                    <a:ext uri="{FF2B5EF4-FFF2-40B4-BE49-F238E27FC236}">
                      <a16:creationId xmlns:a16="http://schemas.microsoft.com/office/drawing/2014/main" id="{DDAD55FA-AECC-4915-BC4A-7A181445CA0F}"/>
                    </a:ext>
                  </a:extLst>
                </p:cNvPr>
                <p:cNvCxnSpPr/>
                <p:nvPr/>
              </p:nvCxnSpPr>
              <p:spPr>
                <a:xfrm rot="16200000">
                  <a:off x="2655375" y="3260726"/>
                  <a:ext cx="0" cy="72000"/>
                </a:xfrm>
                <a:prstGeom prst="line">
                  <a:avLst/>
                </a:prstGeom>
                <a:ln w="12700" cmpd="sng">
                  <a:solidFill>
                    <a:srgbClr val="F36633"/>
                  </a:solidFill>
                </a:ln>
                <a:effectLst/>
              </p:spPr>
              <p:style>
                <a:lnRef idx="2">
                  <a:schemeClr val="accent1"/>
                </a:lnRef>
                <a:fillRef idx="0">
                  <a:schemeClr val="accent1"/>
                </a:fillRef>
                <a:effectRef idx="1">
                  <a:schemeClr val="accent1"/>
                </a:effectRef>
                <a:fontRef idx="minor">
                  <a:schemeClr val="tx1"/>
                </a:fontRef>
              </p:style>
            </p:cxnSp>
          </p:grpSp>
        </p:grpSp>
      </p:grpSp>
      <p:grpSp>
        <p:nvGrpSpPr>
          <p:cNvPr id="394" name="Group 393">
            <a:extLst>
              <a:ext uri="{FF2B5EF4-FFF2-40B4-BE49-F238E27FC236}">
                <a16:creationId xmlns:a16="http://schemas.microsoft.com/office/drawing/2014/main" id="{D5EBA4E4-5CDC-469B-AA96-9F20CA4A89E5}"/>
              </a:ext>
            </a:extLst>
          </p:cNvPr>
          <p:cNvGrpSpPr/>
          <p:nvPr/>
        </p:nvGrpSpPr>
        <p:grpSpPr>
          <a:xfrm>
            <a:off x="4849614" y="1604103"/>
            <a:ext cx="2608954" cy="1721750"/>
            <a:chOff x="1495425" y="1016000"/>
            <a:chExt cx="2615175" cy="3371600"/>
          </a:xfrm>
        </p:grpSpPr>
        <p:sp>
          <p:nvSpPr>
            <p:cNvPr id="396" name="Freeform 18">
              <a:extLst>
                <a:ext uri="{FF2B5EF4-FFF2-40B4-BE49-F238E27FC236}">
                  <a16:creationId xmlns:a16="http://schemas.microsoft.com/office/drawing/2014/main" id="{DAAE19FC-8569-4DB5-AD20-B5E03484DB6A}"/>
                </a:ext>
              </a:extLst>
            </p:cNvPr>
            <p:cNvSpPr/>
            <p:nvPr/>
          </p:nvSpPr>
          <p:spPr>
            <a:xfrm>
              <a:off x="1530350" y="1054100"/>
              <a:ext cx="2549525" cy="3299195"/>
            </a:xfrm>
            <a:custGeom>
              <a:avLst/>
              <a:gdLst>
                <a:gd name="connsiteX0" fmla="*/ 425450 w 2974975"/>
                <a:gd name="connsiteY0" fmla="*/ 0 h 3298825"/>
                <a:gd name="connsiteX1" fmla="*/ 460375 w 2974975"/>
                <a:gd name="connsiteY1" fmla="*/ 0 h 3298825"/>
                <a:gd name="connsiteX2" fmla="*/ 463550 w 2974975"/>
                <a:gd name="connsiteY2" fmla="*/ 69850 h 3298825"/>
                <a:gd name="connsiteX3" fmla="*/ 463550 w 2974975"/>
                <a:gd name="connsiteY3" fmla="*/ 69850 h 3298825"/>
                <a:gd name="connsiteX4" fmla="*/ 0 w 2974975"/>
                <a:gd name="connsiteY4" fmla="*/ 161925 h 3298825"/>
                <a:gd name="connsiteX5" fmla="*/ 482600 w 2974975"/>
                <a:gd name="connsiteY5" fmla="*/ 66675 h 3298825"/>
                <a:gd name="connsiteX6" fmla="*/ 476250 w 2974975"/>
                <a:gd name="connsiteY6" fmla="*/ 161925 h 3298825"/>
                <a:gd name="connsiteX7" fmla="*/ 177800 w 2974975"/>
                <a:gd name="connsiteY7" fmla="*/ 260350 h 3298825"/>
                <a:gd name="connsiteX8" fmla="*/ 498475 w 2974975"/>
                <a:gd name="connsiteY8" fmla="*/ 161925 h 3298825"/>
                <a:gd name="connsiteX9" fmla="*/ 495300 w 2974975"/>
                <a:gd name="connsiteY9" fmla="*/ 273050 h 3298825"/>
                <a:gd name="connsiteX10" fmla="*/ 542925 w 2974975"/>
                <a:gd name="connsiteY10" fmla="*/ 285750 h 3298825"/>
                <a:gd name="connsiteX11" fmla="*/ 549275 w 2974975"/>
                <a:gd name="connsiteY11" fmla="*/ 412750 h 3298825"/>
                <a:gd name="connsiteX12" fmla="*/ 184150 w 2974975"/>
                <a:gd name="connsiteY12" fmla="*/ 501650 h 3298825"/>
                <a:gd name="connsiteX13" fmla="*/ 565150 w 2974975"/>
                <a:gd name="connsiteY13" fmla="*/ 412750 h 3298825"/>
                <a:gd name="connsiteX14" fmla="*/ 565150 w 2974975"/>
                <a:gd name="connsiteY14" fmla="*/ 482600 h 3298825"/>
                <a:gd name="connsiteX15" fmla="*/ 136525 w 2974975"/>
                <a:gd name="connsiteY15" fmla="*/ 669925 h 3298825"/>
                <a:gd name="connsiteX16" fmla="*/ 574675 w 2974975"/>
                <a:gd name="connsiteY16" fmla="*/ 482600 h 3298825"/>
                <a:gd name="connsiteX17" fmla="*/ 565150 w 2974975"/>
                <a:gd name="connsiteY17" fmla="*/ 539750 h 3298825"/>
                <a:gd name="connsiteX18" fmla="*/ 209550 w 2974975"/>
                <a:gd name="connsiteY18" fmla="*/ 708025 h 3298825"/>
                <a:gd name="connsiteX19" fmla="*/ 587375 w 2974975"/>
                <a:gd name="connsiteY19" fmla="*/ 536575 h 3298825"/>
                <a:gd name="connsiteX20" fmla="*/ 584200 w 2974975"/>
                <a:gd name="connsiteY20" fmla="*/ 606425 h 3298825"/>
                <a:gd name="connsiteX21" fmla="*/ 612775 w 2974975"/>
                <a:gd name="connsiteY21" fmla="*/ 609600 h 3298825"/>
                <a:gd name="connsiteX22" fmla="*/ 609600 w 2974975"/>
                <a:gd name="connsiteY22" fmla="*/ 822325 h 3298825"/>
                <a:gd name="connsiteX23" fmla="*/ 698500 w 2974975"/>
                <a:gd name="connsiteY23" fmla="*/ 828675 h 3298825"/>
                <a:gd name="connsiteX24" fmla="*/ 704850 w 2974975"/>
                <a:gd name="connsiteY24" fmla="*/ 1044575 h 3298825"/>
                <a:gd name="connsiteX25" fmla="*/ 142875 w 2974975"/>
                <a:gd name="connsiteY25" fmla="*/ 1343025 h 3298825"/>
                <a:gd name="connsiteX26" fmla="*/ 723900 w 2974975"/>
                <a:gd name="connsiteY26" fmla="*/ 1047750 h 3298825"/>
                <a:gd name="connsiteX27" fmla="*/ 723900 w 2974975"/>
                <a:gd name="connsiteY27" fmla="*/ 1123950 h 3298825"/>
                <a:gd name="connsiteX28" fmla="*/ 796925 w 2974975"/>
                <a:gd name="connsiteY28" fmla="*/ 1130300 h 3298825"/>
                <a:gd name="connsiteX29" fmla="*/ 784225 w 2974975"/>
                <a:gd name="connsiteY29" fmla="*/ 1203325 h 3298825"/>
                <a:gd name="connsiteX30" fmla="*/ 860425 w 2974975"/>
                <a:gd name="connsiteY30" fmla="*/ 1203325 h 3298825"/>
                <a:gd name="connsiteX31" fmla="*/ 857250 w 2974975"/>
                <a:gd name="connsiteY31" fmla="*/ 1285875 h 3298825"/>
                <a:gd name="connsiteX32" fmla="*/ 933450 w 2974975"/>
                <a:gd name="connsiteY32" fmla="*/ 1289050 h 3298825"/>
                <a:gd name="connsiteX33" fmla="*/ 933450 w 2974975"/>
                <a:gd name="connsiteY33" fmla="*/ 1368425 h 3298825"/>
                <a:gd name="connsiteX34" fmla="*/ 974725 w 2974975"/>
                <a:gd name="connsiteY34" fmla="*/ 1374775 h 3298825"/>
                <a:gd name="connsiteX35" fmla="*/ 968375 w 2974975"/>
                <a:gd name="connsiteY35" fmla="*/ 1460500 h 3298825"/>
                <a:gd name="connsiteX36" fmla="*/ 1082675 w 2974975"/>
                <a:gd name="connsiteY36" fmla="*/ 1463675 h 3298825"/>
                <a:gd name="connsiteX37" fmla="*/ 1076325 w 2974975"/>
                <a:gd name="connsiteY37" fmla="*/ 1546225 h 3298825"/>
                <a:gd name="connsiteX38" fmla="*/ 269875 w 2974975"/>
                <a:gd name="connsiteY38" fmla="*/ 1819275 h 3298825"/>
                <a:gd name="connsiteX39" fmla="*/ 1089025 w 2974975"/>
                <a:gd name="connsiteY39" fmla="*/ 1546225 h 3298825"/>
                <a:gd name="connsiteX40" fmla="*/ 1089025 w 2974975"/>
                <a:gd name="connsiteY40" fmla="*/ 1727200 h 3298825"/>
                <a:gd name="connsiteX41" fmla="*/ 1171575 w 2974975"/>
                <a:gd name="connsiteY41" fmla="*/ 1724025 h 3298825"/>
                <a:gd name="connsiteX42" fmla="*/ 1174750 w 2974975"/>
                <a:gd name="connsiteY42" fmla="*/ 1816100 h 3298825"/>
                <a:gd name="connsiteX43" fmla="*/ 1241425 w 2974975"/>
                <a:gd name="connsiteY43" fmla="*/ 1819275 h 3298825"/>
                <a:gd name="connsiteX44" fmla="*/ 1244600 w 2974975"/>
                <a:gd name="connsiteY44" fmla="*/ 1905000 h 3298825"/>
                <a:gd name="connsiteX45" fmla="*/ 514350 w 2974975"/>
                <a:gd name="connsiteY45" fmla="*/ 2314575 h 3298825"/>
                <a:gd name="connsiteX46" fmla="*/ 1260475 w 2974975"/>
                <a:gd name="connsiteY46" fmla="*/ 1901825 h 3298825"/>
                <a:gd name="connsiteX47" fmla="*/ 1260475 w 2974975"/>
                <a:gd name="connsiteY47" fmla="*/ 1993900 h 3298825"/>
                <a:gd name="connsiteX48" fmla="*/ 1327150 w 2974975"/>
                <a:gd name="connsiteY48" fmla="*/ 2003425 h 3298825"/>
                <a:gd name="connsiteX49" fmla="*/ 1327150 w 2974975"/>
                <a:gd name="connsiteY49" fmla="*/ 2092325 h 3298825"/>
                <a:gd name="connsiteX50" fmla="*/ 1450975 w 2974975"/>
                <a:gd name="connsiteY50" fmla="*/ 2092325 h 3298825"/>
                <a:gd name="connsiteX51" fmla="*/ 1447800 w 2974975"/>
                <a:gd name="connsiteY51" fmla="*/ 2184400 h 3298825"/>
                <a:gd name="connsiteX52" fmla="*/ 1076325 w 2974975"/>
                <a:gd name="connsiteY52" fmla="*/ 2279650 h 3298825"/>
                <a:gd name="connsiteX53" fmla="*/ 1460500 w 2974975"/>
                <a:gd name="connsiteY53" fmla="*/ 2184400 h 3298825"/>
                <a:gd name="connsiteX54" fmla="*/ 1457325 w 2974975"/>
                <a:gd name="connsiteY54" fmla="*/ 2282825 h 3298825"/>
                <a:gd name="connsiteX55" fmla="*/ 1600200 w 2974975"/>
                <a:gd name="connsiteY55" fmla="*/ 2289175 h 3298825"/>
                <a:gd name="connsiteX56" fmla="*/ 1609725 w 2974975"/>
                <a:gd name="connsiteY56" fmla="*/ 2387600 h 3298825"/>
                <a:gd name="connsiteX57" fmla="*/ 1787525 w 2974975"/>
                <a:gd name="connsiteY57" fmla="*/ 2393950 h 3298825"/>
                <a:gd name="connsiteX58" fmla="*/ 1787525 w 2974975"/>
                <a:gd name="connsiteY58" fmla="*/ 2511425 h 3298825"/>
                <a:gd name="connsiteX59" fmla="*/ 2181225 w 2974975"/>
                <a:gd name="connsiteY59" fmla="*/ 2511425 h 3298825"/>
                <a:gd name="connsiteX60" fmla="*/ 2190750 w 2974975"/>
                <a:gd name="connsiteY60" fmla="*/ 2670175 h 3298825"/>
                <a:gd name="connsiteX61" fmla="*/ 2619375 w 2974975"/>
                <a:gd name="connsiteY61" fmla="*/ 2670175 h 3298825"/>
                <a:gd name="connsiteX62" fmla="*/ 2622550 w 2974975"/>
                <a:gd name="connsiteY62" fmla="*/ 3292475 h 3298825"/>
                <a:gd name="connsiteX63" fmla="*/ 2974975 w 2974975"/>
                <a:gd name="connsiteY63" fmla="*/ 3298825 h 3298825"/>
                <a:gd name="connsiteX0" fmla="*/ 425450 w 2974975"/>
                <a:gd name="connsiteY0" fmla="*/ 0 h 3298825"/>
                <a:gd name="connsiteX1" fmla="*/ 460375 w 2974975"/>
                <a:gd name="connsiteY1" fmla="*/ 0 h 3298825"/>
                <a:gd name="connsiteX2" fmla="*/ 463550 w 2974975"/>
                <a:gd name="connsiteY2" fmla="*/ 69850 h 3298825"/>
                <a:gd name="connsiteX3" fmla="*/ 463550 w 2974975"/>
                <a:gd name="connsiteY3" fmla="*/ 69850 h 3298825"/>
                <a:gd name="connsiteX4" fmla="*/ 0 w 2974975"/>
                <a:gd name="connsiteY4" fmla="*/ 161925 h 3298825"/>
                <a:gd name="connsiteX5" fmla="*/ 482600 w 2974975"/>
                <a:gd name="connsiteY5" fmla="*/ 66675 h 3298825"/>
                <a:gd name="connsiteX6" fmla="*/ 476250 w 2974975"/>
                <a:gd name="connsiteY6" fmla="*/ 161925 h 3298825"/>
                <a:gd name="connsiteX7" fmla="*/ 177800 w 2974975"/>
                <a:gd name="connsiteY7" fmla="*/ 260350 h 3298825"/>
                <a:gd name="connsiteX8" fmla="*/ 498475 w 2974975"/>
                <a:gd name="connsiteY8" fmla="*/ 161925 h 3298825"/>
                <a:gd name="connsiteX9" fmla="*/ 495300 w 2974975"/>
                <a:gd name="connsiteY9" fmla="*/ 273050 h 3298825"/>
                <a:gd name="connsiteX10" fmla="*/ 542925 w 2974975"/>
                <a:gd name="connsiteY10" fmla="*/ 285750 h 3298825"/>
                <a:gd name="connsiteX11" fmla="*/ 549275 w 2974975"/>
                <a:gd name="connsiteY11" fmla="*/ 412750 h 3298825"/>
                <a:gd name="connsiteX12" fmla="*/ 184150 w 2974975"/>
                <a:gd name="connsiteY12" fmla="*/ 501650 h 3298825"/>
                <a:gd name="connsiteX13" fmla="*/ 565150 w 2974975"/>
                <a:gd name="connsiteY13" fmla="*/ 412750 h 3298825"/>
                <a:gd name="connsiteX14" fmla="*/ 565150 w 2974975"/>
                <a:gd name="connsiteY14" fmla="*/ 482600 h 3298825"/>
                <a:gd name="connsiteX15" fmla="*/ 136525 w 2974975"/>
                <a:gd name="connsiteY15" fmla="*/ 669925 h 3298825"/>
                <a:gd name="connsiteX16" fmla="*/ 574675 w 2974975"/>
                <a:gd name="connsiteY16" fmla="*/ 482600 h 3298825"/>
                <a:gd name="connsiteX17" fmla="*/ 565150 w 2974975"/>
                <a:gd name="connsiteY17" fmla="*/ 539750 h 3298825"/>
                <a:gd name="connsiteX18" fmla="*/ 209550 w 2974975"/>
                <a:gd name="connsiteY18" fmla="*/ 708025 h 3298825"/>
                <a:gd name="connsiteX19" fmla="*/ 587375 w 2974975"/>
                <a:gd name="connsiteY19" fmla="*/ 536575 h 3298825"/>
                <a:gd name="connsiteX20" fmla="*/ 584200 w 2974975"/>
                <a:gd name="connsiteY20" fmla="*/ 606425 h 3298825"/>
                <a:gd name="connsiteX21" fmla="*/ 612775 w 2974975"/>
                <a:gd name="connsiteY21" fmla="*/ 609600 h 3298825"/>
                <a:gd name="connsiteX22" fmla="*/ 609600 w 2974975"/>
                <a:gd name="connsiteY22" fmla="*/ 822325 h 3298825"/>
                <a:gd name="connsiteX23" fmla="*/ 698500 w 2974975"/>
                <a:gd name="connsiteY23" fmla="*/ 828675 h 3298825"/>
                <a:gd name="connsiteX24" fmla="*/ 704850 w 2974975"/>
                <a:gd name="connsiteY24" fmla="*/ 1044575 h 3298825"/>
                <a:gd name="connsiteX25" fmla="*/ 142875 w 2974975"/>
                <a:gd name="connsiteY25" fmla="*/ 1343025 h 3298825"/>
                <a:gd name="connsiteX26" fmla="*/ 723900 w 2974975"/>
                <a:gd name="connsiteY26" fmla="*/ 1047750 h 3298825"/>
                <a:gd name="connsiteX27" fmla="*/ 723900 w 2974975"/>
                <a:gd name="connsiteY27" fmla="*/ 1123950 h 3298825"/>
                <a:gd name="connsiteX28" fmla="*/ 796925 w 2974975"/>
                <a:gd name="connsiteY28" fmla="*/ 1130300 h 3298825"/>
                <a:gd name="connsiteX29" fmla="*/ 784225 w 2974975"/>
                <a:gd name="connsiteY29" fmla="*/ 1203325 h 3298825"/>
                <a:gd name="connsiteX30" fmla="*/ 860425 w 2974975"/>
                <a:gd name="connsiteY30" fmla="*/ 1203325 h 3298825"/>
                <a:gd name="connsiteX31" fmla="*/ 857250 w 2974975"/>
                <a:gd name="connsiteY31" fmla="*/ 1285875 h 3298825"/>
                <a:gd name="connsiteX32" fmla="*/ 933450 w 2974975"/>
                <a:gd name="connsiteY32" fmla="*/ 1289050 h 3298825"/>
                <a:gd name="connsiteX33" fmla="*/ 933450 w 2974975"/>
                <a:gd name="connsiteY33" fmla="*/ 1368425 h 3298825"/>
                <a:gd name="connsiteX34" fmla="*/ 974725 w 2974975"/>
                <a:gd name="connsiteY34" fmla="*/ 1374775 h 3298825"/>
                <a:gd name="connsiteX35" fmla="*/ 968375 w 2974975"/>
                <a:gd name="connsiteY35" fmla="*/ 1460500 h 3298825"/>
                <a:gd name="connsiteX36" fmla="*/ 1082675 w 2974975"/>
                <a:gd name="connsiteY36" fmla="*/ 1463675 h 3298825"/>
                <a:gd name="connsiteX37" fmla="*/ 1076325 w 2974975"/>
                <a:gd name="connsiteY37" fmla="*/ 1546225 h 3298825"/>
                <a:gd name="connsiteX38" fmla="*/ 269875 w 2974975"/>
                <a:gd name="connsiteY38" fmla="*/ 1819275 h 3298825"/>
                <a:gd name="connsiteX39" fmla="*/ 1089025 w 2974975"/>
                <a:gd name="connsiteY39" fmla="*/ 1546225 h 3298825"/>
                <a:gd name="connsiteX40" fmla="*/ 1089025 w 2974975"/>
                <a:gd name="connsiteY40" fmla="*/ 1727200 h 3298825"/>
                <a:gd name="connsiteX41" fmla="*/ 1171575 w 2974975"/>
                <a:gd name="connsiteY41" fmla="*/ 1724025 h 3298825"/>
                <a:gd name="connsiteX42" fmla="*/ 1174750 w 2974975"/>
                <a:gd name="connsiteY42" fmla="*/ 1816100 h 3298825"/>
                <a:gd name="connsiteX43" fmla="*/ 1241425 w 2974975"/>
                <a:gd name="connsiteY43" fmla="*/ 1819275 h 3298825"/>
                <a:gd name="connsiteX44" fmla="*/ 1244600 w 2974975"/>
                <a:gd name="connsiteY44" fmla="*/ 1905000 h 3298825"/>
                <a:gd name="connsiteX45" fmla="*/ 514350 w 2974975"/>
                <a:gd name="connsiteY45" fmla="*/ 2314575 h 3298825"/>
                <a:gd name="connsiteX46" fmla="*/ 1260475 w 2974975"/>
                <a:gd name="connsiteY46" fmla="*/ 1901825 h 3298825"/>
                <a:gd name="connsiteX47" fmla="*/ 1260475 w 2974975"/>
                <a:gd name="connsiteY47" fmla="*/ 1993900 h 3298825"/>
                <a:gd name="connsiteX48" fmla="*/ 1327150 w 2974975"/>
                <a:gd name="connsiteY48" fmla="*/ 2003425 h 3298825"/>
                <a:gd name="connsiteX49" fmla="*/ 1327150 w 2974975"/>
                <a:gd name="connsiteY49" fmla="*/ 2092325 h 3298825"/>
                <a:gd name="connsiteX50" fmla="*/ 1450975 w 2974975"/>
                <a:gd name="connsiteY50" fmla="*/ 2092325 h 3298825"/>
                <a:gd name="connsiteX51" fmla="*/ 1447800 w 2974975"/>
                <a:gd name="connsiteY51" fmla="*/ 2184400 h 3298825"/>
                <a:gd name="connsiteX52" fmla="*/ 1460500 w 2974975"/>
                <a:gd name="connsiteY52" fmla="*/ 2184400 h 3298825"/>
                <a:gd name="connsiteX53" fmla="*/ 1457325 w 2974975"/>
                <a:gd name="connsiteY53" fmla="*/ 2282825 h 3298825"/>
                <a:gd name="connsiteX54" fmla="*/ 1600200 w 2974975"/>
                <a:gd name="connsiteY54" fmla="*/ 2289175 h 3298825"/>
                <a:gd name="connsiteX55" fmla="*/ 1609725 w 2974975"/>
                <a:gd name="connsiteY55" fmla="*/ 2387600 h 3298825"/>
                <a:gd name="connsiteX56" fmla="*/ 1787525 w 2974975"/>
                <a:gd name="connsiteY56" fmla="*/ 2393950 h 3298825"/>
                <a:gd name="connsiteX57" fmla="*/ 1787525 w 2974975"/>
                <a:gd name="connsiteY57" fmla="*/ 2511425 h 3298825"/>
                <a:gd name="connsiteX58" fmla="*/ 2181225 w 2974975"/>
                <a:gd name="connsiteY58" fmla="*/ 2511425 h 3298825"/>
                <a:gd name="connsiteX59" fmla="*/ 2190750 w 2974975"/>
                <a:gd name="connsiteY59" fmla="*/ 2670175 h 3298825"/>
                <a:gd name="connsiteX60" fmla="*/ 2619375 w 2974975"/>
                <a:gd name="connsiteY60" fmla="*/ 2670175 h 3298825"/>
                <a:gd name="connsiteX61" fmla="*/ 2622550 w 2974975"/>
                <a:gd name="connsiteY61" fmla="*/ 3292475 h 3298825"/>
                <a:gd name="connsiteX62" fmla="*/ 2974975 w 2974975"/>
                <a:gd name="connsiteY62" fmla="*/ 3298825 h 3298825"/>
                <a:gd name="connsiteX0" fmla="*/ 425450 w 2974975"/>
                <a:gd name="connsiteY0" fmla="*/ 0 h 3298825"/>
                <a:gd name="connsiteX1" fmla="*/ 460375 w 2974975"/>
                <a:gd name="connsiteY1" fmla="*/ 0 h 3298825"/>
                <a:gd name="connsiteX2" fmla="*/ 463550 w 2974975"/>
                <a:gd name="connsiteY2" fmla="*/ 69850 h 3298825"/>
                <a:gd name="connsiteX3" fmla="*/ 463550 w 2974975"/>
                <a:gd name="connsiteY3" fmla="*/ 69850 h 3298825"/>
                <a:gd name="connsiteX4" fmla="*/ 0 w 2974975"/>
                <a:gd name="connsiteY4" fmla="*/ 161925 h 3298825"/>
                <a:gd name="connsiteX5" fmla="*/ 482600 w 2974975"/>
                <a:gd name="connsiteY5" fmla="*/ 66675 h 3298825"/>
                <a:gd name="connsiteX6" fmla="*/ 476250 w 2974975"/>
                <a:gd name="connsiteY6" fmla="*/ 161925 h 3298825"/>
                <a:gd name="connsiteX7" fmla="*/ 177800 w 2974975"/>
                <a:gd name="connsiteY7" fmla="*/ 260350 h 3298825"/>
                <a:gd name="connsiteX8" fmla="*/ 498475 w 2974975"/>
                <a:gd name="connsiteY8" fmla="*/ 161925 h 3298825"/>
                <a:gd name="connsiteX9" fmla="*/ 495300 w 2974975"/>
                <a:gd name="connsiteY9" fmla="*/ 273050 h 3298825"/>
                <a:gd name="connsiteX10" fmla="*/ 542925 w 2974975"/>
                <a:gd name="connsiteY10" fmla="*/ 285750 h 3298825"/>
                <a:gd name="connsiteX11" fmla="*/ 549275 w 2974975"/>
                <a:gd name="connsiteY11" fmla="*/ 412750 h 3298825"/>
                <a:gd name="connsiteX12" fmla="*/ 184150 w 2974975"/>
                <a:gd name="connsiteY12" fmla="*/ 501650 h 3298825"/>
                <a:gd name="connsiteX13" fmla="*/ 565150 w 2974975"/>
                <a:gd name="connsiteY13" fmla="*/ 412750 h 3298825"/>
                <a:gd name="connsiteX14" fmla="*/ 565150 w 2974975"/>
                <a:gd name="connsiteY14" fmla="*/ 482600 h 3298825"/>
                <a:gd name="connsiteX15" fmla="*/ 136525 w 2974975"/>
                <a:gd name="connsiteY15" fmla="*/ 669925 h 3298825"/>
                <a:gd name="connsiteX16" fmla="*/ 574675 w 2974975"/>
                <a:gd name="connsiteY16" fmla="*/ 482600 h 3298825"/>
                <a:gd name="connsiteX17" fmla="*/ 565150 w 2974975"/>
                <a:gd name="connsiteY17" fmla="*/ 539750 h 3298825"/>
                <a:gd name="connsiteX18" fmla="*/ 209550 w 2974975"/>
                <a:gd name="connsiteY18" fmla="*/ 708025 h 3298825"/>
                <a:gd name="connsiteX19" fmla="*/ 587375 w 2974975"/>
                <a:gd name="connsiteY19" fmla="*/ 536575 h 3298825"/>
                <a:gd name="connsiteX20" fmla="*/ 584200 w 2974975"/>
                <a:gd name="connsiteY20" fmla="*/ 606425 h 3298825"/>
                <a:gd name="connsiteX21" fmla="*/ 612775 w 2974975"/>
                <a:gd name="connsiteY21" fmla="*/ 609600 h 3298825"/>
                <a:gd name="connsiteX22" fmla="*/ 609600 w 2974975"/>
                <a:gd name="connsiteY22" fmla="*/ 822325 h 3298825"/>
                <a:gd name="connsiteX23" fmla="*/ 698500 w 2974975"/>
                <a:gd name="connsiteY23" fmla="*/ 828675 h 3298825"/>
                <a:gd name="connsiteX24" fmla="*/ 704850 w 2974975"/>
                <a:gd name="connsiteY24" fmla="*/ 1044575 h 3298825"/>
                <a:gd name="connsiteX25" fmla="*/ 142875 w 2974975"/>
                <a:gd name="connsiteY25" fmla="*/ 1343025 h 3298825"/>
                <a:gd name="connsiteX26" fmla="*/ 723900 w 2974975"/>
                <a:gd name="connsiteY26" fmla="*/ 1047750 h 3298825"/>
                <a:gd name="connsiteX27" fmla="*/ 723900 w 2974975"/>
                <a:gd name="connsiteY27" fmla="*/ 1123950 h 3298825"/>
                <a:gd name="connsiteX28" fmla="*/ 796925 w 2974975"/>
                <a:gd name="connsiteY28" fmla="*/ 1130300 h 3298825"/>
                <a:gd name="connsiteX29" fmla="*/ 784225 w 2974975"/>
                <a:gd name="connsiteY29" fmla="*/ 1203325 h 3298825"/>
                <a:gd name="connsiteX30" fmla="*/ 860425 w 2974975"/>
                <a:gd name="connsiteY30" fmla="*/ 1203325 h 3298825"/>
                <a:gd name="connsiteX31" fmla="*/ 857250 w 2974975"/>
                <a:gd name="connsiteY31" fmla="*/ 1285875 h 3298825"/>
                <a:gd name="connsiteX32" fmla="*/ 933450 w 2974975"/>
                <a:gd name="connsiteY32" fmla="*/ 1289050 h 3298825"/>
                <a:gd name="connsiteX33" fmla="*/ 933450 w 2974975"/>
                <a:gd name="connsiteY33" fmla="*/ 1368425 h 3298825"/>
                <a:gd name="connsiteX34" fmla="*/ 974725 w 2974975"/>
                <a:gd name="connsiteY34" fmla="*/ 1374775 h 3298825"/>
                <a:gd name="connsiteX35" fmla="*/ 968375 w 2974975"/>
                <a:gd name="connsiteY35" fmla="*/ 1460500 h 3298825"/>
                <a:gd name="connsiteX36" fmla="*/ 1082675 w 2974975"/>
                <a:gd name="connsiteY36" fmla="*/ 1463675 h 3298825"/>
                <a:gd name="connsiteX37" fmla="*/ 1076325 w 2974975"/>
                <a:gd name="connsiteY37" fmla="*/ 1546225 h 3298825"/>
                <a:gd name="connsiteX38" fmla="*/ 269875 w 2974975"/>
                <a:gd name="connsiteY38" fmla="*/ 1819275 h 3298825"/>
                <a:gd name="connsiteX39" fmla="*/ 1089025 w 2974975"/>
                <a:gd name="connsiteY39" fmla="*/ 1546225 h 3298825"/>
                <a:gd name="connsiteX40" fmla="*/ 1089025 w 2974975"/>
                <a:gd name="connsiteY40" fmla="*/ 1727200 h 3298825"/>
                <a:gd name="connsiteX41" fmla="*/ 1171575 w 2974975"/>
                <a:gd name="connsiteY41" fmla="*/ 1724025 h 3298825"/>
                <a:gd name="connsiteX42" fmla="*/ 1174750 w 2974975"/>
                <a:gd name="connsiteY42" fmla="*/ 1816100 h 3298825"/>
                <a:gd name="connsiteX43" fmla="*/ 1241425 w 2974975"/>
                <a:gd name="connsiteY43" fmla="*/ 1819275 h 3298825"/>
                <a:gd name="connsiteX44" fmla="*/ 1244600 w 2974975"/>
                <a:gd name="connsiteY44" fmla="*/ 1905000 h 3298825"/>
                <a:gd name="connsiteX45" fmla="*/ 1260475 w 2974975"/>
                <a:gd name="connsiteY45" fmla="*/ 1901825 h 3298825"/>
                <a:gd name="connsiteX46" fmla="*/ 1260475 w 2974975"/>
                <a:gd name="connsiteY46" fmla="*/ 1993900 h 3298825"/>
                <a:gd name="connsiteX47" fmla="*/ 1327150 w 2974975"/>
                <a:gd name="connsiteY47" fmla="*/ 2003425 h 3298825"/>
                <a:gd name="connsiteX48" fmla="*/ 1327150 w 2974975"/>
                <a:gd name="connsiteY48" fmla="*/ 2092325 h 3298825"/>
                <a:gd name="connsiteX49" fmla="*/ 1450975 w 2974975"/>
                <a:gd name="connsiteY49" fmla="*/ 2092325 h 3298825"/>
                <a:gd name="connsiteX50" fmla="*/ 1447800 w 2974975"/>
                <a:gd name="connsiteY50" fmla="*/ 2184400 h 3298825"/>
                <a:gd name="connsiteX51" fmla="*/ 1460500 w 2974975"/>
                <a:gd name="connsiteY51" fmla="*/ 2184400 h 3298825"/>
                <a:gd name="connsiteX52" fmla="*/ 1457325 w 2974975"/>
                <a:gd name="connsiteY52" fmla="*/ 2282825 h 3298825"/>
                <a:gd name="connsiteX53" fmla="*/ 1600200 w 2974975"/>
                <a:gd name="connsiteY53" fmla="*/ 2289175 h 3298825"/>
                <a:gd name="connsiteX54" fmla="*/ 1609725 w 2974975"/>
                <a:gd name="connsiteY54" fmla="*/ 2387600 h 3298825"/>
                <a:gd name="connsiteX55" fmla="*/ 1787525 w 2974975"/>
                <a:gd name="connsiteY55" fmla="*/ 2393950 h 3298825"/>
                <a:gd name="connsiteX56" fmla="*/ 1787525 w 2974975"/>
                <a:gd name="connsiteY56" fmla="*/ 2511425 h 3298825"/>
                <a:gd name="connsiteX57" fmla="*/ 2181225 w 2974975"/>
                <a:gd name="connsiteY57" fmla="*/ 2511425 h 3298825"/>
                <a:gd name="connsiteX58" fmla="*/ 2190750 w 2974975"/>
                <a:gd name="connsiteY58" fmla="*/ 2670175 h 3298825"/>
                <a:gd name="connsiteX59" fmla="*/ 2619375 w 2974975"/>
                <a:gd name="connsiteY59" fmla="*/ 2670175 h 3298825"/>
                <a:gd name="connsiteX60" fmla="*/ 2622550 w 2974975"/>
                <a:gd name="connsiteY60" fmla="*/ 3292475 h 3298825"/>
                <a:gd name="connsiteX61" fmla="*/ 2974975 w 2974975"/>
                <a:gd name="connsiteY61" fmla="*/ 3298825 h 3298825"/>
                <a:gd name="connsiteX0" fmla="*/ 425450 w 2974975"/>
                <a:gd name="connsiteY0" fmla="*/ 0 h 3298825"/>
                <a:gd name="connsiteX1" fmla="*/ 460375 w 2974975"/>
                <a:gd name="connsiteY1" fmla="*/ 0 h 3298825"/>
                <a:gd name="connsiteX2" fmla="*/ 463550 w 2974975"/>
                <a:gd name="connsiteY2" fmla="*/ 69850 h 3298825"/>
                <a:gd name="connsiteX3" fmla="*/ 463550 w 2974975"/>
                <a:gd name="connsiteY3" fmla="*/ 69850 h 3298825"/>
                <a:gd name="connsiteX4" fmla="*/ 0 w 2974975"/>
                <a:gd name="connsiteY4" fmla="*/ 161925 h 3298825"/>
                <a:gd name="connsiteX5" fmla="*/ 482600 w 2974975"/>
                <a:gd name="connsiteY5" fmla="*/ 66675 h 3298825"/>
                <a:gd name="connsiteX6" fmla="*/ 476250 w 2974975"/>
                <a:gd name="connsiteY6" fmla="*/ 161925 h 3298825"/>
                <a:gd name="connsiteX7" fmla="*/ 177800 w 2974975"/>
                <a:gd name="connsiteY7" fmla="*/ 260350 h 3298825"/>
                <a:gd name="connsiteX8" fmla="*/ 498475 w 2974975"/>
                <a:gd name="connsiteY8" fmla="*/ 161925 h 3298825"/>
                <a:gd name="connsiteX9" fmla="*/ 495300 w 2974975"/>
                <a:gd name="connsiteY9" fmla="*/ 273050 h 3298825"/>
                <a:gd name="connsiteX10" fmla="*/ 542925 w 2974975"/>
                <a:gd name="connsiteY10" fmla="*/ 285750 h 3298825"/>
                <a:gd name="connsiteX11" fmla="*/ 549275 w 2974975"/>
                <a:gd name="connsiteY11" fmla="*/ 412750 h 3298825"/>
                <a:gd name="connsiteX12" fmla="*/ 184150 w 2974975"/>
                <a:gd name="connsiteY12" fmla="*/ 501650 h 3298825"/>
                <a:gd name="connsiteX13" fmla="*/ 565150 w 2974975"/>
                <a:gd name="connsiteY13" fmla="*/ 412750 h 3298825"/>
                <a:gd name="connsiteX14" fmla="*/ 565150 w 2974975"/>
                <a:gd name="connsiteY14" fmla="*/ 482600 h 3298825"/>
                <a:gd name="connsiteX15" fmla="*/ 136525 w 2974975"/>
                <a:gd name="connsiteY15" fmla="*/ 669925 h 3298825"/>
                <a:gd name="connsiteX16" fmla="*/ 574675 w 2974975"/>
                <a:gd name="connsiteY16" fmla="*/ 482600 h 3298825"/>
                <a:gd name="connsiteX17" fmla="*/ 565150 w 2974975"/>
                <a:gd name="connsiteY17" fmla="*/ 539750 h 3298825"/>
                <a:gd name="connsiteX18" fmla="*/ 209550 w 2974975"/>
                <a:gd name="connsiteY18" fmla="*/ 708025 h 3298825"/>
                <a:gd name="connsiteX19" fmla="*/ 587375 w 2974975"/>
                <a:gd name="connsiteY19" fmla="*/ 536575 h 3298825"/>
                <a:gd name="connsiteX20" fmla="*/ 584200 w 2974975"/>
                <a:gd name="connsiteY20" fmla="*/ 606425 h 3298825"/>
                <a:gd name="connsiteX21" fmla="*/ 612775 w 2974975"/>
                <a:gd name="connsiteY21" fmla="*/ 609600 h 3298825"/>
                <a:gd name="connsiteX22" fmla="*/ 609600 w 2974975"/>
                <a:gd name="connsiteY22" fmla="*/ 822325 h 3298825"/>
                <a:gd name="connsiteX23" fmla="*/ 698500 w 2974975"/>
                <a:gd name="connsiteY23" fmla="*/ 828675 h 3298825"/>
                <a:gd name="connsiteX24" fmla="*/ 704850 w 2974975"/>
                <a:gd name="connsiteY24" fmla="*/ 1044575 h 3298825"/>
                <a:gd name="connsiteX25" fmla="*/ 142875 w 2974975"/>
                <a:gd name="connsiteY25" fmla="*/ 1343025 h 3298825"/>
                <a:gd name="connsiteX26" fmla="*/ 723900 w 2974975"/>
                <a:gd name="connsiteY26" fmla="*/ 1047750 h 3298825"/>
                <a:gd name="connsiteX27" fmla="*/ 723900 w 2974975"/>
                <a:gd name="connsiteY27" fmla="*/ 1123950 h 3298825"/>
                <a:gd name="connsiteX28" fmla="*/ 796925 w 2974975"/>
                <a:gd name="connsiteY28" fmla="*/ 1130300 h 3298825"/>
                <a:gd name="connsiteX29" fmla="*/ 784225 w 2974975"/>
                <a:gd name="connsiteY29" fmla="*/ 1203325 h 3298825"/>
                <a:gd name="connsiteX30" fmla="*/ 860425 w 2974975"/>
                <a:gd name="connsiteY30" fmla="*/ 1203325 h 3298825"/>
                <a:gd name="connsiteX31" fmla="*/ 857250 w 2974975"/>
                <a:gd name="connsiteY31" fmla="*/ 1285875 h 3298825"/>
                <a:gd name="connsiteX32" fmla="*/ 933450 w 2974975"/>
                <a:gd name="connsiteY32" fmla="*/ 1289050 h 3298825"/>
                <a:gd name="connsiteX33" fmla="*/ 933450 w 2974975"/>
                <a:gd name="connsiteY33" fmla="*/ 1368425 h 3298825"/>
                <a:gd name="connsiteX34" fmla="*/ 974725 w 2974975"/>
                <a:gd name="connsiteY34" fmla="*/ 1374775 h 3298825"/>
                <a:gd name="connsiteX35" fmla="*/ 968375 w 2974975"/>
                <a:gd name="connsiteY35" fmla="*/ 1460500 h 3298825"/>
                <a:gd name="connsiteX36" fmla="*/ 1082675 w 2974975"/>
                <a:gd name="connsiteY36" fmla="*/ 1463675 h 3298825"/>
                <a:gd name="connsiteX37" fmla="*/ 1076325 w 2974975"/>
                <a:gd name="connsiteY37" fmla="*/ 1546225 h 3298825"/>
                <a:gd name="connsiteX38" fmla="*/ 1089025 w 2974975"/>
                <a:gd name="connsiteY38" fmla="*/ 1546225 h 3298825"/>
                <a:gd name="connsiteX39" fmla="*/ 1089025 w 2974975"/>
                <a:gd name="connsiteY39" fmla="*/ 1727200 h 3298825"/>
                <a:gd name="connsiteX40" fmla="*/ 1171575 w 2974975"/>
                <a:gd name="connsiteY40" fmla="*/ 1724025 h 3298825"/>
                <a:gd name="connsiteX41" fmla="*/ 1174750 w 2974975"/>
                <a:gd name="connsiteY41" fmla="*/ 1816100 h 3298825"/>
                <a:gd name="connsiteX42" fmla="*/ 1241425 w 2974975"/>
                <a:gd name="connsiteY42" fmla="*/ 1819275 h 3298825"/>
                <a:gd name="connsiteX43" fmla="*/ 1244600 w 2974975"/>
                <a:gd name="connsiteY43" fmla="*/ 1905000 h 3298825"/>
                <a:gd name="connsiteX44" fmla="*/ 1260475 w 2974975"/>
                <a:gd name="connsiteY44" fmla="*/ 1901825 h 3298825"/>
                <a:gd name="connsiteX45" fmla="*/ 1260475 w 2974975"/>
                <a:gd name="connsiteY45" fmla="*/ 1993900 h 3298825"/>
                <a:gd name="connsiteX46" fmla="*/ 1327150 w 2974975"/>
                <a:gd name="connsiteY46" fmla="*/ 2003425 h 3298825"/>
                <a:gd name="connsiteX47" fmla="*/ 1327150 w 2974975"/>
                <a:gd name="connsiteY47" fmla="*/ 2092325 h 3298825"/>
                <a:gd name="connsiteX48" fmla="*/ 1450975 w 2974975"/>
                <a:gd name="connsiteY48" fmla="*/ 2092325 h 3298825"/>
                <a:gd name="connsiteX49" fmla="*/ 1447800 w 2974975"/>
                <a:gd name="connsiteY49" fmla="*/ 2184400 h 3298825"/>
                <a:gd name="connsiteX50" fmla="*/ 1460500 w 2974975"/>
                <a:gd name="connsiteY50" fmla="*/ 2184400 h 3298825"/>
                <a:gd name="connsiteX51" fmla="*/ 1457325 w 2974975"/>
                <a:gd name="connsiteY51" fmla="*/ 2282825 h 3298825"/>
                <a:gd name="connsiteX52" fmla="*/ 1600200 w 2974975"/>
                <a:gd name="connsiteY52" fmla="*/ 2289175 h 3298825"/>
                <a:gd name="connsiteX53" fmla="*/ 1609725 w 2974975"/>
                <a:gd name="connsiteY53" fmla="*/ 2387600 h 3298825"/>
                <a:gd name="connsiteX54" fmla="*/ 1787525 w 2974975"/>
                <a:gd name="connsiteY54" fmla="*/ 2393950 h 3298825"/>
                <a:gd name="connsiteX55" fmla="*/ 1787525 w 2974975"/>
                <a:gd name="connsiteY55" fmla="*/ 2511425 h 3298825"/>
                <a:gd name="connsiteX56" fmla="*/ 2181225 w 2974975"/>
                <a:gd name="connsiteY56" fmla="*/ 2511425 h 3298825"/>
                <a:gd name="connsiteX57" fmla="*/ 2190750 w 2974975"/>
                <a:gd name="connsiteY57" fmla="*/ 2670175 h 3298825"/>
                <a:gd name="connsiteX58" fmla="*/ 2619375 w 2974975"/>
                <a:gd name="connsiteY58" fmla="*/ 2670175 h 3298825"/>
                <a:gd name="connsiteX59" fmla="*/ 2622550 w 2974975"/>
                <a:gd name="connsiteY59" fmla="*/ 3292475 h 3298825"/>
                <a:gd name="connsiteX60" fmla="*/ 2974975 w 2974975"/>
                <a:gd name="connsiteY60" fmla="*/ 3298825 h 3298825"/>
                <a:gd name="connsiteX0" fmla="*/ 425450 w 2974975"/>
                <a:gd name="connsiteY0" fmla="*/ 0 h 3298825"/>
                <a:gd name="connsiteX1" fmla="*/ 460375 w 2974975"/>
                <a:gd name="connsiteY1" fmla="*/ 0 h 3298825"/>
                <a:gd name="connsiteX2" fmla="*/ 463550 w 2974975"/>
                <a:gd name="connsiteY2" fmla="*/ 69850 h 3298825"/>
                <a:gd name="connsiteX3" fmla="*/ 463550 w 2974975"/>
                <a:gd name="connsiteY3" fmla="*/ 69850 h 3298825"/>
                <a:gd name="connsiteX4" fmla="*/ 0 w 2974975"/>
                <a:gd name="connsiteY4" fmla="*/ 161925 h 3298825"/>
                <a:gd name="connsiteX5" fmla="*/ 482600 w 2974975"/>
                <a:gd name="connsiteY5" fmla="*/ 66675 h 3298825"/>
                <a:gd name="connsiteX6" fmla="*/ 476250 w 2974975"/>
                <a:gd name="connsiteY6" fmla="*/ 161925 h 3298825"/>
                <a:gd name="connsiteX7" fmla="*/ 177800 w 2974975"/>
                <a:gd name="connsiteY7" fmla="*/ 260350 h 3298825"/>
                <a:gd name="connsiteX8" fmla="*/ 498475 w 2974975"/>
                <a:gd name="connsiteY8" fmla="*/ 161925 h 3298825"/>
                <a:gd name="connsiteX9" fmla="*/ 495300 w 2974975"/>
                <a:gd name="connsiteY9" fmla="*/ 273050 h 3298825"/>
                <a:gd name="connsiteX10" fmla="*/ 542925 w 2974975"/>
                <a:gd name="connsiteY10" fmla="*/ 285750 h 3298825"/>
                <a:gd name="connsiteX11" fmla="*/ 549275 w 2974975"/>
                <a:gd name="connsiteY11" fmla="*/ 412750 h 3298825"/>
                <a:gd name="connsiteX12" fmla="*/ 184150 w 2974975"/>
                <a:gd name="connsiteY12" fmla="*/ 501650 h 3298825"/>
                <a:gd name="connsiteX13" fmla="*/ 565150 w 2974975"/>
                <a:gd name="connsiteY13" fmla="*/ 412750 h 3298825"/>
                <a:gd name="connsiteX14" fmla="*/ 565150 w 2974975"/>
                <a:gd name="connsiteY14" fmla="*/ 482600 h 3298825"/>
                <a:gd name="connsiteX15" fmla="*/ 136525 w 2974975"/>
                <a:gd name="connsiteY15" fmla="*/ 669925 h 3298825"/>
                <a:gd name="connsiteX16" fmla="*/ 574675 w 2974975"/>
                <a:gd name="connsiteY16" fmla="*/ 482600 h 3298825"/>
                <a:gd name="connsiteX17" fmla="*/ 565150 w 2974975"/>
                <a:gd name="connsiteY17" fmla="*/ 539750 h 3298825"/>
                <a:gd name="connsiteX18" fmla="*/ 209550 w 2974975"/>
                <a:gd name="connsiteY18" fmla="*/ 708025 h 3298825"/>
                <a:gd name="connsiteX19" fmla="*/ 587375 w 2974975"/>
                <a:gd name="connsiteY19" fmla="*/ 536575 h 3298825"/>
                <a:gd name="connsiteX20" fmla="*/ 584200 w 2974975"/>
                <a:gd name="connsiteY20" fmla="*/ 606425 h 3298825"/>
                <a:gd name="connsiteX21" fmla="*/ 612775 w 2974975"/>
                <a:gd name="connsiteY21" fmla="*/ 609600 h 3298825"/>
                <a:gd name="connsiteX22" fmla="*/ 609600 w 2974975"/>
                <a:gd name="connsiteY22" fmla="*/ 822325 h 3298825"/>
                <a:gd name="connsiteX23" fmla="*/ 698500 w 2974975"/>
                <a:gd name="connsiteY23" fmla="*/ 828675 h 3298825"/>
                <a:gd name="connsiteX24" fmla="*/ 704850 w 2974975"/>
                <a:gd name="connsiteY24" fmla="*/ 1044575 h 3298825"/>
                <a:gd name="connsiteX25" fmla="*/ 723900 w 2974975"/>
                <a:gd name="connsiteY25" fmla="*/ 1047750 h 3298825"/>
                <a:gd name="connsiteX26" fmla="*/ 723900 w 2974975"/>
                <a:gd name="connsiteY26" fmla="*/ 1123950 h 3298825"/>
                <a:gd name="connsiteX27" fmla="*/ 796925 w 2974975"/>
                <a:gd name="connsiteY27" fmla="*/ 1130300 h 3298825"/>
                <a:gd name="connsiteX28" fmla="*/ 784225 w 2974975"/>
                <a:gd name="connsiteY28" fmla="*/ 1203325 h 3298825"/>
                <a:gd name="connsiteX29" fmla="*/ 860425 w 2974975"/>
                <a:gd name="connsiteY29" fmla="*/ 1203325 h 3298825"/>
                <a:gd name="connsiteX30" fmla="*/ 857250 w 2974975"/>
                <a:gd name="connsiteY30" fmla="*/ 1285875 h 3298825"/>
                <a:gd name="connsiteX31" fmla="*/ 933450 w 2974975"/>
                <a:gd name="connsiteY31" fmla="*/ 1289050 h 3298825"/>
                <a:gd name="connsiteX32" fmla="*/ 933450 w 2974975"/>
                <a:gd name="connsiteY32" fmla="*/ 1368425 h 3298825"/>
                <a:gd name="connsiteX33" fmla="*/ 974725 w 2974975"/>
                <a:gd name="connsiteY33" fmla="*/ 1374775 h 3298825"/>
                <a:gd name="connsiteX34" fmla="*/ 968375 w 2974975"/>
                <a:gd name="connsiteY34" fmla="*/ 1460500 h 3298825"/>
                <a:gd name="connsiteX35" fmla="*/ 1082675 w 2974975"/>
                <a:gd name="connsiteY35" fmla="*/ 1463675 h 3298825"/>
                <a:gd name="connsiteX36" fmla="*/ 1076325 w 2974975"/>
                <a:gd name="connsiteY36" fmla="*/ 1546225 h 3298825"/>
                <a:gd name="connsiteX37" fmla="*/ 1089025 w 2974975"/>
                <a:gd name="connsiteY37" fmla="*/ 1546225 h 3298825"/>
                <a:gd name="connsiteX38" fmla="*/ 1089025 w 2974975"/>
                <a:gd name="connsiteY38" fmla="*/ 1727200 h 3298825"/>
                <a:gd name="connsiteX39" fmla="*/ 1171575 w 2974975"/>
                <a:gd name="connsiteY39" fmla="*/ 1724025 h 3298825"/>
                <a:gd name="connsiteX40" fmla="*/ 1174750 w 2974975"/>
                <a:gd name="connsiteY40" fmla="*/ 1816100 h 3298825"/>
                <a:gd name="connsiteX41" fmla="*/ 1241425 w 2974975"/>
                <a:gd name="connsiteY41" fmla="*/ 1819275 h 3298825"/>
                <a:gd name="connsiteX42" fmla="*/ 1244600 w 2974975"/>
                <a:gd name="connsiteY42" fmla="*/ 1905000 h 3298825"/>
                <a:gd name="connsiteX43" fmla="*/ 1260475 w 2974975"/>
                <a:gd name="connsiteY43" fmla="*/ 1901825 h 3298825"/>
                <a:gd name="connsiteX44" fmla="*/ 1260475 w 2974975"/>
                <a:gd name="connsiteY44" fmla="*/ 1993900 h 3298825"/>
                <a:gd name="connsiteX45" fmla="*/ 1327150 w 2974975"/>
                <a:gd name="connsiteY45" fmla="*/ 2003425 h 3298825"/>
                <a:gd name="connsiteX46" fmla="*/ 1327150 w 2974975"/>
                <a:gd name="connsiteY46" fmla="*/ 2092325 h 3298825"/>
                <a:gd name="connsiteX47" fmla="*/ 1450975 w 2974975"/>
                <a:gd name="connsiteY47" fmla="*/ 2092325 h 3298825"/>
                <a:gd name="connsiteX48" fmla="*/ 1447800 w 2974975"/>
                <a:gd name="connsiteY48" fmla="*/ 2184400 h 3298825"/>
                <a:gd name="connsiteX49" fmla="*/ 1460500 w 2974975"/>
                <a:gd name="connsiteY49" fmla="*/ 2184400 h 3298825"/>
                <a:gd name="connsiteX50" fmla="*/ 1457325 w 2974975"/>
                <a:gd name="connsiteY50" fmla="*/ 2282825 h 3298825"/>
                <a:gd name="connsiteX51" fmla="*/ 1600200 w 2974975"/>
                <a:gd name="connsiteY51" fmla="*/ 2289175 h 3298825"/>
                <a:gd name="connsiteX52" fmla="*/ 1609725 w 2974975"/>
                <a:gd name="connsiteY52" fmla="*/ 2387600 h 3298825"/>
                <a:gd name="connsiteX53" fmla="*/ 1787525 w 2974975"/>
                <a:gd name="connsiteY53" fmla="*/ 2393950 h 3298825"/>
                <a:gd name="connsiteX54" fmla="*/ 1787525 w 2974975"/>
                <a:gd name="connsiteY54" fmla="*/ 2511425 h 3298825"/>
                <a:gd name="connsiteX55" fmla="*/ 2181225 w 2974975"/>
                <a:gd name="connsiteY55" fmla="*/ 2511425 h 3298825"/>
                <a:gd name="connsiteX56" fmla="*/ 2190750 w 2974975"/>
                <a:gd name="connsiteY56" fmla="*/ 2670175 h 3298825"/>
                <a:gd name="connsiteX57" fmla="*/ 2619375 w 2974975"/>
                <a:gd name="connsiteY57" fmla="*/ 2670175 h 3298825"/>
                <a:gd name="connsiteX58" fmla="*/ 2622550 w 2974975"/>
                <a:gd name="connsiteY58" fmla="*/ 3292475 h 3298825"/>
                <a:gd name="connsiteX59" fmla="*/ 2974975 w 2974975"/>
                <a:gd name="connsiteY59" fmla="*/ 3298825 h 3298825"/>
                <a:gd name="connsiteX0" fmla="*/ 425450 w 2974975"/>
                <a:gd name="connsiteY0" fmla="*/ 0 h 3298825"/>
                <a:gd name="connsiteX1" fmla="*/ 460375 w 2974975"/>
                <a:gd name="connsiteY1" fmla="*/ 0 h 3298825"/>
                <a:gd name="connsiteX2" fmla="*/ 463550 w 2974975"/>
                <a:gd name="connsiteY2" fmla="*/ 69850 h 3298825"/>
                <a:gd name="connsiteX3" fmla="*/ 463550 w 2974975"/>
                <a:gd name="connsiteY3" fmla="*/ 69850 h 3298825"/>
                <a:gd name="connsiteX4" fmla="*/ 0 w 2974975"/>
                <a:gd name="connsiteY4" fmla="*/ 161925 h 3298825"/>
                <a:gd name="connsiteX5" fmla="*/ 482600 w 2974975"/>
                <a:gd name="connsiteY5" fmla="*/ 66675 h 3298825"/>
                <a:gd name="connsiteX6" fmla="*/ 476250 w 2974975"/>
                <a:gd name="connsiteY6" fmla="*/ 161925 h 3298825"/>
                <a:gd name="connsiteX7" fmla="*/ 177800 w 2974975"/>
                <a:gd name="connsiteY7" fmla="*/ 260350 h 3298825"/>
                <a:gd name="connsiteX8" fmla="*/ 498475 w 2974975"/>
                <a:gd name="connsiteY8" fmla="*/ 161925 h 3298825"/>
                <a:gd name="connsiteX9" fmla="*/ 495300 w 2974975"/>
                <a:gd name="connsiteY9" fmla="*/ 273050 h 3298825"/>
                <a:gd name="connsiteX10" fmla="*/ 542925 w 2974975"/>
                <a:gd name="connsiteY10" fmla="*/ 285750 h 3298825"/>
                <a:gd name="connsiteX11" fmla="*/ 549275 w 2974975"/>
                <a:gd name="connsiteY11" fmla="*/ 412750 h 3298825"/>
                <a:gd name="connsiteX12" fmla="*/ 184150 w 2974975"/>
                <a:gd name="connsiteY12" fmla="*/ 501650 h 3298825"/>
                <a:gd name="connsiteX13" fmla="*/ 565150 w 2974975"/>
                <a:gd name="connsiteY13" fmla="*/ 412750 h 3298825"/>
                <a:gd name="connsiteX14" fmla="*/ 565150 w 2974975"/>
                <a:gd name="connsiteY14" fmla="*/ 482600 h 3298825"/>
                <a:gd name="connsiteX15" fmla="*/ 136525 w 2974975"/>
                <a:gd name="connsiteY15" fmla="*/ 669925 h 3298825"/>
                <a:gd name="connsiteX16" fmla="*/ 574675 w 2974975"/>
                <a:gd name="connsiteY16" fmla="*/ 482600 h 3298825"/>
                <a:gd name="connsiteX17" fmla="*/ 565150 w 2974975"/>
                <a:gd name="connsiteY17" fmla="*/ 539750 h 3298825"/>
                <a:gd name="connsiteX18" fmla="*/ 587375 w 2974975"/>
                <a:gd name="connsiteY18" fmla="*/ 536575 h 3298825"/>
                <a:gd name="connsiteX19" fmla="*/ 584200 w 2974975"/>
                <a:gd name="connsiteY19" fmla="*/ 606425 h 3298825"/>
                <a:gd name="connsiteX20" fmla="*/ 612775 w 2974975"/>
                <a:gd name="connsiteY20" fmla="*/ 609600 h 3298825"/>
                <a:gd name="connsiteX21" fmla="*/ 609600 w 2974975"/>
                <a:gd name="connsiteY21" fmla="*/ 822325 h 3298825"/>
                <a:gd name="connsiteX22" fmla="*/ 698500 w 2974975"/>
                <a:gd name="connsiteY22" fmla="*/ 828675 h 3298825"/>
                <a:gd name="connsiteX23" fmla="*/ 704850 w 2974975"/>
                <a:gd name="connsiteY23" fmla="*/ 1044575 h 3298825"/>
                <a:gd name="connsiteX24" fmla="*/ 723900 w 2974975"/>
                <a:gd name="connsiteY24" fmla="*/ 1047750 h 3298825"/>
                <a:gd name="connsiteX25" fmla="*/ 723900 w 2974975"/>
                <a:gd name="connsiteY25" fmla="*/ 1123950 h 3298825"/>
                <a:gd name="connsiteX26" fmla="*/ 796925 w 2974975"/>
                <a:gd name="connsiteY26" fmla="*/ 1130300 h 3298825"/>
                <a:gd name="connsiteX27" fmla="*/ 784225 w 2974975"/>
                <a:gd name="connsiteY27" fmla="*/ 1203325 h 3298825"/>
                <a:gd name="connsiteX28" fmla="*/ 860425 w 2974975"/>
                <a:gd name="connsiteY28" fmla="*/ 1203325 h 3298825"/>
                <a:gd name="connsiteX29" fmla="*/ 857250 w 2974975"/>
                <a:gd name="connsiteY29" fmla="*/ 1285875 h 3298825"/>
                <a:gd name="connsiteX30" fmla="*/ 933450 w 2974975"/>
                <a:gd name="connsiteY30" fmla="*/ 1289050 h 3298825"/>
                <a:gd name="connsiteX31" fmla="*/ 933450 w 2974975"/>
                <a:gd name="connsiteY31" fmla="*/ 1368425 h 3298825"/>
                <a:gd name="connsiteX32" fmla="*/ 974725 w 2974975"/>
                <a:gd name="connsiteY32" fmla="*/ 1374775 h 3298825"/>
                <a:gd name="connsiteX33" fmla="*/ 968375 w 2974975"/>
                <a:gd name="connsiteY33" fmla="*/ 1460500 h 3298825"/>
                <a:gd name="connsiteX34" fmla="*/ 1082675 w 2974975"/>
                <a:gd name="connsiteY34" fmla="*/ 1463675 h 3298825"/>
                <a:gd name="connsiteX35" fmla="*/ 1076325 w 2974975"/>
                <a:gd name="connsiteY35" fmla="*/ 1546225 h 3298825"/>
                <a:gd name="connsiteX36" fmla="*/ 1089025 w 2974975"/>
                <a:gd name="connsiteY36" fmla="*/ 1546225 h 3298825"/>
                <a:gd name="connsiteX37" fmla="*/ 1089025 w 2974975"/>
                <a:gd name="connsiteY37" fmla="*/ 1727200 h 3298825"/>
                <a:gd name="connsiteX38" fmla="*/ 1171575 w 2974975"/>
                <a:gd name="connsiteY38" fmla="*/ 1724025 h 3298825"/>
                <a:gd name="connsiteX39" fmla="*/ 1174750 w 2974975"/>
                <a:gd name="connsiteY39" fmla="*/ 1816100 h 3298825"/>
                <a:gd name="connsiteX40" fmla="*/ 1241425 w 2974975"/>
                <a:gd name="connsiteY40" fmla="*/ 1819275 h 3298825"/>
                <a:gd name="connsiteX41" fmla="*/ 1244600 w 2974975"/>
                <a:gd name="connsiteY41" fmla="*/ 1905000 h 3298825"/>
                <a:gd name="connsiteX42" fmla="*/ 1260475 w 2974975"/>
                <a:gd name="connsiteY42" fmla="*/ 1901825 h 3298825"/>
                <a:gd name="connsiteX43" fmla="*/ 1260475 w 2974975"/>
                <a:gd name="connsiteY43" fmla="*/ 1993900 h 3298825"/>
                <a:gd name="connsiteX44" fmla="*/ 1327150 w 2974975"/>
                <a:gd name="connsiteY44" fmla="*/ 2003425 h 3298825"/>
                <a:gd name="connsiteX45" fmla="*/ 1327150 w 2974975"/>
                <a:gd name="connsiteY45" fmla="*/ 2092325 h 3298825"/>
                <a:gd name="connsiteX46" fmla="*/ 1450975 w 2974975"/>
                <a:gd name="connsiteY46" fmla="*/ 2092325 h 3298825"/>
                <a:gd name="connsiteX47" fmla="*/ 1447800 w 2974975"/>
                <a:gd name="connsiteY47" fmla="*/ 2184400 h 3298825"/>
                <a:gd name="connsiteX48" fmla="*/ 1460500 w 2974975"/>
                <a:gd name="connsiteY48" fmla="*/ 2184400 h 3298825"/>
                <a:gd name="connsiteX49" fmla="*/ 1457325 w 2974975"/>
                <a:gd name="connsiteY49" fmla="*/ 2282825 h 3298825"/>
                <a:gd name="connsiteX50" fmla="*/ 1600200 w 2974975"/>
                <a:gd name="connsiteY50" fmla="*/ 2289175 h 3298825"/>
                <a:gd name="connsiteX51" fmla="*/ 1609725 w 2974975"/>
                <a:gd name="connsiteY51" fmla="*/ 2387600 h 3298825"/>
                <a:gd name="connsiteX52" fmla="*/ 1787525 w 2974975"/>
                <a:gd name="connsiteY52" fmla="*/ 2393950 h 3298825"/>
                <a:gd name="connsiteX53" fmla="*/ 1787525 w 2974975"/>
                <a:gd name="connsiteY53" fmla="*/ 2511425 h 3298825"/>
                <a:gd name="connsiteX54" fmla="*/ 2181225 w 2974975"/>
                <a:gd name="connsiteY54" fmla="*/ 2511425 h 3298825"/>
                <a:gd name="connsiteX55" fmla="*/ 2190750 w 2974975"/>
                <a:gd name="connsiteY55" fmla="*/ 2670175 h 3298825"/>
                <a:gd name="connsiteX56" fmla="*/ 2619375 w 2974975"/>
                <a:gd name="connsiteY56" fmla="*/ 2670175 h 3298825"/>
                <a:gd name="connsiteX57" fmla="*/ 2622550 w 2974975"/>
                <a:gd name="connsiteY57" fmla="*/ 3292475 h 3298825"/>
                <a:gd name="connsiteX58" fmla="*/ 2974975 w 2974975"/>
                <a:gd name="connsiteY58" fmla="*/ 3298825 h 3298825"/>
                <a:gd name="connsiteX0" fmla="*/ 425450 w 2974975"/>
                <a:gd name="connsiteY0" fmla="*/ 0 h 3298825"/>
                <a:gd name="connsiteX1" fmla="*/ 460375 w 2974975"/>
                <a:gd name="connsiteY1" fmla="*/ 0 h 3298825"/>
                <a:gd name="connsiteX2" fmla="*/ 463550 w 2974975"/>
                <a:gd name="connsiteY2" fmla="*/ 69850 h 3298825"/>
                <a:gd name="connsiteX3" fmla="*/ 463550 w 2974975"/>
                <a:gd name="connsiteY3" fmla="*/ 69850 h 3298825"/>
                <a:gd name="connsiteX4" fmla="*/ 0 w 2974975"/>
                <a:gd name="connsiteY4" fmla="*/ 161925 h 3298825"/>
                <a:gd name="connsiteX5" fmla="*/ 482600 w 2974975"/>
                <a:gd name="connsiteY5" fmla="*/ 66675 h 3298825"/>
                <a:gd name="connsiteX6" fmla="*/ 476250 w 2974975"/>
                <a:gd name="connsiteY6" fmla="*/ 161925 h 3298825"/>
                <a:gd name="connsiteX7" fmla="*/ 177800 w 2974975"/>
                <a:gd name="connsiteY7" fmla="*/ 260350 h 3298825"/>
                <a:gd name="connsiteX8" fmla="*/ 498475 w 2974975"/>
                <a:gd name="connsiteY8" fmla="*/ 161925 h 3298825"/>
                <a:gd name="connsiteX9" fmla="*/ 495300 w 2974975"/>
                <a:gd name="connsiteY9" fmla="*/ 273050 h 3298825"/>
                <a:gd name="connsiteX10" fmla="*/ 542925 w 2974975"/>
                <a:gd name="connsiteY10" fmla="*/ 285750 h 3298825"/>
                <a:gd name="connsiteX11" fmla="*/ 549275 w 2974975"/>
                <a:gd name="connsiteY11" fmla="*/ 412750 h 3298825"/>
                <a:gd name="connsiteX12" fmla="*/ 184150 w 2974975"/>
                <a:gd name="connsiteY12" fmla="*/ 501650 h 3298825"/>
                <a:gd name="connsiteX13" fmla="*/ 565150 w 2974975"/>
                <a:gd name="connsiteY13" fmla="*/ 412750 h 3298825"/>
                <a:gd name="connsiteX14" fmla="*/ 565150 w 2974975"/>
                <a:gd name="connsiteY14" fmla="*/ 482600 h 3298825"/>
                <a:gd name="connsiteX15" fmla="*/ 574675 w 2974975"/>
                <a:gd name="connsiteY15" fmla="*/ 482600 h 3298825"/>
                <a:gd name="connsiteX16" fmla="*/ 565150 w 2974975"/>
                <a:gd name="connsiteY16" fmla="*/ 539750 h 3298825"/>
                <a:gd name="connsiteX17" fmla="*/ 587375 w 2974975"/>
                <a:gd name="connsiteY17" fmla="*/ 536575 h 3298825"/>
                <a:gd name="connsiteX18" fmla="*/ 584200 w 2974975"/>
                <a:gd name="connsiteY18" fmla="*/ 606425 h 3298825"/>
                <a:gd name="connsiteX19" fmla="*/ 612775 w 2974975"/>
                <a:gd name="connsiteY19" fmla="*/ 609600 h 3298825"/>
                <a:gd name="connsiteX20" fmla="*/ 609600 w 2974975"/>
                <a:gd name="connsiteY20" fmla="*/ 822325 h 3298825"/>
                <a:gd name="connsiteX21" fmla="*/ 698500 w 2974975"/>
                <a:gd name="connsiteY21" fmla="*/ 828675 h 3298825"/>
                <a:gd name="connsiteX22" fmla="*/ 704850 w 2974975"/>
                <a:gd name="connsiteY22" fmla="*/ 1044575 h 3298825"/>
                <a:gd name="connsiteX23" fmla="*/ 723900 w 2974975"/>
                <a:gd name="connsiteY23" fmla="*/ 1047750 h 3298825"/>
                <a:gd name="connsiteX24" fmla="*/ 723900 w 2974975"/>
                <a:gd name="connsiteY24" fmla="*/ 1123950 h 3298825"/>
                <a:gd name="connsiteX25" fmla="*/ 796925 w 2974975"/>
                <a:gd name="connsiteY25" fmla="*/ 1130300 h 3298825"/>
                <a:gd name="connsiteX26" fmla="*/ 784225 w 2974975"/>
                <a:gd name="connsiteY26" fmla="*/ 1203325 h 3298825"/>
                <a:gd name="connsiteX27" fmla="*/ 860425 w 2974975"/>
                <a:gd name="connsiteY27" fmla="*/ 1203325 h 3298825"/>
                <a:gd name="connsiteX28" fmla="*/ 857250 w 2974975"/>
                <a:gd name="connsiteY28" fmla="*/ 1285875 h 3298825"/>
                <a:gd name="connsiteX29" fmla="*/ 933450 w 2974975"/>
                <a:gd name="connsiteY29" fmla="*/ 1289050 h 3298825"/>
                <a:gd name="connsiteX30" fmla="*/ 933450 w 2974975"/>
                <a:gd name="connsiteY30" fmla="*/ 1368425 h 3298825"/>
                <a:gd name="connsiteX31" fmla="*/ 974725 w 2974975"/>
                <a:gd name="connsiteY31" fmla="*/ 1374775 h 3298825"/>
                <a:gd name="connsiteX32" fmla="*/ 968375 w 2974975"/>
                <a:gd name="connsiteY32" fmla="*/ 1460500 h 3298825"/>
                <a:gd name="connsiteX33" fmla="*/ 1082675 w 2974975"/>
                <a:gd name="connsiteY33" fmla="*/ 1463675 h 3298825"/>
                <a:gd name="connsiteX34" fmla="*/ 1076325 w 2974975"/>
                <a:gd name="connsiteY34" fmla="*/ 1546225 h 3298825"/>
                <a:gd name="connsiteX35" fmla="*/ 1089025 w 2974975"/>
                <a:gd name="connsiteY35" fmla="*/ 1546225 h 3298825"/>
                <a:gd name="connsiteX36" fmla="*/ 1089025 w 2974975"/>
                <a:gd name="connsiteY36" fmla="*/ 1727200 h 3298825"/>
                <a:gd name="connsiteX37" fmla="*/ 1171575 w 2974975"/>
                <a:gd name="connsiteY37" fmla="*/ 1724025 h 3298825"/>
                <a:gd name="connsiteX38" fmla="*/ 1174750 w 2974975"/>
                <a:gd name="connsiteY38" fmla="*/ 1816100 h 3298825"/>
                <a:gd name="connsiteX39" fmla="*/ 1241425 w 2974975"/>
                <a:gd name="connsiteY39" fmla="*/ 1819275 h 3298825"/>
                <a:gd name="connsiteX40" fmla="*/ 1244600 w 2974975"/>
                <a:gd name="connsiteY40" fmla="*/ 1905000 h 3298825"/>
                <a:gd name="connsiteX41" fmla="*/ 1260475 w 2974975"/>
                <a:gd name="connsiteY41" fmla="*/ 1901825 h 3298825"/>
                <a:gd name="connsiteX42" fmla="*/ 1260475 w 2974975"/>
                <a:gd name="connsiteY42" fmla="*/ 1993900 h 3298825"/>
                <a:gd name="connsiteX43" fmla="*/ 1327150 w 2974975"/>
                <a:gd name="connsiteY43" fmla="*/ 2003425 h 3298825"/>
                <a:gd name="connsiteX44" fmla="*/ 1327150 w 2974975"/>
                <a:gd name="connsiteY44" fmla="*/ 2092325 h 3298825"/>
                <a:gd name="connsiteX45" fmla="*/ 1450975 w 2974975"/>
                <a:gd name="connsiteY45" fmla="*/ 2092325 h 3298825"/>
                <a:gd name="connsiteX46" fmla="*/ 1447800 w 2974975"/>
                <a:gd name="connsiteY46" fmla="*/ 2184400 h 3298825"/>
                <a:gd name="connsiteX47" fmla="*/ 1460500 w 2974975"/>
                <a:gd name="connsiteY47" fmla="*/ 2184400 h 3298825"/>
                <a:gd name="connsiteX48" fmla="*/ 1457325 w 2974975"/>
                <a:gd name="connsiteY48" fmla="*/ 2282825 h 3298825"/>
                <a:gd name="connsiteX49" fmla="*/ 1600200 w 2974975"/>
                <a:gd name="connsiteY49" fmla="*/ 2289175 h 3298825"/>
                <a:gd name="connsiteX50" fmla="*/ 1609725 w 2974975"/>
                <a:gd name="connsiteY50" fmla="*/ 2387600 h 3298825"/>
                <a:gd name="connsiteX51" fmla="*/ 1787525 w 2974975"/>
                <a:gd name="connsiteY51" fmla="*/ 2393950 h 3298825"/>
                <a:gd name="connsiteX52" fmla="*/ 1787525 w 2974975"/>
                <a:gd name="connsiteY52" fmla="*/ 2511425 h 3298825"/>
                <a:gd name="connsiteX53" fmla="*/ 2181225 w 2974975"/>
                <a:gd name="connsiteY53" fmla="*/ 2511425 h 3298825"/>
                <a:gd name="connsiteX54" fmla="*/ 2190750 w 2974975"/>
                <a:gd name="connsiteY54" fmla="*/ 2670175 h 3298825"/>
                <a:gd name="connsiteX55" fmla="*/ 2619375 w 2974975"/>
                <a:gd name="connsiteY55" fmla="*/ 2670175 h 3298825"/>
                <a:gd name="connsiteX56" fmla="*/ 2622550 w 2974975"/>
                <a:gd name="connsiteY56" fmla="*/ 3292475 h 3298825"/>
                <a:gd name="connsiteX57" fmla="*/ 2974975 w 2974975"/>
                <a:gd name="connsiteY57" fmla="*/ 3298825 h 3298825"/>
                <a:gd name="connsiteX0" fmla="*/ 425450 w 2974975"/>
                <a:gd name="connsiteY0" fmla="*/ 0 h 3298825"/>
                <a:gd name="connsiteX1" fmla="*/ 460375 w 2974975"/>
                <a:gd name="connsiteY1" fmla="*/ 0 h 3298825"/>
                <a:gd name="connsiteX2" fmla="*/ 463550 w 2974975"/>
                <a:gd name="connsiteY2" fmla="*/ 69850 h 3298825"/>
                <a:gd name="connsiteX3" fmla="*/ 463550 w 2974975"/>
                <a:gd name="connsiteY3" fmla="*/ 69850 h 3298825"/>
                <a:gd name="connsiteX4" fmla="*/ 0 w 2974975"/>
                <a:gd name="connsiteY4" fmla="*/ 161925 h 3298825"/>
                <a:gd name="connsiteX5" fmla="*/ 482600 w 2974975"/>
                <a:gd name="connsiteY5" fmla="*/ 66675 h 3298825"/>
                <a:gd name="connsiteX6" fmla="*/ 476250 w 2974975"/>
                <a:gd name="connsiteY6" fmla="*/ 161925 h 3298825"/>
                <a:gd name="connsiteX7" fmla="*/ 177800 w 2974975"/>
                <a:gd name="connsiteY7" fmla="*/ 260350 h 3298825"/>
                <a:gd name="connsiteX8" fmla="*/ 498475 w 2974975"/>
                <a:gd name="connsiteY8" fmla="*/ 161925 h 3298825"/>
                <a:gd name="connsiteX9" fmla="*/ 495300 w 2974975"/>
                <a:gd name="connsiteY9" fmla="*/ 273050 h 3298825"/>
                <a:gd name="connsiteX10" fmla="*/ 542925 w 2974975"/>
                <a:gd name="connsiteY10" fmla="*/ 285750 h 3298825"/>
                <a:gd name="connsiteX11" fmla="*/ 549275 w 2974975"/>
                <a:gd name="connsiteY11" fmla="*/ 412750 h 3298825"/>
                <a:gd name="connsiteX12" fmla="*/ 565150 w 2974975"/>
                <a:gd name="connsiteY12" fmla="*/ 412750 h 3298825"/>
                <a:gd name="connsiteX13" fmla="*/ 565150 w 2974975"/>
                <a:gd name="connsiteY13" fmla="*/ 482600 h 3298825"/>
                <a:gd name="connsiteX14" fmla="*/ 574675 w 2974975"/>
                <a:gd name="connsiteY14" fmla="*/ 482600 h 3298825"/>
                <a:gd name="connsiteX15" fmla="*/ 565150 w 2974975"/>
                <a:gd name="connsiteY15" fmla="*/ 539750 h 3298825"/>
                <a:gd name="connsiteX16" fmla="*/ 587375 w 2974975"/>
                <a:gd name="connsiteY16" fmla="*/ 536575 h 3298825"/>
                <a:gd name="connsiteX17" fmla="*/ 584200 w 2974975"/>
                <a:gd name="connsiteY17" fmla="*/ 606425 h 3298825"/>
                <a:gd name="connsiteX18" fmla="*/ 612775 w 2974975"/>
                <a:gd name="connsiteY18" fmla="*/ 609600 h 3298825"/>
                <a:gd name="connsiteX19" fmla="*/ 609600 w 2974975"/>
                <a:gd name="connsiteY19" fmla="*/ 822325 h 3298825"/>
                <a:gd name="connsiteX20" fmla="*/ 698500 w 2974975"/>
                <a:gd name="connsiteY20" fmla="*/ 828675 h 3298825"/>
                <a:gd name="connsiteX21" fmla="*/ 704850 w 2974975"/>
                <a:gd name="connsiteY21" fmla="*/ 1044575 h 3298825"/>
                <a:gd name="connsiteX22" fmla="*/ 723900 w 2974975"/>
                <a:gd name="connsiteY22" fmla="*/ 1047750 h 3298825"/>
                <a:gd name="connsiteX23" fmla="*/ 723900 w 2974975"/>
                <a:gd name="connsiteY23" fmla="*/ 1123950 h 3298825"/>
                <a:gd name="connsiteX24" fmla="*/ 796925 w 2974975"/>
                <a:gd name="connsiteY24" fmla="*/ 1130300 h 3298825"/>
                <a:gd name="connsiteX25" fmla="*/ 784225 w 2974975"/>
                <a:gd name="connsiteY25" fmla="*/ 1203325 h 3298825"/>
                <a:gd name="connsiteX26" fmla="*/ 860425 w 2974975"/>
                <a:gd name="connsiteY26" fmla="*/ 1203325 h 3298825"/>
                <a:gd name="connsiteX27" fmla="*/ 857250 w 2974975"/>
                <a:gd name="connsiteY27" fmla="*/ 1285875 h 3298825"/>
                <a:gd name="connsiteX28" fmla="*/ 933450 w 2974975"/>
                <a:gd name="connsiteY28" fmla="*/ 1289050 h 3298825"/>
                <a:gd name="connsiteX29" fmla="*/ 933450 w 2974975"/>
                <a:gd name="connsiteY29" fmla="*/ 1368425 h 3298825"/>
                <a:gd name="connsiteX30" fmla="*/ 974725 w 2974975"/>
                <a:gd name="connsiteY30" fmla="*/ 1374775 h 3298825"/>
                <a:gd name="connsiteX31" fmla="*/ 968375 w 2974975"/>
                <a:gd name="connsiteY31" fmla="*/ 1460500 h 3298825"/>
                <a:gd name="connsiteX32" fmla="*/ 1082675 w 2974975"/>
                <a:gd name="connsiteY32" fmla="*/ 1463675 h 3298825"/>
                <a:gd name="connsiteX33" fmla="*/ 1076325 w 2974975"/>
                <a:gd name="connsiteY33" fmla="*/ 1546225 h 3298825"/>
                <a:gd name="connsiteX34" fmla="*/ 1089025 w 2974975"/>
                <a:gd name="connsiteY34" fmla="*/ 1546225 h 3298825"/>
                <a:gd name="connsiteX35" fmla="*/ 1089025 w 2974975"/>
                <a:gd name="connsiteY35" fmla="*/ 1727200 h 3298825"/>
                <a:gd name="connsiteX36" fmla="*/ 1171575 w 2974975"/>
                <a:gd name="connsiteY36" fmla="*/ 1724025 h 3298825"/>
                <a:gd name="connsiteX37" fmla="*/ 1174750 w 2974975"/>
                <a:gd name="connsiteY37" fmla="*/ 1816100 h 3298825"/>
                <a:gd name="connsiteX38" fmla="*/ 1241425 w 2974975"/>
                <a:gd name="connsiteY38" fmla="*/ 1819275 h 3298825"/>
                <a:gd name="connsiteX39" fmla="*/ 1244600 w 2974975"/>
                <a:gd name="connsiteY39" fmla="*/ 1905000 h 3298825"/>
                <a:gd name="connsiteX40" fmla="*/ 1260475 w 2974975"/>
                <a:gd name="connsiteY40" fmla="*/ 1901825 h 3298825"/>
                <a:gd name="connsiteX41" fmla="*/ 1260475 w 2974975"/>
                <a:gd name="connsiteY41" fmla="*/ 1993900 h 3298825"/>
                <a:gd name="connsiteX42" fmla="*/ 1327150 w 2974975"/>
                <a:gd name="connsiteY42" fmla="*/ 2003425 h 3298825"/>
                <a:gd name="connsiteX43" fmla="*/ 1327150 w 2974975"/>
                <a:gd name="connsiteY43" fmla="*/ 2092325 h 3298825"/>
                <a:gd name="connsiteX44" fmla="*/ 1450975 w 2974975"/>
                <a:gd name="connsiteY44" fmla="*/ 2092325 h 3298825"/>
                <a:gd name="connsiteX45" fmla="*/ 1447800 w 2974975"/>
                <a:gd name="connsiteY45" fmla="*/ 2184400 h 3298825"/>
                <a:gd name="connsiteX46" fmla="*/ 1460500 w 2974975"/>
                <a:gd name="connsiteY46" fmla="*/ 2184400 h 3298825"/>
                <a:gd name="connsiteX47" fmla="*/ 1457325 w 2974975"/>
                <a:gd name="connsiteY47" fmla="*/ 2282825 h 3298825"/>
                <a:gd name="connsiteX48" fmla="*/ 1600200 w 2974975"/>
                <a:gd name="connsiteY48" fmla="*/ 2289175 h 3298825"/>
                <a:gd name="connsiteX49" fmla="*/ 1609725 w 2974975"/>
                <a:gd name="connsiteY49" fmla="*/ 2387600 h 3298825"/>
                <a:gd name="connsiteX50" fmla="*/ 1787525 w 2974975"/>
                <a:gd name="connsiteY50" fmla="*/ 2393950 h 3298825"/>
                <a:gd name="connsiteX51" fmla="*/ 1787525 w 2974975"/>
                <a:gd name="connsiteY51" fmla="*/ 2511425 h 3298825"/>
                <a:gd name="connsiteX52" fmla="*/ 2181225 w 2974975"/>
                <a:gd name="connsiteY52" fmla="*/ 2511425 h 3298825"/>
                <a:gd name="connsiteX53" fmla="*/ 2190750 w 2974975"/>
                <a:gd name="connsiteY53" fmla="*/ 2670175 h 3298825"/>
                <a:gd name="connsiteX54" fmla="*/ 2619375 w 2974975"/>
                <a:gd name="connsiteY54" fmla="*/ 2670175 h 3298825"/>
                <a:gd name="connsiteX55" fmla="*/ 2622550 w 2974975"/>
                <a:gd name="connsiteY55" fmla="*/ 3292475 h 3298825"/>
                <a:gd name="connsiteX56" fmla="*/ 2974975 w 2974975"/>
                <a:gd name="connsiteY56" fmla="*/ 3298825 h 3298825"/>
                <a:gd name="connsiteX0" fmla="*/ 425450 w 2974975"/>
                <a:gd name="connsiteY0" fmla="*/ 0 h 3298825"/>
                <a:gd name="connsiteX1" fmla="*/ 460375 w 2974975"/>
                <a:gd name="connsiteY1" fmla="*/ 0 h 3298825"/>
                <a:gd name="connsiteX2" fmla="*/ 463550 w 2974975"/>
                <a:gd name="connsiteY2" fmla="*/ 69850 h 3298825"/>
                <a:gd name="connsiteX3" fmla="*/ 463550 w 2974975"/>
                <a:gd name="connsiteY3" fmla="*/ 69850 h 3298825"/>
                <a:gd name="connsiteX4" fmla="*/ 0 w 2974975"/>
                <a:gd name="connsiteY4" fmla="*/ 161925 h 3298825"/>
                <a:gd name="connsiteX5" fmla="*/ 482600 w 2974975"/>
                <a:gd name="connsiteY5" fmla="*/ 66675 h 3298825"/>
                <a:gd name="connsiteX6" fmla="*/ 476250 w 2974975"/>
                <a:gd name="connsiteY6" fmla="*/ 161925 h 3298825"/>
                <a:gd name="connsiteX7" fmla="*/ 498475 w 2974975"/>
                <a:gd name="connsiteY7" fmla="*/ 161925 h 3298825"/>
                <a:gd name="connsiteX8" fmla="*/ 495300 w 2974975"/>
                <a:gd name="connsiteY8" fmla="*/ 273050 h 3298825"/>
                <a:gd name="connsiteX9" fmla="*/ 542925 w 2974975"/>
                <a:gd name="connsiteY9" fmla="*/ 285750 h 3298825"/>
                <a:gd name="connsiteX10" fmla="*/ 549275 w 2974975"/>
                <a:gd name="connsiteY10" fmla="*/ 412750 h 3298825"/>
                <a:gd name="connsiteX11" fmla="*/ 565150 w 2974975"/>
                <a:gd name="connsiteY11" fmla="*/ 412750 h 3298825"/>
                <a:gd name="connsiteX12" fmla="*/ 565150 w 2974975"/>
                <a:gd name="connsiteY12" fmla="*/ 482600 h 3298825"/>
                <a:gd name="connsiteX13" fmla="*/ 574675 w 2974975"/>
                <a:gd name="connsiteY13" fmla="*/ 482600 h 3298825"/>
                <a:gd name="connsiteX14" fmla="*/ 565150 w 2974975"/>
                <a:gd name="connsiteY14" fmla="*/ 539750 h 3298825"/>
                <a:gd name="connsiteX15" fmla="*/ 587375 w 2974975"/>
                <a:gd name="connsiteY15" fmla="*/ 536575 h 3298825"/>
                <a:gd name="connsiteX16" fmla="*/ 584200 w 2974975"/>
                <a:gd name="connsiteY16" fmla="*/ 606425 h 3298825"/>
                <a:gd name="connsiteX17" fmla="*/ 612775 w 2974975"/>
                <a:gd name="connsiteY17" fmla="*/ 609600 h 3298825"/>
                <a:gd name="connsiteX18" fmla="*/ 609600 w 2974975"/>
                <a:gd name="connsiteY18" fmla="*/ 822325 h 3298825"/>
                <a:gd name="connsiteX19" fmla="*/ 698500 w 2974975"/>
                <a:gd name="connsiteY19" fmla="*/ 828675 h 3298825"/>
                <a:gd name="connsiteX20" fmla="*/ 704850 w 2974975"/>
                <a:gd name="connsiteY20" fmla="*/ 1044575 h 3298825"/>
                <a:gd name="connsiteX21" fmla="*/ 723900 w 2974975"/>
                <a:gd name="connsiteY21" fmla="*/ 1047750 h 3298825"/>
                <a:gd name="connsiteX22" fmla="*/ 723900 w 2974975"/>
                <a:gd name="connsiteY22" fmla="*/ 1123950 h 3298825"/>
                <a:gd name="connsiteX23" fmla="*/ 796925 w 2974975"/>
                <a:gd name="connsiteY23" fmla="*/ 1130300 h 3298825"/>
                <a:gd name="connsiteX24" fmla="*/ 784225 w 2974975"/>
                <a:gd name="connsiteY24" fmla="*/ 1203325 h 3298825"/>
                <a:gd name="connsiteX25" fmla="*/ 860425 w 2974975"/>
                <a:gd name="connsiteY25" fmla="*/ 1203325 h 3298825"/>
                <a:gd name="connsiteX26" fmla="*/ 857250 w 2974975"/>
                <a:gd name="connsiteY26" fmla="*/ 1285875 h 3298825"/>
                <a:gd name="connsiteX27" fmla="*/ 933450 w 2974975"/>
                <a:gd name="connsiteY27" fmla="*/ 1289050 h 3298825"/>
                <a:gd name="connsiteX28" fmla="*/ 933450 w 2974975"/>
                <a:gd name="connsiteY28" fmla="*/ 1368425 h 3298825"/>
                <a:gd name="connsiteX29" fmla="*/ 974725 w 2974975"/>
                <a:gd name="connsiteY29" fmla="*/ 1374775 h 3298825"/>
                <a:gd name="connsiteX30" fmla="*/ 968375 w 2974975"/>
                <a:gd name="connsiteY30" fmla="*/ 1460500 h 3298825"/>
                <a:gd name="connsiteX31" fmla="*/ 1082675 w 2974975"/>
                <a:gd name="connsiteY31" fmla="*/ 1463675 h 3298825"/>
                <a:gd name="connsiteX32" fmla="*/ 1076325 w 2974975"/>
                <a:gd name="connsiteY32" fmla="*/ 1546225 h 3298825"/>
                <a:gd name="connsiteX33" fmla="*/ 1089025 w 2974975"/>
                <a:gd name="connsiteY33" fmla="*/ 1546225 h 3298825"/>
                <a:gd name="connsiteX34" fmla="*/ 1089025 w 2974975"/>
                <a:gd name="connsiteY34" fmla="*/ 1727200 h 3298825"/>
                <a:gd name="connsiteX35" fmla="*/ 1171575 w 2974975"/>
                <a:gd name="connsiteY35" fmla="*/ 1724025 h 3298825"/>
                <a:gd name="connsiteX36" fmla="*/ 1174750 w 2974975"/>
                <a:gd name="connsiteY36" fmla="*/ 1816100 h 3298825"/>
                <a:gd name="connsiteX37" fmla="*/ 1241425 w 2974975"/>
                <a:gd name="connsiteY37" fmla="*/ 1819275 h 3298825"/>
                <a:gd name="connsiteX38" fmla="*/ 1244600 w 2974975"/>
                <a:gd name="connsiteY38" fmla="*/ 1905000 h 3298825"/>
                <a:gd name="connsiteX39" fmla="*/ 1260475 w 2974975"/>
                <a:gd name="connsiteY39" fmla="*/ 1901825 h 3298825"/>
                <a:gd name="connsiteX40" fmla="*/ 1260475 w 2974975"/>
                <a:gd name="connsiteY40" fmla="*/ 1993900 h 3298825"/>
                <a:gd name="connsiteX41" fmla="*/ 1327150 w 2974975"/>
                <a:gd name="connsiteY41" fmla="*/ 2003425 h 3298825"/>
                <a:gd name="connsiteX42" fmla="*/ 1327150 w 2974975"/>
                <a:gd name="connsiteY42" fmla="*/ 2092325 h 3298825"/>
                <a:gd name="connsiteX43" fmla="*/ 1450975 w 2974975"/>
                <a:gd name="connsiteY43" fmla="*/ 2092325 h 3298825"/>
                <a:gd name="connsiteX44" fmla="*/ 1447800 w 2974975"/>
                <a:gd name="connsiteY44" fmla="*/ 2184400 h 3298825"/>
                <a:gd name="connsiteX45" fmla="*/ 1460500 w 2974975"/>
                <a:gd name="connsiteY45" fmla="*/ 2184400 h 3298825"/>
                <a:gd name="connsiteX46" fmla="*/ 1457325 w 2974975"/>
                <a:gd name="connsiteY46" fmla="*/ 2282825 h 3298825"/>
                <a:gd name="connsiteX47" fmla="*/ 1600200 w 2974975"/>
                <a:gd name="connsiteY47" fmla="*/ 2289175 h 3298825"/>
                <a:gd name="connsiteX48" fmla="*/ 1609725 w 2974975"/>
                <a:gd name="connsiteY48" fmla="*/ 2387600 h 3298825"/>
                <a:gd name="connsiteX49" fmla="*/ 1787525 w 2974975"/>
                <a:gd name="connsiteY49" fmla="*/ 2393950 h 3298825"/>
                <a:gd name="connsiteX50" fmla="*/ 1787525 w 2974975"/>
                <a:gd name="connsiteY50" fmla="*/ 2511425 h 3298825"/>
                <a:gd name="connsiteX51" fmla="*/ 2181225 w 2974975"/>
                <a:gd name="connsiteY51" fmla="*/ 2511425 h 3298825"/>
                <a:gd name="connsiteX52" fmla="*/ 2190750 w 2974975"/>
                <a:gd name="connsiteY52" fmla="*/ 2670175 h 3298825"/>
                <a:gd name="connsiteX53" fmla="*/ 2619375 w 2974975"/>
                <a:gd name="connsiteY53" fmla="*/ 2670175 h 3298825"/>
                <a:gd name="connsiteX54" fmla="*/ 2622550 w 2974975"/>
                <a:gd name="connsiteY54" fmla="*/ 3292475 h 3298825"/>
                <a:gd name="connsiteX55" fmla="*/ 2974975 w 2974975"/>
                <a:gd name="connsiteY55" fmla="*/ 3298825 h 3298825"/>
                <a:gd name="connsiteX0" fmla="*/ 0 w 2549525"/>
                <a:gd name="connsiteY0" fmla="*/ 0 h 3298825"/>
                <a:gd name="connsiteX1" fmla="*/ 34925 w 2549525"/>
                <a:gd name="connsiteY1" fmla="*/ 0 h 3298825"/>
                <a:gd name="connsiteX2" fmla="*/ 38100 w 2549525"/>
                <a:gd name="connsiteY2" fmla="*/ 69850 h 3298825"/>
                <a:gd name="connsiteX3" fmla="*/ 38100 w 2549525"/>
                <a:gd name="connsiteY3" fmla="*/ 69850 h 3298825"/>
                <a:gd name="connsiteX4" fmla="*/ 57150 w 2549525"/>
                <a:gd name="connsiteY4" fmla="*/ 66675 h 3298825"/>
                <a:gd name="connsiteX5" fmla="*/ 50800 w 2549525"/>
                <a:gd name="connsiteY5" fmla="*/ 161925 h 3298825"/>
                <a:gd name="connsiteX6" fmla="*/ 73025 w 2549525"/>
                <a:gd name="connsiteY6" fmla="*/ 161925 h 3298825"/>
                <a:gd name="connsiteX7" fmla="*/ 69850 w 2549525"/>
                <a:gd name="connsiteY7" fmla="*/ 273050 h 3298825"/>
                <a:gd name="connsiteX8" fmla="*/ 117475 w 2549525"/>
                <a:gd name="connsiteY8" fmla="*/ 285750 h 3298825"/>
                <a:gd name="connsiteX9" fmla="*/ 123825 w 2549525"/>
                <a:gd name="connsiteY9" fmla="*/ 412750 h 3298825"/>
                <a:gd name="connsiteX10" fmla="*/ 139700 w 2549525"/>
                <a:gd name="connsiteY10" fmla="*/ 412750 h 3298825"/>
                <a:gd name="connsiteX11" fmla="*/ 139700 w 2549525"/>
                <a:gd name="connsiteY11" fmla="*/ 482600 h 3298825"/>
                <a:gd name="connsiteX12" fmla="*/ 149225 w 2549525"/>
                <a:gd name="connsiteY12" fmla="*/ 482600 h 3298825"/>
                <a:gd name="connsiteX13" fmla="*/ 139700 w 2549525"/>
                <a:gd name="connsiteY13" fmla="*/ 539750 h 3298825"/>
                <a:gd name="connsiteX14" fmla="*/ 161925 w 2549525"/>
                <a:gd name="connsiteY14" fmla="*/ 536575 h 3298825"/>
                <a:gd name="connsiteX15" fmla="*/ 158750 w 2549525"/>
                <a:gd name="connsiteY15" fmla="*/ 606425 h 3298825"/>
                <a:gd name="connsiteX16" fmla="*/ 187325 w 2549525"/>
                <a:gd name="connsiteY16" fmla="*/ 609600 h 3298825"/>
                <a:gd name="connsiteX17" fmla="*/ 184150 w 2549525"/>
                <a:gd name="connsiteY17" fmla="*/ 822325 h 3298825"/>
                <a:gd name="connsiteX18" fmla="*/ 273050 w 2549525"/>
                <a:gd name="connsiteY18" fmla="*/ 828675 h 3298825"/>
                <a:gd name="connsiteX19" fmla="*/ 279400 w 2549525"/>
                <a:gd name="connsiteY19" fmla="*/ 1044575 h 3298825"/>
                <a:gd name="connsiteX20" fmla="*/ 298450 w 2549525"/>
                <a:gd name="connsiteY20" fmla="*/ 1047750 h 3298825"/>
                <a:gd name="connsiteX21" fmla="*/ 298450 w 2549525"/>
                <a:gd name="connsiteY21" fmla="*/ 1123950 h 3298825"/>
                <a:gd name="connsiteX22" fmla="*/ 371475 w 2549525"/>
                <a:gd name="connsiteY22" fmla="*/ 1130300 h 3298825"/>
                <a:gd name="connsiteX23" fmla="*/ 358775 w 2549525"/>
                <a:gd name="connsiteY23" fmla="*/ 1203325 h 3298825"/>
                <a:gd name="connsiteX24" fmla="*/ 434975 w 2549525"/>
                <a:gd name="connsiteY24" fmla="*/ 1203325 h 3298825"/>
                <a:gd name="connsiteX25" fmla="*/ 431800 w 2549525"/>
                <a:gd name="connsiteY25" fmla="*/ 1285875 h 3298825"/>
                <a:gd name="connsiteX26" fmla="*/ 508000 w 2549525"/>
                <a:gd name="connsiteY26" fmla="*/ 1289050 h 3298825"/>
                <a:gd name="connsiteX27" fmla="*/ 508000 w 2549525"/>
                <a:gd name="connsiteY27" fmla="*/ 1368425 h 3298825"/>
                <a:gd name="connsiteX28" fmla="*/ 549275 w 2549525"/>
                <a:gd name="connsiteY28" fmla="*/ 1374775 h 3298825"/>
                <a:gd name="connsiteX29" fmla="*/ 542925 w 2549525"/>
                <a:gd name="connsiteY29" fmla="*/ 1460500 h 3298825"/>
                <a:gd name="connsiteX30" fmla="*/ 657225 w 2549525"/>
                <a:gd name="connsiteY30" fmla="*/ 1463675 h 3298825"/>
                <a:gd name="connsiteX31" fmla="*/ 650875 w 2549525"/>
                <a:gd name="connsiteY31" fmla="*/ 1546225 h 3298825"/>
                <a:gd name="connsiteX32" fmla="*/ 663575 w 2549525"/>
                <a:gd name="connsiteY32" fmla="*/ 1546225 h 3298825"/>
                <a:gd name="connsiteX33" fmla="*/ 663575 w 2549525"/>
                <a:gd name="connsiteY33" fmla="*/ 1727200 h 3298825"/>
                <a:gd name="connsiteX34" fmla="*/ 746125 w 2549525"/>
                <a:gd name="connsiteY34" fmla="*/ 1724025 h 3298825"/>
                <a:gd name="connsiteX35" fmla="*/ 749300 w 2549525"/>
                <a:gd name="connsiteY35" fmla="*/ 1816100 h 3298825"/>
                <a:gd name="connsiteX36" fmla="*/ 815975 w 2549525"/>
                <a:gd name="connsiteY36" fmla="*/ 1819275 h 3298825"/>
                <a:gd name="connsiteX37" fmla="*/ 819150 w 2549525"/>
                <a:gd name="connsiteY37" fmla="*/ 1905000 h 3298825"/>
                <a:gd name="connsiteX38" fmla="*/ 835025 w 2549525"/>
                <a:gd name="connsiteY38" fmla="*/ 1901825 h 3298825"/>
                <a:gd name="connsiteX39" fmla="*/ 835025 w 2549525"/>
                <a:gd name="connsiteY39" fmla="*/ 1993900 h 3298825"/>
                <a:gd name="connsiteX40" fmla="*/ 901700 w 2549525"/>
                <a:gd name="connsiteY40" fmla="*/ 2003425 h 3298825"/>
                <a:gd name="connsiteX41" fmla="*/ 901700 w 2549525"/>
                <a:gd name="connsiteY41" fmla="*/ 2092325 h 3298825"/>
                <a:gd name="connsiteX42" fmla="*/ 1025525 w 2549525"/>
                <a:gd name="connsiteY42" fmla="*/ 2092325 h 3298825"/>
                <a:gd name="connsiteX43" fmla="*/ 1022350 w 2549525"/>
                <a:gd name="connsiteY43" fmla="*/ 2184400 h 3298825"/>
                <a:gd name="connsiteX44" fmla="*/ 1035050 w 2549525"/>
                <a:gd name="connsiteY44" fmla="*/ 2184400 h 3298825"/>
                <a:gd name="connsiteX45" fmla="*/ 1031875 w 2549525"/>
                <a:gd name="connsiteY45" fmla="*/ 2282825 h 3298825"/>
                <a:gd name="connsiteX46" fmla="*/ 1174750 w 2549525"/>
                <a:gd name="connsiteY46" fmla="*/ 2289175 h 3298825"/>
                <a:gd name="connsiteX47" fmla="*/ 1184275 w 2549525"/>
                <a:gd name="connsiteY47" fmla="*/ 2387600 h 3298825"/>
                <a:gd name="connsiteX48" fmla="*/ 1362075 w 2549525"/>
                <a:gd name="connsiteY48" fmla="*/ 2393950 h 3298825"/>
                <a:gd name="connsiteX49" fmla="*/ 1362075 w 2549525"/>
                <a:gd name="connsiteY49" fmla="*/ 2511425 h 3298825"/>
                <a:gd name="connsiteX50" fmla="*/ 1755775 w 2549525"/>
                <a:gd name="connsiteY50" fmla="*/ 2511425 h 3298825"/>
                <a:gd name="connsiteX51" fmla="*/ 1765300 w 2549525"/>
                <a:gd name="connsiteY51" fmla="*/ 2670175 h 3298825"/>
                <a:gd name="connsiteX52" fmla="*/ 2193925 w 2549525"/>
                <a:gd name="connsiteY52" fmla="*/ 2670175 h 3298825"/>
                <a:gd name="connsiteX53" fmla="*/ 2197100 w 2549525"/>
                <a:gd name="connsiteY53" fmla="*/ 3292475 h 3298825"/>
                <a:gd name="connsiteX54" fmla="*/ 2549525 w 2549525"/>
                <a:gd name="connsiteY54" fmla="*/ 3298825 h 3298825"/>
                <a:gd name="connsiteX0" fmla="*/ 0 w 2549525"/>
                <a:gd name="connsiteY0" fmla="*/ 0 h 3298825"/>
                <a:gd name="connsiteX1" fmla="*/ 34925 w 2549525"/>
                <a:gd name="connsiteY1" fmla="*/ 0 h 3298825"/>
                <a:gd name="connsiteX2" fmla="*/ 38100 w 2549525"/>
                <a:gd name="connsiteY2" fmla="*/ 69850 h 3298825"/>
                <a:gd name="connsiteX3" fmla="*/ 38100 w 2549525"/>
                <a:gd name="connsiteY3" fmla="*/ 69850 h 3298825"/>
                <a:gd name="connsiteX4" fmla="*/ 57150 w 2549525"/>
                <a:gd name="connsiteY4" fmla="*/ 66675 h 3298825"/>
                <a:gd name="connsiteX5" fmla="*/ 50800 w 2549525"/>
                <a:gd name="connsiteY5" fmla="*/ 161925 h 3298825"/>
                <a:gd name="connsiteX6" fmla="*/ 73025 w 2549525"/>
                <a:gd name="connsiteY6" fmla="*/ 161925 h 3298825"/>
                <a:gd name="connsiteX7" fmla="*/ 69850 w 2549525"/>
                <a:gd name="connsiteY7" fmla="*/ 273050 h 3298825"/>
                <a:gd name="connsiteX8" fmla="*/ 120650 w 2549525"/>
                <a:gd name="connsiteY8" fmla="*/ 279400 h 3298825"/>
                <a:gd name="connsiteX9" fmla="*/ 123825 w 2549525"/>
                <a:gd name="connsiteY9" fmla="*/ 412750 h 3298825"/>
                <a:gd name="connsiteX10" fmla="*/ 139700 w 2549525"/>
                <a:gd name="connsiteY10" fmla="*/ 412750 h 3298825"/>
                <a:gd name="connsiteX11" fmla="*/ 139700 w 2549525"/>
                <a:gd name="connsiteY11" fmla="*/ 482600 h 3298825"/>
                <a:gd name="connsiteX12" fmla="*/ 149225 w 2549525"/>
                <a:gd name="connsiteY12" fmla="*/ 482600 h 3298825"/>
                <a:gd name="connsiteX13" fmla="*/ 139700 w 2549525"/>
                <a:gd name="connsiteY13" fmla="*/ 539750 h 3298825"/>
                <a:gd name="connsiteX14" fmla="*/ 161925 w 2549525"/>
                <a:gd name="connsiteY14" fmla="*/ 536575 h 3298825"/>
                <a:gd name="connsiteX15" fmla="*/ 158750 w 2549525"/>
                <a:gd name="connsiteY15" fmla="*/ 606425 h 3298825"/>
                <a:gd name="connsiteX16" fmla="*/ 187325 w 2549525"/>
                <a:gd name="connsiteY16" fmla="*/ 609600 h 3298825"/>
                <a:gd name="connsiteX17" fmla="*/ 184150 w 2549525"/>
                <a:gd name="connsiteY17" fmla="*/ 822325 h 3298825"/>
                <a:gd name="connsiteX18" fmla="*/ 273050 w 2549525"/>
                <a:gd name="connsiteY18" fmla="*/ 828675 h 3298825"/>
                <a:gd name="connsiteX19" fmla="*/ 279400 w 2549525"/>
                <a:gd name="connsiteY19" fmla="*/ 1044575 h 3298825"/>
                <a:gd name="connsiteX20" fmla="*/ 298450 w 2549525"/>
                <a:gd name="connsiteY20" fmla="*/ 1047750 h 3298825"/>
                <a:gd name="connsiteX21" fmla="*/ 298450 w 2549525"/>
                <a:gd name="connsiteY21" fmla="*/ 1123950 h 3298825"/>
                <a:gd name="connsiteX22" fmla="*/ 371475 w 2549525"/>
                <a:gd name="connsiteY22" fmla="*/ 1130300 h 3298825"/>
                <a:gd name="connsiteX23" fmla="*/ 358775 w 2549525"/>
                <a:gd name="connsiteY23" fmla="*/ 1203325 h 3298825"/>
                <a:gd name="connsiteX24" fmla="*/ 434975 w 2549525"/>
                <a:gd name="connsiteY24" fmla="*/ 1203325 h 3298825"/>
                <a:gd name="connsiteX25" fmla="*/ 431800 w 2549525"/>
                <a:gd name="connsiteY25" fmla="*/ 1285875 h 3298825"/>
                <a:gd name="connsiteX26" fmla="*/ 508000 w 2549525"/>
                <a:gd name="connsiteY26" fmla="*/ 1289050 h 3298825"/>
                <a:gd name="connsiteX27" fmla="*/ 508000 w 2549525"/>
                <a:gd name="connsiteY27" fmla="*/ 1368425 h 3298825"/>
                <a:gd name="connsiteX28" fmla="*/ 549275 w 2549525"/>
                <a:gd name="connsiteY28" fmla="*/ 1374775 h 3298825"/>
                <a:gd name="connsiteX29" fmla="*/ 542925 w 2549525"/>
                <a:gd name="connsiteY29" fmla="*/ 1460500 h 3298825"/>
                <a:gd name="connsiteX30" fmla="*/ 657225 w 2549525"/>
                <a:gd name="connsiteY30" fmla="*/ 1463675 h 3298825"/>
                <a:gd name="connsiteX31" fmla="*/ 650875 w 2549525"/>
                <a:gd name="connsiteY31" fmla="*/ 1546225 h 3298825"/>
                <a:gd name="connsiteX32" fmla="*/ 663575 w 2549525"/>
                <a:gd name="connsiteY32" fmla="*/ 1546225 h 3298825"/>
                <a:gd name="connsiteX33" fmla="*/ 663575 w 2549525"/>
                <a:gd name="connsiteY33" fmla="*/ 1727200 h 3298825"/>
                <a:gd name="connsiteX34" fmla="*/ 746125 w 2549525"/>
                <a:gd name="connsiteY34" fmla="*/ 1724025 h 3298825"/>
                <a:gd name="connsiteX35" fmla="*/ 749300 w 2549525"/>
                <a:gd name="connsiteY35" fmla="*/ 1816100 h 3298825"/>
                <a:gd name="connsiteX36" fmla="*/ 815975 w 2549525"/>
                <a:gd name="connsiteY36" fmla="*/ 1819275 h 3298825"/>
                <a:gd name="connsiteX37" fmla="*/ 819150 w 2549525"/>
                <a:gd name="connsiteY37" fmla="*/ 1905000 h 3298825"/>
                <a:gd name="connsiteX38" fmla="*/ 835025 w 2549525"/>
                <a:gd name="connsiteY38" fmla="*/ 1901825 h 3298825"/>
                <a:gd name="connsiteX39" fmla="*/ 835025 w 2549525"/>
                <a:gd name="connsiteY39" fmla="*/ 1993900 h 3298825"/>
                <a:gd name="connsiteX40" fmla="*/ 901700 w 2549525"/>
                <a:gd name="connsiteY40" fmla="*/ 2003425 h 3298825"/>
                <a:gd name="connsiteX41" fmla="*/ 901700 w 2549525"/>
                <a:gd name="connsiteY41" fmla="*/ 2092325 h 3298825"/>
                <a:gd name="connsiteX42" fmla="*/ 1025525 w 2549525"/>
                <a:gd name="connsiteY42" fmla="*/ 2092325 h 3298825"/>
                <a:gd name="connsiteX43" fmla="*/ 1022350 w 2549525"/>
                <a:gd name="connsiteY43" fmla="*/ 2184400 h 3298825"/>
                <a:gd name="connsiteX44" fmla="*/ 1035050 w 2549525"/>
                <a:gd name="connsiteY44" fmla="*/ 2184400 h 3298825"/>
                <a:gd name="connsiteX45" fmla="*/ 1031875 w 2549525"/>
                <a:gd name="connsiteY45" fmla="*/ 2282825 h 3298825"/>
                <a:gd name="connsiteX46" fmla="*/ 1174750 w 2549525"/>
                <a:gd name="connsiteY46" fmla="*/ 2289175 h 3298825"/>
                <a:gd name="connsiteX47" fmla="*/ 1184275 w 2549525"/>
                <a:gd name="connsiteY47" fmla="*/ 2387600 h 3298825"/>
                <a:gd name="connsiteX48" fmla="*/ 1362075 w 2549525"/>
                <a:gd name="connsiteY48" fmla="*/ 2393950 h 3298825"/>
                <a:gd name="connsiteX49" fmla="*/ 1362075 w 2549525"/>
                <a:gd name="connsiteY49" fmla="*/ 2511425 h 3298825"/>
                <a:gd name="connsiteX50" fmla="*/ 1755775 w 2549525"/>
                <a:gd name="connsiteY50" fmla="*/ 2511425 h 3298825"/>
                <a:gd name="connsiteX51" fmla="*/ 1765300 w 2549525"/>
                <a:gd name="connsiteY51" fmla="*/ 2670175 h 3298825"/>
                <a:gd name="connsiteX52" fmla="*/ 2193925 w 2549525"/>
                <a:gd name="connsiteY52" fmla="*/ 2670175 h 3298825"/>
                <a:gd name="connsiteX53" fmla="*/ 2197100 w 2549525"/>
                <a:gd name="connsiteY53" fmla="*/ 3292475 h 3298825"/>
                <a:gd name="connsiteX54" fmla="*/ 2549525 w 2549525"/>
                <a:gd name="connsiteY54" fmla="*/ 3298825 h 3298825"/>
                <a:gd name="connsiteX0" fmla="*/ 0 w 2549525"/>
                <a:gd name="connsiteY0" fmla="*/ 0 h 3298825"/>
                <a:gd name="connsiteX1" fmla="*/ 34925 w 2549525"/>
                <a:gd name="connsiteY1" fmla="*/ 0 h 3298825"/>
                <a:gd name="connsiteX2" fmla="*/ 38100 w 2549525"/>
                <a:gd name="connsiteY2" fmla="*/ 69850 h 3298825"/>
                <a:gd name="connsiteX3" fmla="*/ 38100 w 2549525"/>
                <a:gd name="connsiteY3" fmla="*/ 69850 h 3298825"/>
                <a:gd name="connsiteX4" fmla="*/ 57150 w 2549525"/>
                <a:gd name="connsiteY4" fmla="*/ 66675 h 3298825"/>
                <a:gd name="connsiteX5" fmla="*/ 50800 w 2549525"/>
                <a:gd name="connsiteY5" fmla="*/ 161925 h 3298825"/>
                <a:gd name="connsiteX6" fmla="*/ 73025 w 2549525"/>
                <a:gd name="connsiteY6" fmla="*/ 161925 h 3298825"/>
                <a:gd name="connsiteX7" fmla="*/ 69850 w 2549525"/>
                <a:gd name="connsiteY7" fmla="*/ 273050 h 3298825"/>
                <a:gd name="connsiteX8" fmla="*/ 120650 w 2549525"/>
                <a:gd name="connsiteY8" fmla="*/ 269875 h 3298825"/>
                <a:gd name="connsiteX9" fmla="*/ 123825 w 2549525"/>
                <a:gd name="connsiteY9" fmla="*/ 412750 h 3298825"/>
                <a:gd name="connsiteX10" fmla="*/ 139700 w 2549525"/>
                <a:gd name="connsiteY10" fmla="*/ 412750 h 3298825"/>
                <a:gd name="connsiteX11" fmla="*/ 139700 w 2549525"/>
                <a:gd name="connsiteY11" fmla="*/ 482600 h 3298825"/>
                <a:gd name="connsiteX12" fmla="*/ 149225 w 2549525"/>
                <a:gd name="connsiteY12" fmla="*/ 482600 h 3298825"/>
                <a:gd name="connsiteX13" fmla="*/ 139700 w 2549525"/>
                <a:gd name="connsiteY13" fmla="*/ 539750 h 3298825"/>
                <a:gd name="connsiteX14" fmla="*/ 161925 w 2549525"/>
                <a:gd name="connsiteY14" fmla="*/ 536575 h 3298825"/>
                <a:gd name="connsiteX15" fmla="*/ 158750 w 2549525"/>
                <a:gd name="connsiteY15" fmla="*/ 606425 h 3298825"/>
                <a:gd name="connsiteX16" fmla="*/ 187325 w 2549525"/>
                <a:gd name="connsiteY16" fmla="*/ 609600 h 3298825"/>
                <a:gd name="connsiteX17" fmla="*/ 184150 w 2549525"/>
                <a:gd name="connsiteY17" fmla="*/ 822325 h 3298825"/>
                <a:gd name="connsiteX18" fmla="*/ 273050 w 2549525"/>
                <a:gd name="connsiteY18" fmla="*/ 828675 h 3298825"/>
                <a:gd name="connsiteX19" fmla="*/ 279400 w 2549525"/>
                <a:gd name="connsiteY19" fmla="*/ 1044575 h 3298825"/>
                <a:gd name="connsiteX20" fmla="*/ 298450 w 2549525"/>
                <a:gd name="connsiteY20" fmla="*/ 1047750 h 3298825"/>
                <a:gd name="connsiteX21" fmla="*/ 298450 w 2549525"/>
                <a:gd name="connsiteY21" fmla="*/ 1123950 h 3298825"/>
                <a:gd name="connsiteX22" fmla="*/ 371475 w 2549525"/>
                <a:gd name="connsiteY22" fmla="*/ 1130300 h 3298825"/>
                <a:gd name="connsiteX23" fmla="*/ 358775 w 2549525"/>
                <a:gd name="connsiteY23" fmla="*/ 1203325 h 3298825"/>
                <a:gd name="connsiteX24" fmla="*/ 434975 w 2549525"/>
                <a:gd name="connsiteY24" fmla="*/ 1203325 h 3298825"/>
                <a:gd name="connsiteX25" fmla="*/ 431800 w 2549525"/>
                <a:gd name="connsiteY25" fmla="*/ 1285875 h 3298825"/>
                <a:gd name="connsiteX26" fmla="*/ 508000 w 2549525"/>
                <a:gd name="connsiteY26" fmla="*/ 1289050 h 3298825"/>
                <a:gd name="connsiteX27" fmla="*/ 508000 w 2549525"/>
                <a:gd name="connsiteY27" fmla="*/ 1368425 h 3298825"/>
                <a:gd name="connsiteX28" fmla="*/ 549275 w 2549525"/>
                <a:gd name="connsiteY28" fmla="*/ 1374775 h 3298825"/>
                <a:gd name="connsiteX29" fmla="*/ 542925 w 2549525"/>
                <a:gd name="connsiteY29" fmla="*/ 1460500 h 3298825"/>
                <a:gd name="connsiteX30" fmla="*/ 657225 w 2549525"/>
                <a:gd name="connsiteY30" fmla="*/ 1463675 h 3298825"/>
                <a:gd name="connsiteX31" fmla="*/ 650875 w 2549525"/>
                <a:gd name="connsiteY31" fmla="*/ 1546225 h 3298825"/>
                <a:gd name="connsiteX32" fmla="*/ 663575 w 2549525"/>
                <a:gd name="connsiteY32" fmla="*/ 1546225 h 3298825"/>
                <a:gd name="connsiteX33" fmla="*/ 663575 w 2549525"/>
                <a:gd name="connsiteY33" fmla="*/ 1727200 h 3298825"/>
                <a:gd name="connsiteX34" fmla="*/ 746125 w 2549525"/>
                <a:gd name="connsiteY34" fmla="*/ 1724025 h 3298825"/>
                <a:gd name="connsiteX35" fmla="*/ 749300 w 2549525"/>
                <a:gd name="connsiteY35" fmla="*/ 1816100 h 3298825"/>
                <a:gd name="connsiteX36" fmla="*/ 815975 w 2549525"/>
                <a:gd name="connsiteY36" fmla="*/ 1819275 h 3298825"/>
                <a:gd name="connsiteX37" fmla="*/ 819150 w 2549525"/>
                <a:gd name="connsiteY37" fmla="*/ 1905000 h 3298825"/>
                <a:gd name="connsiteX38" fmla="*/ 835025 w 2549525"/>
                <a:gd name="connsiteY38" fmla="*/ 1901825 h 3298825"/>
                <a:gd name="connsiteX39" fmla="*/ 835025 w 2549525"/>
                <a:gd name="connsiteY39" fmla="*/ 1993900 h 3298825"/>
                <a:gd name="connsiteX40" fmla="*/ 901700 w 2549525"/>
                <a:gd name="connsiteY40" fmla="*/ 2003425 h 3298825"/>
                <a:gd name="connsiteX41" fmla="*/ 901700 w 2549525"/>
                <a:gd name="connsiteY41" fmla="*/ 2092325 h 3298825"/>
                <a:gd name="connsiteX42" fmla="*/ 1025525 w 2549525"/>
                <a:gd name="connsiteY42" fmla="*/ 2092325 h 3298825"/>
                <a:gd name="connsiteX43" fmla="*/ 1022350 w 2549525"/>
                <a:gd name="connsiteY43" fmla="*/ 2184400 h 3298825"/>
                <a:gd name="connsiteX44" fmla="*/ 1035050 w 2549525"/>
                <a:gd name="connsiteY44" fmla="*/ 2184400 h 3298825"/>
                <a:gd name="connsiteX45" fmla="*/ 1031875 w 2549525"/>
                <a:gd name="connsiteY45" fmla="*/ 2282825 h 3298825"/>
                <a:gd name="connsiteX46" fmla="*/ 1174750 w 2549525"/>
                <a:gd name="connsiteY46" fmla="*/ 2289175 h 3298825"/>
                <a:gd name="connsiteX47" fmla="*/ 1184275 w 2549525"/>
                <a:gd name="connsiteY47" fmla="*/ 2387600 h 3298825"/>
                <a:gd name="connsiteX48" fmla="*/ 1362075 w 2549525"/>
                <a:gd name="connsiteY48" fmla="*/ 2393950 h 3298825"/>
                <a:gd name="connsiteX49" fmla="*/ 1362075 w 2549525"/>
                <a:gd name="connsiteY49" fmla="*/ 2511425 h 3298825"/>
                <a:gd name="connsiteX50" fmla="*/ 1755775 w 2549525"/>
                <a:gd name="connsiteY50" fmla="*/ 2511425 h 3298825"/>
                <a:gd name="connsiteX51" fmla="*/ 1765300 w 2549525"/>
                <a:gd name="connsiteY51" fmla="*/ 2670175 h 3298825"/>
                <a:gd name="connsiteX52" fmla="*/ 2193925 w 2549525"/>
                <a:gd name="connsiteY52" fmla="*/ 2670175 h 3298825"/>
                <a:gd name="connsiteX53" fmla="*/ 2197100 w 2549525"/>
                <a:gd name="connsiteY53" fmla="*/ 3292475 h 3298825"/>
                <a:gd name="connsiteX54" fmla="*/ 2549525 w 2549525"/>
                <a:gd name="connsiteY54" fmla="*/ 3298825 h 3298825"/>
                <a:gd name="connsiteX0" fmla="*/ 0 w 2549525"/>
                <a:gd name="connsiteY0" fmla="*/ 0 h 3298825"/>
                <a:gd name="connsiteX1" fmla="*/ 34925 w 2549525"/>
                <a:gd name="connsiteY1" fmla="*/ 0 h 3298825"/>
                <a:gd name="connsiteX2" fmla="*/ 38100 w 2549525"/>
                <a:gd name="connsiteY2" fmla="*/ 69850 h 3298825"/>
                <a:gd name="connsiteX3" fmla="*/ 38100 w 2549525"/>
                <a:gd name="connsiteY3" fmla="*/ 69850 h 3298825"/>
                <a:gd name="connsiteX4" fmla="*/ 57150 w 2549525"/>
                <a:gd name="connsiteY4" fmla="*/ 66675 h 3298825"/>
                <a:gd name="connsiteX5" fmla="*/ 50800 w 2549525"/>
                <a:gd name="connsiteY5" fmla="*/ 161925 h 3298825"/>
                <a:gd name="connsiteX6" fmla="*/ 73025 w 2549525"/>
                <a:gd name="connsiteY6" fmla="*/ 161925 h 3298825"/>
                <a:gd name="connsiteX7" fmla="*/ 69850 w 2549525"/>
                <a:gd name="connsiteY7" fmla="*/ 273050 h 3298825"/>
                <a:gd name="connsiteX8" fmla="*/ 123825 w 2549525"/>
                <a:gd name="connsiteY8" fmla="*/ 276225 h 3298825"/>
                <a:gd name="connsiteX9" fmla="*/ 123825 w 2549525"/>
                <a:gd name="connsiteY9" fmla="*/ 412750 h 3298825"/>
                <a:gd name="connsiteX10" fmla="*/ 139700 w 2549525"/>
                <a:gd name="connsiteY10" fmla="*/ 412750 h 3298825"/>
                <a:gd name="connsiteX11" fmla="*/ 139700 w 2549525"/>
                <a:gd name="connsiteY11" fmla="*/ 482600 h 3298825"/>
                <a:gd name="connsiteX12" fmla="*/ 149225 w 2549525"/>
                <a:gd name="connsiteY12" fmla="*/ 482600 h 3298825"/>
                <a:gd name="connsiteX13" fmla="*/ 139700 w 2549525"/>
                <a:gd name="connsiteY13" fmla="*/ 539750 h 3298825"/>
                <a:gd name="connsiteX14" fmla="*/ 161925 w 2549525"/>
                <a:gd name="connsiteY14" fmla="*/ 536575 h 3298825"/>
                <a:gd name="connsiteX15" fmla="*/ 158750 w 2549525"/>
                <a:gd name="connsiteY15" fmla="*/ 606425 h 3298825"/>
                <a:gd name="connsiteX16" fmla="*/ 187325 w 2549525"/>
                <a:gd name="connsiteY16" fmla="*/ 609600 h 3298825"/>
                <a:gd name="connsiteX17" fmla="*/ 184150 w 2549525"/>
                <a:gd name="connsiteY17" fmla="*/ 822325 h 3298825"/>
                <a:gd name="connsiteX18" fmla="*/ 273050 w 2549525"/>
                <a:gd name="connsiteY18" fmla="*/ 828675 h 3298825"/>
                <a:gd name="connsiteX19" fmla="*/ 279400 w 2549525"/>
                <a:gd name="connsiteY19" fmla="*/ 1044575 h 3298825"/>
                <a:gd name="connsiteX20" fmla="*/ 298450 w 2549525"/>
                <a:gd name="connsiteY20" fmla="*/ 1047750 h 3298825"/>
                <a:gd name="connsiteX21" fmla="*/ 298450 w 2549525"/>
                <a:gd name="connsiteY21" fmla="*/ 1123950 h 3298825"/>
                <a:gd name="connsiteX22" fmla="*/ 371475 w 2549525"/>
                <a:gd name="connsiteY22" fmla="*/ 1130300 h 3298825"/>
                <a:gd name="connsiteX23" fmla="*/ 358775 w 2549525"/>
                <a:gd name="connsiteY23" fmla="*/ 1203325 h 3298825"/>
                <a:gd name="connsiteX24" fmla="*/ 434975 w 2549525"/>
                <a:gd name="connsiteY24" fmla="*/ 1203325 h 3298825"/>
                <a:gd name="connsiteX25" fmla="*/ 431800 w 2549525"/>
                <a:gd name="connsiteY25" fmla="*/ 1285875 h 3298825"/>
                <a:gd name="connsiteX26" fmla="*/ 508000 w 2549525"/>
                <a:gd name="connsiteY26" fmla="*/ 1289050 h 3298825"/>
                <a:gd name="connsiteX27" fmla="*/ 508000 w 2549525"/>
                <a:gd name="connsiteY27" fmla="*/ 1368425 h 3298825"/>
                <a:gd name="connsiteX28" fmla="*/ 549275 w 2549525"/>
                <a:gd name="connsiteY28" fmla="*/ 1374775 h 3298825"/>
                <a:gd name="connsiteX29" fmla="*/ 542925 w 2549525"/>
                <a:gd name="connsiteY29" fmla="*/ 1460500 h 3298825"/>
                <a:gd name="connsiteX30" fmla="*/ 657225 w 2549525"/>
                <a:gd name="connsiteY30" fmla="*/ 1463675 h 3298825"/>
                <a:gd name="connsiteX31" fmla="*/ 650875 w 2549525"/>
                <a:gd name="connsiteY31" fmla="*/ 1546225 h 3298825"/>
                <a:gd name="connsiteX32" fmla="*/ 663575 w 2549525"/>
                <a:gd name="connsiteY32" fmla="*/ 1546225 h 3298825"/>
                <a:gd name="connsiteX33" fmla="*/ 663575 w 2549525"/>
                <a:gd name="connsiteY33" fmla="*/ 1727200 h 3298825"/>
                <a:gd name="connsiteX34" fmla="*/ 746125 w 2549525"/>
                <a:gd name="connsiteY34" fmla="*/ 1724025 h 3298825"/>
                <a:gd name="connsiteX35" fmla="*/ 749300 w 2549525"/>
                <a:gd name="connsiteY35" fmla="*/ 1816100 h 3298825"/>
                <a:gd name="connsiteX36" fmla="*/ 815975 w 2549525"/>
                <a:gd name="connsiteY36" fmla="*/ 1819275 h 3298825"/>
                <a:gd name="connsiteX37" fmla="*/ 819150 w 2549525"/>
                <a:gd name="connsiteY37" fmla="*/ 1905000 h 3298825"/>
                <a:gd name="connsiteX38" fmla="*/ 835025 w 2549525"/>
                <a:gd name="connsiteY38" fmla="*/ 1901825 h 3298825"/>
                <a:gd name="connsiteX39" fmla="*/ 835025 w 2549525"/>
                <a:gd name="connsiteY39" fmla="*/ 1993900 h 3298825"/>
                <a:gd name="connsiteX40" fmla="*/ 901700 w 2549525"/>
                <a:gd name="connsiteY40" fmla="*/ 2003425 h 3298825"/>
                <a:gd name="connsiteX41" fmla="*/ 901700 w 2549525"/>
                <a:gd name="connsiteY41" fmla="*/ 2092325 h 3298825"/>
                <a:gd name="connsiteX42" fmla="*/ 1025525 w 2549525"/>
                <a:gd name="connsiteY42" fmla="*/ 2092325 h 3298825"/>
                <a:gd name="connsiteX43" fmla="*/ 1022350 w 2549525"/>
                <a:gd name="connsiteY43" fmla="*/ 2184400 h 3298825"/>
                <a:gd name="connsiteX44" fmla="*/ 1035050 w 2549525"/>
                <a:gd name="connsiteY44" fmla="*/ 2184400 h 3298825"/>
                <a:gd name="connsiteX45" fmla="*/ 1031875 w 2549525"/>
                <a:gd name="connsiteY45" fmla="*/ 2282825 h 3298825"/>
                <a:gd name="connsiteX46" fmla="*/ 1174750 w 2549525"/>
                <a:gd name="connsiteY46" fmla="*/ 2289175 h 3298825"/>
                <a:gd name="connsiteX47" fmla="*/ 1184275 w 2549525"/>
                <a:gd name="connsiteY47" fmla="*/ 2387600 h 3298825"/>
                <a:gd name="connsiteX48" fmla="*/ 1362075 w 2549525"/>
                <a:gd name="connsiteY48" fmla="*/ 2393950 h 3298825"/>
                <a:gd name="connsiteX49" fmla="*/ 1362075 w 2549525"/>
                <a:gd name="connsiteY49" fmla="*/ 2511425 h 3298825"/>
                <a:gd name="connsiteX50" fmla="*/ 1755775 w 2549525"/>
                <a:gd name="connsiteY50" fmla="*/ 2511425 h 3298825"/>
                <a:gd name="connsiteX51" fmla="*/ 1765300 w 2549525"/>
                <a:gd name="connsiteY51" fmla="*/ 2670175 h 3298825"/>
                <a:gd name="connsiteX52" fmla="*/ 2193925 w 2549525"/>
                <a:gd name="connsiteY52" fmla="*/ 2670175 h 3298825"/>
                <a:gd name="connsiteX53" fmla="*/ 2197100 w 2549525"/>
                <a:gd name="connsiteY53" fmla="*/ 3292475 h 3298825"/>
                <a:gd name="connsiteX54" fmla="*/ 2549525 w 2549525"/>
                <a:gd name="connsiteY54" fmla="*/ 3298825 h 3298825"/>
                <a:gd name="connsiteX0" fmla="*/ 0 w 2549525"/>
                <a:gd name="connsiteY0" fmla="*/ 0 h 3298825"/>
                <a:gd name="connsiteX1" fmla="*/ 34925 w 2549525"/>
                <a:gd name="connsiteY1" fmla="*/ 0 h 3298825"/>
                <a:gd name="connsiteX2" fmla="*/ 38100 w 2549525"/>
                <a:gd name="connsiteY2" fmla="*/ 69850 h 3298825"/>
                <a:gd name="connsiteX3" fmla="*/ 38100 w 2549525"/>
                <a:gd name="connsiteY3" fmla="*/ 69850 h 3298825"/>
                <a:gd name="connsiteX4" fmla="*/ 57150 w 2549525"/>
                <a:gd name="connsiteY4" fmla="*/ 66675 h 3298825"/>
                <a:gd name="connsiteX5" fmla="*/ 50800 w 2549525"/>
                <a:gd name="connsiteY5" fmla="*/ 161925 h 3298825"/>
                <a:gd name="connsiteX6" fmla="*/ 73025 w 2549525"/>
                <a:gd name="connsiteY6" fmla="*/ 161925 h 3298825"/>
                <a:gd name="connsiteX7" fmla="*/ 69850 w 2549525"/>
                <a:gd name="connsiteY7" fmla="*/ 273050 h 3298825"/>
                <a:gd name="connsiteX8" fmla="*/ 123825 w 2549525"/>
                <a:gd name="connsiteY8" fmla="*/ 276225 h 3298825"/>
                <a:gd name="connsiteX9" fmla="*/ 123825 w 2549525"/>
                <a:gd name="connsiteY9" fmla="*/ 412750 h 3298825"/>
                <a:gd name="connsiteX10" fmla="*/ 139700 w 2549525"/>
                <a:gd name="connsiteY10" fmla="*/ 412750 h 3298825"/>
                <a:gd name="connsiteX11" fmla="*/ 139700 w 2549525"/>
                <a:gd name="connsiteY11" fmla="*/ 482600 h 3298825"/>
                <a:gd name="connsiteX12" fmla="*/ 149225 w 2549525"/>
                <a:gd name="connsiteY12" fmla="*/ 482600 h 3298825"/>
                <a:gd name="connsiteX13" fmla="*/ 139700 w 2549525"/>
                <a:gd name="connsiteY13" fmla="*/ 539750 h 3298825"/>
                <a:gd name="connsiteX14" fmla="*/ 161925 w 2549525"/>
                <a:gd name="connsiteY14" fmla="*/ 536575 h 3298825"/>
                <a:gd name="connsiteX15" fmla="*/ 158750 w 2549525"/>
                <a:gd name="connsiteY15" fmla="*/ 606425 h 3298825"/>
                <a:gd name="connsiteX16" fmla="*/ 187325 w 2549525"/>
                <a:gd name="connsiteY16" fmla="*/ 609600 h 3298825"/>
                <a:gd name="connsiteX17" fmla="*/ 184150 w 2549525"/>
                <a:gd name="connsiteY17" fmla="*/ 822325 h 3298825"/>
                <a:gd name="connsiteX18" fmla="*/ 273050 w 2549525"/>
                <a:gd name="connsiteY18" fmla="*/ 828675 h 3298825"/>
                <a:gd name="connsiteX19" fmla="*/ 279400 w 2549525"/>
                <a:gd name="connsiteY19" fmla="*/ 1044575 h 3298825"/>
                <a:gd name="connsiteX20" fmla="*/ 298450 w 2549525"/>
                <a:gd name="connsiteY20" fmla="*/ 1047750 h 3298825"/>
                <a:gd name="connsiteX21" fmla="*/ 298450 w 2549525"/>
                <a:gd name="connsiteY21" fmla="*/ 1123950 h 3298825"/>
                <a:gd name="connsiteX22" fmla="*/ 365125 w 2549525"/>
                <a:gd name="connsiteY22" fmla="*/ 1130300 h 3298825"/>
                <a:gd name="connsiteX23" fmla="*/ 358775 w 2549525"/>
                <a:gd name="connsiteY23" fmla="*/ 1203325 h 3298825"/>
                <a:gd name="connsiteX24" fmla="*/ 434975 w 2549525"/>
                <a:gd name="connsiteY24" fmla="*/ 1203325 h 3298825"/>
                <a:gd name="connsiteX25" fmla="*/ 431800 w 2549525"/>
                <a:gd name="connsiteY25" fmla="*/ 1285875 h 3298825"/>
                <a:gd name="connsiteX26" fmla="*/ 508000 w 2549525"/>
                <a:gd name="connsiteY26" fmla="*/ 1289050 h 3298825"/>
                <a:gd name="connsiteX27" fmla="*/ 508000 w 2549525"/>
                <a:gd name="connsiteY27" fmla="*/ 1368425 h 3298825"/>
                <a:gd name="connsiteX28" fmla="*/ 549275 w 2549525"/>
                <a:gd name="connsiteY28" fmla="*/ 1374775 h 3298825"/>
                <a:gd name="connsiteX29" fmla="*/ 542925 w 2549525"/>
                <a:gd name="connsiteY29" fmla="*/ 1460500 h 3298825"/>
                <a:gd name="connsiteX30" fmla="*/ 657225 w 2549525"/>
                <a:gd name="connsiteY30" fmla="*/ 1463675 h 3298825"/>
                <a:gd name="connsiteX31" fmla="*/ 650875 w 2549525"/>
                <a:gd name="connsiteY31" fmla="*/ 1546225 h 3298825"/>
                <a:gd name="connsiteX32" fmla="*/ 663575 w 2549525"/>
                <a:gd name="connsiteY32" fmla="*/ 1546225 h 3298825"/>
                <a:gd name="connsiteX33" fmla="*/ 663575 w 2549525"/>
                <a:gd name="connsiteY33" fmla="*/ 1727200 h 3298825"/>
                <a:gd name="connsiteX34" fmla="*/ 746125 w 2549525"/>
                <a:gd name="connsiteY34" fmla="*/ 1724025 h 3298825"/>
                <a:gd name="connsiteX35" fmla="*/ 749300 w 2549525"/>
                <a:gd name="connsiteY35" fmla="*/ 1816100 h 3298825"/>
                <a:gd name="connsiteX36" fmla="*/ 815975 w 2549525"/>
                <a:gd name="connsiteY36" fmla="*/ 1819275 h 3298825"/>
                <a:gd name="connsiteX37" fmla="*/ 819150 w 2549525"/>
                <a:gd name="connsiteY37" fmla="*/ 1905000 h 3298825"/>
                <a:gd name="connsiteX38" fmla="*/ 835025 w 2549525"/>
                <a:gd name="connsiteY38" fmla="*/ 1901825 h 3298825"/>
                <a:gd name="connsiteX39" fmla="*/ 835025 w 2549525"/>
                <a:gd name="connsiteY39" fmla="*/ 1993900 h 3298825"/>
                <a:gd name="connsiteX40" fmla="*/ 901700 w 2549525"/>
                <a:gd name="connsiteY40" fmla="*/ 2003425 h 3298825"/>
                <a:gd name="connsiteX41" fmla="*/ 901700 w 2549525"/>
                <a:gd name="connsiteY41" fmla="*/ 2092325 h 3298825"/>
                <a:gd name="connsiteX42" fmla="*/ 1025525 w 2549525"/>
                <a:gd name="connsiteY42" fmla="*/ 2092325 h 3298825"/>
                <a:gd name="connsiteX43" fmla="*/ 1022350 w 2549525"/>
                <a:gd name="connsiteY43" fmla="*/ 2184400 h 3298825"/>
                <a:gd name="connsiteX44" fmla="*/ 1035050 w 2549525"/>
                <a:gd name="connsiteY44" fmla="*/ 2184400 h 3298825"/>
                <a:gd name="connsiteX45" fmla="*/ 1031875 w 2549525"/>
                <a:gd name="connsiteY45" fmla="*/ 2282825 h 3298825"/>
                <a:gd name="connsiteX46" fmla="*/ 1174750 w 2549525"/>
                <a:gd name="connsiteY46" fmla="*/ 2289175 h 3298825"/>
                <a:gd name="connsiteX47" fmla="*/ 1184275 w 2549525"/>
                <a:gd name="connsiteY47" fmla="*/ 2387600 h 3298825"/>
                <a:gd name="connsiteX48" fmla="*/ 1362075 w 2549525"/>
                <a:gd name="connsiteY48" fmla="*/ 2393950 h 3298825"/>
                <a:gd name="connsiteX49" fmla="*/ 1362075 w 2549525"/>
                <a:gd name="connsiteY49" fmla="*/ 2511425 h 3298825"/>
                <a:gd name="connsiteX50" fmla="*/ 1755775 w 2549525"/>
                <a:gd name="connsiteY50" fmla="*/ 2511425 h 3298825"/>
                <a:gd name="connsiteX51" fmla="*/ 1765300 w 2549525"/>
                <a:gd name="connsiteY51" fmla="*/ 2670175 h 3298825"/>
                <a:gd name="connsiteX52" fmla="*/ 2193925 w 2549525"/>
                <a:gd name="connsiteY52" fmla="*/ 2670175 h 3298825"/>
                <a:gd name="connsiteX53" fmla="*/ 2197100 w 2549525"/>
                <a:gd name="connsiteY53" fmla="*/ 3292475 h 3298825"/>
                <a:gd name="connsiteX54" fmla="*/ 2549525 w 2549525"/>
                <a:gd name="connsiteY54" fmla="*/ 3298825 h 3298825"/>
                <a:gd name="connsiteX0" fmla="*/ 0 w 2549525"/>
                <a:gd name="connsiteY0" fmla="*/ 0 h 3299194"/>
                <a:gd name="connsiteX1" fmla="*/ 34925 w 2549525"/>
                <a:gd name="connsiteY1" fmla="*/ 0 h 3299194"/>
                <a:gd name="connsiteX2" fmla="*/ 38100 w 2549525"/>
                <a:gd name="connsiteY2" fmla="*/ 69850 h 3299194"/>
                <a:gd name="connsiteX3" fmla="*/ 38100 w 2549525"/>
                <a:gd name="connsiteY3" fmla="*/ 69850 h 3299194"/>
                <a:gd name="connsiteX4" fmla="*/ 57150 w 2549525"/>
                <a:gd name="connsiteY4" fmla="*/ 66675 h 3299194"/>
                <a:gd name="connsiteX5" fmla="*/ 50800 w 2549525"/>
                <a:gd name="connsiteY5" fmla="*/ 161925 h 3299194"/>
                <a:gd name="connsiteX6" fmla="*/ 73025 w 2549525"/>
                <a:gd name="connsiteY6" fmla="*/ 161925 h 3299194"/>
                <a:gd name="connsiteX7" fmla="*/ 69850 w 2549525"/>
                <a:gd name="connsiteY7" fmla="*/ 273050 h 3299194"/>
                <a:gd name="connsiteX8" fmla="*/ 123825 w 2549525"/>
                <a:gd name="connsiteY8" fmla="*/ 276225 h 3299194"/>
                <a:gd name="connsiteX9" fmla="*/ 123825 w 2549525"/>
                <a:gd name="connsiteY9" fmla="*/ 412750 h 3299194"/>
                <a:gd name="connsiteX10" fmla="*/ 139700 w 2549525"/>
                <a:gd name="connsiteY10" fmla="*/ 412750 h 3299194"/>
                <a:gd name="connsiteX11" fmla="*/ 139700 w 2549525"/>
                <a:gd name="connsiteY11" fmla="*/ 482600 h 3299194"/>
                <a:gd name="connsiteX12" fmla="*/ 149225 w 2549525"/>
                <a:gd name="connsiteY12" fmla="*/ 482600 h 3299194"/>
                <a:gd name="connsiteX13" fmla="*/ 139700 w 2549525"/>
                <a:gd name="connsiteY13" fmla="*/ 539750 h 3299194"/>
                <a:gd name="connsiteX14" fmla="*/ 161925 w 2549525"/>
                <a:gd name="connsiteY14" fmla="*/ 536575 h 3299194"/>
                <a:gd name="connsiteX15" fmla="*/ 158750 w 2549525"/>
                <a:gd name="connsiteY15" fmla="*/ 606425 h 3299194"/>
                <a:gd name="connsiteX16" fmla="*/ 187325 w 2549525"/>
                <a:gd name="connsiteY16" fmla="*/ 609600 h 3299194"/>
                <a:gd name="connsiteX17" fmla="*/ 184150 w 2549525"/>
                <a:gd name="connsiteY17" fmla="*/ 822325 h 3299194"/>
                <a:gd name="connsiteX18" fmla="*/ 273050 w 2549525"/>
                <a:gd name="connsiteY18" fmla="*/ 828675 h 3299194"/>
                <a:gd name="connsiteX19" fmla="*/ 279400 w 2549525"/>
                <a:gd name="connsiteY19" fmla="*/ 1044575 h 3299194"/>
                <a:gd name="connsiteX20" fmla="*/ 298450 w 2549525"/>
                <a:gd name="connsiteY20" fmla="*/ 1047750 h 3299194"/>
                <a:gd name="connsiteX21" fmla="*/ 298450 w 2549525"/>
                <a:gd name="connsiteY21" fmla="*/ 1123950 h 3299194"/>
                <a:gd name="connsiteX22" fmla="*/ 365125 w 2549525"/>
                <a:gd name="connsiteY22" fmla="*/ 1130300 h 3299194"/>
                <a:gd name="connsiteX23" fmla="*/ 358775 w 2549525"/>
                <a:gd name="connsiteY23" fmla="*/ 1203325 h 3299194"/>
                <a:gd name="connsiteX24" fmla="*/ 434975 w 2549525"/>
                <a:gd name="connsiteY24" fmla="*/ 1203325 h 3299194"/>
                <a:gd name="connsiteX25" fmla="*/ 431800 w 2549525"/>
                <a:gd name="connsiteY25" fmla="*/ 1285875 h 3299194"/>
                <a:gd name="connsiteX26" fmla="*/ 508000 w 2549525"/>
                <a:gd name="connsiteY26" fmla="*/ 1289050 h 3299194"/>
                <a:gd name="connsiteX27" fmla="*/ 508000 w 2549525"/>
                <a:gd name="connsiteY27" fmla="*/ 1368425 h 3299194"/>
                <a:gd name="connsiteX28" fmla="*/ 549275 w 2549525"/>
                <a:gd name="connsiteY28" fmla="*/ 1374775 h 3299194"/>
                <a:gd name="connsiteX29" fmla="*/ 542925 w 2549525"/>
                <a:gd name="connsiteY29" fmla="*/ 1460500 h 3299194"/>
                <a:gd name="connsiteX30" fmla="*/ 657225 w 2549525"/>
                <a:gd name="connsiteY30" fmla="*/ 1463675 h 3299194"/>
                <a:gd name="connsiteX31" fmla="*/ 650875 w 2549525"/>
                <a:gd name="connsiteY31" fmla="*/ 1546225 h 3299194"/>
                <a:gd name="connsiteX32" fmla="*/ 663575 w 2549525"/>
                <a:gd name="connsiteY32" fmla="*/ 1546225 h 3299194"/>
                <a:gd name="connsiteX33" fmla="*/ 663575 w 2549525"/>
                <a:gd name="connsiteY33" fmla="*/ 1727200 h 3299194"/>
                <a:gd name="connsiteX34" fmla="*/ 746125 w 2549525"/>
                <a:gd name="connsiteY34" fmla="*/ 1724025 h 3299194"/>
                <a:gd name="connsiteX35" fmla="*/ 749300 w 2549525"/>
                <a:gd name="connsiteY35" fmla="*/ 1816100 h 3299194"/>
                <a:gd name="connsiteX36" fmla="*/ 815975 w 2549525"/>
                <a:gd name="connsiteY36" fmla="*/ 1819275 h 3299194"/>
                <a:gd name="connsiteX37" fmla="*/ 819150 w 2549525"/>
                <a:gd name="connsiteY37" fmla="*/ 1905000 h 3299194"/>
                <a:gd name="connsiteX38" fmla="*/ 835025 w 2549525"/>
                <a:gd name="connsiteY38" fmla="*/ 1901825 h 3299194"/>
                <a:gd name="connsiteX39" fmla="*/ 835025 w 2549525"/>
                <a:gd name="connsiteY39" fmla="*/ 1993900 h 3299194"/>
                <a:gd name="connsiteX40" fmla="*/ 901700 w 2549525"/>
                <a:gd name="connsiteY40" fmla="*/ 2003425 h 3299194"/>
                <a:gd name="connsiteX41" fmla="*/ 901700 w 2549525"/>
                <a:gd name="connsiteY41" fmla="*/ 2092325 h 3299194"/>
                <a:gd name="connsiteX42" fmla="*/ 1025525 w 2549525"/>
                <a:gd name="connsiteY42" fmla="*/ 2092325 h 3299194"/>
                <a:gd name="connsiteX43" fmla="*/ 1022350 w 2549525"/>
                <a:gd name="connsiteY43" fmla="*/ 2184400 h 3299194"/>
                <a:gd name="connsiteX44" fmla="*/ 1035050 w 2549525"/>
                <a:gd name="connsiteY44" fmla="*/ 2184400 h 3299194"/>
                <a:gd name="connsiteX45" fmla="*/ 1031875 w 2549525"/>
                <a:gd name="connsiteY45" fmla="*/ 2282825 h 3299194"/>
                <a:gd name="connsiteX46" fmla="*/ 1174750 w 2549525"/>
                <a:gd name="connsiteY46" fmla="*/ 2289175 h 3299194"/>
                <a:gd name="connsiteX47" fmla="*/ 1184275 w 2549525"/>
                <a:gd name="connsiteY47" fmla="*/ 2387600 h 3299194"/>
                <a:gd name="connsiteX48" fmla="*/ 1362075 w 2549525"/>
                <a:gd name="connsiteY48" fmla="*/ 2393950 h 3299194"/>
                <a:gd name="connsiteX49" fmla="*/ 1362075 w 2549525"/>
                <a:gd name="connsiteY49" fmla="*/ 2511425 h 3299194"/>
                <a:gd name="connsiteX50" fmla="*/ 1755775 w 2549525"/>
                <a:gd name="connsiteY50" fmla="*/ 2511425 h 3299194"/>
                <a:gd name="connsiteX51" fmla="*/ 1765300 w 2549525"/>
                <a:gd name="connsiteY51" fmla="*/ 2670175 h 3299194"/>
                <a:gd name="connsiteX52" fmla="*/ 2193925 w 2549525"/>
                <a:gd name="connsiteY52" fmla="*/ 2670175 h 3299194"/>
                <a:gd name="connsiteX53" fmla="*/ 2197100 w 2549525"/>
                <a:gd name="connsiteY53" fmla="*/ 3299194 h 3299194"/>
                <a:gd name="connsiteX54" fmla="*/ 2549525 w 2549525"/>
                <a:gd name="connsiteY54" fmla="*/ 3298825 h 329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549525" h="3299194">
                  <a:moveTo>
                    <a:pt x="0" y="0"/>
                  </a:moveTo>
                  <a:lnTo>
                    <a:pt x="34925" y="0"/>
                  </a:lnTo>
                  <a:lnTo>
                    <a:pt x="38100" y="69850"/>
                  </a:lnTo>
                  <a:lnTo>
                    <a:pt x="38100" y="69850"/>
                  </a:lnTo>
                  <a:lnTo>
                    <a:pt x="57150" y="66675"/>
                  </a:lnTo>
                  <a:lnTo>
                    <a:pt x="50800" y="161925"/>
                  </a:lnTo>
                  <a:lnTo>
                    <a:pt x="73025" y="161925"/>
                  </a:lnTo>
                  <a:cubicBezTo>
                    <a:pt x="71967" y="198967"/>
                    <a:pt x="70908" y="236008"/>
                    <a:pt x="69850" y="273050"/>
                  </a:cubicBezTo>
                  <a:lnTo>
                    <a:pt x="123825" y="276225"/>
                  </a:lnTo>
                  <a:cubicBezTo>
                    <a:pt x="124883" y="320675"/>
                    <a:pt x="122767" y="368300"/>
                    <a:pt x="123825" y="412750"/>
                  </a:cubicBezTo>
                  <a:lnTo>
                    <a:pt x="139700" y="412750"/>
                  </a:lnTo>
                  <a:lnTo>
                    <a:pt x="139700" y="482600"/>
                  </a:lnTo>
                  <a:lnTo>
                    <a:pt x="149225" y="482600"/>
                  </a:lnTo>
                  <a:lnTo>
                    <a:pt x="139700" y="539750"/>
                  </a:lnTo>
                  <a:lnTo>
                    <a:pt x="161925" y="536575"/>
                  </a:lnTo>
                  <a:lnTo>
                    <a:pt x="158750" y="606425"/>
                  </a:lnTo>
                  <a:lnTo>
                    <a:pt x="187325" y="609600"/>
                  </a:lnTo>
                  <a:cubicBezTo>
                    <a:pt x="186267" y="680508"/>
                    <a:pt x="185208" y="751417"/>
                    <a:pt x="184150" y="822325"/>
                  </a:cubicBezTo>
                  <a:lnTo>
                    <a:pt x="273050" y="828675"/>
                  </a:lnTo>
                  <a:lnTo>
                    <a:pt x="279400" y="1044575"/>
                  </a:lnTo>
                  <a:lnTo>
                    <a:pt x="298450" y="1047750"/>
                  </a:lnTo>
                  <a:lnTo>
                    <a:pt x="298450" y="1123950"/>
                  </a:lnTo>
                  <a:lnTo>
                    <a:pt x="365125" y="1130300"/>
                  </a:lnTo>
                  <a:lnTo>
                    <a:pt x="358775" y="1203325"/>
                  </a:lnTo>
                  <a:lnTo>
                    <a:pt x="434975" y="1203325"/>
                  </a:lnTo>
                  <a:lnTo>
                    <a:pt x="431800" y="1285875"/>
                  </a:lnTo>
                  <a:lnTo>
                    <a:pt x="508000" y="1289050"/>
                  </a:lnTo>
                  <a:lnTo>
                    <a:pt x="508000" y="1368425"/>
                  </a:lnTo>
                  <a:lnTo>
                    <a:pt x="549275" y="1374775"/>
                  </a:lnTo>
                  <a:lnTo>
                    <a:pt x="542925" y="1460500"/>
                  </a:lnTo>
                  <a:lnTo>
                    <a:pt x="657225" y="1463675"/>
                  </a:lnTo>
                  <a:lnTo>
                    <a:pt x="650875" y="1546225"/>
                  </a:lnTo>
                  <a:lnTo>
                    <a:pt x="663575" y="1546225"/>
                  </a:lnTo>
                  <a:lnTo>
                    <a:pt x="663575" y="1727200"/>
                  </a:lnTo>
                  <a:lnTo>
                    <a:pt x="746125" y="1724025"/>
                  </a:lnTo>
                  <a:lnTo>
                    <a:pt x="749300" y="1816100"/>
                  </a:lnTo>
                  <a:lnTo>
                    <a:pt x="815975" y="1819275"/>
                  </a:lnTo>
                  <a:lnTo>
                    <a:pt x="819150" y="1905000"/>
                  </a:lnTo>
                  <a:lnTo>
                    <a:pt x="835025" y="1901825"/>
                  </a:lnTo>
                  <a:lnTo>
                    <a:pt x="835025" y="1993900"/>
                  </a:lnTo>
                  <a:lnTo>
                    <a:pt x="901700" y="2003425"/>
                  </a:lnTo>
                  <a:lnTo>
                    <a:pt x="901700" y="2092325"/>
                  </a:lnTo>
                  <a:lnTo>
                    <a:pt x="1025525" y="2092325"/>
                  </a:lnTo>
                  <a:lnTo>
                    <a:pt x="1022350" y="2184400"/>
                  </a:lnTo>
                  <a:lnTo>
                    <a:pt x="1035050" y="2184400"/>
                  </a:lnTo>
                  <a:lnTo>
                    <a:pt x="1031875" y="2282825"/>
                  </a:lnTo>
                  <a:lnTo>
                    <a:pt x="1174750" y="2289175"/>
                  </a:lnTo>
                  <a:lnTo>
                    <a:pt x="1184275" y="2387600"/>
                  </a:lnTo>
                  <a:lnTo>
                    <a:pt x="1362075" y="2393950"/>
                  </a:lnTo>
                  <a:lnTo>
                    <a:pt x="1362075" y="2511425"/>
                  </a:lnTo>
                  <a:lnTo>
                    <a:pt x="1755775" y="2511425"/>
                  </a:lnTo>
                  <a:lnTo>
                    <a:pt x="1765300" y="2670175"/>
                  </a:lnTo>
                  <a:lnTo>
                    <a:pt x="2193925" y="2670175"/>
                  </a:lnTo>
                  <a:cubicBezTo>
                    <a:pt x="2194983" y="2877608"/>
                    <a:pt x="2196042" y="3091761"/>
                    <a:pt x="2197100" y="3299194"/>
                  </a:cubicBezTo>
                  <a:lnTo>
                    <a:pt x="2549525" y="3298825"/>
                  </a:lnTo>
                </a:path>
              </a:pathLst>
            </a:custGeom>
            <a:ln w="25400">
              <a:solidFill>
                <a:srgbClr val="262261"/>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514350">
                <a:defRPr/>
              </a:pPr>
              <a:endParaRPr lang="en-GB" sz="675">
                <a:solidFill>
                  <a:srgbClr val="595454"/>
                </a:solidFill>
                <a:latin typeface="Calibri" panose="020F0502020204030204"/>
              </a:endParaRPr>
            </a:p>
          </p:txBody>
        </p:sp>
        <p:grpSp>
          <p:nvGrpSpPr>
            <p:cNvPr id="397" name="Group 396">
              <a:extLst>
                <a:ext uri="{FF2B5EF4-FFF2-40B4-BE49-F238E27FC236}">
                  <a16:creationId xmlns:a16="http://schemas.microsoft.com/office/drawing/2014/main" id="{9CF704D1-494F-462C-A52B-807548FDD32F}"/>
                </a:ext>
              </a:extLst>
            </p:cNvPr>
            <p:cNvGrpSpPr/>
            <p:nvPr/>
          </p:nvGrpSpPr>
          <p:grpSpPr>
            <a:xfrm>
              <a:off x="1495425" y="1016000"/>
              <a:ext cx="2615175" cy="3371600"/>
              <a:chOff x="1495425" y="1016000"/>
              <a:chExt cx="2615175" cy="3371600"/>
            </a:xfrm>
          </p:grpSpPr>
          <p:grpSp>
            <p:nvGrpSpPr>
              <p:cNvPr id="398" name="Group 397">
                <a:extLst>
                  <a:ext uri="{FF2B5EF4-FFF2-40B4-BE49-F238E27FC236}">
                    <a16:creationId xmlns:a16="http://schemas.microsoft.com/office/drawing/2014/main" id="{0519395B-58F9-4943-80B4-E9D1C7178993}"/>
                  </a:ext>
                </a:extLst>
              </p:cNvPr>
              <p:cNvGrpSpPr/>
              <p:nvPr/>
            </p:nvGrpSpPr>
            <p:grpSpPr>
              <a:xfrm>
                <a:off x="3489230" y="3686950"/>
                <a:ext cx="72000" cy="72000"/>
                <a:chOff x="3362230" y="3083700"/>
                <a:chExt cx="90000" cy="90000"/>
              </a:xfrm>
            </p:grpSpPr>
            <p:cxnSp>
              <p:nvCxnSpPr>
                <p:cNvPr id="453" name="Straight Connector 452">
                  <a:extLst>
                    <a:ext uri="{FF2B5EF4-FFF2-40B4-BE49-F238E27FC236}">
                      <a16:creationId xmlns:a16="http://schemas.microsoft.com/office/drawing/2014/main" id="{F4B02077-E6DB-4F7B-9957-DBD5B4C00E16}"/>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a:extLst>
                    <a:ext uri="{FF2B5EF4-FFF2-40B4-BE49-F238E27FC236}">
                      <a16:creationId xmlns:a16="http://schemas.microsoft.com/office/drawing/2014/main" id="{122DFC6D-95B6-42FC-AFFF-F6DE412CE87C}"/>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399" name="Group 398">
                <a:extLst>
                  <a:ext uri="{FF2B5EF4-FFF2-40B4-BE49-F238E27FC236}">
                    <a16:creationId xmlns:a16="http://schemas.microsoft.com/office/drawing/2014/main" id="{E3D8DE5D-6D11-42FE-8682-D21AB9215783}"/>
                  </a:ext>
                </a:extLst>
              </p:cNvPr>
              <p:cNvGrpSpPr/>
              <p:nvPr/>
            </p:nvGrpSpPr>
            <p:grpSpPr>
              <a:xfrm>
                <a:off x="4038600" y="4315600"/>
                <a:ext cx="72000" cy="72000"/>
                <a:chOff x="3362230" y="3083700"/>
                <a:chExt cx="90000" cy="90000"/>
              </a:xfrm>
            </p:grpSpPr>
            <p:cxnSp>
              <p:nvCxnSpPr>
                <p:cNvPr id="451" name="Straight Connector 450">
                  <a:extLst>
                    <a:ext uri="{FF2B5EF4-FFF2-40B4-BE49-F238E27FC236}">
                      <a16:creationId xmlns:a16="http://schemas.microsoft.com/office/drawing/2014/main" id="{EACBDF82-C4F0-4E13-8176-D87F8CDD73A1}"/>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a:extLst>
                    <a:ext uri="{FF2B5EF4-FFF2-40B4-BE49-F238E27FC236}">
                      <a16:creationId xmlns:a16="http://schemas.microsoft.com/office/drawing/2014/main" id="{E34EBD8D-7437-41DE-B226-CEBF562028A1}"/>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0" name="Group 399">
                <a:extLst>
                  <a:ext uri="{FF2B5EF4-FFF2-40B4-BE49-F238E27FC236}">
                    <a16:creationId xmlns:a16="http://schemas.microsoft.com/office/drawing/2014/main" id="{07E3D9FF-DFA8-4192-80EC-AC0D6C6B6B0F}"/>
                  </a:ext>
                </a:extLst>
              </p:cNvPr>
              <p:cNvGrpSpPr/>
              <p:nvPr/>
            </p:nvGrpSpPr>
            <p:grpSpPr>
              <a:xfrm>
                <a:off x="3359150" y="3686950"/>
                <a:ext cx="72000" cy="72000"/>
                <a:chOff x="3362230" y="3083700"/>
                <a:chExt cx="90000" cy="90000"/>
              </a:xfrm>
            </p:grpSpPr>
            <p:cxnSp>
              <p:nvCxnSpPr>
                <p:cNvPr id="449" name="Straight Connector 448">
                  <a:extLst>
                    <a:ext uri="{FF2B5EF4-FFF2-40B4-BE49-F238E27FC236}">
                      <a16:creationId xmlns:a16="http://schemas.microsoft.com/office/drawing/2014/main" id="{E3B45314-A590-4E80-9BDC-8C0BA00B9710}"/>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a:extLst>
                    <a:ext uri="{FF2B5EF4-FFF2-40B4-BE49-F238E27FC236}">
                      <a16:creationId xmlns:a16="http://schemas.microsoft.com/office/drawing/2014/main" id="{71ACF3A1-3F5E-4F99-811F-2E4FEC047DCE}"/>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1" name="Group 400">
                <a:extLst>
                  <a:ext uri="{FF2B5EF4-FFF2-40B4-BE49-F238E27FC236}">
                    <a16:creationId xmlns:a16="http://schemas.microsoft.com/office/drawing/2014/main" id="{6DF77597-56C6-425B-BDEB-6DF08AA5268A}"/>
                  </a:ext>
                </a:extLst>
              </p:cNvPr>
              <p:cNvGrpSpPr/>
              <p:nvPr/>
            </p:nvGrpSpPr>
            <p:grpSpPr>
              <a:xfrm>
                <a:off x="3286125" y="3686950"/>
                <a:ext cx="72000" cy="72000"/>
                <a:chOff x="3362230" y="3083700"/>
                <a:chExt cx="90000" cy="90000"/>
              </a:xfrm>
            </p:grpSpPr>
            <p:cxnSp>
              <p:nvCxnSpPr>
                <p:cNvPr id="447" name="Straight Connector 446">
                  <a:extLst>
                    <a:ext uri="{FF2B5EF4-FFF2-40B4-BE49-F238E27FC236}">
                      <a16:creationId xmlns:a16="http://schemas.microsoft.com/office/drawing/2014/main" id="{33F3DD6C-5326-4DA2-AD7D-0BFBF0BA9F2A}"/>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48" name="Straight Connector 447">
                  <a:extLst>
                    <a:ext uri="{FF2B5EF4-FFF2-40B4-BE49-F238E27FC236}">
                      <a16:creationId xmlns:a16="http://schemas.microsoft.com/office/drawing/2014/main" id="{BF8E1FC4-16E4-4FA6-A25F-9D05D11E6853}"/>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2" name="Group 401">
                <a:extLst>
                  <a:ext uri="{FF2B5EF4-FFF2-40B4-BE49-F238E27FC236}">
                    <a16:creationId xmlns:a16="http://schemas.microsoft.com/office/drawing/2014/main" id="{7B595E85-E047-450F-B5A6-EC640D2EE8D9}"/>
                  </a:ext>
                </a:extLst>
              </p:cNvPr>
              <p:cNvGrpSpPr/>
              <p:nvPr/>
            </p:nvGrpSpPr>
            <p:grpSpPr>
              <a:xfrm>
                <a:off x="3305175" y="3686950"/>
                <a:ext cx="72000" cy="72000"/>
                <a:chOff x="3362230" y="3083700"/>
                <a:chExt cx="90000" cy="90000"/>
              </a:xfrm>
            </p:grpSpPr>
            <p:cxnSp>
              <p:nvCxnSpPr>
                <p:cNvPr id="445" name="Straight Connector 444">
                  <a:extLst>
                    <a:ext uri="{FF2B5EF4-FFF2-40B4-BE49-F238E27FC236}">
                      <a16:creationId xmlns:a16="http://schemas.microsoft.com/office/drawing/2014/main" id="{61B46C19-4654-4E97-9E22-6867639F1000}"/>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46" name="Straight Connector 445">
                  <a:extLst>
                    <a:ext uri="{FF2B5EF4-FFF2-40B4-BE49-F238E27FC236}">
                      <a16:creationId xmlns:a16="http://schemas.microsoft.com/office/drawing/2014/main" id="{C3B78AFA-568F-441B-97F1-DF79A379AE3E}"/>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3" name="Group 402">
                <a:extLst>
                  <a:ext uri="{FF2B5EF4-FFF2-40B4-BE49-F238E27FC236}">
                    <a16:creationId xmlns:a16="http://schemas.microsoft.com/office/drawing/2014/main" id="{2283C707-9BA3-4B13-BB8D-E0BD28219BF5}"/>
                  </a:ext>
                </a:extLst>
              </p:cNvPr>
              <p:cNvGrpSpPr/>
              <p:nvPr/>
            </p:nvGrpSpPr>
            <p:grpSpPr>
              <a:xfrm>
                <a:off x="3155950" y="3524250"/>
                <a:ext cx="72000" cy="72000"/>
                <a:chOff x="3362230" y="3083700"/>
                <a:chExt cx="90000" cy="90000"/>
              </a:xfrm>
            </p:grpSpPr>
            <p:cxnSp>
              <p:nvCxnSpPr>
                <p:cNvPr id="443" name="Straight Connector 442">
                  <a:extLst>
                    <a:ext uri="{FF2B5EF4-FFF2-40B4-BE49-F238E27FC236}">
                      <a16:creationId xmlns:a16="http://schemas.microsoft.com/office/drawing/2014/main" id="{5EA2EC73-D38B-4A29-83F0-E574DDBBA596}"/>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44" name="Straight Connector 443">
                  <a:extLst>
                    <a:ext uri="{FF2B5EF4-FFF2-40B4-BE49-F238E27FC236}">
                      <a16:creationId xmlns:a16="http://schemas.microsoft.com/office/drawing/2014/main" id="{143CD47B-746A-4207-A6FC-9D0DFA1E2165}"/>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4" name="Group 403">
                <a:extLst>
                  <a:ext uri="{FF2B5EF4-FFF2-40B4-BE49-F238E27FC236}">
                    <a16:creationId xmlns:a16="http://schemas.microsoft.com/office/drawing/2014/main" id="{F93504C3-894C-4BA9-AADE-83ADC25E5189}"/>
                  </a:ext>
                </a:extLst>
              </p:cNvPr>
              <p:cNvGrpSpPr/>
              <p:nvPr/>
            </p:nvGrpSpPr>
            <p:grpSpPr>
              <a:xfrm>
                <a:off x="3006725" y="3524250"/>
                <a:ext cx="72000" cy="72000"/>
                <a:chOff x="3362230" y="3083700"/>
                <a:chExt cx="90000" cy="90000"/>
              </a:xfrm>
            </p:grpSpPr>
            <p:cxnSp>
              <p:nvCxnSpPr>
                <p:cNvPr id="441" name="Straight Connector 440">
                  <a:extLst>
                    <a:ext uri="{FF2B5EF4-FFF2-40B4-BE49-F238E27FC236}">
                      <a16:creationId xmlns:a16="http://schemas.microsoft.com/office/drawing/2014/main" id="{9E432070-7447-401B-9733-D16A28781DF2}"/>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42" name="Straight Connector 441">
                  <a:extLst>
                    <a:ext uri="{FF2B5EF4-FFF2-40B4-BE49-F238E27FC236}">
                      <a16:creationId xmlns:a16="http://schemas.microsoft.com/office/drawing/2014/main" id="{58E845D1-57A1-41C5-BCAE-360D1CBB55AB}"/>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5" name="Group 404">
                <a:extLst>
                  <a:ext uri="{FF2B5EF4-FFF2-40B4-BE49-F238E27FC236}">
                    <a16:creationId xmlns:a16="http://schemas.microsoft.com/office/drawing/2014/main" id="{A1AE14F0-B46C-4394-863D-3E2DBE81376B}"/>
                  </a:ext>
                </a:extLst>
              </p:cNvPr>
              <p:cNvGrpSpPr/>
              <p:nvPr/>
            </p:nvGrpSpPr>
            <p:grpSpPr>
              <a:xfrm>
                <a:off x="2990850" y="3524250"/>
                <a:ext cx="72000" cy="72000"/>
                <a:chOff x="3362230" y="3083700"/>
                <a:chExt cx="90000" cy="90000"/>
              </a:xfrm>
            </p:grpSpPr>
            <p:cxnSp>
              <p:nvCxnSpPr>
                <p:cNvPr id="439" name="Straight Connector 438">
                  <a:extLst>
                    <a:ext uri="{FF2B5EF4-FFF2-40B4-BE49-F238E27FC236}">
                      <a16:creationId xmlns:a16="http://schemas.microsoft.com/office/drawing/2014/main" id="{1F9E81A3-F1EE-4501-B5EA-CE7223CE0F63}"/>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40" name="Straight Connector 439">
                  <a:extLst>
                    <a:ext uri="{FF2B5EF4-FFF2-40B4-BE49-F238E27FC236}">
                      <a16:creationId xmlns:a16="http://schemas.microsoft.com/office/drawing/2014/main" id="{5BB76E5E-195E-4E9A-833E-C693FBE42A72}"/>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6" name="Group 405">
                <a:extLst>
                  <a:ext uri="{FF2B5EF4-FFF2-40B4-BE49-F238E27FC236}">
                    <a16:creationId xmlns:a16="http://schemas.microsoft.com/office/drawing/2014/main" id="{BE0F67AE-61A4-44D0-8834-F0BDF6600924}"/>
                  </a:ext>
                </a:extLst>
              </p:cNvPr>
              <p:cNvGrpSpPr/>
              <p:nvPr/>
            </p:nvGrpSpPr>
            <p:grpSpPr>
              <a:xfrm>
                <a:off x="2965450" y="3524250"/>
                <a:ext cx="72000" cy="72000"/>
                <a:chOff x="3362230" y="3083700"/>
                <a:chExt cx="90000" cy="90000"/>
              </a:xfrm>
            </p:grpSpPr>
            <p:cxnSp>
              <p:nvCxnSpPr>
                <p:cNvPr id="437" name="Straight Connector 436">
                  <a:extLst>
                    <a:ext uri="{FF2B5EF4-FFF2-40B4-BE49-F238E27FC236}">
                      <a16:creationId xmlns:a16="http://schemas.microsoft.com/office/drawing/2014/main" id="{31730309-26A1-430F-8651-F32AF9C6EC86}"/>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38" name="Straight Connector 437">
                  <a:extLst>
                    <a:ext uri="{FF2B5EF4-FFF2-40B4-BE49-F238E27FC236}">
                      <a16:creationId xmlns:a16="http://schemas.microsoft.com/office/drawing/2014/main" id="{1B738B79-31FD-4AB3-BCAA-3E9482A73F83}"/>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7" name="Group 406">
                <a:extLst>
                  <a:ext uri="{FF2B5EF4-FFF2-40B4-BE49-F238E27FC236}">
                    <a16:creationId xmlns:a16="http://schemas.microsoft.com/office/drawing/2014/main" id="{F855C482-B802-4CB5-AB66-5A87AF045D6C}"/>
                  </a:ext>
                </a:extLst>
              </p:cNvPr>
              <p:cNvGrpSpPr/>
              <p:nvPr/>
            </p:nvGrpSpPr>
            <p:grpSpPr>
              <a:xfrm>
                <a:off x="2762250" y="3406775"/>
                <a:ext cx="72000" cy="72000"/>
                <a:chOff x="3362230" y="3083700"/>
                <a:chExt cx="90000" cy="90000"/>
              </a:xfrm>
            </p:grpSpPr>
            <p:cxnSp>
              <p:nvCxnSpPr>
                <p:cNvPr id="435" name="Straight Connector 434">
                  <a:extLst>
                    <a:ext uri="{FF2B5EF4-FFF2-40B4-BE49-F238E27FC236}">
                      <a16:creationId xmlns:a16="http://schemas.microsoft.com/office/drawing/2014/main" id="{6AB6B238-88B6-4B4E-8CEC-13C1B30EB51B}"/>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36" name="Straight Connector 435">
                  <a:extLst>
                    <a:ext uri="{FF2B5EF4-FFF2-40B4-BE49-F238E27FC236}">
                      <a16:creationId xmlns:a16="http://schemas.microsoft.com/office/drawing/2014/main" id="{1A2B6E99-9984-4B93-87B7-A18344E87EB7}"/>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8" name="Group 407">
                <a:extLst>
                  <a:ext uri="{FF2B5EF4-FFF2-40B4-BE49-F238E27FC236}">
                    <a16:creationId xmlns:a16="http://schemas.microsoft.com/office/drawing/2014/main" id="{79F79DBA-9615-41E0-A490-6F8856A937B0}"/>
                  </a:ext>
                </a:extLst>
              </p:cNvPr>
              <p:cNvGrpSpPr/>
              <p:nvPr/>
            </p:nvGrpSpPr>
            <p:grpSpPr>
              <a:xfrm>
                <a:off x="2644775" y="3302000"/>
                <a:ext cx="72000" cy="72000"/>
                <a:chOff x="3362230" y="3083700"/>
                <a:chExt cx="90000" cy="90000"/>
              </a:xfrm>
            </p:grpSpPr>
            <p:cxnSp>
              <p:nvCxnSpPr>
                <p:cNvPr id="433" name="Straight Connector 432">
                  <a:extLst>
                    <a:ext uri="{FF2B5EF4-FFF2-40B4-BE49-F238E27FC236}">
                      <a16:creationId xmlns:a16="http://schemas.microsoft.com/office/drawing/2014/main" id="{C483B58C-8DF4-4FF1-8416-E5130F776A15}"/>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34" name="Straight Connector 433">
                  <a:extLst>
                    <a:ext uri="{FF2B5EF4-FFF2-40B4-BE49-F238E27FC236}">
                      <a16:creationId xmlns:a16="http://schemas.microsoft.com/office/drawing/2014/main" id="{E38334F5-2384-4328-95CF-FC0D810687D4}"/>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09" name="Group 408">
                <a:extLst>
                  <a:ext uri="{FF2B5EF4-FFF2-40B4-BE49-F238E27FC236}">
                    <a16:creationId xmlns:a16="http://schemas.microsoft.com/office/drawing/2014/main" id="{321BD3A2-10A0-4638-B610-775756C4C2E0}"/>
                  </a:ext>
                </a:extLst>
              </p:cNvPr>
              <p:cNvGrpSpPr/>
              <p:nvPr/>
            </p:nvGrpSpPr>
            <p:grpSpPr>
              <a:xfrm>
                <a:off x="2625725" y="3302000"/>
                <a:ext cx="72000" cy="72000"/>
                <a:chOff x="3362230" y="3083700"/>
                <a:chExt cx="90000" cy="90000"/>
              </a:xfrm>
            </p:grpSpPr>
            <p:cxnSp>
              <p:nvCxnSpPr>
                <p:cNvPr id="431" name="Straight Connector 430">
                  <a:extLst>
                    <a:ext uri="{FF2B5EF4-FFF2-40B4-BE49-F238E27FC236}">
                      <a16:creationId xmlns:a16="http://schemas.microsoft.com/office/drawing/2014/main" id="{85CEC694-E105-49A4-A409-D285BCCB2772}"/>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32" name="Straight Connector 431">
                  <a:extLst>
                    <a:ext uri="{FF2B5EF4-FFF2-40B4-BE49-F238E27FC236}">
                      <a16:creationId xmlns:a16="http://schemas.microsoft.com/office/drawing/2014/main" id="{1C68BD59-0F69-4A81-B272-493D2E7B87FC}"/>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10" name="Group 409">
                <a:extLst>
                  <a:ext uri="{FF2B5EF4-FFF2-40B4-BE49-F238E27FC236}">
                    <a16:creationId xmlns:a16="http://schemas.microsoft.com/office/drawing/2014/main" id="{9C979B95-D21D-4743-ABEE-C11083CA9955}"/>
                  </a:ext>
                </a:extLst>
              </p:cNvPr>
              <p:cNvGrpSpPr/>
              <p:nvPr/>
            </p:nvGrpSpPr>
            <p:grpSpPr>
              <a:xfrm>
                <a:off x="2466975" y="3108325"/>
                <a:ext cx="72000" cy="72000"/>
                <a:chOff x="3362230" y="3083700"/>
                <a:chExt cx="90000" cy="90000"/>
              </a:xfrm>
            </p:grpSpPr>
            <p:cxnSp>
              <p:nvCxnSpPr>
                <p:cNvPr id="429" name="Straight Connector 428">
                  <a:extLst>
                    <a:ext uri="{FF2B5EF4-FFF2-40B4-BE49-F238E27FC236}">
                      <a16:creationId xmlns:a16="http://schemas.microsoft.com/office/drawing/2014/main" id="{69E90429-ED9F-49E6-ABC8-4080549C2A63}"/>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30" name="Straight Connector 429">
                  <a:extLst>
                    <a:ext uri="{FF2B5EF4-FFF2-40B4-BE49-F238E27FC236}">
                      <a16:creationId xmlns:a16="http://schemas.microsoft.com/office/drawing/2014/main" id="{9C43FE72-D00D-44D5-B02D-792F139082DC}"/>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11" name="Group 410">
                <a:extLst>
                  <a:ext uri="{FF2B5EF4-FFF2-40B4-BE49-F238E27FC236}">
                    <a16:creationId xmlns:a16="http://schemas.microsoft.com/office/drawing/2014/main" id="{F395A22F-C859-4D12-A365-5D2F3C72347D}"/>
                  </a:ext>
                </a:extLst>
              </p:cNvPr>
              <p:cNvGrpSpPr/>
              <p:nvPr/>
            </p:nvGrpSpPr>
            <p:grpSpPr>
              <a:xfrm>
                <a:off x="2041525" y="2393950"/>
                <a:ext cx="72000" cy="72000"/>
                <a:chOff x="3362230" y="3083700"/>
                <a:chExt cx="90000" cy="90000"/>
              </a:xfrm>
            </p:grpSpPr>
            <p:cxnSp>
              <p:nvCxnSpPr>
                <p:cNvPr id="427" name="Straight Connector 426">
                  <a:extLst>
                    <a:ext uri="{FF2B5EF4-FFF2-40B4-BE49-F238E27FC236}">
                      <a16:creationId xmlns:a16="http://schemas.microsoft.com/office/drawing/2014/main" id="{F07CCAE1-00AF-49EE-B363-4CD96A05591A}"/>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28" name="Straight Connector 427">
                  <a:extLst>
                    <a:ext uri="{FF2B5EF4-FFF2-40B4-BE49-F238E27FC236}">
                      <a16:creationId xmlns:a16="http://schemas.microsoft.com/office/drawing/2014/main" id="{93681E4B-57C0-45DE-BC84-2381321F2403}"/>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12" name="Group 411">
                <a:extLst>
                  <a:ext uri="{FF2B5EF4-FFF2-40B4-BE49-F238E27FC236}">
                    <a16:creationId xmlns:a16="http://schemas.microsoft.com/office/drawing/2014/main" id="{80C09A7F-8FEC-469F-A473-C65B4B252D7F}"/>
                  </a:ext>
                </a:extLst>
              </p:cNvPr>
              <p:cNvGrpSpPr/>
              <p:nvPr/>
            </p:nvGrpSpPr>
            <p:grpSpPr>
              <a:xfrm>
                <a:off x="1968500" y="2305050"/>
                <a:ext cx="72000" cy="72000"/>
                <a:chOff x="3362230" y="3083700"/>
                <a:chExt cx="90000" cy="90000"/>
              </a:xfrm>
            </p:grpSpPr>
            <p:cxnSp>
              <p:nvCxnSpPr>
                <p:cNvPr id="425" name="Straight Connector 424">
                  <a:extLst>
                    <a:ext uri="{FF2B5EF4-FFF2-40B4-BE49-F238E27FC236}">
                      <a16:creationId xmlns:a16="http://schemas.microsoft.com/office/drawing/2014/main" id="{7CF17EB5-1CC8-468C-8D9F-97497924FD6B}"/>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26" name="Straight Connector 425">
                  <a:extLst>
                    <a:ext uri="{FF2B5EF4-FFF2-40B4-BE49-F238E27FC236}">
                      <a16:creationId xmlns:a16="http://schemas.microsoft.com/office/drawing/2014/main" id="{04416943-F889-4CFC-8427-212E79F02527}"/>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13" name="Group 412">
                <a:extLst>
                  <a:ext uri="{FF2B5EF4-FFF2-40B4-BE49-F238E27FC236}">
                    <a16:creationId xmlns:a16="http://schemas.microsoft.com/office/drawing/2014/main" id="{5A092D73-BAAF-4262-9C8D-3DCFF892DA54}"/>
                  </a:ext>
                </a:extLst>
              </p:cNvPr>
              <p:cNvGrpSpPr/>
              <p:nvPr/>
            </p:nvGrpSpPr>
            <p:grpSpPr>
              <a:xfrm>
                <a:off x="1768475" y="1841500"/>
                <a:ext cx="72000" cy="72000"/>
                <a:chOff x="3362230" y="3083700"/>
                <a:chExt cx="90000" cy="90000"/>
              </a:xfrm>
            </p:grpSpPr>
            <p:cxnSp>
              <p:nvCxnSpPr>
                <p:cNvPr id="423" name="Straight Connector 422">
                  <a:extLst>
                    <a:ext uri="{FF2B5EF4-FFF2-40B4-BE49-F238E27FC236}">
                      <a16:creationId xmlns:a16="http://schemas.microsoft.com/office/drawing/2014/main" id="{91BCB91F-15C2-492A-AF04-92A480ECF27D}"/>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24" name="Straight Connector 423">
                  <a:extLst>
                    <a:ext uri="{FF2B5EF4-FFF2-40B4-BE49-F238E27FC236}">
                      <a16:creationId xmlns:a16="http://schemas.microsoft.com/office/drawing/2014/main" id="{6E0BE541-BE8D-41A2-919A-AAB4358E55FF}"/>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14" name="Group 413">
                <a:extLst>
                  <a:ext uri="{FF2B5EF4-FFF2-40B4-BE49-F238E27FC236}">
                    <a16:creationId xmlns:a16="http://schemas.microsoft.com/office/drawing/2014/main" id="{5F063BDC-3D0C-46A1-BA78-01C16F04F41E}"/>
                  </a:ext>
                </a:extLst>
              </p:cNvPr>
              <p:cNvGrpSpPr/>
              <p:nvPr/>
            </p:nvGrpSpPr>
            <p:grpSpPr>
              <a:xfrm>
                <a:off x="1495425" y="1016000"/>
                <a:ext cx="72000" cy="72000"/>
                <a:chOff x="3362230" y="3083700"/>
                <a:chExt cx="90000" cy="90000"/>
              </a:xfrm>
            </p:grpSpPr>
            <p:cxnSp>
              <p:nvCxnSpPr>
                <p:cNvPr id="421" name="Straight Connector 420">
                  <a:extLst>
                    <a:ext uri="{FF2B5EF4-FFF2-40B4-BE49-F238E27FC236}">
                      <a16:creationId xmlns:a16="http://schemas.microsoft.com/office/drawing/2014/main" id="{197B4C86-F568-4220-90BB-51248AE9327C}"/>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22" name="Straight Connector 421">
                  <a:extLst>
                    <a:ext uri="{FF2B5EF4-FFF2-40B4-BE49-F238E27FC236}">
                      <a16:creationId xmlns:a16="http://schemas.microsoft.com/office/drawing/2014/main" id="{B27C5EA8-AE5A-4BC0-A08A-282195AF3B61}"/>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15" name="Group 414">
                <a:extLst>
                  <a:ext uri="{FF2B5EF4-FFF2-40B4-BE49-F238E27FC236}">
                    <a16:creationId xmlns:a16="http://schemas.microsoft.com/office/drawing/2014/main" id="{7AC6DAA3-E8D4-40B4-A105-AA330FF37D10}"/>
                  </a:ext>
                </a:extLst>
              </p:cNvPr>
              <p:cNvGrpSpPr/>
              <p:nvPr/>
            </p:nvGrpSpPr>
            <p:grpSpPr>
              <a:xfrm>
                <a:off x="1654175" y="1587500"/>
                <a:ext cx="72000" cy="72000"/>
                <a:chOff x="3362230" y="3083700"/>
                <a:chExt cx="90000" cy="90000"/>
              </a:xfrm>
            </p:grpSpPr>
            <p:cxnSp>
              <p:nvCxnSpPr>
                <p:cNvPr id="419" name="Straight Connector 418">
                  <a:extLst>
                    <a:ext uri="{FF2B5EF4-FFF2-40B4-BE49-F238E27FC236}">
                      <a16:creationId xmlns:a16="http://schemas.microsoft.com/office/drawing/2014/main" id="{53C3C59B-4395-4142-B915-A545C3514E7D}"/>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20" name="Straight Connector 419">
                  <a:extLst>
                    <a:ext uri="{FF2B5EF4-FFF2-40B4-BE49-F238E27FC236}">
                      <a16:creationId xmlns:a16="http://schemas.microsoft.com/office/drawing/2014/main" id="{3B3E69B2-C782-499F-BE8D-DAABDDE0AC0C}"/>
                    </a:ext>
                  </a:extLst>
                </p:cNvPr>
                <p:cNvCxnSpPr/>
                <p:nvPr/>
              </p:nvCxnSpPr>
              <p:spPr>
                <a:xfrm rot="16200000">
                  <a:off x="3407230" y="3083701"/>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nvGrpSpPr>
              <p:cNvPr id="416" name="Group 415">
                <a:extLst>
                  <a:ext uri="{FF2B5EF4-FFF2-40B4-BE49-F238E27FC236}">
                    <a16:creationId xmlns:a16="http://schemas.microsoft.com/office/drawing/2014/main" id="{E6285D9A-3648-40E3-BC2E-953B3EE24C3E}"/>
                  </a:ext>
                </a:extLst>
              </p:cNvPr>
              <p:cNvGrpSpPr/>
              <p:nvPr/>
            </p:nvGrpSpPr>
            <p:grpSpPr>
              <a:xfrm>
                <a:off x="2162175" y="2740025"/>
                <a:ext cx="72001" cy="72000"/>
                <a:chOff x="3362220" y="3083700"/>
                <a:chExt cx="90001" cy="90000"/>
              </a:xfrm>
            </p:grpSpPr>
            <p:cxnSp>
              <p:nvCxnSpPr>
                <p:cNvPr id="417" name="Straight Connector 416">
                  <a:extLst>
                    <a:ext uri="{FF2B5EF4-FFF2-40B4-BE49-F238E27FC236}">
                      <a16:creationId xmlns:a16="http://schemas.microsoft.com/office/drawing/2014/main" id="{DEFF9F9C-F25B-4C7A-AFB1-467D233C883B}"/>
                    </a:ext>
                  </a:extLst>
                </p:cNvPr>
                <p:cNvCxnSpPr/>
                <p:nvPr/>
              </p:nvCxnSpPr>
              <p:spPr>
                <a:xfrm>
                  <a:off x="3407230" y="3083700"/>
                  <a:ext cx="0" cy="90000"/>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cxnSp>
              <p:nvCxnSpPr>
                <p:cNvPr id="418" name="Straight Connector 417">
                  <a:extLst>
                    <a:ext uri="{FF2B5EF4-FFF2-40B4-BE49-F238E27FC236}">
                      <a16:creationId xmlns:a16="http://schemas.microsoft.com/office/drawing/2014/main" id="{46E19A12-F847-4FDD-8C4C-30EBA253C0F3}"/>
                    </a:ext>
                  </a:extLst>
                </p:cNvPr>
                <p:cNvCxnSpPr/>
                <p:nvPr/>
              </p:nvCxnSpPr>
              <p:spPr>
                <a:xfrm rot="16200000">
                  <a:off x="3407221" y="3083687"/>
                  <a:ext cx="0" cy="90001"/>
                </a:xfrm>
                <a:prstGeom prst="line">
                  <a:avLst/>
                </a:prstGeom>
                <a:ln w="12700" cmpd="sng">
                  <a:solidFill>
                    <a:srgbClr val="262261"/>
                  </a:solidFill>
                </a:ln>
                <a:effectLst/>
              </p:spPr>
              <p:style>
                <a:lnRef idx="2">
                  <a:schemeClr val="accent1"/>
                </a:lnRef>
                <a:fillRef idx="0">
                  <a:schemeClr val="accent1"/>
                </a:fillRef>
                <a:effectRef idx="1">
                  <a:schemeClr val="accent1"/>
                </a:effectRef>
                <a:fontRef idx="minor">
                  <a:schemeClr val="tx1"/>
                </a:fontRef>
              </p:style>
            </p:cxnSp>
          </p:grpSp>
        </p:grpSp>
      </p:grpSp>
      <p:cxnSp>
        <p:nvCxnSpPr>
          <p:cNvPr id="395" name="Straight Connector 394">
            <a:extLst>
              <a:ext uri="{FF2B5EF4-FFF2-40B4-BE49-F238E27FC236}">
                <a16:creationId xmlns:a16="http://schemas.microsoft.com/office/drawing/2014/main" id="{2DCF47E8-3C11-4D23-85F1-180FD8903B5E}"/>
              </a:ext>
            </a:extLst>
          </p:cNvPr>
          <p:cNvCxnSpPr>
            <a:cxnSpLocks/>
          </p:cNvCxnSpPr>
          <p:nvPr/>
        </p:nvCxnSpPr>
        <p:spPr>
          <a:xfrm rot="16200000" flipH="1">
            <a:off x="6773601" y="1736867"/>
            <a:ext cx="0" cy="3770270"/>
          </a:xfrm>
          <a:prstGeom prst="line">
            <a:avLst/>
          </a:prstGeom>
          <a:ln w="19050" cap="sq" cmpd="sng" algn="ctr">
            <a:solidFill>
              <a:schemeClr val="tx1">
                <a:lumMod val="20000"/>
                <a:lumOff val="8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1" name="object 13">
            <a:extLst>
              <a:ext uri="{FF2B5EF4-FFF2-40B4-BE49-F238E27FC236}">
                <a16:creationId xmlns:a16="http://schemas.microsoft.com/office/drawing/2014/main" id="{3CE119A4-6619-41D3-905C-6A55B31580A7}"/>
              </a:ext>
            </a:extLst>
          </p:cNvPr>
          <p:cNvSpPr txBox="1"/>
          <p:nvPr/>
        </p:nvSpPr>
        <p:spPr>
          <a:xfrm rot="16200000">
            <a:off x="3724709" y="2503173"/>
            <a:ext cx="1146148" cy="16158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spAutoFit/>
          </a:bodyPr>
          <a:lstStyle>
            <a:defPPr>
              <a:defRPr lang="en-US"/>
            </a:defPPr>
            <a:lvl1pPr marR="0" lvl="0" indent="0" algn="ctr" fontAlgn="auto">
              <a:lnSpc>
                <a:spcPct val="100000"/>
              </a:lnSpc>
              <a:spcBef>
                <a:spcPct val="0"/>
              </a:spcBef>
              <a:spcAft>
                <a:spcPct val="0"/>
              </a:spcAft>
              <a:buClrTx/>
              <a:buSzTx/>
              <a:buFontTx/>
              <a:buNone/>
              <a:tabLst/>
              <a:defRPr kumimoji="0" sz="1200" b="1"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defTabSz="685800"/>
            <a:r>
              <a:rPr lang="en-GB" sz="1050">
                <a:latin typeface="Calibri" panose="020F0502020204030204"/>
                <a:cs typeface="Arial" panose="020B0604020202020204" pitchFamily="34" charset="0"/>
              </a:rPr>
              <a:t>Proportion surviving</a:t>
            </a:r>
          </a:p>
        </p:txBody>
      </p:sp>
      <p:sp>
        <p:nvSpPr>
          <p:cNvPr id="632" name="object 2">
            <a:extLst>
              <a:ext uri="{FF2B5EF4-FFF2-40B4-BE49-F238E27FC236}">
                <a16:creationId xmlns:a16="http://schemas.microsoft.com/office/drawing/2014/main" id="{91AAA909-1060-4FD7-932F-EDF15EABC450}"/>
              </a:ext>
            </a:extLst>
          </p:cNvPr>
          <p:cNvSpPr txBox="1"/>
          <p:nvPr/>
        </p:nvSpPr>
        <p:spPr>
          <a:xfrm>
            <a:off x="4515512" y="3509229"/>
            <a:ext cx="157138" cy="26848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defTabSz="685800"/>
            <a:r>
              <a:rPr sz="900">
                <a:solidFill>
                  <a:srgbClr val="544F40"/>
                </a:solidFill>
                <a:latin typeface="Calibri" panose="020F0502020204030204"/>
                <a:cs typeface="Arial" panose="020B0604020202020204" pitchFamily="34" charset="0"/>
              </a:rPr>
              <a:t>0.0</a:t>
            </a:r>
          </a:p>
        </p:txBody>
      </p:sp>
      <p:sp>
        <p:nvSpPr>
          <p:cNvPr id="633" name="object 3">
            <a:extLst>
              <a:ext uri="{FF2B5EF4-FFF2-40B4-BE49-F238E27FC236}">
                <a16:creationId xmlns:a16="http://schemas.microsoft.com/office/drawing/2014/main" id="{DB58DA0F-AED8-4947-BFFB-C747E2EF027B}"/>
              </a:ext>
            </a:extLst>
          </p:cNvPr>
          <p:cNvSpPr txBox="1"/>
          <p:nvPr/>
        </p:nvSpPr>
        <p:spPr>
          <a:xfrm>
            <a:off x="4515512" y="3109535"/>
            <a:ext cx="157138" cy="1252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defTabSz="685800"/>
            <a:r>
              <a:rPr sz="900">
                <a:solidFill>
                  <a:srgbClr val="544F40"/>
                </a:solidFill>
                <a:latin typeface="Calibri" panose="020F0502020204030204"/>
                <a:cs typeface="Arial" panose="020B0604020202020204" pitchFamily="34" charset="0"/>
              </a:rPr>
              <a:t>0.2</a:t>
            </a:r>
          </a:p>
        </p:txBody>
      </p:sp>
      <p:sp>
        <p:nvSpPr>
          <p:cNvPr id="634" name="object 4">
            <a:extLst>
              <a:ext uri="{FF2B5EF4-FFF2-40B4-BE49-F238E27FC236}">
                <a16:creationId xmlns:a16="http://schemas.microsoft.com/office/drawing/2014/main" id="{04C7C9B1-C932-467B-9557-CF9106CC1456}"/>
              </a:ext>
            </a:extLst>
          </p:cNvPr>
          <p:cNvSpPr txBox="1"/>
          <p:nvPr/>
        </p:nvSpPr>
        <p:spPr>
          <a:xfrm>
            <a:off x="4515512" y="2714542"/>
            <a:ext cx="157138" cy="1252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defTabSz="685800"/>
            <a:r>
              <a:rPr sz="900">
                <a:solidFill>
                  <a:srgbClr val="544F40"/>
                </a:solidFill>
                <a:latin typeface="Calibri" panose="020F0502020204030204"/>
                <a:cs typeface="Arial" panose="020B0604020202020204" pitchFamily="34" charset="0"/>
              </a:rPr>
              <a:t>0.4</a:t>
            </a:r>
          </a:p>
        </p:txBody>
      </p:sp>
      <p:sp>
        <p:nvSpPr>
          <p:cNvPr id="635" name="object 5">
            <a:extLst>
              <a:ext uri="{FF2B5EF4-FFF2-40B4-BE49-F238E27FC236}">
                <a16:creationId xmlns:a16="http://schemas.microsoft.com/office/drawing/2014/main" id="{BD2CCA6C-6419-4540-B850-9ACECEC4C30E}"/>
              </a:ext>
            </a:extLst>
          </p:cNvPr>
          <p:cNvSpPr txBox="1"/>
          <p:nvPr/>
        </p:nvSpPr>
        <p:spPr>
          <a:xfrm>
            <a:off x="4515512" y="2327467"/>
            <a:ext cx="157138" cy="1252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defTabSz="685800"/>
            <a:r>
              <a:rPr sz="900">
                <a:solidFill>
                  <a:srgbClr val="544F40"/>
                </a:solidFill>
                <a:latin typeface="Calibri" panose="020F0502020204030204"/>
                <a:cs typeface="Arial" panose="020B0604020202020204" pitchFamily="34" charset="0"/>
              </a:rPr>
              <a:t>0.6</a:t>
            </a:r>
          </a:p>
        </p:txBody>
      </p:sp>
      <p:sp>
        <p:nvSpPr>
          <p:cNvPr id="636" name="object 6">
            <a:extLst>
              <a:ext uri="{FF2B5EF4-FFF2-40B4-BE49-F238E27FC236}">
                <a16:creationId xmlns:a16="http://schemas.microsoft.com/office/drawing/2014/main" id="{C18E4218-76C4-48FC-9C11-FE756D7B0B94}"/>
              </a:ext>
            </a:extLst>
          </p:cNvPr>
          <p:cNvSpPr txBox="1"/>
          <p:nvPr/>
        </p:nvSpPr>
        <p:spPr>
          <a:xfrm>
            <a:off x="4515512" y="1932473"/>
            <a:ext cx="157138" cy="1252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defTabSz="685800"/>
            <a:r>
              <a:rPr sz="900">
                <a:solidFill>
                  <a:srgbClr val="544F40"/>
                </a:solidFill>
                <a:latin typeface="Calibri" panose="020F0502020204030204"/>
                <a:cs typeface="Arial" panose="020B0604020202020204" pitchFamily="34" charset="0"/>
              </a:rPr>
              <a:t>0.8</a:t>
            </a:r>
          </a:p>
        </p:txBody>
      </p:sp>
      <p:sp>
        <p:nvSpPr>
          <p:cNvPr id="637" name="object 7">
            <a:extLst>
              <a:ext uri="{FF2B5EF4-FFF2-40B4-BE49-F238E27FC236}">
                <a16:creationId xmlns:a16="http://schemas.microsoft.com/office/drawing/2014/main" id="{79916DF2-8DED-4346-AE2D-A9F223A4A3FA}"/>
              </a:ext>
            </a:extLst>
          </p:cNvPr>
          <p:cNvSpPr txBox="1"/>
          <p:nvPr/>
        </p:nvSpPr>
        <p:spPr>
          <a:xfrm>
            <a:off x="4515512" y="1532778"/>
            <a:ext cx="157138" cy="12529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defTabSz="685800"/>
            <a:r>
              <a:rPr sz="900">
                <a:solidFill>
                  <a:srgbClr val="544F40"/>
                </a:solidFill>
                <a:latin typeface="Calibri" panose="020F0502020204030204"/>
                <a:cs typeface="Arial" panose="020B0604020202020204" pitchFamily="34" charset="0"/>
              </a:rPr>
              <a:t>1.0</a:t>
            </a:r>
          </a:p>
        </p:txBody>
      </p:sp>
      <p:grpSp>
        <p:nvGrpSpPr>
          <p:cNvPr id="638" name="Group 637">
            <a:extLst>
              <a:ext uri="{FF2B5EF4-FFF2-40B4-BE49-F238E27FC236}">
                <a16:creationId xmlns:a16="http://schemas.microsoft.com/office/drawing/2014/main" id="{A16800BE-C38F-4DE5-ACAF-CEE721600035}"/>
              </a:ext>
            </a:extLst>
          </p:cNvPr>
          <p:cNvGrpSpPr/>
          <p:nvPr/>
        </p:nvGrpSpPr>
        <p:grpSpPr>
          <a:xfrm>
            <a:off x="4739898" y="1604299"/>
            <a:ext cx="67250" cy="1964399"/>
            <a:chOff x="6456005" y="1712895"/>
            <a:chExt cx="90000" cy="2628960"/>
          </a:xfrm>
        </p:grpSpPr>
        <p:cxnSp>
          <p:nvCxnSpPr>
            <p:cNvPr id="639" name="Straight Connector 638">
              <a:extLst>
                <a:ext uri="{FF2B5EF4-FFF2-40B4-BE49-F238E27FC236}">
                  <a16:creationId xmlns:a16="http://schemas.microsoft.com/office/drawing/2014/main" id="{405568FB-63F0-4CF0-955E-B78C9F98EDE7}"/>
                </a:ext>
              </a:extLst>
            </p:cNvPr>
            <p:cNvCxnSpPr>
              <a:cxnSpLocks/>
            </p:cNvCxnSpPr>
            <p:nvPr/>
          </p:nvCxnSpPr>
          <p:spPr>
            <a:xfrm rot="16200000" flipH="1">
              <a:off x="6501005" y="4296855"/>
              <a:ext cx="0" cy="90000"/>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4CA40F92-B146-45FC-954D-97CB135AFB4C}"/>
                </a:ext>
              </a:extLst>
            </p:cNvPr>
            <p:cNvCxnSpPr>
              <a:cxnSpLocks/>
            </p:cNvCxnSpPr>
            <p:nvPr/>
          </p:nvCxnSpPr>
          <p:spPr>
            <a:xfrm rot="16200000" flipH="1">
              <a:off x="6501005" y="3771065"/>
              <a:ext cx="0" cy="90000"/>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1" name="Straight Connector 640">
              <a:extLst>
                <a:ext uri="{FF2B5EF4-FFF2-40B4-BE49-F238E27FC236}">
                  <a16:creationId xmlns:a16="http://schemas.microsoft.com/office/drawing/2014/main" id="{22A3EFFE-6E82-4F40-A18B-D0EFC7FF9185}"/>
                </a:ext>
              </a:extLst>
            </p:cNvPr>
            <p:cNvCxnSpPr>
              <a:cxnSpLocks/>
            </p:cNvCxnSpPr>
            <p:nvPr/>
          </p:nvCxnSpPr>
          <p:spPr>
            <a:xfrm rot="16200000" flipH="1">
              <a:off x="6501005" y="3245272"/>
              <a:ext cx="0" cy="90000"/>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2" name="Straight Connector 641">
              <a:extLst>
                <a:ext uri="{FF2B5EF4-FFF2-40B4-BE49-F238E27FC236}">
                  <a16:creationId xmlns:a16="http://schemas.microsoft.com/office/drawing/2014/main" id="{E1F6702A-F778-461F-AF0B-E52AC2E62C64}"/>
                </a:ext>
              </a:extLst>
            </p:cNvPr>
            <p:cNvCxnSpPr>
              <a:cxnSpLocks/>
            </p:cNvCxnSpPr>
            <p:nvPr/>
          </p:nvCxnSpPr>
          <p:spPr>
            <a:xfrm rot="16200000" flipH="1">
              <a:off x="6501005" y="2719480"/>
              <a:ext cx="0" cy="90000"/>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3" name="Straight Connector 642">
              <a:extLst>
                <a:ext uri="{FF2B5EF4-FFF2-40B4-BE49-F238E27FC236}">
                  <a16:creationId xmlns:a16="http://schemas.microsoft.com/office/drawing/2014/main" id="{85F5F411-40E0-43CC-A1EE-A198F421950F}"/>
                </a:ext>
              </a:extLst>
            </p:cNvPr>
            <p:cNvCxnSpPr>
              <a:cxnSpLocks/>
            </p:cNvCxnSpPr>
            <p:nvPr/>
          </p:nvCxnSpPr>
          <p:spPr>
            <a:xfrm rot="16200000" flipH="1">
              <a:off x="6501005" y="2193687"/>
              <a:ext cx="0" cy="90000"/>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4" name="Straight Connector 643">
              <a:extLst>
                <a:ext uri="{FF2B5EF4-FFF2-40B4-BE49-F238E27FC236}">
                  <a16:creationId xmlns:a16="http://schemas.microsoft.com/office/drawing/2014/main" id="{3EFF5256-582C-493E-BBE3-5A118A8CFF8B}"/>
                </a:ext>
              </a:extLst>
            </p:cNvPr>
            <p:cNvCxnSpPr>
              <a:cxnSpLocks/>
            </p:cNvCxnSpPr>
            <p:nvPr/>
          </p:nvCxnSpPr>
          <p:spPr>
            <a:xfrm rot="16200000" flipH="1">
              <a:off x="6501005" y="1667895"/>
              <a:ext cx="0" cy="90000"/>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5" name="Freeform: Shape 644">
            <a:extLst>
              <a:ext uri="{FF2B5EF4-FFF2-40B4-BE49-F238E27FC236}">
                <a16:creationId xmlns:a16="http://schemas.microsoft.com/office/drawing/2014/main" id="{17F8938E-F0B7-4C94-B8E1-30E14ACF17E0}"/>
              </a:ext>
            </a:extLst>
          </p:cNvPr>
          <p:cNvSpPr/>
          <p:nvPr/>
        </p:nvSpPr>
        <p:spPr>
          <a:xfrm>
            <a:off x="4807148" y="1541595"/>
            <a:ext cx="3851580" cy="2084732"/>
          </a:xfrm>
          <a:custGeom>
            <a:avLst/>
            <a:gdLst>
              <a:gd name="connsiteX0" fmla="*/ 0 w 5059680"/>
              <a:gd name="connsiteY0" fmla="*/ 0 h 2956560"/>
              <a:gd name="connsiteX1" fmla="*/ 0 w 5059680"/>
              <a:gd name="connsiteY1" fmla="*/ 2956560 h 2956560"/>
              <a:gd name="connsiteX2" fmla="*/ 109728 w 5059680"/>
              <a:gd name="connsiteY2" fmla="*/ 2956560 h 2956560"/>
              <a:gd name="connsiteX3" fmla="*/ 5059680 w 5059680"/>
              <a:gd name="connsiteY3" fmla="*/ 2956560 h 2956560"/>
            </a:gdLst>
            <a:ahLst/>
            <a:cxnLst>
              <a:cxn ang="0">
                <a:pos x="connsiteX0" y="connsiteY0"/>
              </a:cxn>
              <a:cxn ang="0">
                <a:pos x="connsiteX1" y="connsiteY1"/>
              </a:cxn>
              <a:cxn ang="0">
                <a:pos x="connsiteX2" y="connsiteY2"/>
              </a:cxn>
              <a:cxn ang="0">
                <a:pos x="connsiteX3" y="connsiteY3"/>
              </a:cxn>
            </a:cxnLst>
            <a:rect l="l" t="t" r="r" b="b"/>
            <a:pathLst>
              <a:path w="5059680" h="2956560">
                <a:moveTo>
                  <a:pt x="0" y="0"/>
                </a:moveTo>
                <a:lnTo>
                  <a:pt x="0" y="2956560"/>
                </a:lnTo>
                <a:lnTo>
                  <a:pt x="109728" y="2956560"/>
                </a:lnTo>
                <a:lnTo>
                  <a:pt x="5059680" y="2956560"/>
                </a:lnTo>
              </a:path>
            </a:pathLst>
          </a:custGeom>
          <a:noFill/>
          <a:ln w="19050" cap="flat">
            <a:solidFill>
              <a:srgbClr val="544F40"/>
            </a:solidFill>
          </a:ln>
        </p:spPr>
        <p:style>
          <a:lnRef idx="0">
            <a:schemeClr val="accent1"/>
          </a:lnRef>
          <a:fillRef idx="1">
            <a:schemeClr val="accent1"/>
          </a:fillRef>
          <a:effectRef idx="0">
            <a:srgbClr val="000000"/>
          </a:effectRef>
          <a:fontRef idx="minor">
            <a:schemeClr val="lt1"/>
          </a:fontRef>
        </p:style>
        <p:txBody>
          <a:bodyPr rtlCol="0" anchor="ctr"/>
          <a:lstStyle/>
          <a:p>
            <a:pPr algn="ctr" defTabSz="685800"/>
            <a:endParaRPr lang="en-GB" sz="1350">
              <a:solidFill>
                <a:prstClr val="white"/>
              </a:solidFill>
              <a:latin typeface="Calibri" panose="020F0502020204030204"/>
              <a:cs typeface="Arial" panose="020B0604020202020204" pitchFamily="34" charset="0"/>
            </a:endParaRPr>
          </a:p>
        </p:txBody>
      </p:sp>
      <p:cxnSp>
        <p:nvCxnSpPr>
          <p:cNvPr id="646" name="Straight Connector 645">
            <a:extLst>
              <a:ext uri="{FF2B5EF4-FFF2-40B4-BE49-F238E27FC236}">
                <a16:creationId xmlns:a16="http://schemas.microsoft.com/office/drawing/2014/main" id="{AFD9621A-8F32-4011-A44C-1156177D76A9}"/>
              </a:ext>
            </a:extLst>
          </p:cNvPr>
          <p:cNvCxnSpPr/>
          <p:nvPr/>
        </p:nvCxnSpPr>
        <p:spPr>
          <a:xfrm>
            <a:off x="4890492" y="3627643"/>
            <a:ext cx="0" cy="63229"/>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8" name="Straight Connector 647">
            <a:extLst>
              <a:ext uri="{FF2B5EF4-FFF2-40B4-BE49-F238E27FC236}">
                <a16:creationId xmlns:a16="http://schemas.microsoft.com/office/drawing/2014/main" id="{9978600D-177F-4A38-AF9C-2408D0CF5A45}"/>
              </a:ext>
            </a:extLst>
          </p:cNvPr>
          <p:cNvCxnSpPr/>
          <p:nvPr/>
        </p:nvCxnSpPr>
        <p:spPr>
          <a:xfrm>
            <a:off x="5641475" y="3627643"/>
            <a:ext cx="0" cy="63229"/>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9" name="object 9">
            <a:extLst>
              <a:ext uri="{FF2B5EF4-FFF2-40B4-BE49-F238E27FC236}">
                <a16:creationId xmlns:a16="http://schemas.microsoft.com/office/drawing/2014/main" id="{DB7B1A1B-898C-4F6A-A831-531EB7567C45}"/>
              </a:ext>
            </a:extLst>
          </p:cNvPr>
          <p:cNvSpPr txBox="1"/>
          <p:nvPr/>
        </p:nvSpPr>
        <p:spPr>
          <a:xfrm>
            <a:off x="5573952" y="3779350"/>
            <a:ext cx="135049" cy="11421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algn="ctr" defTabSz="685800"/>
            <a:r>
              <a:rPr lang="en-US" sz="900">
                <a:latin typeface="Calibri" panose="020F0502020204030204"/>
                <a:cs typeface="Arial" panose="020B0604020202020204" pitchFamily="34" charset="0"/>
              </a:rPr>
              <a:t>10</a:t>
            </a:r>
            <a:endParaRPr sz="900">
              <a:latin typeface="Calibri" panose="020F0502020204030204"/>
              <a:cs typeface="Arial" panose="020B0604020202020204" pitchFamily="34" charset="0"/>
            </a:endParaRPr>
          </a:p>
        </p:txBody>
      </p:sp>
      <p:cxnSp>
        <p:nvCxnSpPr>
          <p:cNvPr id="650" name="Straight Connector 649">
            <a:extLst>
              <a:ext uri="{FF2B5EF4-FFF2-40B4-BE49-F238E27FC236}">
                <a16:creationId xmlns:a16="http://schemas.microsoft.com/office/drawing/2014/main" id="{3858E156-47CB-434B-B081-EF1FBA458A31}"/>
              </a:ext>
            </a:extLst>
          </p:cNvPr>
          <p:cNvCxnSpPr/>
          <p:nvPr/>
        </p:nvCxnSpPr>
        <p:spPr>
          <a:xfrm>
            <a:off x="6398934" y="3627643"/>
            <a:ext cx="0" cy="63229"/>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1" name="object 9">
            <a:extLst>
              <a:ext uri="{FF2B5EF4-FFF2-40B4-BE49-F238E27FC236}">
                <a16:creationId xmlns:a16="http://schemas.microsoft.com/office/drawing/2014/main" id="{5507FBFD-AC69-40AD-9E3A-D84F8CC1BD9C}"/>
              </a:ext>
            </a:extLst>
          </p:cNvPr>
          <p:cNvSpPr txBox="1"/>
          <p:nvPr/>
        </p:nvSpPr>
        <p:spPr>
          <a:xfrm>
            <a:off x="6331410" y="3779350"/>
            <a:ext cx="135049" cy="11421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algn="ctr" defTabSz="685800"/>
            <a:r>
              <a:rPr lang="en-US" sz="900">
                <a:latin typeface="Calibri" panose="020F0502020204030204"/>
                <a:cs typeface="Arial" panose="020B0604020202020204" pitchFamily="34" charset="0"/>
              </a:rPr>
              <a:t>20</a:t>
            </a:r>
            <a:endParaRPr sz="900">
              <a:latin typeface="Calibri" panose="020F0502020204030204"/>
              <a:cs typeface="Arial" panose="020B0604020202020204" pitchFamily="34" charset="0"/>
            </a:endParaRPr>
          </a:p>
        </p:txBody>
      </p:sp>
      <p:cxnSp>
        <p:nvCxnSpPr>
          <p:cNvPr id="652" name="Straight Connector 651">
            <a:extLst>
              <a:ext uri="{FF2B5EF4-FFF2-40B4-BE49-F238E27FC236}">
                <a16:creationId xmlns:a16="http://schemas.microsoft.com/office/drawing/2014/main" id="{A5D8B578-FB73-4BA7-918A-6311A6782C90}"/>
              </a:ext>
            </a:extLst>
          </p:cNvPr>
          <p:cNvCxnSpPr/>
          <p:nvPr/>
        </p:nvCxnSpPr>
        <p:spPr>
          <a:xfrm>
            <a:off x="7149248" y="3627643"/>
            <a:ext cx="0" cy="63229"/>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3" name="object 9">
            <a:extLst>
              <a:ext uri="{FF2B5EF4-FFF2-40B4-BE49-F238E27FC236}">
                <a16:creationId xmlns:a16="http://schemas.microsoft.com/office/drawing/2014/main" id="{B9E91D35-3ED8-4302-A860-61574F37F448}"/>
              </a:ext>
            </a:extLst>
          </p:cNvPr>
          <p:cNvSpPr txBox="1"/>
          <p:nvPr/>
        </p:nvSpPr>
        <p:spPr>
          <a:xfrm>
            <a:off x="7081725" y="3779350"/>
            <a:ext cx="135049" cy="11421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algn="ctr" defTabSz="685800"/>
            <a:r>
              <a:rPr lang="en-US" sz="900">
                <a:latin typeface="Calibri" panose="020F0502020204030204"/>
                <a:cs typeface="Arial" panose="020B0604020202020204" pitchFamily="34" charset="0"/>
              </a:rPr>
              <a:t>30</a:t>
            </a:r>
            <a:endParaRPr sz="900">
              <a:latin typeface="Calibri" panose="020F0502020204030204"/>
              <a:cs typeface="Arial" panose="020B0604020202020204" pitchFamily="34" charset="0"/>
            </a:endParaRPr>
          </a:p>
        </p:txBody>
      </p:sp>
      <p:cxnSp>
        <p:nvCxnSpPr>
          <p:cNvPr id="654" name="Straight Connector 653">
            <a:extLst>
              <a:ext uri="{FF2B5EF4-FFF2-40B4-BE49-F238E27FC236}">
                <a16:creationId xmlns:a16="http://schemas.microsoft.com/office/drawing/2014/main" id="{D8618AE9-4C96-45AC-8954-8EA77CE68F4E}"/>
              </a:ext>
            </a:extLst>
          </p:cNvPr>
          <p:cNvCxnSpPr/>
          <p:nvPr/>
        </p:nvCxnSpPr>
        <p:spPr>
          <a:xfrm>
            <a:off x="7909629" y="3627643"/>
            <a:ext cx="0" cy="63229"/>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5" name="object 9">
            <a:extLst>
              <a:ext uri="{FF2B5EF4-FFF2-40B4-BE49-F238E27FC236}">
                <a16:creationId xmlns:a16="http://schemas.microsoft.com/office/drawing/2014/main" id="{4890EDFA-B2A5-4CE7-960E-D1984A64071B}"/>
              </a:ext>
            </a:extLst>
          </p:cNvPr>
          <p:cNvSpPr txBox="1"/>
          <p:nvPr/>
        </p:nvSpPr>
        <p:spPr>
          <a:xfrm>
            <a:off x="7842105" y="3779350"/>
            <a:ext cx="135049" cy="11421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algn="ctr" defTabSz="685800"/>
            <a:r>
              <a:rPr lang="en-US" sz="900">
                <a:latin typeface="Calibri" panose="020F0502020204030204"/>
                <a:cs typeface="Arial" panose="020B0604020202020204" pitchFamily="34" charset="0"/>
              </a:rPr>
              <a:t>40</a:t>
            </a:r>
            <a:endParaRPr sz="900">
              <a:latin typeface="Calibri" panose="020F0502020204030204"/>
              <a:cs typeface="Arial" panose="020B0604020202020204" pitchFamily="34" charset="0"/>
            </a:endParaRPr>
          </a:p>
        </p:txBody>
      </p:sp>
      <p:cxnSp>
        <p:nvCxnSpPr>
          <p:cNvPr id="656" name="Straight Connector 655">
            <a:extLst>
              <a:ext uri="{FF2B5EF4-FFF2-40B4-BE49-F238E27FC236}">
                <a16:creationId xmlns:a16="http://schemas.microsoft.com/office/drawing/2014/main" id="{6C7E829B-6FF3-4D2C-827A-116BFC50CD4E}"/>
              </a:ext>
            </a:extLst>
          </p:cNvPr>
          <p:cNvCxnSpPr/>
          <p:nvPr/>
        </p:nvCxnSpPr>
        <p:spPr>
          <a:xfrm>
            <a:off x="8654599" y="3627643"/>
            <a:ext cx="0" cy="63229"/>
          </a:xfrm>
          <a:prstGeom prst="line">
            <a:avLst/>
          </a:prstGeom>
          <a:ln w="19050" cap="flat" cmpd="sng" algn="ctr">
            <a:solidFill>
              <a:srgbClr val="544F4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7" name="object 9">
            <a:extLst>
              <a:ext uri="{FF2B5EF4-FFF2-40B4-BE49-F238E27FC236}">
                <a16:creationId xmlns:a16="http://schemas.microsoft.com/office/drawing/2014/main" id="{B6F71CA3-FE23-4D3A-BB58-B314D90DF42C}"/>
              </a:ext>
            </a:extLst>
          </p:cNvPr>
          <p:cNvSpPr txBox="1"/>
          <p:nvPr/>
        </p:nvSpPr>
        <p:spPr>
          <a:xfrm>
            <a:off x="8587075" y="3779350"/>
            <a:ext cx="135049" cy="11421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en-US"/>
            </a:defPPr>
            <a:lvl1pPr marR="0" lvl="0" indent="0" algn="r" fontAlgn="auto">
              <a:lnSpc>
                <a:spcPct val="100000"/>
              </a:lnSpc>
              <a:spcBef>
                <a:spcPct val="0"/>
              </a:spcBef>
              <a:spcAft>
                <a:spcPct val="0"/>
              </a:spcAft>
              <a:buClrTx/>
              <a:buSzTx/>
              <a:buFontTx/>
              <a:buNone/>
              <a:tabLst/>
              <a:defRPr kumimoji="0" sz="1200" b="0"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algn="ctr" defTabSz="685800"/>
            <a:r>
              <a:rPr lang="en-US" sz="900">
                <a:latin typeface="Calibri" panose="020F0502020204030204"/>
                <a:cs typeface="Arial" panose="020B0604020202020204" pitchFamily="34" charset="0"/>
              </a:rPr>
              <a:t>50</a:t>
            </a:r>
            <a:endParaRPr sz="900">
              <a:latin typeface="Calibri" panose="020F0502020204030204"/>
              <a:cs typeface="Arial" panose="020B0604020202020204" pitchFamily="34" charset="0"/>
            </a:endParaRPr>
          </a:p>
        </p:txBody>
      </p:sp>
      <p:sp>
        <p:nvSpPr>
          <p:cNvPr id="658" name="object 11">
            <a:extLst>
              <a:ext uri="{FF2B5EF4-FFF2-40B4-BE49-F238E27FC236}">
                <a16:creationId xmlns:a16="http://schemas.microsoft.com/office/drawing/2014/main" id="{D25460A7-17FC-49AA-B19C-4FF78CFC25EB}"/>
              </a:ext>
            </a:extLst>
          </p:cNvPr>
          <p:cNvSpPr txBox="1"/>
          <p:nvPr/>
        </p:nvSpPr>
        <p:spPr>
          <a:xfrm>
            <a:off x="6281366" y="3927310"/>
            <a:ext cx="817531" cy="16158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spAutoFit/>
          </a:bodyPr>
          <a:lstStyle>
            <a:defPPr>
              <a:defRPr lang="en-US"/>
            </a:defPPr>
            <a:lvl1pPr marR="0" lvl="0" indent="0" algn="ctr" fontAlgn="auto">
              <a:lnSpc>
                <a:spcPct val="100000"/>
              </a:lnSpc>
              <a:spcBef>
                <a:spcPct val="0"/>
              </a:spcBef>
              <a:spcAft>
                <a:spcPct val="0"/>
              </a:spcAft>
              <a:buClrTx/>
              <a:buSzTx/>
              <a:buFontTx/>
              <a:buNone/>
              <a:tabLst/>
              <a:defRPr kumimoji="0" sz="1200" b="1" i="0" u="none" strike="noStrike" cap="none" spc="0" normalizeH="0" baseline="0">
                <a:ln>
                  <a:noFill/>
                </a:ln>
                <a:solidFill>
                  <a:srgbClr val="595454"/>
                </a:solidFill>
                <a:effectLst/>
                <a:uLnTx/>
                <a:uFillTx/>
                <a:latin typeface="Trebuchet MS"/>
              </a:defRPr>
            </a:lvl1pPr>
            <a:lvl2pPr indent="-228600">
              <a:lnSpc>
                <a:spcPct val="100000"/>
              </a:lnSpc>
              <a:spcBef>
                <a:spcPts val="400"/>
              </a:spcBef>
              <a:buFont typeface="Arial" panose="020B0604020202020204" pitchFamily="34" charset="0"/>
              <a:buChar char="•"/>
              <a:defRPr sz="2000">
                <a:latin typeface="Trebuchet MS" panose="020B0603020202020204" pitchFamily="34" charset="0"/>
              </a:defRPr>
            </a:lvl2pPr>
            <a:lvl3pPr marL="685800" indent="-228600">
              <a:lnSpc>
                <a:spcPct val="100000"/>
              </a:lnSpc>
              <a:spcBef>
                <a:spcPts val="400"/>
              </a:spcBef>
              <a:buFont typeface="Trebuchet MS" panose="020B0603020202020204" pitchFamily="34" charset="0"/>
              <a:buChar char="—"/>
              <a:defRPr sz="2000">
                <a:latin typeface="Trebuchet MS" panose="020B0603020202020204" pitchFamily="34" charset="0"/>
              </a:defRPr>
            </a:lvl3pPr>
            <a:lvl4pPr marL="914400" indent="-228600">
              <a:lnSpc>
                <a:spcPct val="100000"/>
              </a:lnSpc>
              <a:spcBef>
                <a:spcPts val="400"/>
              </a:spcBef>
              <a:buFont typeface="Trebuchet MS" panose="020B0603020202020204" pitchFamily="34" charset="0"/>
              <a:buChar char="—"/>
              <a:defRPr sz="2000"/>
            </a:lvl4pPr>
            <a:lvl5pPr marL="1143000" indent="-228600">
              <a:lnSpc>
                <a:spcPct val="100000"/>
              </a:lnSpc>
              <a:spcBef>
                <a:spcPts val="400"/>
              </a:spcBef>
              <a:buFont typeface="Trebuchet MS" panose="020B0603020202020204" pitchFamily="34" charset="0"/>
              <a:buChar char="—"/>
              <a:defRPr sz="2000"/>
            </a:lvl5pPr>
            <a:lvl6pPr marL="1371600" indent="-228600">
              <a:lnSpc>
                <a:spcPct val="100000"/>
              </a:lnSpc>
              <a:spcBef>
                <a:spcPts val="400"/>
              </a:spcBef>
              <a:buFont typeface="Trebuchet MS" panose="020B0603020202020204" pitchFamily="34" charset="0"/>
              <a:buChar char="—"/>
              <a:defRPr sz="2000"/>
            </a:lvl6pPr>
            <a:lvl7pPr marL="1600200" indent="-228600">
              <a:lnSpc>
                <a:spcPct val="100000"/>
              </a:lnSpc>
              <a:spcBef>
                <a:spcPts val="400"/>
              </a:spcBef>
              <a:buFont typeface="Trebuchet MS" panose="020B0603020202020204" pitchFamily="34" charset="0"/>
              <a:buChar char="—"/>
              <a:defRPr sz="2000"/>
            </a:lvl7pPr>
            <a:lvl8pPr marL="1828800" indent="-228600">
              <a:lnSpc>
                <a:spcPct val="100000"/>
              </a:lnSpc>
              <a:spcBef>
                <a:spcPts val="400"/>
              </a:spcBef>
              <a:buFont typeface="Trebuchet MS" panose="020B0603020202020204" pitchFamily="34" charset="0"/>
              <a:buChar char="—"/>
              <a:defRPr sz="2000"/>
            </a:lvl8pPr>
            <a:lvl9pPr marL="2057400" indent="-228600">
              <a:lnSpc>
                <a:spcPct val="100000"/>
              </a:lnSpc>
              <a:spcBef>
                <a:spcPts val="400"/>
              </a:spcBef>
              <a:buFont typeface="Trebuchet MS" panose="020B0603020202020204" pitchFamily="34" charset="0"/>
              <a:buChar char="—"/>
              <a:defRPr sz="2000"/>
            </a:lvl9pPr>
          </a:lstStyle>
          <a:p>
            <a:pPr defTabSz="685800"/>
            <a:r>
              <a:rPr lang="en-GB" sz="1050">
                <a:latin typeface="Calibri" panose="020F0502020204030204"/>
                <a:cs typeface="Arial" panose="020B0604020202020204" pitchFamily="34" charset="0"/>
              </a:rPr>
              <a:t>Time</a:t>
            </a:r>
            <a:r>
              <a:rPr sz="1050">
                <a:latin typeface="Calibri" panose="020F0502020204030204"/>
                <a:cs typeface="Arial" panose="020B0604020202020204" pitchFamily="34" charset="0"/>
              </a:rPr>
              <a:t> (</a:t>
            </a:r>
            <a:r>
              <a:rPr lang="en-US" sz="1050">
                <a:latin typeface="Calibri" panose="020F0502020204030204"/>
                <a:cs typeface="Arial" panose="020B0604020202020204" pitchFamily="34" charset="0"/>
              </a:rPr>
              <a:t>m</a:t>
            </a:r>
            <a:r>
              <a:rPr sz="1050">
                <a:latin typeface="Calibri" panose="020F0502020204030204"/>
                <a:cs typeface="Arial" panose="020B0604020202020204" pitchFamily="34" charset="0"/>
              </a:rPr>
              <a:t>onths)</a:t>
            </a:r>
          </a:p>
        </p:txBody>
      </p:sp>
      <p:sp>
        <p:nvSpPr>
          <p:cNvPr id="297" name="Rectangle 296">
            <a:extLst>
              <a:ext uri="{FF2B5EF4-FFF2-40B4-BE49-F238E27FC236}">
                <a16:creationId xmlns:a16="http://schemas.microsoft.com/office/drawing/2014/main" id="{70572A8C-B9F4-41AB-9C3A-9C5E224520FB}"/>
              </a:ext>
            </a:extLst>
          </p:cNvPr>
          <p:cNvSpPr/>
          <p:nvPr/>
        </p:nvSpPr>
        <p:spPr>
          <a:xfrm>
            <a:off x="464751" y="1115972"/>
            <a:ext cx="8214500" cy="305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spcAft>
                <a:spcPts val="450"/>
              </a:spcAft>
              <a:buClr>
                <a:srgbClr val="BC1282"/>
              </a:buClr>
              <a:buSzPct val="150000"/>
            </a:pPr>
            <a:r>
              <a:rPr lang="en-GB" sz="1200" b="1">
                <a:solidFill>
                  <a:srgbClr val="544F40"/>
                </a:solidFill>
                <a:latin typeface="Calibri" panose="020F0502020204030204"/>
                <a:cs typeface="Arial" panose="020B0604020202020204" pitchFamily="34" charset="0"/>
              </a:rPr>
              <a:t>A retrospective multicentre study to investigate natural history and outcomes of patients with refractory MM to CD38 mAbs</a:t>
            </a:r>
          </a:p>
        </p:txBody>
      </p:sp>
    </p:spTree>
    <p:extLst>
      <p:ext uri="{BB962C8B-B14F-4D97-AF65-F5344CB8AC3E}">
        <p14:creationId xmlns:p14="http://schemas.microsoft.com/office/powerpoint/2010/main" val="2946744498"/>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1" y="246680"/>
            <a:ext cx="91439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defTabSz="685800" eaLnBrk="1" hangingPunct="1"/>
            <a:r>
              <a:rPr lang="en-US" b="1">
                <a:solidFill>
                  <a:prstClr val="black"/>
                </a:solidFill>
              </a:rPr>
              <a:t>Anti-CD38 Will Cure MM?</a:t>
            </a:r>
          </a:p>
        </p:txBody>
      </p:sp>
      <p:pic>
        <p:nvPicPr>
          <p:cNvPr id="3074"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04068" y="1372573"/>
            <a:ext cx="4344582" cy="34120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ZoneTexte 5"/>
          <p:cNvSpPr txBox="1">
            <a:spLocks noChangeArrowheads="1"/>
          </p:cNvSpPr>
          <p:nvPr/>
        </p:nvSpPr>
        <p:spPr bwMode="auto">
          <a:xfrm>
            <a:off x="1" y="4908425"/>
            <a:ext cx="909002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85800" eaLnBrk="1" hangingPunct="1">
              <a:defRPr/>
            </a:pPr>
            <a:r>
              <a:rPr lang="fr-FR" sz="900">
                <a:solidFill>
                  <a:prstClr val="black"/>
                </a:solidFill>
                <a:latin typeface="Calibri" panose="020F0502020204030204"/>
              </a:rPr>
              <a:t>Moreau P, et al. </a:t>
            </a:r>
            <a:r>
              <a:rPr lang="fr-FR" sz="900" i="1">
                <a:solidFill>
                  <a:prstClr val="black"/>
                </a:solidFill>
                <a:latin typeface="Calibri" panose="020F0502020204030204"/>
              </a:rPr>
              <a:t>Lancet Oncol. </a:t>
            </a:r>
            <a:r>
              <a:rPr lang="fr-FR" sz="900">
                <a:solidFill>
                  <a:prstClr val="black"/>
                </a:solidFill>
                <a:latin typeface="Calibri" panose="020F0502020204030204"/>
              </a:rPr>
              <a:t>2021;22(10):1378-1390. </a:t>
            </a:r>
          </a:p>
        </p:txBody>
      </p:sp>
      <p:pic>
        <p:nvPicPr>
          <p:cNvPr id="7" name="Image 3">
            <a:extLst>
              <a:ext uri="{FF2B5EF4-FFF2-40B4-BE49-F238E27FC236}">
                <a16:creationId xmlns:a16="http://schemas.microsoft.com/office/drawing/2014/main" id="{C5DCDADF-4AAD-BD42-A479-B0A46A5D19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4733798" y="1488766"/>
            <a:ext cx="4030091" cy="2861371"/>
          </a:xfrm>
          <a:prstGeom prst="rect">
            <a:avLst/>
          </a:prstGeom>
        </p:spPr>
      </p:pic>
      <p:sp>
        <p:nvSpPr>
          <p:cNvPr id="2" name="TextBox 1">
            <a:extLst>
              <a:ext uri="{FF2B5EF4-FFF2-40B4-BE49-F238E27FC236}">
                <a16:creationId xmlns:a16="http://schemas.microsoft.com/office/drawing/2014/main" id="{E2FBB643-6D12-D945-AD7E-C88F85ADBF3E}"/>
              </a:ext>
            </a:extLst>
          </p:cNvPr>
          <p:cNvSpPr txBox="1"/>
          <p:nvPr/>
        </p:nvSpPr>
        <p:spPr>
          <a:xfrm>
            <a:off x="1918858" y="959566"/>
            <a:ext cx="1115568" cy="300082"/>
          </a:xfrm>
          <a:prstGeom prst="rect">
            <a:avLst/>
          </a:prstGeom>
          <a:noFill/>
        </p:spPr>
        <p:txBody>
          <a:bodyPr wrap="square" rtlCol="0">
            <a:spAutoFit/>
          </a:bodyPr>
          <a:lstStyle/>
          <a:p>
            <a:pPr algn="ctr" defTabSz="685800"/>
            <a:r>
              <a:rPr lang="en-FR" sz="1350" b="1">
                <a:solidFill>
                  <a:prstClr val="black"/>
                </a:solidFill>
                <a:latin typeface="Calibri" panose="020F0502020204030204"/>
              </a:rPr>
              <a:t>PFS</a:t>
            </a:r>
          </a:p>
        </p:txBody>
      </p:sp>
      <p:sp>
        <p:nvSpPr>
          <p:cNvPr id="3" name="Rectangle 2">
            <a:extLst>
              <a:ext uri="{FF2B5EF4-FFF2-40B4-BE49-F238E27FC236}">
                <a16:creationId xmlns:a16="http://schemas.microsoft.com/office/drawing/2014/main" id="{AFCD3E19-C736-314C-BB9E-33D87F4A62EE}"/>
              </a:ext>
            </a:extLst>
          </p:cNvPr>
          <p:cNvSpPr/>
          <p:nvPr/>
        </p:nvSpPr>
        <p:spPr>
          <a:xfrm>
            <a:off x="6382766" y="959567"/>
            <a:ext cx="886930" cy="276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b="1">
                <a:solidFill>
                  <a:prstClr val="black"/>
                </a:solidFill>
                <a:latin typeface="Calibri" panose="020F0502020204030204"/>
              </a:rPr>
              <a:t>OS</a:t>
            </a:r>
            <a:endParaRPr lang="en-FR" sz="1350" b="1">
              <a:solidFill>
                <a:prstClr val="black"/>
              </a:solidFill>
              <a:latin typeface="Calibri" panose="020F0502020204030204"/>
            </a:endParaRPr>
          </a:p>
        </p:txBody>
      </p:sp>
      <p:cxnSp>
        <p:nvCxnSpPr>
          <p:cNvPr id="9" name="Straight Connector 8">
            <a:extLst>
              <a:ext uri="{FF2B5EF4-FFF2-40B4-BE49-F238E27FC236}">
                <a16:creationId xmlns:a16="http://schemas.microsoft.com/office/drawing/2014/main" id="{524EB205-77B0-1646-A886-B3C9AAF61FC6}"/>
              </a:ext>
            </a:extLst>
          </p:cNvPr>
          <p:cNvCxnSpPr/>
          <p:nvPr/>
        </p:nvCxnSpPr>
        <p:spPr>
          <a:xfrm>
            <a:off x="1353313" y="1488766"/>
            <a:ext cx="280724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671571"/>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42F9AC-3EFE-0245-A76E-E63FCDE04ADD}"/>
              </a:ext>
            </a:extLst>
          </p:cNvPr>
          <p:cNvSpPr>
            <a:spLocks noGrp="1"/>
          </p:cNvSpPr>
          <p:nvPr>
            <p:ph type="title"/>
          </p:nvPr>
        </p:nvSpPr>
        <p:spPr>
          <a:xfrm>
            <a:off x="0" y="194098"/>
            <a:ext cx="9144000" cy="576548"/>
          </a:xfrm>
        </p:spPr>
        <p:txBody>
          <a:bodyPr>
            <a:normAutofit/>
          </a:bodyPr>
          <a:lstStyle/>
          <a:p>
            <a:pPr algn="ctr"/>
            <a:r>
              <a:rPr lang="en-US" sz="2400" b="1" noProof="0">
                <a:latin typeface="+mn-lt"/>
              </a:rPr>
              <a:t>Objective Is Sustained MRD</a:t>
            </a:r>
          </a:p>
        </p:txBody>
      </p:sp>
      <p:pic>
        <p:nvPicPr>
          <p:cNvPr id="4" name="Picture 3">
            <a:extLst>
              <a:ext uri="{FF2B5EF4-FFF2-40B4-BE49-F238E27FC236}">
                <a16:creationId xmlns:a16="http://schemas.microsoft.com/office/drawing/2014/main" id="{8CDA82D7-FFEC-4167-B271-8E4D234691C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6817" y="898399"/>
            <a:ext cx="7796393" cy="3346703"/>
          </a:xfrm>
          <a:prstGeom prst="rect">
            <a:avLst/>
          </a:prstGeom>
        </p:spPr>
      </p:pic>
      <p:sp>
        <p:nvSpPr>
          <p:cNvPr id="8" name="ZoneTexte 5">
            <a:extLst>
              <a:ext uri="{FF2B5EF4-FFF2-40B4-BE49-F238E27FC236}">
                <a16:creationId xmlns:a16="http://schemas.microsoft.com/office/drawing/2014/main" id="{18DCE44F-9BDB-42CB-AFA6-8CA777B2A441}"/>
              </a:ext>
            </a:extLst>
          </p:cNvPr>
          <p:cNvSpPr txBox="1">
            <a:spLocks noChangeArrowheads="1"/>
          </p:cNvSpPr>
          <p:nvPr/>
        </p:nvSpPr>
        <p:spPr bwMode="auto">
          <a:xfrm>
            <a:off x="1" y="4908424"/>
            <a:ext cx="909002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85800" eaLnBrk="1" hangingPunct="1">
              <a:defRPr/>
            </a:pPr>
            <a:r>
              <a:rPr lang="fr-FR" sz="900">
                <a:solidFill>
                  <a:prstClr val="black"/>
                </a:solidFill>
                <a:latin typeface="Calibri" panose="020F0502020204030204"/>
              </a:rPr>
              <a:t>Avet-Loiseau H, et al. ASH 2021. Abstract 82.</a:t>
            </a:r>
          </a:p>
        </p:txBody>
      </p:sp>
    </p:spTree>
    <p:extLst>
      <p:ext uri="{BB962C8B-B14F-4D97-AF65-F5344CB8AC3E}">
        <p14:creationId xmlns:p14="http://schemas.microsoft.com/office/powerpoint/2010/main" val="3659469778"/>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A2F75-9E07-CE41-92B6-A5FE89C1E783}"/>
              </a:ext>
            </a:extLst>
          </p:cNvPr>
          <p:cNvSpPr>
            <a:spLocks noGrp="1"/>
          </p:cNvSpPr>
          <p:nvPr>
            <p:ph type="title"/>
          </p:nvPr>
        </p:nvSpPr>
        <p:spPr>
          <a:xfrm>
            <a:off x="4" y="7975"/>
            <a:ext cx="9143996" cy="944724"/>
          </a:xfrm>
        </p:spPr>
        <p:txBody>
          <a:bodyPr>
            <a:normAutofit/>
          </a:bodyPr>
          <a:lstStyle/>
          <a:p>
            <a:pPr algn="ctr"/>
            <a:r>
              <a:rPr lang="en-US" sz="2400" b="1" noProof="0">
                <a:latin typeface="+mn-lt"/>
              </a:rPr>
              <a:t>CARTITUDE-1 Sustained MRD and Survival</a:t>
            </a:r>
          </a:p>
        </p:txBody>
      </p:sp>
      <p:pic>
        <p:nvPicPr>
          <p:cNvPr id="9" name="Picture 8">
            <a:extLst>
              <a:ext uri="{FF2B5EF4-FFF2-40B4-BE49-F238E27FC236}">
                <a16:creationId xmlns:a16="http://schemas.microsoft.com/office/drawing/2014/main" id="{CF5818C5-59FD-4F5F-AF75-417A993D4B8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881"/>
          <a:stretch/>
        </p:blipFill>
        <p:spPr>
          <a:xfrm>
            <a:off x="287043" y="764986"/>
            <a:ext cx="6997840" cy="4050470"/>
          </a:xfrm>
          <a:prstGeom prst="rect">
            <a:avLst/>
          </a:prstGeom>
        </p:spPr>
      </p:pic>
      <p:sp>
        <p:nvSpPr>
          <p:cNvPr id="11" name="Left Arrow 5">
            <a:extLst>
              <a:ext uri="{FF2B5EF4-FFF2-40B4-BE49-F238E27FC236}">
                <a16:creationId xmlns:a16="http://schemas.microsoft.com/office/drawing/2014/main" id="{BD6012D2-8C46-4FDF-818A-BFEA9B4A0B93}"/>
              </a:ext>
            </a:extLst>
          </p:cNvPr>
          <p:cNvSpPr/>
          <p:nvPr/>
        </p:nvSpPr>
        <p:spPr>
          <a:xfrm>
            <a:off x="6936606" y="1934957"/>
            <a:ext cx="533714" cy="174351"/>
          </a:xfrm>
          <a:prstGeom prst="leftArrow">
            <a:avLst/>
          </a:prstGeom>
          <a:solidFill>
            <a:schemeClr val="bg1"/>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FR" sz="1350">
              <a:solidFill>
                <a:prstClr val="white"/>
              </a:solidFill>
              <a:latin typeface="Calibri" panose="020F0502020204030204"/>
            </a:endParaRPr>
          </a:p>
        </p:txBody>
      </p:sp>
      <p:sp>
        <p:nvSpPr>
          <p:cNvPr id="12" name="TextBox 11">
            <a:extLst>
              <a:ext uri="{FF2B5EF4-FFF2-40B4-BE49-F238E27FC236}">
                <a16:creationId xmlns:a16="http://schemas.microsoft.com/office/drawing/2014/main" id="{AEC08577-C8B9-4E83-A55C-48D19EC91FEE}"/>
              </a:ext>
            </a:extLst>
          </p:cNvPr>
          <p:cNvSpPr txBox="1"/>
          <p:nvPr/>
        </p:nvSpPr>
        <p:spPr>
          <a:xfrm>
            <a:off x="7519307" y="1778331"/>
            <a:ext cx="1060704" cy="461665"/>
          </a:xfrm>
          <a:prstGeom prst="rect">
            <a:avLst/>
          </a:prstGeom>
          <a:noFill/>
        </p:spPr>
        <p:txBody>
          <a:bodyPr wrap="square" rtlCol="0">
            <a:spAutoFit/>
          </a:bodyPr>
          <a:lstStyle/>
          <a:p>
            <a:pPr algn="ctr" defTabSz="685800"/>
            <a:r>
              <a:rPr lang="en-FR" sz="2400" b="1">
                <a:solidFill>
                  <a:prstClr val="black"/>
                </a:solidFill>
                <a:latin typeface="Calibri" panose="020F0502020204030204"/>
              </a:rPr>
              <a:t>Cure?</a:t>
            </a:r>
          </a:p>
        </p:txBody>
      </p:sp>
      <p:sp>
        <p:nvSpPr>
          <p:cNvPr id="13" name="Rectangle 12">
            <a:extLst>
              <a:ext uri="{FF2B5EF4-FFF2-40B4-BE49-F238E27FC236}">
                <a16:creationId xmlns:a16="http://schemas.microsoft.com/office/drawing/2014/main" id="{CCCDE677-2F76-46DC-AA4C-9FEB3CA818E6}"/>
              </a:ext>
            </a:extLst>
          </p:cNvPr>
          <p:cNvSpPr/>
          <p:nvPr/>
        </p:nvSpPr>
        <p:spPr>
          <a:xfrm>
            <a:off x="6296149" y="2945847"/>
            <a:ext cx="2609318" cy="300082"/>
          </a:xfrm>
          <a:prstGeom prst="rect">
            <a:avLst/>
          </a:prstGeom>
        </p:spPr>
        <p:txBody>
          <a:bodyPr wrap="square">
            <a:spAutoFit/>
          </a:bodyPr>
          <a:lstStyle/>
          <a:p>
            <a:pPr defTabSz="685800"/>
            <a:endParaRPr lang="en-GB" sz="1350">
              <a:solidFill>
                <a:srgbClr val="660099"/>
              </a:solidFill>
              <a:latin typeface="arial" panose="020B0604020202020204" pitchFamily="34" charset="0"/>
              <a:hlinkClick r:id="rId3"/>
            </a:endParaRPr>
          </a:p>
        </p:txBody>
      </p:sp>
      <p:sp>
        <p:nvSpPr>
          <p:cNvPr id="15" name="TextBox 14">
            <a:extLst>
              <a:ext uri="{FF2B5EF4-FFF2-40B4-BE49-F238E27FC236}">
                <a16:creationId xmlns:a16="http://schemas.microsoft.com/office/drawing/2014/main" id="{90B89F90-253F-4107-A7A0-337AA38EA78D}"/>
              </a:ext>
            </a:extLst>
          </p:cNvPr>
          <p:cNvSpPr txBox="1"/>
          <p:nvPr/>
        </p:nvSpPr>
        <p:spPr>
          <a:xfrm>
            <a:off x="7187133" y="2579526"/>
            <a:ext cx="2000250" cy="715581"/>
          </a:xfrm>
          <a:prstGeom prst="rect">
            <a:avLst/>
          </a:prstGeom>
          <a:noFill/>
        </p:spPr>
        <p:txBody>
          <a:bodyPr wrap="square">
            <a:spAutoFit/>
          </a:bodyPr>
          <a:lstStyle/>
          <a:p>
            <a:pPr algn="ctr" defTabSz="685800"/>
            <a:r>
              <a:rPr lang="en-GB" sz="1350" b="1">
                <a:solidFill>
                  <a:srgbClr val="0563C1"/>
                </a:solidFill>
                <a:latin typeface="Calibri" panose="020F0502020204030204"/>
                <a:hlinkClick r:id="rId3">
                  <a:extLst>
                    <a:ext uri="{A12FA001-AC4F-418D-AE19-62706E023703}">
                      <ahyp:hlinkClr xmlns:ahyp="http://schemas.microsoft.com/office/drawing/2018/hyperlinkcolor" val="tx"/>
                    </a:ext>
                  </a:extLst>
                </a:hlinkClick>
              </a:rPr>
              <a:t>To Dream: </a:t>
            </a:r>
          </a:p>
          <a:p>
            <a:pPr algn="ctr" defTabSz="685800"/>
            <a:r>
              <a:rPr lang="en-GB" sz="1350" b="1">
                <a:solidFill>
                  <a:srgbClr val="0563C1"/>
                </a:solidFill>
                <a:latin typeface="Calibri" panose="020F0502020204030204"/>
                <a:hlinkClick r:id="rId3">
                  <a:extLst>
                    <a:ext uri="{A12FA001-AC4F-418D-AE19-62706E023703}">
                      <ahyp:hlinkClr xmlns:ahyp="http://schemas.microsoft.com/office/drawing/2018/hyperlinkcolor" val="tx"/>
                    </a:ext>
                  </a:extLst>
                </a:hlinkClick>
              </a:rPr>
              <a:t>It's the Very Essence</a:t>
            </a:r>
          </a:p>
          <a:p>
            <a:pPr algn="ctr" defTabSz="685800"/>
            <a:r>
              <a:rPr lang="en-GB" sz="1350" b="1">
                <a:solidFill>
                  <a:srgbClr val="0563C1"/>
                </a:solidFill>
                <a:latin typeface="Calibri" panose="020F0502020204030204"/>
                <a:hlinkClick r:id="rId3">
                  <a:extLst>
                    <a:ext uri="{A12FA001-AC4F-418D-AE19-62706E023703}">
                      <ahyp:hlinkClr xmlns:ahyp="http://schemas.microsoft.com/office/drawing/2018/hyperlinkcolor" val="tx"/>
                    </a:ext>
                  </a:extLst>
                </a:hlinkClick>
              </a:rPr>
              <a:t>of Being Human</a:t>
            </a:r>
            <a:endParaRPr lang="en-GB" sz="1350" b="1">
              <a:solidFill>
                <a:srgbClr val="00B0F0"/>
              </a:solidFill>
              <a:latin typeface="Calibri" panose="020F0502020204030204"/>
              <a:hlinkClick r:id="rId3">
                <a:extLst>
                  <a:ext uri="{A12FA001-AC4F-418D-AE19-62706E023703}">
                    <ahyp:hlinkClr xmlns:ahyp="http://schemas.microsoft.com/office/drawing/2018/hyperlinkcolor" val="tx"/>
                  </a:ext>
                </a:extLst>
              </a:hlinkClick>
            </a:endParaRPr>
          </a:p>
        </p:txBody>
      </p:sp>
      <p:sp>
        <p:nvSpPr>
          <p:cNvPr id="8" name="ZoneTexte 5">
            <a:extLst>
              <a:ext uri="{FF2B5EF4-FFF2-40B4-BE49-F238E27FC236}">
                <a16:creationId xmlns:a16="http://schemas.microsoft.com/office/drawing/2014/main" id="{2E5155C5-B1BC-4BFE-809D-C9E2DA26BAA3}"/>
              </a:ext>
            </a:extLst>
          </p:cNvPr>
          <p:cNvSpPr txBox="1">
            <a:spLocks noChangeArrowheads="1"/>
          </p:cNvSpPr>
          <p:nvPr/>
        </p:nvSpPr>
        <p:spPr bwMode="auto">
          <a:xfrm>
            <a:off x="1" y="4908424"/>
            <a:ext cx="909002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85800" eaLnBrk="1" hangingPunct="1">
              <a:defRPr/>
            </a:pPr>
            <a:r>
              <a:rPr lang="fr-FR" sz="900">
                <a:solidFill>
                  <a:prstClr val="black"/>
                </a:solidFill>
                <a:latin typeface="Calibri" panose="020F0502020204030204"/>
              </a:rPr>
              <a:t>Martin T, et al. ASH 2021. Abstract 549.</a:t>
            </a:r>
          </a:p>
        </p:txBody>
      </p:sp>
    </p:spTree>
    <p:extLst>
      <p:ext uri="{BB962C8B-B14F-4D97-AF65-F5344CB8AC3E}">
        <p14:creationId xmlns:p14="http://schemas.microsoft.com/office/powerpoint/2010/main" val="364025982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CF1B2-D004-0B46-A9A7-66DF7BCB5D9F}"/>
              </a:ext>
            </a:extLst>
          </p:cNvPr>
          <p:cNvSpPr>
            <a:spLocks noGrp="1"/>
          </p:cNvSpPr>
          <p:nvPr>
            <p:ph type="title"/>
          </p:nvPr>
        </p:nvSpPr>
        <p:spPr>
          <a:xfrm>
            <a:off x="0" y="38547"/>
            <a:ext cx="9144000" cy="896588"/>
          </a:xfrm>
        </p:spPr>
        <p:txBody>
          <a:bodyPr>
            <a:normAutofit/>
          </a:bodyPr>
          <a:lstStyle/>
          <a:p>
            <a:pPr algn="ctr"/>
            <a:r>
              <a:rPr lang="en-US" sz="2400" b="1" noProof="0">
                <a:latin typeface="+mn-lt"/>
              </a:rPr>
              <a:t>Cure NO; Soon Maybe With At Least 20 Years Follow-up</a:t>
            </a:r>
          </a:p>
        </p:txBody>
      </p:sp>
      <p:sp>
        <p:nvSpPr>
          <p:cNvPr id="3" name="Content Placeholder 2">
            <a:extLst>
              <a:ext uri="{FF2B5EF4-FFF2-40B4-BE49-F238E27FC236}">
                <a16:creationId xmlns:a16="http://schemas.microsoft.com/office/drawing/2014/main" id="{8EC365BF-9CCA-774C-8DBD-48C735142A54}"/>
              </a:ext>
            </a:extLst>
          </p:cNvPr>
          <p:cNvSpPr>
            <a:spLocks noGrp="1"/>
          </p:cNvSpPr>
          <p:nvPr>
            <p:ph idx="1"/>
          </p:nvPr>
        </p:nvSpPr>
        <p:spPr>
          <a:xfrm>
            <a:off x="358372" y="948823"/>
            <a:ext cx="6019038" cy="2141531"/>
          </a:xfrm>
        </p:spPr>
        <p:txBody>
          <a:bodyPr>
            <a:normAutofit/>
          </a:bodyPr>
          <a:lstStyle/>
          <a:p>
            <a:pPr marL="254794" indent="-254794"/>
            <a:r>
              <a:rPr lang="en-US" noProof="0"/>
              <a:t>In ultra good risk MM</a:t>
            </a:r>
          </a:p>
          <a:p>
            <a:pPr marL="0" indent="0">
              <a:buNone/>
            </a:pPr>
            <a:r>
              <a:rPr lang="en-US" noProof="0"/>
              <a:t>+</a:t>
            </a:r>
          </a:p>
          <a:p>
            <a:pPr marL="254794" indent="-254794"/>
            <a:r>
              <a:rPr lang="en-US" noProof="0"/>
              <a:t>In L1</a:t>
            </a:r>
          </a:p>
          <a:p>
            <a:pPr marL="0" indent="0">
              <a:buNone/>
            </a:pPr>
            <a:r>
              <a:rPr lang="en-US" noProof="0"/>
              <a:t>+</a:t>
            </a:r>
          </a:p>
          <a:p>
            <a:pPr marL="254794" indent="-254794"/>
            <a:r>
              <a:rPr lang="en-US" noProof="0"/>
              <a:t>In patients MRD negative at least at 10</a:t>
            </a:r>
            <a:r>
              <a:rPr lang="en-US" baseline="30000" noProof="0"/>
              <a:t>-6 </a:t>
            </a:r>
          </a:p>
          <a:p>
            <a:pPr marL="0" indent="0">
              <a:buNone/>
            </a:pPr>
            <a:endParaRPr lang="en-US" noProof="0"/>
          </a:p>
        </p:txBody>
      </p:sp>
    </p:spTree>
    <p:extLst>
      <p:ext uri="{BB962C8B-B14F-4D97-AF65-F5344CB8AC3E}">
        <p14:creationId xmlns:p14="http://schemas.microsoft.com/office/powerpoint/2010/main" val="43288402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1FC7F45-A63C-7E4D-BD5C-61CF565C98F4}"/>
              </a:ext>
            </a:extLst>
          </p:cNvPr>
          <p:cNvSpPr txBox="1"/>
          <p:nvPr/>
        </p:nvSpPr>
        <p:spPr>
          <a:xfrm>
            <a:off x="1399032" y="3035808"/>
            <a:ext cx="6728376" cy="830997"/>
          </a:xfrm>
          <a:prstGeom prst="rect">
            <a:avLst/>
          </a:prstGeom>
          <a:noFill/>
        </p:spPr>
        <p:txBody>
          <a:bodyPr wrap="square" rtlCol="0">
            <a:spAutoFit/>
          </a:bodyPr>
          <a:lstStyle/>
          <a:p>
            <a:pPr algn="ctr" defTabSz="685800"/>
            <a:r>
              <a:rPr lang="en-FR" sz="2400">
                <a:solidFill>
                  <a:prstClr val="black"/>
                </a:solidFill>
                <a:latin typeface="Calibri" panose="020F0502020204030204"/>
              </a:rPr>
              <a:t>I believe </a:t>
            </a:r>
            <a:r>
              <a:rPr lang="en-US" sz="2400">
                <a:solidFill>
                  <a:prstClr val="black"/>
                </a:solidFill>
                <a:latin typeface="Calibri" panose="020F0502020204030204"/>
              </a:rPr>
              <a:t>it’</a:t>
            </a:r>
            <a:r>
              <a:rPr lang="en-FR" sz="2400">
                <a:solidFill>
                  <a:prstClr val="black"/>
                </a:solidFill>
                <a:latin typeface="Calibri" panose="020F0502020204030204"/>
              </a:rPr>
              <a:t>s time to say CURE BEING WITHIN REACH for maybe 30</a:t>
            </a:r>
            <a:r>
              <a:rPr lang="en-US" sz="2400">
                <a:solidFill>
                  <a:prstClr val="black"/>
                </a:solidFill>
                <a:latin typeface="Calibri" panose="020F0502020204030204"/>
              </a:rPr>
              <a:t>%–</a:t>
            </a:r>
            <a:r>
              <a:rPr lang="en-FR" sz="2400">
                <a:solidFill>
                  <a:prstClr val="black"/>
                </a:solidFill>
                <a:latin typeface="Calibri" panose="020F0502020204030204"/>
              </a:rPr>
              <a:t>40% of patients</a:t>
            </a:r>
          </a:p>
        </p:txBody>
      </p:sp>
      <p:pic>
        <p:nvPicPr>
          <p:cNvPr id="4" name="Picture 3">
            <a:extLst>
              <a:ext uri="{FF2B5EF4-FFF2-40B4-BE49-F238E27FC236}">
                <a16:creationId xmlns:a16="http://schemas.microsoft.com/office/drawing/2014/main" id="{6180D28A-78B5-4769-BC2B-225543AC1ABB}"/>
              </a:ext>
            </a:extLst>
          </p:cNvPr>
          <p:cNvPicPr>
            <a:picLocks noChangeAspect="1"/>
          </p:cNvPicPr>
          <p:nvPr/>
        </p:nvPicPr>
        <p:blipFill>
          <a:blip r:embed="rId3"/>
          <a:stretch>
            <a:fillRect/>
          </a:stretch>
        </p:blipFill>
        <p:spPr>
          <a:xfrm>
            <a:off x="330825" y="90829"/>
            <a:ext cx="8649889" cy="2851205"/>
          </a:xfrm>
          <a:prstGeom prst="rect">
            <a:avLst/>
          </a:prstGeom>
        </p:spPr>
      </p:pic>
      <p:cxnSp>
        <p:nvCxnSpPr>
          <p:cNvPr id="3" name="Straight Connector 2">
            <a:extLst>
              <a:ext uri="{FF2B5EF4-FFF2-40B4-BE49-F238E27FC236}">
                <a16:creationId xmlns:a16="http://schemas.microsoft.com/office/drawing/2014/main" id="{687450BF-5F7A-4146-BE31-3AC8A427148A}"/>
              </a:ext>
            </a:extLst>
          </p:cNvPr>
          <p:cNvCxnSpPr>
            <a:cxnSpLocks/>
          </p:cNvCxnSpPr>
          <p:nvPr/>
        </p:nvCxnSpPr>
        <p:spPr>
          <a:xfrm>
            <a:off x="2738789" y="1928977"/>
            <a:ext cx="1926461"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30F2158-2041-4456-8308-C8378F12A1A3}"/>
              </a:ext>
            </a:extLst>
          </p:cNvPr>
          <p:cNvSpPr txBox="1"/>
          <p:nvPr/>
        </p:nvSpPr>
        <p:spPr>
          <a:xfrm>
            <a:off x="0" y="4915476"/>
            <a:ext cx="9233808" cy="230832"/>
          </a:xfrm>
          <a:prstGeom prst="rect">
            <a:avLst/>
          </a:prstGeom>
          <a:noFill/>
        </p:spPr>
        <p:txBody>
          <a:bodyPr wrap="square" anchor="b">
            <a:spAutoFit/>
          </a:bodyPr>
          <a:lstStyle/>
          <a:p>
            <a:pPr defTabSz="685800"/>
            <a:r>
              <a:rPr lang="en-US" sz="900">
                <a:solidFill>
                  <a:prstClr val="black"/>
                </a:solidFill>
                <a:latin typeface="Calibri" panose="020F0502020204030204"/>
              </a:rPr>
              <a:t>Gertz MA. </a:t>
            </a:r>
            <a:r>
              <a:rPr lang="nl-NL" sz="900" i="1">
                <a:solidFill>
                  <a:prstClr val="black"/>
                </a:solidFill>
                <a:latin typeface="Calibri" panose="020F0502020204030204"/>
              </a:rPr>
              <a:t>Leuk Lymphoma. </a:t>
            </a:r>
            <a:r>
              <a:rPr lang="nl-NL" sz="900">
                <a:solidFill>
                  <a:prstClr val="black"/>
                </a:solidFill>
                <a:latin typeface="Calibri" panose="020F0502020204030204"/>
              </a:rPr>
              <a:t>2018;59(11):2521-2523.</a:t>
            </a:r>
            <a:r>
              <a:rPr lang="en-US" sz="900">
                <a:solidFill>
                  <a:prstClr val="black"/>
                </a:solidFill>
                <a:latin typeface="Calibri" panose="020F0502020204030204"/>
              </a:rPr>
              <a:t> </a:t>
            </a:r>
          </a:p>
        </p:txBody>
      </p:sp>
    </p:spTree>
    <p:extLst>
      <p:ext uri="{BB962C8B-B14F-4D97-AF65-F5344CB8AC3E}">
        <p14:creationId xmlns:p14="http://schemas.microsoft.com/office/powerpoint/2010/main" val="28542271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580A40-ED86-824C-9ADD-2A726613D38F}"/>
              </a:ext>
            </a:extLst>
          </p:cNvPr>
          <p:cNvSpPr>
            <a:spLocks noGrp="1"/>
          </p:cNvSpPr>
          <p:nvPr>
            <p:ph type="title"/>
          </p:nvPr>
        </p:nvSpPr>
        <p:spPr>
          <a:xfrm>
            <a:off x="457200" y="66653"/>
            <a:ext cx="8229600" cy="535154"/>
          </a:xfrm>
        </p:spPr>
        <p:txBody>
          <a:bodyPr>
            <a:normAutofit/>
          </a:bodyPr>
          <a:lstStyle/>
          <a:p>
            <a:r>
              <a:rPr lang="en-US" sz="2400" b="1" noProof="0">
                <a:solidFill>
                  <a:srgbClr val="0070C0"/>
                </a:solidFill>
                <a:latin typeface="Arial" panose="020B0604020202020204" pitchFamily="34" charset="0"/>
                <a:cs typeface="Arial" panose="020B0604020202020204" pitchFamily="34" charset="0"/>
              </a:rPr>
              <a:t>Prevalence by age, sex, and race</a:t>
            </a:r>
          </a:p>
        </p:txBody>
      </p:sp>
      <p:pic>
        <p:nvPicPr>
          <p:cNvPr id="4" name="Content Placeholder 3" descr="Chart, bar chart, box and whisker chart&#10;&#10;Description automatically generated">
            <a:extLst>
              <a:ext uri="{FF2B5EF4-FFF2-40B4-BE49-F238E27FC236}">
                <a16:creationId xmlns:a16="http://schemas.microsoft.com/office/drawing/2014/main" id="{BB2F3541-B8DB-0649-9FB6-91BA7741A567}"/>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69317" y="601807"/>
            <a:ext cx="9005367" cy="4112628"/>
          </a:xfrm>
          <a:prstGeom prst="rect">
            <a:avLst/>
          </a:prstGeom>
        </p:spPr>
      </p:pic>
      <p:sp>
        <p:nvSpPr>
          <p:cNvPr id="5" name="TextBox 4">
            <a:extLst>
              <a:ext uri="{FF2B5EF4-FFF2-40B4-BE49-F238E27FC236}">
                <a16:creationId xmlns:a16="http://schemas.microsoft.com/office/drawing/2014/main" id="{02251E29-5060-42C0-A6F1-6882A8FC202F}"/>
              </a:ext>
            </a:extLst>
          </p:cNvPr>
          <p:cNvSpPr txBox="1"/>
          <p:nvPr/>
        </p:nvSpPr>
        <p:spPr>
          <a:xfrm>
            <a:off x="7258050" y="4897280"/>
            <a:ext cx="1885950" cy="246221"/>
          </a:xfrm>
          <a:prstGeom prst="rect">
            <a:avLst/>
          </a:prstGeom>
          <a:noFill/>
        </p:spPr>
        <p:txBody>
          <a:bodyPr wrap="square" rtlCol="0" anchor="b">
            <a:spAutoFit/>
          </a:bodyPr>
          <a:lstStyle/>
          <a:p>
            <a:pPr algn="r" defTabSz="685800"/>
            <a:r>
              <a:rPr lang="en-US" sz="1000" i="1">
                <a:solidFill>
                  <a:prstClr val="black"/>
                </a:solidFill>
                <a:latin typeface="Arial" panose="020B0604020202020204" pitchFamily="34" charset="0"/>
                <a:cs typeface="Arial" panose="020B0604020202020204" pitchFamily="34" charset="0"/>
              </a:rPr>
              <a:t>Lancet Haematol</a:t>
            </a:r>
            <a:r>
              <a:rPr lang="en-US" sz="1000">
                <a:solidFill>
                  <a:prstClr val="black"/>
                </a:solidFill>
                <a:latin typeface="Arial" panose="020B0604020202020204" pitchFamily="34" charset="0"/>
                <a:cs typeface="Arial" panose="020B0604020202020204" pitchFamily="34" charset="0"/>
              </a:rPr>
              <a:t>. In press.</a:t>
            </a:r>
          </a:p>
        </p:txBody>
      </p:sp>
    </p:spTree>
    <p:extLst>
      <p:ext uri="{BB962C8B-B14F-4D97-AF65-F5344CB8AC3E}">
        <p14:creationId xmlns:p14="http://schemas.microsoft.com/office/powerpoint/2010/main" val="201430199"/>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41620" y="1111056"/>
            <a:ext cx="2525203" cy="25252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a:extLst>
              <a:ext uri="{FF2B5EF4-FFF2-40B4-BE49-F238E27FC236}">
                <a16:creationId xmlns:a16="http://schemas.microsoft.com/office/drawing/2014/main" id="{E44241F0-78C0-844C-950E-14D6B950B44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346972" y="917083"/>
            <a:ext cx="3095500" cy="3309334"/>
          </a:xfrm>
          <a:prstGeom prst="rect">
            <a:avLst/>
          </a:prstGeom>
        </p:spPr>
      </p:pic>
      <p:sp>
        <p:nvSpPr>
          <p:cNvPr id="8" name="Right Arrow 7">
            <a:extLst>
              <a:ext uri="{FF2B5EF4-FFF2-40B4-BE49-F238E27FC236}">
                <a16:creationId xmlns:a16="http://schemas.microsoft.com/office/drawing/2014/main" id="{D1C7DED5-5718-2F48-8AD0-5B617EB1E135}"/>
              </a:ext>
            </a:extLst>
          </p:cNvPr>
          <p:cNvSpPr/>
          <p:nvPr/>
        </p:nvSpPr>
        <p:spPr bwMode="auto">
          <a:xfrm>
            <a:off x="3757034" y="2292856"/>
            <a:ext cx="877733" cy="161603"/>
          </a:xfrm>
          <a:prstGeom prst="rightArrow">
            <a:avLst/>
          </a:prstGeom>
          <a:noFill/>
          <a:ln w="9525" cap="flat" cmpd="sng" algn="ctr">
            <a:noFill/>
            <a:prstDash val="solid"/>
            <a:round/>
            <a:headEnd type="none" w="med" len="med"/>
            <a:tailEnd type="none" w="med" len="med"/>
          </a:ln>
          <a:effectLst/>
        </p:spPr>
        <p:txBody>
          <a:bodyPr vert="horz" wrap="square" lIns="38576" tIns="19289" rIns="38576" bIns="19289" numCol="1" rtlCol="0" anchor="t" anchorCtr="0" compatLnSpc="1">
            <a:prstTxWarp prst="textNoShape">
              <a:avLst/>
            </a:prstTxWarp>
          </a:bodyPr>
          <a:lstStyle/>
          <a:p>
            <a:pPr algn="ctr" defTabSz="385763">
              <a:spcBef>
                <a:spcPct val="20000"/>
              </a:spcBef>
            </a:pPr>
            <a:endParaRPr lang="en-US" sz="760" b="1">
              <a:solidFill>
                <a:prstClr val="black"/>
              </a:solidFill>
              <a:latin typeface="Times New Roman" pitchFamily="18" charset="0"/>
            </a:endParaRPr>
          </a:p>
        </p:txBody>
      </p:sp>
      <p:sp>
        <p:nvSpPr>
          <p:cNvPr id="9" name="Right Arrow 8">
            <a:extLst>
              <a:ext uri="{FF2B5EF4-FFF2-40B4-BE49-F238E27FC236}">
                <a16:creationId xmlns:a16="http://schemas.microsoft.com/office/drawing/2014/main" id="{AE15D3BE-7EBC-C74F-A025-E3E9E614A1C5}"/>
              </a:ext>
            </a:extLst>
          </p:cNvPr>
          <p:cNvSpPr/>
          <p:nvPr/>
        </p:nvSpPr>
        <p:spPr bwMode="auto">
          <a:xfrm>
            <a:off x="3620171" y="1982732"/>
            <a:ext cx="1726801" cy="795145"/>
          </a:xfrm>
          <a:prstGeom prst="rightArrow">
            <a:avLst/>
          </a:prstGeom>
          <a:solidFill>
            <a:schemeClr val="accent2"/>
          </a:solidFill>
          <a:ln w="9525" cap="flat" cmpd="sng" algn="ctr">
            <a:noFill/>
            <a:prstDash val="solid"/>
            <a:round/>
            <a:headEnd type="none" w="med" len="med"/>
            <a:tailEnd type="none" w="med" len="med"/>
          </a:ln>
          <a:effectLst/>
        </p:spPr>
        <p:txBody>
          <a:bodyPr vert="horz" wrap="square" lIns="38576" tIns="19289" rIns="38576" bIns="19289" numCol="1" rtlCol="0" anchor="t" anchorCtr="0" compatLnSpc="1">
            <a:prstTxWarp prst="textNoShape">
              <a:avLst/>
            </a:prstTxWarp>
          </a:bodyPr>
          <a:lstStyle/>
          <a:p>
            <a:pPr algn="ctr" defTabSz="385763">
              <a:spcBef>
                <a:spcPct val="20000"/>
              </a:spcBef>
            </a:pPr>
            <a:endParaRPr lang="en-US" sz="760" b="1">
              <a:solidFill>
                <a:prstClr val="black"/>
              </a:solidFill>
              <a:latin typeface="Times New Roman" pitchFamily="18" charset="0"/>
            </a:endParaRPr>
          </a:p>
        </p:txBody>
      </p:sp>
      <p:sp>
        <p:nvSpPr>
          <p:cNvPr id="10" name="TextBox 9">
            <a:extLst>
              <a:ext uri="{FF2B5EF4-FFF2-40B4-BE49-F238E27FC236}">
                <a16:creationId xmlns:a16="http://schemas.microsoft.com/office/drawing/2014/main" id="{E6C4E27A-BE5C-954F-8583-DB686D2D7C18}"/>
              </a:ext>
            </a:extLst>
          </p:cNvPr>
          <p:cNvSpPr txBox="1"/>
          <p:nvPr/>
        </p:nvSpPr>
        <p:spPr>
          <a:xfrm>
            <a:off x="3797030" y="2230830"/>
            <a:ext cx="1092847" cy="323165"/>
          </a:xfrm>
          <a:prstGeom prst="rect">
            <a:avLst/>
          </a:prstGeom>
          <a:noFill/>
        </p:spPr>
        <p:txBody>
          <a:bodyPr wrap="square" rtlCol="0">
            <a:spAutoFit/>
          </a:bodyPr>
          <a:lstStyle/>
          <a:p>
            <a:pPr algn="ctr" defTabSz="685800"/>
            <a:r>
              <a:rPr lang="en-US" sz="1500">
                <a:solidFill>
                  <a:prstClr val="white"/>
                </a:solidFill>
                <a:latin typeface="Calibri" panose="020F0502020204030204"/>
              </a:rPr>
              <a:t>2020–2030</a:t>
            </a:r>
          </a:p>
        </p:txBody>
      </p:sp>
      <p:sp>
        <p:nvSpPr>
          <p:cNvPr id="2" name="Title 1"/>
          <p:cNvSpPr>
            <a:spLocks noGrp="1"/>
          </p:cNvSpPr>
          <p:nvPr>
            <p:ph type="title"/>
          </p:nvPr>
        </p:nvSpPr>
        <p:spPr>
          <a:xfrm rot="20851258">
            <a:off x="3756874" y="3019613"/>
            <a:ext cx="1863317" cy="804995"/>
          </a:xfrm>
        </p:spPr>
        <p:txBody>
          <a:bodyPr>
            <a:normAutofit/>
          </a:bodyPr>
          <a:lstStyle/>
          <a:p>
            <a:r>
              <a:rPr lang="en-US" sz="3000" noProof="0"/>
              <a:t>Merci!</a:t>
            </a:r>
          </a:p>
        </p:txBody>
      </p:sp>
    </p:spTree>
    <p:extLst>
      <p:ext uri="{BB962C8B-B14F-4D97-AF65-F5344CB8AC3E}">
        <p14:creationId xmlns:p14="http://schemas.microsoft.com/office/powerpoint/2010/main" val="937313855"/>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30D257-64B5-427E-8A99-47116EE43388}"/>
              </a:ext>
            </a:extLst>
          </p:cNvPr>
          <p:cNvSpPr>
            <a:spLocks noGrp="1"/>
          </p:cNvSpPr>
          <p:nvPr>
            <p:ph type="title"/>
          </p:nvPr>
        </p:nvSpPr>
        <p:spPr>
          <a:xfrm>
            <a:off x="915762" y="188166"/>
            <a:ext cx="8030276" cy="527130"/>
          </a:xfrm>
        </p:spPr>
        <p:txBody>
          <a:bodyPr/>
          <a:lstStyle/>
          <a:p>
            <a:pPr>
              <a:lnSpc>
                <a:spcPct val="100000"/>
              </a:lnSpc>
            </a:pPr>
            <a:r>
              <a:rPr lang="en-US" noProof="0"/>
              <a:t>Post-Debate Question for the Audience</a:t>
            </a:r>
          </a:p>
        </p:txBody>
      </p:sp>
      <p:grpSp>
        <p:nvGrpSpPr>
          <p:cNvPr id="6" name="Group 5">
            <a:extLst>
              <a:ext uri="{FF2B5EF4-FFF2-40B4-BE49-F238E27FC236}">
                <a16:creationId xmlns:a16="http://schemas.microsoft.com/office/drawing/2014/main" id="{28F5209D-63A1-41D3-B3B0-98F81145CA5A}"/>
              </a:ext>
            </a:extLst>
          </p:cNvPr>
          <p:cNvGrpSpPr/>
          <p:nvPr/>
        </p:nvGrpSpPr>
        <p:grpSpPr>
          <a:xfrm>
            <a:off x="69157" y="67379"/>
            <a:ext cx="720000" cy="720000"/>
            <a:chOff x="8151603" y="218984"/>
            <a:chExt cx="720000" cy="720000"/>
          </a:xfrm>
        </p:grpSpPr>
        <p:sp>
          <p:nvSpPr>
            <p:cNvPr id="7" name="Teardrop 6">
              <a:extLst>
                <a:ext uri="{FF2B5EF4-FFF2-40B4-BE49-F238E27FC236}">
                  <a16:creationId xmlns:a16="http://schemas.microsoft.com/office/drawing/2014/main" id="{C00DA4AE-034A-439B-8A25-0F46F41F706E}"/>
                </a:ext>
              </a:extLst>
            </p:cNvPr>
            <p:cNvSpPr/>
            <p:nvPr/>
          </p:nvSpPr>
          <p:spPr bwMode="auto">
            <a:xfrm rot="5400000">
              <a:off x="8151603" y="218984"/>
              <a:ext cx="720000" cy="720000"/>
            </a:xfrm>
            <a:prstGeom prst="teardrop">
              <a:avLst/>
            </a:prstGeom>
            <a:solidFill>
              <a:srgbClr val="00AAB8"/>
            </a:solidFill>
            <a:ln>
              <a:solidFill>
                <a:srgbClr val="00AAB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NL" sz="2800" b="1" i="0" u="none" strike="noStrike" kern="1200" cap="none" spc="0" normalizeH="0" baseline="0" noProof="0">
                <a:ln>
                  <a:noFill/>
                </a:ln>
                <a:solidFill>
                  <a:srgbClr val="FFFF00"/>
                </a:solidFill>
                <a:effectLst/>
                <a:uLnTx/>
                <a:uFillTx/>
                <a:latin typeface="Arial" pitchFamily="34" charset="0"/>
                <a:ea typeface="+mn-ea"/>
                <a:cs typeface="+mn-cs"/>
              </a:endParaRPr>
            </a:p>
          </p:txBody>
        </p:sp>
        <p:sp>
          <p:nvSpPr>
            <p:cNvPr id="8" name="TextBox 7">
              <a:extLst>
                <a:ext uri="{FF2B5EF4-FFF2-40B4-BE49-F238E27FC236}">
                  <a16:creationId xmlns:a16="http://schemas.microsoft.com/office/drawing/2014/main" id="{4721886D-F37C-48C4-BB40-FE6BE08D56AB}"/>
                </a:ext>
              </a:extLst>
            </p:cNvPr>
            <p:cNvSpPr txBox="1"/>
            <p:nvPr/>
          </p:nvSpPr>
          <p:spPr>
            <a:xfrm>
              <a:off x="8278208" y="255820"/>
              <a:ext cx="466795" cy="646331"/>
            </a:xfrm>
            <a:prstGeom prst="rect">
              <a:avLst/>
            </a:prstGeom>
            <a:noFill/>
            <a:ln>
              <a:noFill/>
            </a:ln>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NL"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Content Placeholder 4">
            <a:extLst>
              <a:ext uri="{FF2B5EF4-FFF2-40B4-BE49-F238E27FC236}">
                <a16:creationId xmlns:a16="http://schemas.microsoft.com/office/drawing/2014/main" id="{6BB03E20-903E-46CA-8C77-DA30B59996E4}"/>
              </a:ext>
            </a:extLst>
          </p:cNvPr>
          <p:cNvSpPr>
            <a:spLocks noGrp="1"/>
          </p:cNvSpPr>
          <p:nvPr>
            <p:ph idx="1"/>
          </p:nvPr>
        </p:nvSpPr>
        <p:spPr>
          <a:xfrm>
            <a:off x="267597" y="870305"/>
            <a:ext cx="8776355" cy="3378958"/>
          </a:xfrm>
        </p:spPr>
        <p:txBody>
          <a:bodyPr/>
          <a:lstStyle/>
          <a:p>
            <a:pPr marL="0" indent="0">
              <a:buNone/>
            </a:pPr>
            <a:r>
              <a:rPr lang="en-US" noProof="0">
                <a:latin typeface="Arial" panose="020B0604020202020204" pitchFamily="34" charset="0"/>
              </a:rPr>
              <a:t>In your opinion, is multiple myeloma curable?</a:t>
            </a:r>
          </a:p>
          <a:p>
            <a:pPr marL="342900" lvl="0" indent="-342900" fontAlgn="base">
              <a:buFont typeface="+mj-lt"/>
              <a:buAutoNum type="arabicPeriod"/>
            </a:pPr>
            <a:r>
              <a:rPr lang="en-US" sz="1800" noProof="0">
                <a:effectLst/>
                <a:latin typeface="Arial" panose="020B0604020202020204" pitchFamily="34" charset="0"/>
                <a:ea typeface="Arial" panose="020B0604020202020204" pitchFamily="34" charset="0"/>
                <a:cs typeface="Arial" panose="020B0604020202020204" pitchFamily="34" charset="0"/>
              </a:rPr>
              <a:t>Yes</a:t>
            </a:r>
            <a:endParaRPr lang="en-US" sz="1800" noProof="0">
              <a:effectLst/>
              <a:latin typeface="Arial" panose="020B0604020202020204" pitchFamily="34" charset="0"/>
              <a:ea typeface="Arial" panose="020B0604020202020204" pitchFamily="34" charset="0"/>
              <a:cs typeface="Times New Roman" panose="02020603050405020304" pitchFamily="18" charset="0"/>
            </a:endParaRPr>
          </a:p>
          <a:p>
            <a:pPr marL="342900" lvl="0" indent="-342900" fontAlgn="base">
              <a:buFont typeface="+mj-lt"/>
              <a:buAutoNum type="arabicPeriod"/>
            </a:pPr>
            <a:r>
              <a:rPr lang="en-US" sz="1800" noProof="0">
                <a:effectLst/>
                <a:latin typeface="Arial" panose="020B0604020202020204" pitchFamily="34" charset="0"/>
                <a:ea typeface="Arial" panose="020B0604020202020204" pitchFamily="34" charset="0"/>
                <a:cs typeface="Arial" panose="020B0604020202020204" pitchFamily="34" charset="0"/>
              </a:rPr>
              <a:t>No</a:t>
            </a:r>
            <a:endParaRPr lang="en-US" sz="1800" noProof="0">
              <a:effectLst/>
              <a:latin typeface="Arial" panose="020B0604020202020204" pitchFamily="34" charset="0"/>
              <a:ea typeface="Arial" panose="020B0604020202020204" pitchFamily="34" charset="0"/>
              <a:cs typeface="Times New Roman" panose="02020603050405020304" pitchFamily="18" charset="0"/>
            </a:endParaRPr>
          </a:p>
          <a:p>
            <a:endParaRPr lang="en-US" noProof="0"/>
          </a:p>
        </p:txBody>
      </p:sp>
    </p:spTree>
    <p:extLst>
      <p:ext uri="{BB962C8B-B14F-4D97-AF65-F5344CB8AC3E}">
        <p14:creationId xmlns:p14="http://schemas.microsoft.com/office/powerpoint/2010/main" val="361672063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871EA-1F01-48C4-B482-CB79F20CA107}"/>
              </a:ext>
            </a:extLst>
          </p:cNvPr>
          <p:cNvSpPr>
            <a:spLocks noGrp="1"/>
          </p:cNvSpPr>
          <p:nvPr>
            <p:ph type="ctrTitle"/>
          </p:nvPr>
        </p:nvSpPr>
        <p:spPr>
          <a:xfrm>
            <a:off x="4271601" y="1282044"/>
            <a:ext cx="4534294" cy="1548390"/>
          </a:xfrm>
        </p:spPr>
        <p:txBody>
          <a:bodyPr>
            <a:normAutofit/>
          </a:bodyPr>
          <a:lstStyle/>
          <a:p>
            <a:r>
              <a:rPr lang="en-US" sz="3200" noProof="0"/>
              <a:t>Discussion</a:t>
            </a:r>
          </a:p>
        </p:txBody>
      </p:sp>
    </p:spTree>
    <p:extLst>
      <p:ext uri="{BB962C8B-B14F-4D97-AF65-F5344CB8AC3E}">
        <p14:creationId xmlns:p14="http://schemas.microsoft.com/office/powerpoint/2010/main" val="371314790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p:txBody>
          <a:bodyPr>
            <a:noAutofit/>
          </a:bodyPr>
          <a:lstStyle/>
          <a:p>
            <a:pPr>
              <a:lnSpc>
                <a:spcPct val="100000"/>
              </a:lnSpc>
              <a:spcBef>
                <a:spcPts val="0"/>
              </a:spcBef>
              <a:spcAft>
                <a:spcPts val="0"/>
              </a:spcAft>
            </a:pPr>
            <a:r>
              <a:rPr lang="en-US" sz="2800" noProof="0"/>
              <a:t>Session Close – </a:t>
            </a:r>
            <a:br>
              <a:rPr lang="en-US" sz="2800" noProof="0"/>
            </a:br>
            <a:r>
              <a:rPr lang="en-US" sz="2800" noProof="0"/>
              <a:t>Audience Response Questions</a:t>
            </a:r>
          </a:p>
        </p:txBody>
      </p:sp>
      <p:sp>
        <p:nvSpPr>
          <p:cNvPr id="3" name="Subtitle 2">
            <a:extLst>
              <a:ext uri="{FF2B5EF4-FFF2-40B4-BE49-F238E27FC236}">
                <a16:creationId xmlns:a16="http://schemas.microsoft.com/office/drawing/2014/main" id="{5B1A592A-AF74-0E4A-BEBF-BA3B930B790E}"/>
              </a:ext>
            </a:extLst>
          </p:cNvPr>
          <p:cNvSpPr>
            <a:spLocks noGrp="1"/>
          </p:cNvSpPr>
          <p:nvPr>
            <p:ph type="subTitle" idx="1"/>
          </p:nvPr>
        </p:nvSpPr>
        <p:spPr>
          <a:xfrm>
            <a:off x="4270617" y="2984740"/>
            <a:ext cx="4534294" cy="1073784"/>
          </a:xfrm>
        </p:spPr>
        <p:txBody>
          <a:bodyPr/>
          <a:lstStyle/>
          <a:p>
            <a:r>
              <a:rPr lang="en-US" noProof="0"/>
              <a:t>Rafael Fonseca, MD</a:t>
            </a:r>
          </a:p>
        </p:txBody>
      </p:sp>
      <p:pic>
        <p:nvPicPr>
          <p:cNvPr id="5" name="Picture 4">
            <a:extLst>
              <a:ext uri="{FF2B5EF4-FFF2-40B4-BE49-F238E27FC236}">
                <a16:creationId xmlns:a16="http://schemas.microsoft.com/office/drawing/2014/main" id="{F2E378F2-405F-4500-B362-8D641B7DAD3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0617" y="3411698"/>
            <a:ext cx="1180425" cy="1180425"/>
          </a:xfrm>
          <a:prstGeom prst="teardrop">
            <a:avLst/>
          </a:prstGeom>
        </p:spPr>
      </p:pic>
    </p:spTree>
    <p:extLst>
      <p:ext uri="{BB962C8B-B14F-4D97-AF65-F5344CB8AC3E}">
        <p14:creationId xmlns:p14="http://schemas.microsoft.com/office/powerpoint/2010/main" val="106473055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06474" y="233313"/>
            <a:ext cx="8766928" cy="572981"/>
          </a:xfrm>
        </p:spPr>
        <p:txBody>
          <a:bodyPr>
            <a:normAutofit/>
          </a:bodyPr>
          <a:lstStyle/>
          <a:p>
            <a:r>
              <a:rPr lang="en-US" noProof="0"/>
              <a:t>	Question 1</a:t>
            </a:r>
            <a:endParaRPr lang="en-US" noProof="0">
              <a:highlight>
                <a:srgbClr val="FFFF00"/>
              </a:highlight>
            </a:endParaRPr>
          </a:p>
        </p:txBody>
      </p:sp>
      <p:sp>
        <p:nvSpPr>
          <p:cNvPr id="3" name="Content Placeholder 2"/>
          <p:cNvSpPr>
            <a:spLocks noGrp="1"/>
          </p:cNvSpPr>
          <p:nvPr>
            <p:ph idx="1"/>
          </p:nvPr>
        </p:nvSpPr>
        <p:spPr>
          <a:xfrm>
            <a:off x="179108" y="943530"/>
            <a:ext cx="8894293" cy="3799804"/>
          </a:xfrm>
        </p:spPr>
        <p:txBody>
          <a:bodyPr vert="horz" lIns="91440" tIns="45720" rIns="91440" bIns="45720" rtlCol="0" anchor="t">
            <a:normAutofit/>
          </a:bodyPr>
          <a:lstStyle/>
          <a:p>
            <a:pPr marL="0" indent="0">
              <a:spcBef>
                <a:spcPts val="600"/>
              </a:spcBef>
              <a:buNone/>
            </a:pPr>
            <a:r>
              <a:rPr lang="en-US" noProof="0">
                <a:latin typeface="Arial"/>
                <a:cs typeface="Arial"/>
              </a:rPr>
              <a:t>Which </a:t>
            </a:r>
            <a:r>
              <a:rPr lang="en-US" spc="-50" noProof="0">
                <a:latin typeface="Arial"/>
                <a:cs typeface="Arial"/>
              </a:rPr>
              <a:t>of the following is not part of the new criteria for treatment initiation in MM? </a:t>
            </a:r>
          </a:p>
          <a:p>
            <a:pPr marL="0" indent="0">
              <a:spcBef>
                <a:spcPts val="600"/>
              </a:spcBef>
              <a:buNone/>
            </a:pPr>
            <a:endParaRPr lang="en-US" sz="1800" b="1" spc="-50" noProof="0">
              <a:latin typeface="Arial"/>
              <a:cs typeface="Arial"/>
            </a:endParaRPr>
          </a:p>
          <a:p>
            <a:pPr marL="457200" indent="-457200">
              <a:spcBef>
                <a:spcPts val="600"/>
              </a:spcBef>
              <a:buFont typeface="+mj-lt"/>
              <a:buAutoNum type="arabicPeriod"/>
            </a:pPr>
            <a:r>
              <a:rPr lang="en-US" sz="1800" noProof="0">
                <a:latin typeface="Arial"/>
                <a:cs typeface="Arial"/>
              </a:rPr>
              <a:t>Plasma cells &gt;60%</a:t>
            </a:r>
          </a:p>
          <a:p>
            <a:pPr marL="457200" indent="-457200">
              <a:spcBef>
                <a:spcPts val="600"/>
              </a:spcBef>
              <a:buFont typeface="+mj-lt"/>
              <a:buAutoNum type="arabicPeriod"/>
            </a:pPr>
            <a:r>
              <a:rPr lang="en-US" sz="1800" noProof="0">
                <a:latin typeface="Arial"/>
                <a:cs typeface="Arial"/>
              </a:rPr>
              <a:t>Deletion 17p</a:t>
            </a:r>
          </a:p>
          <a:p>
            <a:pPr marL="457200" indent="-457200">
              <a:spcBef>
                <a:spcPts val="600"/>
              </a:spcBef>
              <a:buFont typeface="+mj-lt"/>
              <a:buAutoNum type="arabicPeriod"/>
            </a:pPr>
            <a:r>
              <a:rPr lang="en-US" sz="1800" noProof="0">
                <a:latin typeface="Arial"/>
                <a:cs typeface="Arial"/>
              </a:rPr>
              <a:t>Two or more lesions on an MRI</a:t>
            </a:r>
          </a:p>
          <a:p>
            <a:pPr marL="457200" indent="-457200">
              <a:spcBef>
                <a:spcPts val="600"/>
              </a:spcBef>
              <a:buFont typeface="+mj-lt"/>
              <a:buAutoNum type="arabicPeriod"/>
            </a:pPr>
            <a:r>
              <a:rPr lang="en-US" sz="1800" noProof="0">
                <a:latin typeface="Arial"/>
                <a:cs typeface="Arial"/>
              </a:rPr>
              <a:t>Extreme abnormalities in the free light chains</a:t>
            </a:r>
          </a:p>
        </p:txBody>
      </p:sp>
      <p:grpSp>
        <p:nvGrpSpPr>
          <p:cNvPr id="6" name="Group 5">
            <a:extLst>
              <a:ext uri="{FF2B5EF4-FFF2-40B4-BE49-F238E27FC236}">
                <a16:creationId xmlns:a16="http://schemas.microsoft.com/office/drawing/2014/main" id="{0F206D06-BAB6-442A-985E-976D9E62C631}"/>
              </a:ext>
            </a:extLst>
          </p:cNvPr>
          <p:cNvGrpSpPr/>
          <p:nvPr/>
        </p:nvGrpSpPr>
        <p:grpSpPr>
          <a:xfrm>
            <a:off x="179109" y="151296"/>
            <a:ext cx="720000" cy="720000"/>
            <a:chOff x="8151603" y="218984"/>
            <a:chExt cx="720000" cy="720000"/>
          </a:xfrm>
        </p:grpSpPr>
        <p:sp>
          <p:nvSpPr>
            <p:cNvPr id="2" name="Teardrop 1">
              <a:extLst>
                <a:ext uri="{FF2B5EF4-FFF2-40B4-BE49-F238E27FC236}">
                  <a16:creationId xmlns:a16="http://schemas.microsoft.com/office/drawing/2014/main" id="{5E222C0A-7491-431C-9415-BB4A01BCA38D}"/>
                </a:ext>
              </a:extLst>
            </p:cNvPr>
            <p:cNvSpPr/>
            <p:nvPr/>
          </p:nvSpPr>
          <p:spPr bwMode="auto">
            <a:xfrm rot="5400000">
              <a:off x="8151603" y="218984"/>
              <a:ext cx="720000" cy="720000"/>
            </a:xfrm>
            <a:prstGeom prst="teardrop">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defTabSz="914378" eaLnBrk="0" fontAlgn="base" hangingPunct="0">
                <a:spcBef>
                  <a:spcPct val="0"/>
                </a:spcBef>
                <a:spcAft>
                  <a:spcPct val="0"/>
                </a:spcAft>
                <a:defRPr/>
              </a:pPr>
              <a:endParaRPr lang="en-NL" sz="2800" b="1">
                <a:solidFill>
                  <a:srgbClr val="FFFF00"/>
                </a:solidFill>
                <a:latin typeface="Arial" pitchFamily="34" charset="0"/>
              </a:endParaRPr>
            </a:p>
          </p:txBody>
        </p:sp>
        <p:sp>
          <p:nvSpPr>
            <p:cNvPr id="4" name="TextBox 3">
              <a:extLst>
                <a:ext uri="{FF2B5EF4-FFF2-40B4-BE49-F238E27FC236}">
                  <a16:creationId xmlns:a16="http://schemas.microsoft.com/office/drawing/2014/main" id="{141D6643-6321-4B86-80D6-DDA03167F6C7}"/>
                </a:ext>
              </a:extLst>
            </p:cNvPr>
            <p:cNvSpPr txBox="1"/>
            <p:nvPr/>
          </p:nvSpPr>
          <p:spPr>
            <a:xfrm>
              <a:off x="8278207" y="268689"/>
              <a:ext cx="466795" cy="646331"/>
            </a:xfrm>
            <a:prstGeom prst="rect">
              <a:avLst/>
            </a:prstGeom>
            <a:noFill/>
          </p:spPr>
          <p:txBody>
            <a:bodyPr wrap="none" rtlCol="0" anchor="ctr">
              <a:spAutoFit/>
            </a:bodyPr>
            <a:lstStyle/>
            <a:p>
              <a:pPr algn="ctr" defTabSz="457189">
                <a:defRPr/>
              </a:pPr>
              <a:r>
                <a:rPr lang="en-US" sz="3600" b="1">
                  <a:solidFill>
                    <a:srgbClr val="FFFFFF"/>
                  </a:solidFill>
                  <a:latin typeface="Arial" panose="020B0604020202020204" pitchFamily="34" charset="0"/>
                  <a:cs typeface="Arial" panose="020B0604020202020204" pitchFamily="34" charset="0"/>
                </a:rPr>
                <a:t>?</a:t>
              </a:r>
              <a:endParaRPr lang="en-NL" sz="3600" b="1">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68088220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03332" y="231427"/>
            <a:ext cx="8766928" cy="572981"/>
          </a:xfrm>
        </p:spPr>
        <p:txBody>
          <a:bodyPr>
            <a:normAutofit/>
          </a:bodyPr>
          <a:lstStyle/>
          <a:p>
            <a:r>
              <a:rPr lang="en-US" noProof="0"/>
              <a:t>	Question 2</a:t>
            </a:r>
          </a:p>
        </p:txBody>
      </p:sp>
      <p:sp>
        <p:nvSpPr>
          <p:cNvPr id="3" name="Content Placeholder 2"/>
          <p:cNvSpPr>
            <a:spLocks noGrp="1"/>
          </p:cNvSpPr>
          <p:nvPr>
            <p:ph idx="1"/>
          </p:nvPr>
        </p:nvSpPr>
        <p:spPr>
          <a:xfrm>
            <a:off x="179109" y="943530"/>
            <a:ext cx="8706793" cy="3799804"/>
          </a:xfrm>
        </p:spPr>
        <p:txBody>
          <a:bodyPr vert="horz" lIns="91440" tIns="45720" rIns="91440" bIns="45720" rtlCol="0" anchor="t">
            <a:normAutofit/>
          </a:bodyPr>
          <a:lstStyle/>
          <a:p>
            <a:pPr marL="0" indent="0">
              <a:spcBef>
                <a:spcPts val="600"/>
              </a:spcBef>
              <a:buNone/>
            </a:pPr>
            <a:r>
              <a:rPr lang="en-US" spc="-20" noProof="0">
                <a:latin typeface="Arial"/>
                <a:cs typeface="Arial"/>
              </a:rPr>
              <a:t>Which of the following is not </a:t>
            </a:r>
            <a:r>
              <a:rPr lang="en-US" noProof="0">
                <a:latin typeface="Arial"/>
                <a:cs typeface="Arial"/>
              </a:rPr>
              <a:t>true in the treatment of newly diagnosed MM? </a:t>
            </a:r>
          </a:p>
          <a:p>
            <a:pPr marL="0" indent="0">
              <a:spcBef>
                <a:spcPts val="600"/>
              </a:spcBef>
              <a:buNone/>
            </a:pPr>
            <a:endParaRPr lang="en-US" sz="1800" noProof="0">
              <a:latin typeface="Arial"/>
              <a:cs typeface="Arial"/>
            </a:endParaRPr>
          </a:p>
          <a:p>
            <a:pPr marL="457200" indent="-457200">
              <a:spcBef>
                <a:spcPts val="600"/>
              </a:spcBef>
              <a:buFont typeface="+mj-lt"/>
              <a:buAutoNum type="arabicPeriod"/>
            </a:pPr>
            <a:r>
              <a:rPr lang="en-US" sz="1800" noProof="0">
                <a:latin typeface="Arial"/>
                <a:cs typeface="Arial"/>
              </a:rPr>
              <a:t>Deep responses are associated with better outcomes</a:t>
            </a:r>
          </a:p>
          <a:p>
            <a:pPr marL="457200" indent="-457200">
              <a:spcBef>
                <a:spcPts val="600"/>
              </a:spcBef>
              <a:buFont typeface="+mj-lt"/>
              <a:buAutoNum type="arabicPeriod"/>
            </a:pPr>
            <a:r>
              <a:rPr lang="en-US" sz="1800" noProof="0">
                <a:latin typeface="Arial"/>
                <a:cs typeface="Arial"/>
              </a:rPr>
              <a:t>VGPR is an accepted benchmark as evidence of a good response</a:t>
            </a:r>
          </a:p>
          <a:p>
            <a:pPr marL="457200" indent="-457200">
              <a:spcBef>
                <a:spcPts val="600"/>
              </a:spcBef>
              <a:buFont typeface="+mj-lt"/>
              <a:buAutoNum type="arabicPeriod"/>
            </a:pPr>
            <a:r>
              <a:rPr lang="en-US" sz="1800" noProof="0">
                <a:latin typeface="Arial"/>
                <a:cs typeface="Arial"/>
              </a:rPr>
              <a:t>Clinical trials are considering risk stratification</a:t>
            </a:r>
          </a:p>
          <a:p>
            <a:pPr marL="457200" indent="-457200">
              <a:spcBef>
                <a:spcPts val="600"/>
              </a:spcBef>
              <a:buFont typeface="+mj-lt"/>
              <a:buAutoNum type="arabicPeriod"/>
            </a:pPr>
            <a:r>
              <a:rPr lang="en-US" sz="1800" noProof="0">
                <a:latin typeface="Arial"/>
                <a:cs typeface="Arial"/>
              </a:rPr>
              <a:t>Regimens that contain daratumumab have further increased response rates</a:t>
            </a:r>
          </a:p>
          <a:p>
            <a:pPr marL="457200" indent="-457200">
              <a:spcBef>
                <a:spcPts val="600"/>
              </a:spcBef>
              <a:buFont typeface="+mj-lt"/>
              <a:buAutoNum type="arabicPeriod"/>
            </a:pPr>
            <a:r>
              <a:rPr lang="en-US" sz="1800" noProof="0">
                <a:latin typeface="Arial"/>
                <a:cs typeface="Arial"/>
              </a:rPr>
              <a:t>Maintenance prolongs overall survival for MM patients</a:t>
            </a:r>
          </a:p>
          <a:p>
            <a:pPr marL="913765" lvl="1" indent="-456565">
              <a:lnSpc>
                <a:spcPct val="100000"/>
              </a:lnSpc>
              <a:buClr>
                <a:schemeClr val="tx1"/>
              </a:buClr>
              <a:buFont typeface="+mj-lt"/>
              <a:buAutoNum type="alphaLcParenR"/>
            </a:pPr>
            <a:endParaRPr lang="en-US" sz="1800" noProof="0"/>
          </a:p>
        </p:txBody>
      </p:sp>
      <p:grpSp>
        <p:nvGrpSpPr>
          <p:cNvPr id="6" name="Group 5">
            <a:extLst>
              <a:ext uri="{FF2B5EF4-FFF2-40B4-BE49-F238E27FC236}">
                <a16:creationId xmlns:a16="http://schemas.microsoft.com/office/drawing/2014/main" id="{0F206D06-BAB6-442A-985E-976D9E62C631}"/>
              </a:ext>
            </a:extLst>
          </p:cNvPr>
          <p:cNvGrpSpPr/>
          <p:nvPr/>
        </p:nvGrpSpPr>
        <p:grpSpPr>
          <a:xfrm>
            <a:off x="179109" y="151297"/>
            <a:ext cx="720000" cy="720000"/>
            <a:chOff x="8151603" y="218984"/>
            <a:chExt cx="720000" cy="720000"/>
          </a:xfrm>
        </p:grpSpPr>
        <p:sp>
          <p:nvSpPr>
            <p:cNvPr id="2" name="Teardrop 1">
              <a:extLst>
                <a:ext uri="{FF2B5EF4-FFF2-40B4-BE49-F238E27FC236}">
                  <a16:creationId xmlns:a16="http://schemas.microsoft.com/office/drawing/2014/main" id="{5E222C0A-7491-431C-9415-BB4A01BCA38D}"/>
                </a:ext>
              </a:extLst>
            </p:cNvPr>
            <p:cNvSpPr/>
            <p:nvPr/>
          </p:nvSpPr>
          <p:spPr bwMode="auto">
            <a:xfrm rot="5400000">
              <a:off x="8151603" y="218984"/>
              <a:ext cx="720000" cy="720000"/>
            </a:xfrm>
            <a:prstGeom prst="teardrop">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defTabSz="914378" eaLnBrk="0" fontAlgn="base" hangingPunct="0">
                <a:spcBef>
                  <a:spcPct val="0"/>
                </a:spcBef>
                <a:spcAft>
                  <a:spcPct val="0"/>
                </a:spcAft>
                <a:defRPr/>
              </a:pPr>
              <a:endParaRPr lang="en-NL" sz="2800" b="1">
                <a:solidFill>
                  <a:srgbClr val="FFFF00"/>
                </a:solidFill>
                <a:latin typeface="Arial" pitchFamily="34" charset="0"/>
              </a:endParaRPr>
            </a:p>
          </p:txBody>
        </p:sp>
        <p:sp>
          <p:nvSpPr>
            <p:cNvPr id="4" name="TextBox 3">
              <a:extLst>
                <a:ext uri="{FF2B5EF4-FFF2-40B4-BE49-F238E27FC236}">
                  <a16:creationId xmlns:a16="http://schemas.microsoft.com/office/drawing/2014/main" id="{141D6643-6321-4B86-80D6-DDA03167F6C7}"/>
                </a:ext>
              </a:extLst>
            </p:cNvPr>
            <p:cNvSpPr txBox="1"/>
            <p:nvPr/>
          </p:nvSpPr>
          <p:spPr>
            <a:xfrm>
              <a:off x="8348761" y="255260"/>
              <a:ext cx="325684" cy="646331"/>
            </a:xfrm>
            <a:prstGeom prst="rect">
              <a:avLst/>
            </a:prstGeom>
            <a:noFill/>
          </p:spPr>
          <p:txBody>
            <a:bodyPr wrap="square" rtlCol="0" anchor="ctr">
              <a:spAutoFit/>
            </a:bodyPr>
            <a:lstStyle/>
            <a:p>
              <a:pPr algn="ctr" defTabSz="457189">
                <a:defRPr/>
              </a:pPr>
              <a:r>
                <a:rPr lang="en-US" sz="3600" b="1">
                  <a:solidFill>
                    <a:srgbClr val="FFFFFF"/>
                  </a:solidFill>
                  <a:latin typeface="Arial" panose="020B0604020202020204" pitchFamily="34" charset="0"/>
                  <a:cs typeface="Arial" panose="020B0604020202020204" pitchFamily="34" charset="0"/>
                </a:rPr>
                <a:t>?</a:t>
              </a:r>
              <a:endParaRPr lang="en-NL" sz="3600" b="1">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6484597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898BF-BA4F-2C41-9942-9542C29C7346}"/>
              </a:ext>
            </a:extLst>
          </p:cNvPr>
          <p:cNvSpPr>
            <a:spLocks noGrp="1"/>
          </p:cNvSpPr>
          <p:nvPr>
            <p:ph type="title"/>
          </p:nvPr>
        </p:nvSpPr>
        <p:spPr>
          <a:xfrm>
            <a:off x="179110" y="189639"/>
            <a:ext cx="8766928" cy="596127"/>
          </a:xfrm>
        </p:spPr>
        <p:txBody>
          <a:bodyPr>
            <a:normAutofit/>
          </a:bodyPr>
          <a:lstStyle/>
          <a:p>
            <a:pPr>
              <a:lnSpc>
                <a:spcPct val="100000"/>
              </a:lnSpc>
            </a:pPr>
            <a:r>
              <a:rPr lang="en-US" noProof="0"/>
              <a:t>Thank You!</a:t>
            </a:r>
          </a:p>
        </p:txBody>
      </p:sp>
      <p:sp>
        <p:nvSpPr>
          <p:cNvPr id="5" name="Content Placeholder 4">
            <a:extLst>
              <a:ext uri="{FF2B5EF4-FFF2-40B4-BE49-F238E27FC236}">
                <a16:creationId xmlns:a16="http://schemas.microsoft.com/office/drawing/2014/main" id="{24E72DB4-5E71-4CA4-87B9-A49054E35719}"/>
              </a:ext>
            </a:extLst>
          </p:cNvPr>
          <p:cNvSpPr>
            <a:spLocks noGrp="1"/>
          </p:cNvSpPr>
          <p:nvPr>
            <p:ph idx="1"/>
          </p:nvPr>
        </p:nvSpPr>
        <p:spPr>
          <a:xfrm>
            <a:off x="179109" y="808304"/>
            <a:ext cx="8776355" cy="3885300"/>
          </a:xfrm>
        </p:spPr>
        <p:txBody>
          <a:bodyPr>
            <a:normAutofit/>
          </a:bodyPr>
          <a:lstStyle/>
          <a:p>
            <a:pPr>
              <a:spcBef>
                <a:spcPts val="1000"/>
              </a:spcBef>
            </a:pPr>
            <a:r>
              <a:rPr lang="en-US" noProof="0"/>
              <a:t>Please complete the </a:t>
            </a:r>
            <a:r>
              <a:rPr lang="en-US" b="1" noProof="0"/>
              <a:t>evaluation survey</a:t>
            </a:r>
            <a:r>
              <a:rPr lang="en-US" noProof="0"/>
              <a:t> that will be sent to you via chat</a:t>
            </a:r>
          </a:p>
          <a:p>
            <a:pPr>
              <a:spcBef>
                <a:spcPts val="1000"/>
              </a:spcBef>
            </a:pPr>
            <a:r>
              <a:rPr lang="en-US" noProof="0"/>
              <a:t>The meeting recording and slides presented today will be shared on the www.globalmmacademy.com website </a:t>
            </a:r>
          </a:p>
          <a:p>
            <a:pPr>
              <a:spcBef>
                <a:spcPts val="1000"/>
              </a:spcBef>
            </a:pPr>
            <a:endParaRPr lang="en-US" noProof="0"/>
          </a:p>
          <a:p>
            <a:pPr marL="0" indent="0" algn="ctr">
              <a:spcBef>
                <a:spcPts val="1000"/>
              </a:spcBef>
              <a:buNone/>
            </a:pPr>
            <a:r>
              <a:rPr lang="en-US" sz="3600" noProof="0">
                <a:solidFill>
                  <a:schemeClr val="accent1"/>
                </a:solidFill>
              </a:rPr>
              <a:t>THANK YOU!</a:t>
            </a:r>
          </a:p>
        </p:txBody>
      </p:sp>
    </p:spTree>
    <p:extLst>
      <p:ext uri="{BB962C8B-B14F-4D97-AF65-F5344CB8AC3E}">
        <p14:creationId xmlns:p14="http://schemas.microsoft.com/office/powerpoint/2010/main" val="905091103"/>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862BB7B-BB6B-491D-98EC-0C37DE96AE2A}"/>
              </a:ext>
            </a:extLst>
          </p:cNvPr>
          <p:cNvSpPr>
            <a:spLocks noGrp="1"/>
          </p:cNvSpPr>
          <p:nvPr>
            <p:ph type="title"/>
          </p:nvPr>
        </p:nvSpPr>
        <p:spPr>
          <a:xfrm>
            <a:off x="186144" y="225160"/>
            <a:ext cx="8766928" cy="568794"/>
          </a:xfrm>
        </p:spPr>
        <p:txBody>
          <a:bodyPr anchor="t">
            <a:normAutofit fontScale="90000"/>
          </a:bodyPr>
          <a:lstStyle/>
          <a:p>
            <a:r>
              <a:rPr lang="en-US" sz="2700" noProof="0"/>
              <a:t>Proposed Agenda Day 2 – Europe</a:t>
            </a:r>
            <a:br>
              <a:rPr lang="en-US" sz="2400" noProof="0"/>
            </a:br>
            <a:r>
              <a:rPr lang="en-US" sz="1300" noProof="0"/>
              <a:t>17.00 – 20.00 (CET)/10.00 – 13.00 (MST)</a:t>
            </a:r>
            <a:endParaRPr lang="en-US" sz="2400" noProof="0"/>
          </a:p>
        </p:txBody>
      </p:sp>
      <p:graphicFrame>
        <p:nvGraphicFramePr>
          <p:cNvPr id="6" name="Table 4">
            <a:extLst>
              <a:ext uri="{FF2B5EF4-FFF2-40B4-BE49-F238E27FC236}">
                <a16:creationId xmlns:a16="http://schemas.microsoft.com/office/drawing/2014/main" id="{0FE28B0C-4D56-4DE7-9CB2-6021B7785162}"/>
              </a:ext>
            </a:extLst>
          </p:cNvPr>
          <p:cNvGraphicFramePr>
            <a:graphicFrameLocks noGrp="1"/>
          </p:cNvGraphicFramePr>
          <p:nvPr>
            <p:extLst>
              <p:ext uri="{D42A27DB-BD31-4B8C-83A1-F6EECF244321}">
                <p14:modId xmlns:p14="http://schemas.microsoft.com/office/powerpoint/2010/main" val="2368721041"/>
              </p:ext>
            </p:extLst>
          </p:nvPr>
        </p:nvGraphicFramePr>
        <p:xfrm>
          <a:off x="182880" y="888880"/>
          <a:ext cx="8778240" cy="2651760"/>
        </p:xfrm>
        <a:graphic>
          <a:graphicData uri="http://schemas.openxmlformats.org/drawingml/2006/table">
            <a:tbl>
              <a:tblPr firstRow="1" bandRow="1">
                <a:tableStyleId>{5C22544A-7EE6-4342-B048-85BDC9FD1C3A}</a:tableStyleId>
              </a:tblPr>
              <a:tblGrid>
                <a:gridCol w="1033862">
                  <a:extLst>
                    <a:ext uri="{9D8B030D-6E8A-4147-A177-3AD203B41FA5}">
                      <a16:colId xmlns:a16="http://schemas.microsoft.com/office/drawing/2014/main" val="2109553782"/>
                    </a:ext>
                  </a:extLst>
                </a:gridCol>
                <a:gridCol w="4828951">
                  <a:extLst>
                    <a:ext uri="{9D8B030D-6E8A-4147-A177-3AD203B41FA5}">
                      <a16:colId xmlns:a16="http://schemas.microsoft.com/office/drawing/2014/main" val="3035314657"/>
                    </a:ext>
                  </a:extLst>
                </a:gridCol>
                <a:gridCol w="2915427">
                  <a:extLst>
                    <a:ext uri="{9D8B030D-6E8A-4147-A177-3AD203B41FA5}">
                      <a16:colId xmlns:a16="http://schemas.microsoft.com/office/drawing/2014/main" val="1523985630"/>
                    </a:ext>
                  </a:extLst>
                </a:gridCol>
              </a:tblGrid>
              <a:tr h="0">
                <a:tc>
                  <a:txBody>
                    <a:bodyPr/>
                    <a:lstStyle/>
                    <a:p>
                      <a:pPr marL="0" marR="0" algn="l">
                        <a:lnSpc>
                          <a:spcPct val="100000"/>
                        </a:lnSpc>
                        <a:spcBef>
                          <a:spcPts val="0"/>
                        </a:spcBef>
                        <a:spcAft>
                          <a:spcPts val="0"/>
                        </a:spcAft>
                      </a:pPr>
                      <a:r>
                        <a:rPr lang="en-US" sz="1000" b="1" noProof="0">
                          <a:effectLst/>
                          <a:latin typeface="Arial" panose="020B0604020202020204" pitchFamily="34" charset="0"/>
                          <a:cs typeface="Arial" panose="020B0604020202020204" pitchFamily="34" charset="0"/>
                        </a:rPr>
                        <a:t>Time</a:t>
                      </a:r>
                      <a:endParaRPr lang="en-US" sz="1000" noProof="0">
                        <a:effectLst/>
                        <a:latin typeface="Arial" panose="020B0604020202020204" pitchFamily="34" charset="0"/>
                        <a:ea typeface="Arial" panose="020B0604020202020204" pitchFamily="34" charset="0"/>
                        <a:cs typeface="Arial" panose="020B0604020202020204" pitchFamily="34" charset="0"/>
                      </a:endParaRPr>
                    </a:p>
                  </a:txBody>
                  <a:tcPr anchor="ctr"/>
                </a:tc>
                <a:tc>
                  <a:txBody>
                    <a:bodyPr/>
                    <a:lstStyle/>
                    <a:p>
                      <a:pPr marL="0" marR="0" algn="l">
                        <a:lnSpc>
                          <a:spcPct val="100000"/>
                        </a:lnSpc>
                        <a:spcBef>
                          <a:spcPts val="0"/>
                        </a:spcBef>
                        <a:spcAft>
                          <a:spcPts val="0"/>
                        </a:spcAft>
                      </a:pPr>
                      <a:r>
                        <a:rPr lang="en-US" sz="1000" b="1" kern="1200" noProof="0">
                          <a:solidFill>
                            <a:schemeClr val="bg1"/>
                          </a:solidFill>
                          <a:effectLst/>
                          <a:latin typeface="Arial" panose="020B0604020202020204" pitchFamily="34" charset="0"/>
                          <a:cs typeface="Arial" panose="020B0604020202020204" pitchFamily="34" charset="0"/>
                        </a:rPr>
                        <a:t>Topic</a:t>
                      </a:r>
                      <a:endParaRPr lang="en-US" sz="1000" noProof="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anchor="ctr"/>
                </a:tc>
                <a:tc>
                  <a:txBody>
                    <a:bodyPr/>
                    <a:lstStyle/>
                    <a:p>
                      <a:pPr marL="0" marR="0" algn="l">
                        <a:lnSpc>
                          <a:spcPct val="100000"/>
                        </a:lnSpc>
                        <a:spcBef>
                          <a:spcPts val="0"/>
                        </a:spcBef>
                        <a:spcAft>
                          <a:spcPts val="0"/>
                        </a:spcAft>
                      </a:pPr>
                      <a:r>
                        <a:rPr lang="en-US" sz="1000" noProof="0">
                          <a:solidFill>
                            <a:schemeClr val="bg1"/>
                          </a:solidFill>
                          <a:effectLst/>
                          <a:latin typeface="Arial" panose="020B0604020202020204" pitchFamily="34" charset="0"/>
                          <a:cs typeface="Arial" panose="020B0604020202020204" pitchFamily="34" charset="0"/>
                        </a:rPr>
                        <a:t>Speaker</a:t>
                      </a:r>
                      <a:endParaRPr lang="en-US" sz="1000" noProof="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824397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bg2">
                              <a:lumMod val="10000"/>
                            </a:schemeClr>
                          </a:solidFill>
                          <a:effectLst/>
                          <a:latin typeface="Arial" panose="020B0604020202020204" pitchFamily="34" charset="0"/>
                          <a:cs typeface="Arial" panose="020B0604020202020204" pitchFamily="34" charset="0"/>
                        </a:rPr>
                        <a:t>17.00 – 17.10</a:t>
                      </a:r>
                    </a:p>
                  </a:txBody>
                  <a:tcPr anchor="ctr"/>
                </a:tc>
                <a:tc>
                  <a:txBody>
                    <a:bodyPr/>
                    <a:lstStyle/>
                    <a:p>
                      <a:pPr>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Session Open</a:t>
                      </a:r>
                      <a:r>
                        <a:rPr lang="en-US" sz="1000" b="0" u="none" strike="noStrike" kern="1200" noProof="0">
                          <a:solidFill>
                            <a:schemeClr val="bg2">
                              <a:lumMod val="10000"/>
                            </a:schemeClr>
                          </a:solidFill>
                          <a:effectLst/>
                          <a:latin typeface="Arial" panose="020B0604020202020204" pitchFamily="34" charset="0"/>
                          <a:cs typeface="Arial" panose="020B0604020202020204" pitchFamily="34" charset="0"/>
                        </a:rPr>
                        <a:t> </a:t>
                      </a:r>
                      <a:endParaRPr lang="en-US" sz="1000" b="0" i="0" u="none" strike="noStrike" noProof="0">
                        <a:solidFill>
                          <a:schemeClr val="bg2">
                            <a:lumMod val="10000"/>
                          </a:schemeClr>
                        </a:solidFill>
                        <a:effectLst/>
                        <a:latin typeface="Arial" panose="020B0604020202020204" pitchFamily="34" charset="0"/>
                        <a:cs typeface="Arial" panose="020B0604020202020204" pitchFamily="34" charset="0"/>
                      </a:endParaRPr>
                    </a:p>
                  </a:txBody>
                  <a:tcPr anchor="ctr"/>
                </a:tc>
                <a:tc>
                  <a:txBody>
                    <a:bodyPr/>
                    <a:lstStyle/>
                    <a:p>
                      <a:pPr marL="0" marR="0" algn="l">
                        <a:lnSpc>
                          <a:spcPct val="100000"/>
                        </a:lnSpc>
                        <a:spcBef>
                          <a:spcPts val="0"/>
                        </a:spcBef>
                        <a:spcAft>
                          <a:spcPts val="0"/>
                        </a:spcAft>
                      </a:pPr>
                      <a:r>
                        <a:rPr lang="en-US" sz="1000" b="0" u="none" noProof="0">
                          <a:solidFill>
                            <a:schemeClr val="bg2">
                              <a:lumMod val="10000"/>
                            </a:schemeClr>
                          </a:solidFill>
                          <a:effectLst/>
                          <a:latin typeface="Arial" panose="020B0604020202020204" pitchFamily="34" charset="0"/>
                          <a:cs typeface="Arial" panose="020B0604020202020204" pitchFamily="34" charset="0"/>
                        </a:rPr>
                        <a:t>Rafael Fonseca, MD</a:t>
                      </a:r>
                    </a:p>
                  </a:txBody>
                  <a:tcPr anchor="ctr"/>
                </a:tc>
                <a:extLst>
                  <a:ext uri="{0D108BD9-81ED-4DB2-BD59-A6C34878D82A}">
                    <a16:rowId xmlns:a16="http://schemas.microsoft.com/office/drawing/2014/main" val="167821165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bg2">
                              <a:lumMod val="10000"/>
                            </a:schemeClr>
                          </a:solidFill>
                          <a:effectLst/>
                          <a:latin typeface="Arial" panose="020B0604020202020204" pitchFamily="34" charset="0"/>
                          <a:cs typeface="Arial" panose="020B0604020202020204" pitchFamily="34" charset="0"/>
                        </a:rPr>
                        <a:t>17.10 – 17.30</a:t>
                      </a:r>
                    </a:p>
                  </a:txBody>
                  <a:tcPr anchor="ctr"/>
                </a:tc>
                <a:tc>
                  <a:txBody>
                    <a:bodyPr/>
                    <a:lstStyle/>
                    <a:p>
                      <a:pPr>
                        <a:lnSpc>
                          <a:spcPct val="100000"/>
                        </a:lnSpc>
                        <a:spcBef>
                          <a:spcPts val="0"/>
                        </a:spcBef>
                        <a:spcAft>
                          <a:spcPts val="0"/>
                        </a:spcAft>
                      </a:pPr>
                      <a:r>
                        <a:rPr lang="en-US" sz="1000" b="1" u="none" noProof="0">
                          <a:solidFill>
                            <a:schemeClr val="bg2">
                              <a:lumMod val="10000"/>
                            </a:schemeClr>
                          </a:solidFill>
                          <a:effectLst/>
                          <a:latin typeface="Arial" panose="020B0604020202020204" pitchFamily="34" charset="0"/>
                          <a:cs typeface="Arial" panose="020B0604020202020204" pitchFamily="34" charset="0"/>
                        </a:rPr>
                        <a:t>Identification and Special Considerations for High-Risk Multiple Myeloma</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noProof="0">
                          <a:solidFill>
                            <a:schemeClr val="tx1"/>
                          </a:solidFill>
                          <a:latin typeface="Arial" panose="020B0604020202020204" pitchFamily="34" charset="0"/>
                          <a:cs typeface="Arial" panose="020B0604020202020204" pitchFamily="34" charset="0"/>
                        </a:rPr>
                        <a:t>Meletios A. Dimopoulos, MD</a:t>
                      </a:r>
                      <a:endParaRPr lang="en-US" sz="1000" strike="sngStrike" noProof="0">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51184477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bg2">
                              <a:lumMod val="10000"/>
                            </a:schemeClr>
                          </a:solidFill>
                          <a:effectLst/>
                          <a:latin typeface="Arial" panose="020B0604020202020204" pitchFamily="34" charset="0"/>
                          <a:cs typeface="Arial" panose="020B0604020202020204" pitchFamily="34" charset="0"/>
                        </a:rPr>
                        <a:t>17.30 – 17.55</a:t>
                      </a:r>
                    </a:p>
                  </a:txBody>
                  <a:tcPr anchor="ctr"/>
                </a:tc>
                <a:tc>
                  <a:txBody>
                    <a:bodyPr/>
                    <a:lstStyle/>
                    <a:p>
                      <a:pPr marL="0" marR="0">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Management of Early Relapse of Multiple Myeloma</a:t>
                      </a:r>
                      <a:endParaRPr lang="en-US" sz="1000" b="1" u="none" noProof="0">
                        <a:solidFill>
                          <a:schemeClr val="bg2">
                            <a:lumMod val="10000"/>
                          </a:schemeClr>
                        </a:solidFill>
                        <a:effectLst/>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u="none" noProof="0">
                          <a:solidFill>
                            <a:schemeClr val="bg2">
                              <a:lumMod val="10000"/>
                            </a:schemeClr>
                          </a:solidFill>
                          <a:effectLst/>
                          <a:latin typeface="Arial" panose="020B0604020202020204" pitchFamily="34" charset="0"/>
                          <a:cs typeface="Arial" panose="020B0604020202020204" pitchFamily="34" charset="0"/>
                        </a:rPr>
                        <a:t>Rafael Fonseca, MD</a:t>
                      </a:r>
                    </a:p>
                  </a:txBody>
                  <a:tcPr anchor="ctr"/>
                </a:tc>
                <a:extLst>
                  <a:ext uri="{0D108BD9-81ED-4DB2-BD59-A6C34878D82A}">
                    <a16:rowId xmlns:a16="http://schemas.microsoft.com/office/drawing/2014/main" val="3696692457"/>
                  </a:ext>
                </a:extLst>
              </a:tr>
              <a:tr h="145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bg2">
                              <a:lumMod val="10000"/>
                            </a:schemeClr>
                          </a:solidFill>
                          <a:effectLst/>
                          <a:latin typeface="Arial" panose="020B0604020202020204" pitchFamily="34" charset="0"/>
                          <a:cs typeface="Arial" panose="020B0604020202020204" pitchFamily="34" charset="0"/>
                        </a:rPr>
                        <a:t>17.55 – 18.20</a:t>
                      </a:r>
                    </a:p>
                  </a:txBody>
                  <a:tcPr anchor="ctr"/>
                </a:tc>
                <a:tc>
                  <a:txBody>
                    <a:bodyPr/>
                    <a:lstStyle/>
                    <a:p>
                      <a:pPr marL="0" marR="0">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Management of Heavily Pretreated Multiple</a:t>
                      </a:r>
                      <a:r>
                        <a:rPr lang="en-US" sz="1000" b="1" u="none" noProof="0">
                          <a:solidFill>
                            <a:schemeClr val="bg2">
                              <a:lumMod val="10000"/>
                            </a:schemeClr>
                          </a:solidFill>
                          <a:effectLst/>
                          <a:latin typeface="Arial" panose="020B0604020202020204" pitchFamily="34" charset="0"/>
                          <a:cs typeface="Arial" panose="020B0604020202020204" pitchFamily="34" charset="0"/>
                        </a:rPr>
                        <a:t> Myeloma</a:t>
                      </a:r>
                    </a:p>
                  </a:txBody>
                  <a:tcPr anchor="ctr"/>
                </a:tc>
                <a:tc>
                  <a:txBody>
                    <a:bodyPr/>
                    <a:lstStyle/>
                    <a:p>
                      <a:pPr algn="l">
                        <a:lnSpc>
                          <a:spcPct val="100000"/>
                        </a:lnSpc>
                        <a:spcBef>
                          <a:spcPts val="0"/>
                        </a:spcBef>
                        <a:spcAft>
                          <a:spcPts val="0"/>
                        </a:spcAft>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Keith Stewart, MBChB, MBA</a:t>
                      </a:r>
                    </a:p>
                  </a:txBody>
                  <a:tcPr anchor="ctr"/>
                </a:tc>
                <a:extLst>
                  <a:ext uri="{0D108BD9-81ED-4DB2-BD59-A6C34878D82A}">
                    <a16:rowId xmlns:a16="http://schemas.microsoft.com/office/drawing/2014/main" val="15147318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8.20 – 18.30</a:t>
                      </a:r>
                    </a:p>
                  </a:txBody>
                  <a:tcPr anchor="ctr"/>
                </a:tc>
                <a:tc>
                  <a:txBody>
                    <a:bodyPr/>
                    <a:lstStyle/>
                    <a:p>
                      <a:pPr marL="0" marR="0">
                        <a:lnSpc>
                          <a:spcPct val="100000"/>
                        </a:lnSpc>
                        <a:spcBef>
                          <a:spcPts val="0"/>
                        </a:spcBef>
                        <a:spcAft>
                          <a:spcPts val="0"/>
                        </a:spcAft>
                      </a:pPr>
                      <a:r>
                        <a:rPr lang="en-US" sz="1000" b="1" u="none" noProof="0">
                          <a:solidFill>
                            <a:schemeClr val="bg2">
                              <a:lumMod val="10000"/>
                            </a:schemeClr>
                          </a:solidFill>
                          <a:effectLst/>
                          <a:latin typeface="Arial" panose="020B0604020202020204" pitchFamily="34" charset="0"/>
                          <a:cs typeface="Arial" panose="020B0604020202020204" pitchFamily="34" charset="0"/>
                        </a:rPr>
                        <a:t>Break</a:t>
                      </a:r>
                      <a:endParaRPr lang="en-US" sz="1000" b="1" i="0" u="none" noProof="0">
                        <a:solidFill>
                          <a:schemeClr val="bg2">
                            <a:lumMod val="10000"/>
                          </a:schemeClr>
                        </a:solidFill>
                        <a:effectLst/>
                        <a:latin typeface="Arial" panose="020B0604020202020204" pitchFamily="34" charset="0"/>
                        <a:ea typeface="Arial" panose="020B0604020202020204" pitchFamily="34" charset="0"/>
                        <a:cs typeface="Arial" panose="020B0604020202020204" pitchFamily="34" charset="0"/>
                      </a:endParaRPr>
                    </a:p>
                  </a:txBody>
                  <a:tcPr anchor="ctr"/>
                </a:tc>
                <a:tc>
                  <a:txBody>
                    <a:bodyPr/>
                    <a:lstStyle/>
                    <a:p>
                      <a:pPr algn="l">
                        <a:lnSpc>
                          <a:spcPct val="100000"/>
                        </a:lnSpc>
                        <a:spcBef>
                          <a:spcPts val="0"/>
                        </a:spcBef>
                        <a:spcAft>
                          <a:spcPts val="0"/>
                        </a:spcAft>
                      </a:pPr>
                      <a:endParaRPr lang="en-US" sz="1000" b="0" i="0" u="none" kern="1200" noProof="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305751381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8.30 – 19.25</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u="none" kern="1200" noProof="0">
                          <a:solidFill>
                            <a:schemeClr val="tx1"/>
                          </a:solidFill>
                          <a:effectLst/>
                          <a:latin typeface="Arial" panose="020B0604020202020204" pitchFamily="34" charset="0"/>
                          <a:ea typeface="+mn-ea"/>
                          <a:cs typeface="Arial" panose="020B0604020202020204" pitchFamily="34" charset="0"/>
                        </a:rPr>
                        <a:t>Bispecifics in </a:t>
                      </a:r>
                      <a:r>
                        <a:rPr lang="en-US" sz="1000" b="1" u="none" kern="1200" noProof="0">
                          <a:solidFill>
                            <a:schemeClr val="tx1"/>
                          </a:solidFill>
                          <a:effectLst/>
                          <a:latin typeface="Arial" panose="020B0604020202020204" pitchFamily="34" charset="0"/>
                          <a:cs typeface="Arial" panose="020B0604020202020204" pitchFamily="34" charset="0"/>
                        </a:rPr>
                        <a:t>Multiple</a:t>
                      </a:r>
                      <a:r>
                        <a:rPr lang="en-US" sz="1000" b="1" u="none" noProof="0">
                          <a:solidFill>
                            <a:schemeClr val="tx1"/>
                          </a:solidFill>
                          <a:effectLst/>
                          <a:latin typeface="Arial" panose="020B0604020202020204" pitchFamily="34" charset="0"/>
                          <a:cs typeface="Arial" panose="020B0604020202020204" pitchFamily="34" charset="0"/>
                        </a:rPr>
                        <a:t> Myeloma and CAR Ts in Multiple Myeloma</a:t>
                      </a:r>
                    </a:p>
                  </a:txBody>
                  <a:tcPr anchor="ctr"/>
                </a:tc>
                <a:tc>
                  <a:txBody>
                    <a:bodyPr/>
                    <a:lstStyle/>
                    <a:p>
                      <a:pPr algn="l">
                        <a:lnSpc>
                          <a:spcPct val="100000"/>
                        </a:lnSpc>
                        <a:spcBef>
                          <a:spcPts val="0"/>
                        </a:spcBef>
                        <a:spcAft>
                          <a:spcPts val="0"/>
                        </a:spcAft>
                      </a:pPr>
                      <a:r>
                        <a:rPr lang="en-US" sz="1000" b="0" u="none" kern="1200" noProof="0">
                          <a:solidFill>
                            <a:schemeClr val="tx1"/>
                          </a:solidFill>
                          <a:effectLst/>
                          <a:latin typeface="Arial" panose="020B0604020202020204" pitchFamily="34" charset="0"/>
                          <a:cs typeface="Arial" panose="020B0604020202020204" pitchFamily="34" charset="0"/>
                        </a:rPr>
                        <a:t>María-Victoria Mateos, MD, PhD (bispecifics);</a:t>
                      </a:r>
                    </a:p>
                    <a:p>
                      <a:pPr marL="0" marR="0" lvl="0" indent="0" algn="l" rtl="0" eaLnBrk="1" fontAlgn="auto" latinLnBrk="0" hangingPunct="1">
                        <a:lnSpc>
                          <a:spcPct val="100000"/>
                        </a:lnSpc>
                        <a:spcBef>
                          <a:spcPts val="0"/>
                        </a:spcBef>
                        <a:spcAft>
                          <a:spcPts val="0"/>
                        </a:spcAft>
                        <a:buClrTx/>
                        <a:buSzTx/>
                        <a:buFontTx/>
                        <a:buNone/>
                      </a:pPr>
                      <a:r>
                        <a:rPr lang="en-US" sz="1000" noProof="0">
                          <a:solidFill>
                            <a:schemeClr val="tx1"/>
                          </a:solidFill>
                          <a:latin typeface="Arial"/>
                          <a:cs typeface="Arial"/>
                        </a:rPr>
                        <a:t>Hermann Einsele, MD (CAR Ts) </a:t>
                      </a:r>
                      <a:endParaRPr lang="en-US" sz="1000" b="0" u="none" kern="1200" noProof="0">
                        <a:solidFill>
                          <a:schemeClr val="tx1"/>
                        </a:solidFill>
                        <a:effectLst/>
                        <a:latin typeface="Arial"/>
                        <a:cs typeface="Arial"/>
                      </a:endParaRPr>
                    </a:p>
                  </a:txBody>
                  <a:tcPr anchor="ctr"/>
                </a:tc>
                <a:extLst>
                  <a:ext uri="{0D108BD9-81ED-4DB2-BD59-A6C34878D82A}">
                    <a16:rowId xmlns:a16="http://schemas.microsoft.com/office/drawing/2014/main" val="325257476"/>
                  </a:ext>
                </a:extLst>
              </a:tr>
              <a:tr h="2818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9.25 – 19.55</a:t>
                      </a:r>
                    </a:p>
                  </a:txBody>
                  <a:tcPr anchor="ctr"/>
                </a:tc>
                <a:tc>
                  <a:txBody>
                    <a:bodyPr/>
                    <a:lstStyle/>
                    <a:p>
                      <a:pPr marL="0" marR="0">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Patient Case Discussion: Relapsed/Refractory Multiple Myeloma</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Cases from 2 regions will be presented by </a:t>
                      </a:r>
                      <a:r>
                        <a:rPr lang="en-US" sz="1000" b="0" u="none" kern="1200" noProof="0">
                          <a:solidFill>
                            <a:schemeClr val="tx1"/>
                          </a:solidFill>
                          <a:effectLst/>
                          <a:latin typeface="Arial" panose="020B0604020202020204" pitchFamily="34" charset="0"/>
                          <a:ea typeface="+mn-ea"/>
                          <a:cs typeface="Arial" panose="020B0604020202020204" pitchFamily="34" charset="0"/>
                        </a:rPr>
                        <a:t>Borja Puertas Martínez (</a:t>
                      </a:r>
                      <a:r>
                        <a:rPr lang="en-US" sz="1000" noProof="0">
                          <a:solidFill>
                            <a:schemeClr val="tx1"/>
                          </a:solidFill>
                          <a:latin typeface="Arial" panose="020B0604020202020204" pitchFamily="34" charset="0"/>
                          <a:cs typeface="Arial" panose="020B0604020202020204" pitchFamily="34" charset="0"/>
                        </a:rPr>
                        <a:t>University of Salamanca, Spain)</a:t>
                      </a:r>
                      <a:r>
                        <a:rPr lang="en-US" sz="1000" b="0" u="none" kern="1200" noProof="0">
                          <a:solidFill>
                            <a:schemeClr val="tx1"/>
                          </a:solidFill>
                          <a:effectLst/>
                          <a:latin typeface="Arial" panose="020B0604020202020204" pitchFamily="34" charset="0"/>
                          <a:ea typeface="+mn-ea"/>
                          <a:cs typeface="Arial" panose="020B0604020202020204" pitchFamily="34" charset="0"/>
                        </a:rPr>
                        <a:t> and </a:t>
                      </a:r>
                      <a:r>
                        <a:rPr lang="en-US" sz="1000" kern="1200" noProof="0">
                          <a:solidFill>
                            <a:schemeClr val="dk1"/>
                          </a:solidFill>
                          <a:effectLst/>
                          <a:latin typeface="Arial" panose="020B0604020202020204" pitchFamily="34" charset="0"/>
                          <a:ea typeface="+mn-ea"/>
                          <a:cs typeface="Arial" panose="020B0604020202020204" pitchFamily="34" charset="0"/>
                        </a:rPr>
                        <a:t>Despoina Fotiou</a:t>
                      </a:r>
                      <a:r>
                        <a:rPr lang="en-US" sz="1000" b="0" u="none" kern="1200" noProof="0">
                          <a:solidFill>
                            <a:schemeClr val="tx1"/>
                          </a:solidFill>
                          <a:effectLst/>
                          <a:latin typeface="Arial" panose="020B0604020202020204" pitchFamily="34" charset="0"/>
                          <a:ea typeface="+mn-ea"/>
                          <a:cs typeface="Arial" panose="020B0604020202020204" pitchFamily="34" charset="0"/>
                        </a:rPr>
                        <a:t> (University </a:t>
                      </a:r>
                      <a:r>
                        <a:rPr lang="en-US" sz="1000" b="0" i="0" noProof="0">
                          <a:solidFill>
                            <a:schemeClr val="tx1"/>
                          </a:solidFill>
                          <a:effectLst/>
                          <a:latin typeface="Arial" panose="020B0604020202020204" pitchFamily="34" charset="0"/>
                          <a:cs typeface="Arial" panose="020B0604020202020204" pitchFamily="34" charset="0"/>
                        </a:rPr>
                        <a:t>of Athens, Greece</a:t>
                      </a:r>
                      <a:r>
                        <a:rPr lang="en-US" sz="1000" b="0" u="none" kern="1200" noProof="0">
                          <a:solidFill>
                            <a:schemeClr val="tx1"/>
                          </a:solidFill>
                          <a:effectLst/>
                          <a:latin typeface="Arial" panose="020B0604020202020204" pitchFamily="34" charset="0"/>
                          <a:ea typeface="+mn-ea"/>
                          <a:cs typeface="Arial" panose="020B0604020202020204" pitchFamily="34" charset="0"/>
                        </a:rPr>
                        <a:t>)</a:t>
                      </a:r>
                    </a:p>
                  </a:txBody>
                  <a:tcPr anchor="ctr"/>
                </a:tc>
                <a:tc>
                  <a:txBody>
                    <a:bodyPr/>
                    <a:lstStyle/>
                    <a:p>
                      <a:pPr marL="0" marR="0" algn="l">
                        <a:lnSpc>
                          <a:spcPct val="100000"/>
                        </a:lnSpc>
                        <a:spcBef>
                          <a:spcPts val="0"/>
                        </a:spcBef>
                        <a:spcAft>
                          <a:spcPts val="0"/>
                        </a:spcAft>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Regional case presenter</a:t>
                      </a:r>
                      <a:endParaRPr lang="en-US" sz="1000" b="0" u="none" strike="sngStrike" kern="1200" noProof="0">
                        <a:solidFill>
                          <a:schemeClr val="bg2">
                            <a:lumMod val="10000"/>
                          </a:schemeClr>
                        </a:solidFill>
                        <a:effectLst/>
                        <a:latin typeface="Arial" panose="020B0604020202020204" pitchFamily="34" charset="0"/>
                        <a:cs typeface="Arial" panose="020B0604020202020204" pitchFamily="34" charset="0"/>
                      </a:endParaRPr>
                    </a:p>
                    <a:p>
                      <a:pPr marL="0" marR="0" algn="l">
                        <a:lnSpc>
                          <a:spcPct val="100000"/>
                        </a:lnSpc>
                        <a:spcBef>
                          <a:spcPts val="0"/>
                        </a:spcBef>
                        <a:spcAft>
                          <a:spcPts val="0"/>
                        </a:spcAft>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All faculty</a:t>
                      </a:r>
                    </a:p>
                  </a:txBody>
                  <a:tcPr anchor="ctr"/>
                </a:tc>
                <a:extLst>
                  <a:ext uri="{0D108BD9-81ED-4DB2-BD59-A6C34878D82A}">
                    <a16:rowId xmlns:a16="http://schemas.microsoft.com/office/drawing/2014/main" val="371514996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9.55 – 20.00</a:t>
                      </a:r>
                    </a:p>
                  </a:txBody>
                  <a:tcPr anchor="ctr"/>
                </a:tc>
                <a:tc>
                  <a:txBody>
                    <a:bodyPr/>
                    <a:lstStyle/>
                    <a:p>
                      <a:pPr marL="0" marR="0">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Session Close</a:t>
                      </a:r>
                    </a:p>
                  </a:txBody>
                  <a:tcPr anchor="ctr"/>
                </a:tc>
                <a:tc>
                  <a:txBody>
                    <a:bodyPr/>
                    <a:lstStyle/>
                    <a:p>
                      <a:pPr marL="0" marR="0" algn="l">
                        <a:lnSpc>
                          <a:spcPct val="100000"/>
                        </a:lnSpc>
                        <a:spcBef>
                          <a:spcPts val="0"/>
                        </a:spcBef>
                        <a:spcAft>
                          <a:spcPts val="0"/>
                        </a:spcAft>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Rafael Fonseca, MD</a:t>
                      </a:r>
                    </a:p>
                  </a:txBody>
                  <a:tcPr anchor="ctr"/>
                </a:tc>
                <a:extLst>
                  <a:ext uri="{0D108BD9-81ED-4DB2-BD59-A6C34878D82A}">
                    <a16:rowId xmlns:a16="http://schemas.microsoft.com/office/drawing/2014/main" val="3914838558"/>
                  </a:ext>
                </a:extLst>
              </a:tr>
            </a:tbl>
          </a:graphicData>
        </a:graphic>
      </p:graphicFrame>
    </p:spTree>
    <p:extLst>
      <p:ext uri="{BB962C8B-B14F-4D97-AF65-F5344CB8AC3E}">
        <p14:creationId xmlns:p14="http://schemas.microsoft.com/office/powerpoint/2010/main" val="98099045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8AFB7-9B0C-48DB-94D8-57C47786EF99}"/>
              </a:ext>
            </a:extLst>
          </p:cNvPr>
          <p:cNvSpPr>
            <a:spLocks noGrp="1"/>
          </p:cNvSpPr>
          <p:nvPr>
            <p:ph type="ctrTitle"/>
          </p:nvPr>
        </p:nvSpPr>
        <p:spPr>
          <a:xfrm>
            <a:off x="4270617" y="1259922"/>
            <a:ext cx="4534294" cy="1548390"/>
          </a:xfrm>
        </p:spPr>
        <p:txBody>
          <a:bodyPr>
            <a:noAutofit/>
          </a:bodyPr>
          <a:lstStyle/>
          <a:p>
            <a:r>
              <a:rPr lang="en-US" sz="2400" b="1" i="0" u="none" strike="noStrike" noProof="0">
                <a:solidFill>
                  <a:srgbClr val="FFFFFF"/>
                </a:solidFill>
                <a:effectLst/>
                <a:latin typeface="Arial Nova" panose="020B0504020202020204" pitchFamily="34" charset="0"/>
              </a:rPr>
              <a:t>Global Multiple Myeloma Academy</a:t>
            </a:r>
            <a:r>
              <a:rPr lang="en-US" sz="2400" b="0" i="0" noProof="0">
                <a:solidFill>
                  <a:srgbClr val="000000"/>
                </a:solidFill>
                <a:effectLst/>
                <a:latin typeface="Arial Nova" panose="020B0504020202020204" pitchFamily="34" charset="0"/>
              </a:rPr>
              <a:t>​</a:t>
            </a:r>
            <a:br>
              <a:rPr lang="en-US" sz="2400" b="0" i="0" noProof="0">
                <a:solidFill>
                  <a:srgbClr val="000000"/>
                </a:solidFill>
                <a:effectLst/>
                <a:latin typeface="Arial Nova" panose="020B0504020202020204" pitchFamily="34" charset="0"/>
              </a:rPr>
            </a:br>
            <a:r>
              <a:rPr lang="en-US" sz="2400" b="1" i="0" u="none" strike="noStrike" noProof="0">
                <a:solidFill>
                  <a:srgbClr val="FFFFFF"/>
                </a:solidFill>
                <a:effectLst/>
                <a:latin typeface="Arial Nova" panose="020B0504020202020204" pitchFamily="34" charset="0"/>
              </a:rPr>
              <a:t>Emerging and Practical Concepts in Multiple Myeloma</a:t>
            </a:r>
            <a:endParaRPr lang="en-US" sz="2400" noProof="0"/>
          </a:p>
        </p:txBody>
      </p:sp>
      <p:sp>
        <p:nvSpPr>
          <p:cNvPr id="3" name="Subtitle 2">
            <a:extLst>
              <a:ext uri="{FF2B5EF4-FFF2-40B4-BE49-F238E27FC236}">
                <a16:creationId xmlns:a16="http://schemas.microsoft.com/office/drawing/2014/main" id="{3BD8EE37-28C6-42C9-93BD-B35367DFF904}"/>
              </a:ext>
            </a:extLst>
          </p:cNvPr>
          <p:cNvSpPr>
            <a:spLocks noGrp="1"/>
          </p:cNvSpPr>
          <p:nvPr>
            <p:ph type="subTitle" idx="1"/>
          </p:nvPr>
        </p:nvSpPr>
        <p:spPr/>
        <p:txBody>
          <a:bodyPr/>
          <a:lstStyle/>
          <a:p>
            <a:r>
              <a:rPr lang="en-US" noProof="0"/>
              <a:t>See you tomorrow!</a:t>
            </a:r>
          </a:p>
        </p:txBody>
      </p:sp>
      <p:pic>
        <p:nvPicPr>
          <p:cNvPr id="7" name="Picture 6" descr="PharmaBoardroom | Amgen Italy">
            <a:extLst>
              <a:ext uri="{FF2B5EF4-FFF2-40B4-BE49-F238E27FC236}">
                <a16:creationId xmlns:a16="http://schemas.microsoft.com/office/drawing/2014/main" id="{0088723E-4B3D-4B64-A540-908015A243E3}"/>
              </a:ext>
            </a:extLst>
          </p:cNvPr>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1920" y="4614965"/>
            <a:ext cx="1539074" cy="454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70045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ED056-13E4-9D47-A2AD-B20F37820B9F}"/>
              </a:ext>
            </a:extLst>
          </p:cNvPr>
          <p:cNvSpPr>
            <a:spLocks noGrp="1"/>
          </p:cNvSpPr>
          <p:nvPr>
            <p:ph type="title"/>
          </p:nvPr>
        </p:nvSpPr>
        <p:spPr>
          <a:xfrm>
            <a:off x="1" y="247060"/>
            <a:ext cx="9143996" cy="535154"/>
          </a:xfrm>
        </p:spPr>
        <p:txBody>
          <a:bodyPr>
            <a:noAutofit/>
          </a:bodyPr>
          <a:lstStyle/>
          <a:p>
            <a:r>
              <a:rPr lang="en-US" sz="2400" b="1" noProof="0">
                <a:solidFill>
                  <a:srgbClr val="0070C0"/>
                </a:solidFill>
                <a:latin typeface="Arial" panose="020B0604020202020204" pitchFamily="34" charset="0"/>
                <a:cs typeface="Arial" panose="020B0604020202020204" pitchFamily="34" charset="0"/>
              </a:rPr>
              <a:t>Higher prevalence of HC-MGUS by MS compared with SPEP/IFX in the same PROMISE samples &gt;50 years</a:t>
            </a:r>
          </a:p>
        </p:txBody>
      </p:sp>
      <p:sp>
        <p:nvSpPr>
          <p:cNvPr id="11" name="TextBox 10">
            <a:extLst>
              <a:ext uri="{FF2B5EF4-FFF2-40B4-BE49-F238E27FC236}">
                <a16:creationId xmlns:a16="http://schemas.microsoft.com/office/drawing/2014/main" id="{D764C45E-F03D-AA41-A817-0AD2CD3647CF}"/>
              </a:ext>
            </a:extLst>
          </p:cNvPr>
          <p:cNvSpPr txBox="1"/>
          <p:nvPr/>
        </p:nvSpPr>
        <p:spPr>
          <a:xfrm>
            <a:off x="3049580" y="3624131"/>
            <a:ext cx="1994577" cy="369332"/>
          </a:xfrm>
          <a:prstGeom prst="rect">
            <a:avLst/>
          </a:prstGeom>
          <a:noFill/>
        </p:spPr>
        <p:txBody>
          <a:bodyPr wrap="square" rtlCol="0">
            <a:spAutoFit/>
          </a:bodyPr>
          <a:lstStyle/>
          <a:p>
            <a:pPr defTabSz="685800"/>
            <a:r>
              <a:rPr lang="en-US">
                <a:solidFill>
                  <a:prstClr val="black"/>
                </a:solidFill>
                <a:latin typeface="Calibri"/>
              </a:rPr>
              <a:t>SPEP/IFX</a:t>
            </a:r>
          </a:p>
        </p:txBody>
      </p:sp>
      <p:sp>
        <p:nvSpPr>
          <p:cNvPr id="13" name="TextBox 12">
            <a:extLst>
              <a:ext uri="{FF2B5EF4-FFF2-40B4-BE49-F238E27FC236}">
                <a16:creationId xmlns:a16="http://schemas.microsoft.com/office/drawing/2014/main" id="{B65A72E3-4E67-3F49-9023-1BFCB55B7395}"/>
              </a:ext>
            </a:extLst>
          </p:cNvPr>
          <p:cNvSpPr txBox="1"/>
          <p:nvPr/>
        </p:nvSpPr>
        <p:spPr>
          <a:xfrm>
            <a:off x="3049578" y="2571750"/>
            <a:ext cx="1994577" cy="369332"/>
          </a:xfrm>
          <a:prstGeom prst="rect">
            <a:avLst/>
          </a:prstGeom>
          <a:noFill/>
        </p:spPr>
        <p:txBody>
          <a:bodyPr wrap="square" rtlCol="0">
            <a:spAutoFit/>
          </a:bodyPr>
          <a:lstStyle/>
          <a:p>
            <a:pPr defTabSz="685800"/>
            <a:r>
              <a:rPr lang="en-US">
                <a:solidFill>
                  <a:prstClr val="black"/>
                </a:solidFill>
                <a:latin typeface="Calibri"/>
              </a:rPr>
              <a:t>MALDI-TOF MS</a:t>
            </a:r>
          </a:p>
        </p:txBody>
      </p:sp>
      <p:sp>
        <p:nvSpPr>
          <p:cNvPr id="14" name="TextBox 13">
            <a:extLst>
              <a:ext uri="{FF2B5EF4-FFF2-40B4-BE49-F238E27FC236}">
                <a16:creationId xmlns:a16="http://schemas.microsoft.com/office/drawing/2014/main" id="{6C4CADDD-E283-2C47-AB01-59DE6075839A}"/>
              </a:ext>
            </a:extLst>
          </p:cNvPr>
          <p:cNvSpPr txBox="1"/>
          <p:nvPr/>
        </p:nvSpPr>
        <p:spPr>
          <a:xfrm>
            <a:off x="4089622" y="3619722"/>
            <a:ext cx="1272849" cy="369332"/>
          </a:xfrm>
          <a:prstGeom prst="rect">
            <a:avLst/>
          </a:prstGeom>
          <a:noFill/>
        </p:spPr>
        <p:txBody>
          <a:bodyPr wrap="square" rtlCol="0">
            <a:spAutoFit/>
          </a:bodyPr>
          <a:lstStyle/>
          <a:p>
            <a:pPr defTabSz="685800"/>
            <a:r>
              <a:rPr lang="en-US">
                <a:solidFill>
                  <a:srgbClr val="CD113B"/>
                </a:solidFill>
                <a:latin typeface="Calibri"/>
              </a:rPr>
              <a:t>6%</a:t>
            </a:r>
          </a:p>
        </p:txBody>
      </p:sp>
      <p:pic>
        <p:nvPicPr>
          <p:cNvPr id="18" name="Picture 17">
            <a:extLst>
              <a:ext uri="{FF2B5EF4-FFF2-40B4-BE49-F238E27FC236}">
                <a16:creationId xmlns:a16="http://schemas.microsoft.com/office/drawing/2014/main" id="{5D11C516-1DC6-1946-A687-B29115E3909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196" t="6992" r="53910" b="3796"/>
          <a:stretch/>
        </p:blipFill>
        <p:spPr>
          <a:xfrm>
            <a:off x="289121" y="1379287"/>
            <a:ext cx="2030178" cy="3088064"/>
          </a:xfrm>
          <a:prstGeom prst="rect">
            <a:avLst/>
          </a:prstGeom>
        </p:spPr>
      </p:pic>
      <p:sp>
        <p:nvSpPr>
          <p:cNvPr id="12" name="TextBox 11">
            <a:extLst>
              <a:ext uri="{FF2B5EF4-FFF2-40B4-BE49-F238E27FC236}">
                <a16:creationId xmlns:a16="http://schemas.microsoft.com/office/drawing/2014/main" id="{ABBA28DE-FA94-D244-9328-687A150F943C}"/>
              </a:ext>
            </a:extLst>
          </p:cNvPr>
          <p:cNvSpPr txBox="1"/>
          <p:nvPr/>
        </p:nvSpPr>
        <p:spPr>
          <a:xfrm>
            <a:off x="4604840" y="2575064"/>
            <a:ext cx="1272849" cy="369332"/>
          </a:xfrm>
          <a:prstGeom prst="rect">
            <a:avLst/>
          </a:prstGeom>
          <a:noFill/>
        </p:spPr>
        <p:txBody>
          <a:bodyPr wrap="square" rtlCol="0">
            <a:spAutoFit/>
          </a:bodyPr>
          <a:lstStyle/>
          <a:p>
            <a:pPr defTabSz="685800"/>
            <a:r>
              <a:rPr lang="en-US">
                <a:solidFill>
                  <a:srgbClr val="CD113B"/>
                </a:solidFill>
                <a:latin typeface="Calibri"/>
              </a:rPr>
              <a:t>13%</a:t>
            </a:r>
          </a:p>
        </p:txBody>
      </p:sp>
      <p:cxnSp>
        <p:nvCxnSpPr>
          <p:cNvPr id="8" name="Straight Connector 7">
            <a:extLst>
              <a:ext uri="{FF2B5EF4-FFF2-40B4-BE49-F238E27FC236}">
                <a16:creationId xmlns:a16="http://schemas.microsoft.com/office/drawing/2014/main" id="{1655EC6B-2786-684A-ABE6-98561E9B7F27}"/>
              </a:ext>
            </a:extLst>
          </p:cNvPr>
          <p:cNvCxnSpPr>
            <a:cxnSpLocks/>
          </p:cNvCxnSpPr>
          <p:nvPr/>
        </p:nvCxnSpPr>
        <p:spPr>
          <a:xfrm flipH="1">
            <a:off x="638575" y="3290389"/>
            <a:ext cx="1805852" cy="0"/>
          </a:xfrm>
          <a:prstGeom prst="line">
            <a:avLst/>
          </a:prstGeom>
          <a:ln>
            <a:solidFill>
              <a:srgbClr val="CD113B"/>
            </a:solidFill>
          </a:ln>
          <a:effectLst/>
        </p:spPr>
        <p:style>
          <a:lnRef idx="2">
            <a:schemeClr val="dk1"/>
          </a:lnRef>
          <a:fillRef idx="0">
            <a:schemeClr val="dk1"/>
          </a:fillRef>
          <a:effectRef idx="1">
            <a:schemeClr val="dk1"/>
          </a:effectRef>
          <a:fontRef idx="minor">
            <a:schemeClr val="tx1"/>
          </a:fontRef>
        </p:style>
      </p:cxnSp>
      <p:cxnSp>
        <p:nvCxnSpPr>
          <p:cNvPr id="16" name="Straight Connector 15">
            <a:extLst>
              <a:ext uri="{FF2B5EF4-FFF2-40B4-BE49-F238E27FC236}">
                <a16:creationId xmlns:a16="http://schemas.microsoft.com/office/drawing/2014/main" id="{1E497524-2FD1-5447-8BAA-31D88DA8F882}"/>
              </a:ext>
            </a:extLst>
          </p:cNvPr>
          <p:cNvCxnSpPr>
            <a:cxnSpLocks/>
          </p:cNvCxnSpPr>
          <p:nvPr/>
        </p:nvCxnSpPr>
        <p:spPr>
          <a:xfrm flipV="1">
            <a:off x="2444427" y="2758782"/>
            <a:ext cx="0" cy="1050015"/>
          </a:xfrm>
          <a:prstGeom prst="line">
            <a:avLst/>
          </a:prstGeom>
          <a:ln w="12700"/>
          <a:effectLst/>
        </p:spPr>
        <p:style>
          <a:lnRef idx="2">
            <a:schemeClr val="dk1"/>
          </a:lnRef>
          <a:fillRef idx="0">
            <a:schemeClr val="dk1"/>
          </a:fillRef>
          <a:effectRef idx="1">
            <a:schemeClr val="dk1"/>
          </a:effectRef>
          <a:fontRef idx="minor">
            <a:schemeClr val="tx1"/>
          </a:fontRef>
        </p:style>
      </p:cxnSp>
      <p:cxnSp>
        <p:nvCxnSpPr>
          <p:cNvPr id="17" name="Straight Connector 16">
            <a:extLst>
              <a:ext uri="{FF2B5EF4-FFF2-40B4-BE49-F238E27FC236}">
                <a16:creationId xmlns:a16="http://schemas.microsoft.com/office/drawing/2014/main" id="{E1CEBAA7-4967-3546-8C8E-E6370674D7AD}"/>
              </a:ext>
            </a:extLst>
          </p:cNvPr>
          <p:cNvCxnSpPr>
            <a:cxnSpLocks/>
          </p:cNvCxnSpPr>
          <p:nvPr/>
        </p:nvCxnSpPr>
        <p:spPr>
          <a:xfrm flipV="1">
            <a:off x="2444428" y="3808797"/>
            <a:ext cx="480023" cy="1"/>
          </a:xfrm>
          <a:prstGeom prst="line">
            <a:avLst/>
          </a:prstGeom>
          <a:ln w="12700">
            <a:headEnd type="none"/>
            <a:tailEnd type="triangle"/>
          </a:ln>
          <a:effectLst/>
        </p:spPr>
        <p:style>
          <a:lnRef idx="2">
            <a:schemeClr val="dk1"/>
          </a:lnRef>
          <a:fillRef idx="0">
            <a:schemeClr val="dk1"/>
          </a:fillRef>
          <a:effectRef idx="1">
            <a:schemeClr val="dk1"/>
          </a:effectRef>
          <a:fontRef idx="minor">
            <a:schemeClr val="tx1"/>
          </a:fontRef>
        </p:style>
      </p:cxnSp>
      <p:cxnSp>
        <p:nvCxnSpPr>
          <p:cNvPr id="19" name="Straight Connector 18">
            <a:extLst>
              <a:ext uri="{FF2B5EF4-FFF2-40B4-BE49-F238E27FC236}">
                <a16:creationId xmlns:a16="http://schemas.microsoft.com/office/drawing/2014/main" id="{E64C2A04-4E98-F94D-BEF4-912A67FD998E}"/>
              </a:ext>
            </a:extLst>
          </p:cNvPr>
          <p:cNvCxnSpPr>
            <a:cxnSpLocks/>
          </p:cNvCxnSpPr>
          <p:nvPr/>
        </p:nvCxnSpPr>
        <p:spPr>
          <a:xfrm flipV="1">
            <a:off x="2444428" y="2756417"/>
            <a:ext cx="480023" cy="1"/>
          </a:xfrm>
          <a:prstGeom prst="line">
            <a:avLst/>
          </a:prstGeom>
          <a:ln w="12700">
            <a:headEnd type="none"/>
            <a:tailEnd type="triangle"/>
          </a:ln>
          <a:effectLst/>
        </p:spPr>
        <p:style>
          <a:lnRef idx="2">
            <a:schemeClr val="dk1"/>
          </a:lnRef>
          <a:fillRef idx="0">
            <a:schemeClr val="dk1"/>
          </a:fillRef>
          <a:effectRef idx="1">
            <a:schemeClr val="dk1"/>
          </a:effectRef>
          <a:fontRef idx="minor">
            <a:schemeClr val="tx1"/>
          </a:fontRef>
        </p:style>
      </p:cxnSp>
      <p:sp>
        <p:nvSpPr>
          <p:cNvPr id="21" name="Rectangle 20">
            <a:extLst>
              <a:ext uri="{FF2B5EF4-FFF2-40B4-BE49-F238E27FC236}">
                <a16:creationId xmlns:a16="http://schemas.microsoft.com/office/drawing/2014/main" id="{5819BAC6-EF8F-3842-BCFF-EA2826A3E3E5}"/>
              </a:ext>
            </a:extLst>
          </p:cNvPr>
          <p:cNvSpPr/>
          <p:nvPr/>
        </p:nvSpPr>
        <p:spPr>
          <a:xfrm>
            <a:off x="453652" y="3302292"/>
            <a:ext cx="1980836" cy="1298536"/>
          </a:xfrm>
          <a:prstGeom prst="rect">
            <a:avLst/>
          </a:prstGeom>
          <a:solidFill>
            <a:schemeClr val="bg1">
              <a:alpha val="71715"/>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a:solidFill>
                <a:prstClr val="white"/>
              </a:solidFill>
              <a:latin typeface="Calibri"/>
            </a:endParaRPr>
          </a:p>
        </p:txBody>
      </p:sp>
      <p:pic>
        <p:nvPicPr>
          <p:cNvPr id="25" name="Picture 24" descr="Chart, bar chart&#10;&#10;Description automatically generated">
            <a:extLst>
              <a:ext uri="{FF2B5EF4-FFF2-40B4-BE49-F238E27FC236}">
                <a16:creationId xmlns:a16="http://schemas.microsoft.com/office/drawing/2014/main" id="{7E8384C2-00DF-3147-8046-99A9DC33C11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63258" y="1112459"/>
            <a:ext cx="3880739" cy="3569858"/>
          </a:xfrm>
          <a:prstGeom prst="rect">
            <a:avLst/>
          </a:prstGeom>
        </p:spPr>
      </p:pic>
      <p:sp>
        <p:nvSpPr>
          <p:cNvPr id="27" name="TextBox 26">
            <a:extLst>
              <a:ext uri="{FF2B5EF4-FFF2-40B4-BE49-F238E27FC236}">
                <a16:creationId xmlns:a16="http://schemas.microsoft.com/office/drawing/2014/main" id="{B592A3F2-FC84-4C95-8322-4F66FCE1735A}"/>
              </a:ext>
            </a:extLst>
          </p:cNvPr>
          <p:cNvSpPr txBox="1"/>
          <p:nvPr/>
        </p:nvSpPr>
        <p:spPr>
          <a:xfrm>
            <a:off x="7258050" y="4897280"/>
            <a:ext cx="1885950" cy="246221"/>
          </a:xfrm>
          <a:prstGeom prst="rect">
            <a:avLst/>
          </a:prstGeom>
          <a:noFill/>
        </p:spPr>
        <p:txBody>
          <a:bodyPr wrap="square" rtlCol="0" anchor="b">
            <a:spAutoFit/>
          </a:bodyPr>
          <a:lstStyle/>
          <a:p>
            <a:pPr algn="r" defTabSz="685800"/>
            <a:r>
              <a:rPr lang="en-US" sz="1000" i="1">
                <a:solidFill>
                  <a:prstClr val="black"/>
                </a:solidFill>
                <a:latin typeface="Arial" panose="020B0604020202020204" pitchFamily="34" charset="0"/>
                <a:cs typeface="Arial" panose="020B0604020202020204" pitchFamily="34" charset="0"/>
              </a:rPr>
              <a:t>Lancet Haematol</a:t>
            </a:r>
            <a:r>
              <a:rPr lang="en-US" sz="1000">
                <a:solidFill>
                  <a:prstClr val="black"/>
                </a:solidFill>
                <a:latin typeface="Arial" panose="020B0604020202020204" pitchFamily="34" charset="0"/>
                <a:cs typeface="Arial" panose="020B0604020202020204" pitchFamily="34" charset="0"/>
              </a:rPr>
              <a:t>. In press.</a:t>
            </a:r>
          </a:p>
        </p:txBody>
      </p:sp>
    </p:spTree>
    <p:extLst>
      <p:ext uri="{BB962C8B-B14F-4D97-AF65-F5344CB8AC3E}">
        <p14:creationId xmlns:p14="http://schemas.microsoft.com/office/powerpoint/2010/main" val="28851474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86AE37-0E6B-CA45-8CDC-368D9186B747}"/>
              </a:ext>
            </a:extLst>
          </p:cNvPr>
          <p:cNvSpPr>
            <a:spLocks noGrp="1"/>
          </p:cNvSpPr>
          <p:nvPr>
            <p:ph type="title"/>
          </p:nvPr>
        </p:nvSpPr>
        <p:spPr>
          <a:xfrm>
            <a:off x="457200" y="64809"/>
            <a:ext cx="8229600" cy="535154"/>
          </a:xfrm>
        </p:spPr>
        <p:txBody>
          <a:bodyPr>
            <a:normAutofit/>
          </a:bodyPr>
          <a:lstStyle/>
          <a:p>
            <a:r>
              <a:rPr lang="en-US" sz="2400" b="1" noProof="0">
                <a:solidFill>
                  <a:srgbClr val="0070C0"/>
                </a:solidFill>
                <a:latin typeface="Arial" panose="020B0604020202020204" pitchFamily="34" charset="0"/>
                <a:cs typeface="Arial" panose="020B0604020202020204" pitchFamily="34" charset="0"/>
              </a:rPr>
              <a:t>Worse overall survival </a:t>
            </a:r>
          </a:p>
        </p:txBody>
      </p:sp>
      <p:pic>
        <p:nvPicPr>
          <p:cNvPr id="4" name="Content Placeholder 3" descr="Chart, diagram, box and whisker chart&#10;&#10;Description automatically generated with medium confidence">
            <a:extLst>
              <a:ext uri="{FF2B5EF4-FFF2-40B4-BE49-F238E27FC236}">
                <a16:creationId xmlns:a16="http://schemas.microsoft.com/office/drawing/2014/main" id="{5E0C5C7E-E55C-B548-9BAA-B1F4A8BF56A8}"/>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353531" y="633881"/>
            <a:ext cx="5055410" cy="2194560"/>
          </a:xfrm>
          <a:prstGeom prst="rect">
            <a:avLst/>
          </a:prstGeom>
        </p:spPr>
      </p:pic>
      <p:pic>
        <p:nvPicPr>
          <p:cNvPr id="6" name="Picture 5" descr="Chart, diagram&#10;&#10;Description automatically generated">
            <a:extLst>
              <a:ext uri="{FF2B5EF4-FFF2-40B4-BE49-F238E27FC236}">
                <a16:creationId xmlns:a16="http://schemas.microsoft.com/office/drawing/2014/main" id="{0B91D95C-D3DA-874F-86BD-7D2B64AF58C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798156" y="2797623"/>
            <a:ext cx="5055410" cy="2122597"/>
          </a:xfrm>
          <a:prstGeom prst="rect">
            <a:avLst/>
          </a:prstGeom>
        </p:spPr>
      </p:pic>
      <p:sp>
        <p:nvSpPr>
          <p:cNvPr id="8" name="TextBox 7">
            <a:extLst>
              <a:ext uri="{FF2B5EF4-FFF2-40B4-BE49-F238E27FC236}">
                <a16:creationId xmlns:a16="http://schemas.microsoft.com/office/drawing/2014/main" id="{C53666C2-98F2-4B19-B2B3-567489BEA310}"/>
              </a:ext>
            </a:extLst>
          </p:cNvPr>
          <p:cNvSpPr txBox="1"/>
          <p:nvPr/>
        </p:nvSpPr>
        <p:spPr>
          <a:xfrm>
            <a:off x="7258050" y="4897280"/>
            <a:ext cx="1885950" cy="246221"/>
          </a:xfrm>
          <a:prstGeom prst="rect">
            <a:avLst/>
          </a:prstGeom>
          <a:noFill/>
        </p:spPr>
        <p:txBody>
          <a:bodyPr wrap="square" rtlCol="0" anchor="b">
            <a:spAutoFit/>
          </a:bodyPr>
          <a:lstStyle/>
          <a:p>
            <a:pPr algn="r" defTabSz="685800"/>
            <a:r>
              <a:rPr lang="en-US" sz="1000" i="1">
                <a:solidFill>
                  <a:prstClr val="black"/>
                </a:solidFill>
                <a:latin typeface="Arial" panose="020B0604020202020204" pitchFamily="34" charset="0"/>
                <a:cs typeface="Arial" panose="020B0604020202020204" pitchFamily="34" charset="0"/>
              </a:rPr>
              <a:t>Lancet Haematol</a:t>
            </a:r>
            <a:r>
              <a:rPr lang="en-US" sz="1000">
                <a:solidFill>
                  <a:prstClr val="black"/>
                </a:solidFill>
                <a:latin typeface="Arial" panose="020B0604020202020204" pitchFamily="34" charset="0"/>
                <a:cs typeface="Arial" panose="020B0604020202020204" pitchFamily="34" charset="0"/>
              </a:rPr>
              <a:t>. In press.</a:t>
            </a:r>
          </a:p>
        </p:txBody>
      </p:sp>
    </p:spTree>
    <p:extLst>
      <p:ext uri="{BB962C8B-B14F-4D97-AF65-F5344CB8AC3E}">
        <p14:creationId xmlns:p14="http://schemas.microsoft.com/office/powerpoint/2010/main" val="38647566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Table&#10;&#10;Description automatically generated">
            <a:extLst>
              <a:ext uri="{FF2B5EF4-FFF2-40B4-BE49-F238E27FC236}">
                <a16:creationId xmlns:a16="http://schemas.microsoft.com/office/drawing/2014/main" id="{B0D447FD-4B38-714B-8737-018E5E51F8BF}"/>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257836" y="86333"/>
            <a:ext cx="3687259" cy="4859289"/>
          </a:xfrm>
        </p:spPr>
      </p:pic>
      <p:sp>
        <p:nvSpPr>
          <p:cNvPr id="2" name="Title 1">
            <a:extLst>
              <a:ext uri="{FF2B5EF4-FFF2-40B4-BE49-F238E27FC236}">
                <a16:creationId xmlns:a16="http://schemas.microsoft.com/office/drawing/2014/main" id="{DFF750C6-2561-A34E-BE6B-2861687EB5E7}"/>
              </a:ext>
            </a:extLst>
          </p:cNvPr>
          <p:cNvSpPr>
            <a:spLocks noGrp="1"/>
          </p:cNvSpPr>
          <p:nvPr>
            <p:ph type="title"/>
          </p:nvPr>
        </p:nvSpPr>
        <p:spPr>
          <a:xfrm>
            <a:off x="3865356" y="610716"/>
            <a:ext cx="4991987" cy="535154"/>
          </a:xfrm>
        </p:spPr>
        <p:txBody>
          <a:bodyPr>
            <a:noAutofit/>
          </a:bodyPr>
          <a:lstStyle/>
          <a:p>
            <a:r>
              <a:rPr lang="en-US" sz="2400" b="1" noProof="0">
                <a:solidFill>
                  <a:srgbClr val="0070C0"/>
                </a:solidFill>
                <a:latin typeface="Arial" panose="020B0604020202020204" pitchFamily="34" charset="0"/>
                <a:cs typeface="Arial" panose="020B0604020202020204" pitchFamily="34" charset="0"/>
              </a:rPr>
              <a:t>Associations with comorbidities:</a:t>
            </a:r>
            <a:br>
              <a:rPr lang="en-US" sz="2400" b="1" noProof="0">
                <a:solidFill>
                  <a:srgbClr val="0070C0"/>
                </a:solidFill>
                <a:latin typeface="Arial" panose="020B0604020202020204" pitchFamily="34" charset="0"/>
                <a:cs typeface="Arial" panose="020B0604020202020204" pitchFamily="34" charset="0"/>
              </a:rPr>
            </a:br>
            <a:r>
              <a:rPr lang="en-US" sz="2400" b="1" noProof="0">
                <a:solidFill>
                  <a:srgbClr val="0070C0"/>
                </a:solidFill>
                <a:latin typeface="Arial" panose="020B0604020202020204" pitchFamily="34" charset="0"/>
                <a:cs typeface="Arial" panose="020B0604020202020204" pitchFamily="34" charset="0"/>
              </a:rPr>
              <a:t>cardiovascular, autoimmune, and many hematologic malignancies</a:t>
            </a:r>
          </a:p>
        </p:txBody>
      </p:sp>
      <p:sp>
        <p:nvSpPr>
          <p:cNvPr id="6" name="TextBox 5">
            <a:extLst>
              <a:ext uri="{FF2B5EF4-FFF2-40B4-BE49-F238E27FC236}">
                <a16:creationId xmlns:a16="http://schemas.microsoft.com/office/drawing/2014/main" id="{EEC53300-E69A-4E6B-B1DB-4CBA906F56D6}"/>
              </a:ext>
            </a:extLst>
          </p:cNvPr>
          <p:cNvSpPr txBox="1"/>
          <p:nvPr/>
        </p:nvSpPr>
        <p:spPr>
          <a:xfrm>
            <a:off x="7258050" y="4897280"/>
            <a:ext cx="1885950" cy="246221"/>
          </a:xfrm>
          <a:prstGeom prst="rect">
            <a:avLst/>
          </a:prstGeom>
          <a:noFill/>
        </p:spPr>
        <p:txBody>
          <a:bodyPr wrap="square" rtlCol="0" anchor="b">
            <a:spAutoFit/>
          </a:bodyPr>
          <a:lstStyle/>
          <a:p>
            <a:pPr algn="r" defTabSz="685800"/>
            <a:r>
              <a:rPr lang="en-US" sz="1000" i="1">
                <a:solidFill>
                  <a:prstClr val="black"/>
                </a:solidFill>
                <a:latin typeface="Arial" panose="020B0604020202020204" pitchFamily="34" charset="0"/>
                <a:cs typeface="Arial" panose="020B0604020202020204" pitchFamily="34" charset="0"/>
              </a:rPr>
              <a:t>Lancet Haematol</a:t>
            </a:r>
            <a:r>
              <a:rPr lang="en-US" sz="1000">
                <a:solidFill>
                  <a:prstClr val="black"/>
                </a:solidFill>
                <a:latin typeface="Arial" panose="020B0604020202020204" pitchFamily="34" charset="0"/>
                <a:cs typeface="Arial" panose="020B0604020202020204" pitchFamily="34" charset="0"/>
              </a:rPr>
              <a:t>. In press.</a:t>
            </a:r>
          </a:p>
        </p:txBody>
      </p:sp>
    </p:spTree>
    <p:extLst>
      <p:ext uri="{BB962C8B-B14F-4D97-AF65-F5344CB8AC3E}">
        <p14:creationId xmlns:p14="http://schemas.microsoft.com/office/powerpoint/2010/main" val="3480098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icture 4">
            <a:extLst>
              <a:ext uri="{FF2B5EF4-FFF2-40B4-BE49-F238E27FC236}">
                <a16:creationId xmlns:a16="http://schemas.microsoft.com/office/drawing/2014/main" id="{4F2D945A-F706-CE4E-A8C8-07DAA90ADE9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r="-434"/>
          <a:stretch>
            <a:fillRect/>
          </a:stretch>
        </p:blipFill>
        <p:spPr bwMode="auto">
          <a:xfrm>
            <a:off x="733647" y="1374079"/>
            <a:ext cx="3372227" cy="244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
                <a:solidFill>
                  <a:srgbClr val="000000"/>
                </a:solidFill>
                <a:miter lim="800000"/>
                <a:headEnd/>
                <a:tailEnd/>
              </a14:hiddenLine>
            </a:ext>
          </a:extLst>
        </p:spPr>
      </p:pic>
      <p:sp>
        <p:nvSpPr>
          <p:cNvPr id="16388" name="Text Box 4">
            <a:extLst>
              <a:ext uri="{FF2B5EF4-FFF2-40B4-BE49-F238E27FC236}">
                <a16:creationId xmlns:a16="http://schemas.microsoft.com/office/drawing/2014/main" id="{5F32362E-4BFC-3D4D-9461-6AF600DACE8C}"/>
              </a:ext>
            </a:extLst>
          </p:cNvPr>
          <p:cNvSpPr txBox="1">
            <a:spLocks noChangeArrowheads="1"/>
          </p:cNvSpPr>
          <p:nvPr/>
        </p:nvSpPr>
        <p:spPr bwMode="auto">
          <a:xfrm>
            <a:off x="882255" y="793459"/>
            <a:ext cx="2714625"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algn="ctr" defTabSz="684891" fontAlgn="base">
              <a:lnSpc>
                <a:spcPct val="100000"/>
              </a:lnSpc>
              <a:spcBef>
                <a:spcPct val="0"/>
              </a:spcBef>
              <a:spcAft>
                <a:spcPct val="0"/>
              </a:spcAft>
              <a:buNone/>
              <a:defRPr/>
            </a:pPr>
            <a:r>
              <a:rPr lang="es-ES" altLang="LID8192" sz="1350" b="1">
                <a:solidFill>
                  <a:srgbClr val="000000"/>
                </a:solidFill>
                <a:latin typeface="Arial" panose="020B0604020202020204" pitchFamily="34" charset="0"/>
              </a:rPr>
              <a:t>Mayo risk model </a:t>
            </a:r>
          </a:p>
          <a:p>
            <a:pPr algn="ctr" defTabSz="684891" fontAlgn="base">
              <a:lnSpc>
                <a:spcPct val="100000"/>
              </a:lnSpc>
              <a:spcBef>
                <a:spcPct val="0"/>
              </a:spcBef>
              <a:spcAft>
                <a:spcPct val="0"/>
              </a:spcAft>
              <a:buNone/>
              <a:defRPr/>
            </a:pPr>
            <a:r>
              <a:rPr lang="es-ES" altLang="LID8192" sz="900">
                <a:solidFill>
                  <a:srgbClr val="000000"/>
                </a:solidFill>
                <a:latin typeface="Arial" panose="020B0604020202020204" pitchFamily="34" charset="0"/>
              </a:rPr>
              <a:t>PCs BM infiltration and serum M-component level</a:t>
            </a:r>
          </a:p>
          <a:p>
            <a:pPr algn="ctr" defTabSz="684891" fontAlgn="base">
              <a:lnSpc>
                <a:spcPct val="100000"/>
              </a:lnSpc>
              <a:spcBef>
                <a:spcPct val="0"/>
              </a:spcBef>
              <a:spcAft>
                <a:spcPct val="0"/>
              </a:spcAft>
              <a:buNone/>
              <a:defRPr/>
            </a:pPr>
            <a:r>
              <a:rPr lang="es-ES" altLang="LID8192" sz="900">
                <a:solidFill>
                  <a:srgbClr val="000000"/>
                </a:solidFill>
                <a:latin typeface="Arial" panose="020B0604020202020204" pitchFamily="34" charset="0"/>
              </a:rPr>
              <a:t>sFLC ratio</a:t>
            </a:r>
          </a:p>
        </p:txBody>
      </p:sp>
      <p:sp>
        <p:nvSpPr>
          <p:cNvPr id="46085" name="Text Box 14">
            <a:extLst>
              <a:ext uri="{FF2B5EF4-FFF2-40B4-BE49-F238E27FC236}">
                <a16:creationId xmlns:a16="http://schemas.microsoft.com/office/drawing/2014/main" id="{47A8AC99-8B95-4C54-BE69-2EF39BCD9219}"/>
              </a:ext>
            </a:extLst>
          </p:cNvPr>
          <p:cNvSpPr txBox="1">
            <a:spLocks noChangeArrowheads="1"/>
          </p:cNvSpPr>
          <p:nvPr/>
        </p:nvSpPr>
        <p:spPr bwMode="auto">
          <a:xfrm>
            <a:off x="0" y="4899569"/>
            <a:ext cx="4343400" cy="246221"/>
          </a:xfrm>
          <a:prstGeom prst="rect">
            <a:avLst/>
          </a:prstGeom>
          <a:noFill/>
          <a:ln>
            <a:noFill/>
          </a:ln>
          <a:extLst>
            <a:ext uri="{909E8E84-426E-40dd-AFC4-6F175D3DCCD1}"/>
            <a:ext uri="{91240B29-F687-4f45-9708-019B960494DF}"/>
          </a:extLst>
        </p:spPr>
        <p:txBody>
          <a:bodyPr wrap="square" anchor="b">
            <a:spAutoFit/>
          </a:bodyPr>
          <a:lstStyle>
            <a:lvl1pPr>
              <a:defRPr sz="2000">
                <a:solidFill>
                  <a:schemeClr val="tx1"/>
                </a:solidFill>
                <a:latin typeface="Arial" charset="0"/>
                <a:ea typeface="ＭＳ Ｐゴシック" charset="0"/>
                <a:cs typeface="ＭＳ Ｐゴシック" charset="0"/>
              </a:defRPr>
            </a:lvl1pPr>
            <a:lvl2pPr marL="37931725" indent="-37474525">
              <a:defRPr sz="2000">
                <a:solidFill>
                  <a:schemeClr val="tx1"/>
                </a:solidFill>
                <a:latin typeface="Arial" charset="0"/>
                <a:ea typeface="ＭＳ Ｐゴシック" charset="0"/>
              </a:defRPr>
            </a:lvl2pPr>
            <a:lvl3pPr>
              <a:defRPr sz="2000">
                <a:solidFill>
                  <a:schemeClr val="tx1"/>
                </a:solidFill>
                <a:latin typeface="Arial" charset="0"/>
                <a:ea typeface="ＭＳ Ｐゴシック" charset="0"/>
              </a:defRPr>
            </a:lvl3pPr>
            <a:lvl4pPr>
              <a:defRPr sz="2000">
                <a:solidFill>
                  <a:schemeClr val="tx1"/>
                </a:solidFill>
                <a:latin typeface="Arial" charset="0"/>
                <a:ea typeface="ＭＳ Ｐゴシック" charset="0"/>
              </a:defRPr>
            </a:lvl4pPr>
            <a:lvl5pPr>
              <a:defRPr sz="2000">
                <a:solidFill>
                  <a:schemeClr val="tx1"/>
                </a:solidFill>
                <a:latin typeface="Arial" charset="0"/>
                <a:ea typeface="ＭＳ Ｐゴシック" charset="0"/>
              </a:defRPr>
            </a:lvl5pPr>
            <a:lvl6pPr marL="457200" eaLnBrk="0" fontAlgn="base" hangingPunct="0">
              <a:spcBef>
                <a:spcPct val="20000"/>
              </a:spcBef>
              <a:spcAft>
                <a:spcPct val="0"/>
              </a:spcAft>
              <a:defRPr sz="2000">
                <a:solidFill>
                  <a:schemeClr val="tx1"/>
                </a:solidFill>
                <a:latin typeface="Arial" charset="0"/>
                <a:ea typeface="ＭＳ Ｐゴシック" charset="0"/>
              </a:defRPr>
            </a:lvl6pPr>
            <a:lvl7pPr marL="914400" eaLnBrk="0" fontAlgn="base" hangingPunct="0">
              <a:spcBef>
                <a:spcPct val="20000"/>
              </a:spcBef>
              <a:spcAft>
                <a:spcPct val="0"/>
              </a:spcAft>
              <a:defRPr sz="2000">
                <a:solidFill>
                  <a:schemeClr val="tx1"/>
                </a:solidFill>
                <a:latin typeface="Arial" charset="0"/>
                <a:ea typeface="ＭＳ Ｐゴシック" charset="0"/>
              </a:defRPr>
            </a:lvl7pPr>
            <a:lvl8pPr marL="1371600" eaLnBrk="0" fontAlgn="base" hangingPunct="0">
              <a:spcBef>
                <a:spcPct val="20000"/>
              </a:spcBef>
              <a:spcAft>
                <a:spcPct val="0"/>
              </a:spcAft>
              <a:defRPr sz="2000">
                <a:solidFill>
                  <a:schemeClr val="tx1"/>
                </a:solidFill>
                <a:latin typeface="Arial" charset="0"/>
                <a:ea typeface="ＭＳ Ｐゴシック" charset="0"/>
              </a:defRPr>
            </a:lvl8pPr>
            <a:lvl9pPr marL="1828800" eaLnBrk="0" fontAlgn="base" hangingPunct="0">
              <a:spcBef>
                <a:spcPct val="20000"/>
              </a:spcBef>
              <a:spcAft>
                <a:spcPct val="0"/>
              </a:spcAft>
              <a:defRPr sz="2000">
                <a:solidFill>
                  <a:schemeClr val="tx1"/>
                </a:solidFill>
                <a:latin typeface="Arial" charset="0"/>
                <a:ea typeface="ＭＳ Ｐゴシック" charset="0"/>
              </a:defRPr>
            </a:lvl9pPr>
          </a:lstStyle>
          <a:p>
            <a:pPr defTabSz="685767" eaLnBrk="0" fontAlgn="base" hangingPunct="0">
              <a:spcBef>
                <a:spcPct val="20000"/>
              </a:spcBef>
              <a:spcAft>
                <a:spcPct val="0"/>
              </a:spcAft>
              <a:defRPr/>
            </a:pPr>
            <a:r>
              <a:rPr lang="es-ES" sz="1000">
                <a:solidFill>
                  <a:srgbClr val="000000"/>
                </a:solidFill>
              </a:rPr>
              <a:t>Kyle RA, et al. </a:t>
            </a:r>
            <a:r>
              <a:rPr lang="es-ES" sz="1000" i="1">
                <a:solidFill>
                  <a:srgbClr val="000000"/>
                </a:solidFill>
              </a:rPr>
              <a:t>N Engl J Med. </a:t>
            </a:r>
            <a:r>
              <a:rPr lang="es-ES" sz="1000">
                <a:solidFill>
                  <a:srgbClr val="000000"/>
                </a:solidFill>
              </a:rPr>
              <a:t>2007;356:2582-2590.</a:t>
            </a:r>
          </a:p>
        </p:txBody>
      </p:sp>
      <p:sp>
        <p:nvSpPr>
          <p:cNvPr id="16390" name="Text Box 18">
            <a:extLst>
              <a:ext uri="{FF2B5EF4-FFF2-40B4-BE49-F238E27FC236}">
                <a16:creationId xmlns:a16="http://schemas.microsoft.com/office/drawing/2014/main" id="{691C78B1-3A7E-424B-9C20-FC597BCE429B}"/>
              </a:ext>
            </a:extLst>
          </p:cNvPr>
          <p:cNvSpPr txBox="1">
            <a:spLocks noChangeArrowheads="1"/>
          </p:cNvSpPr>
          <p:nvPr/>
        </p:nvSpPr>
        <p:spPr bwMode="auto">
          <a:xfrm>
            <a:off x="5165378" y="793450"/>
            <a:ext cx="2717304"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algn="ctr" defTabSz="684891" fontAlgn="base">
              <a:lnSpc>
                <a:spcPct val="100000"/>
              </a:lnSpc>
              <a:spcBef>
                <a:spcPct val="0"/>
              </a:spcBef>
              <a:spcAft>
                <a:spcPct val="0"/>
              </a:spcAft>
              <a:buNone/>
              <a:defRPr/>
            </a:pPr>
            <a:r>
              <a:rPr lang="es-ES" altLang="LID8192" sz="1350" b="1">
                <a:solidFill>
                  <a:srgbClr val="000000"/>
                </a:solidFill>
                <a:latin typeface="Arial" panose="020B0604020202020204" pitchFamily="34" charset="0"/>
              </a:rPr>
              <a:t>Spanish model </a:t>
            </a:r>
          </a:p>
          <a:p>
            <a:pPr algn="ctr" defTabSz="684891" fontAlgn="base">
              <a:lnSpc>
                <a:spcPct val="100000"/>
              </a:lnSpc>
              <a:spcBef>
                <a:spcPct val="0"/>
              </a:spcBef>
              <a:spcAft>
                <a:spcPct val="0"/>
              </a:spcAft>
              <a:buNone/>
              <a:defRPr/>
            </a:pPr>
            <a:r>
              <a:rPr lang="es-ES" altLang="LID8192" sz="900">
                <a:solidFill>
                  <a:srgbClr val="000000"/>
                </a:solidFill>
                <a:latin typeface="Arial" panose="020B0604020202020204" pitchFamily="34" charset="0"/>
              </a:rPr>
              <a:t>Aberrant PCs by immunophenotype + immunoparesis</a:t>
            </a:r>
          </a:p>
        </p:txBody>
      </p:sp>
      <p:grpSp>
        <p:nvGrpSpPr>
          <p:cNvPr id="16391" name="Agrupar 110">
            <a:extLst>
              <a:ext uri="{FF2B5EF4-FFF2-40B4-BE49-F238E27FC236}">
                <a16:creationId xmlns:a16="http://schemas.microsoft.com/office/drawing/2014/main" id="{0D512F5D-AF1E-E74C-B6FC-D1C7421B3CC7}"/>
              </a:ext>
            </a:extLst>
          </p:cNvPr>
          <p:cNvGrpSpPr>
            <a:grpSpLocks/>
          </p:cNvGrpSpPr>
          <p:nvPr/>
        </p:nvGrpSpPr>
        <p:grpSpPr bwMode="auto">
          <a:xfrm>
            <a:off x="1192903" y="4065076"/>
            <a:ext cx="2984868" cy="604053"/>
            <a:chOff x="6753634" y="1431807"/>
            <a:chExt cx="3639805" cy="2733713"/>
          </a:xfrm>
        </p:grpSpPr>
        <p:sp>
          <p:nvSpPr>
            <p:cNvPr id="16497" name="Line 93">
              <a:extLst>
                <a:ext uri="{FF2B5EF4-FFF2-40B4-BE49-F238E27FC236}">
                  <a16:creationId xmlns:a16="http://schemas.microsoft.com/office/drawing/2014/main" id="{1D522B1F-0E87-C941-B6BB-F0BD2E50DDB1}"/>
                </a:ext>
              </a:extLst>
            </p:cNvPr>
            <p:cNvSpPr>
              <a:spLocks noChangeShapeType="1"/>
            </p:cNvSpPr>
            <p:nvPr/>
          </p:nvSpPr>
          <p:spPr bwMode="auto">
            <a:xfrm>
              <a:off x="6753638" y="3630231"/>
              <a:ext cx="358775" cy="0"/>
            </a:xfrm>
            <a:prstGeom prst="line">
              <a:avLst/>
            </a:prstGeom>
            <a:noFill/>
            <a:ln w="38100">
              <a:solidFill>
                <a:srgbClr val="00FF00"/>
              </a:solidFill>
              <a:round/>
              <a:headEnd/>
              <a:tailEnd/>
            </a:ln>
            <a:extLst>
              <a:ext uri="{909E8E84-426E-40DD-AFC4-6F175D3DCCD1}">
                <a14:hiddenFill xmlns:a14="http://schemas.microsoft.com/office/drawing/2010/main">
                  <a:noFill/>
                </a14:hiddenFill>
              </a:ext>
            </a:extLst>
          </p:spPr>
          <p:txBody>
            <a:bodyPr/>
            <a:lstStyle/>
            <a:p>
              <a:pPr defTabSz="514337" eaLnBrk="0" fontAlgn="base" hangingPunct="0">
                <a:spcBef>
                  <a:spcPct val="0"/>
                </a:spcBef>
                <a:spcAft>
                  <a:spcPct val="0"/>
                </a:spcAft>
                <a:defRPr/>
              </a:pPr>
              <a:endParaRPr lang="en-US" sz="750">
                <a:solidFill>
                  <a:srgbClr val="000000"/>
                </a:solidFill>
                <a:latin typeface="Trebuchet MS" panose="020B0703020202090204" pitchFamily="34" charset="0"/>
                <a:ea typeface="MS PGothic" panose="020B0600070205080204" pitchFamily="34" charset="-128"/>
              </a:endParaRPr>
            </a:p>
          </p:txBody>
        </p:sp>
        <p:sp>
          <p:nvSpPr>
            <p:cNvPr id="16498" name="Line 94">
              <a:extLst>
                <a:ext uri="{FF2B5EF4-FFF2-40B4-BE49-F238E27FC236}">
                  <a16:creationId xmlns:a16="http://schemas.microsoft.com/office/drawing/2014/main" id="{7D366D64-32DB-0B45-B7BB-509C18149302}"/>
                </a:ext>
              </a:extLst>
            </p:cNvPr>
            <p:cNvSpPr>
              <a:spLocks noChangeShapeType="1"/>
            </p:cNvSpPr>
            <p:nvPr/>
          </p:nvSpPr>
          <p:spPr bwMode="auto">
            <a:xfrm>
              <a:off x="6753634" y="2888508"/>
              <a:ext cx="358775" cy="0"/>
            </a:xfrm>
            <a:prstGeom prst="line">
              <a:avLst/>
            </a:prstGeom>
            <a:noFill/>
            <a:ln w="38100">
              <a:solidFill>
                <a:srgbClr val="00CAFF"/>
              </a:solidFill>
              <a:round/>
              <a:headEnd/>
              <a:tailEnd/>
            </a:ln>
            <a:extLst>
              <a:ext uri="{909E8E84-426E-40DD-AFC4-6F175D3DCCD1}">
                <a14:hiddenFill xmlns:a14="http://schemas.microsoft.com/office/drawing/2010/main">
                  <a:noFill/>
                </a14:hiddenFill>
              </a:ext>
            </a:extLst>
          </p:spPr>
          <p:txBody>
            <a:bodyPr/>
            <a:lstStyle/>
            <a:p>
              <a:pPr defTabSz="514337" eaLnBrk="0" fontAlgn="base" hangingPunct="0">
                <a:spcBef>
                  <a:spcPct val="0"/>
                </a:spcBef>
                <a:spcAft>
                  <a:spcPct val="0"/>
                </a:spcAft>
                <a:defRPr/>
              </a:pPr>
              <a:endParaRPr lang="en-US" sz="750">
                <a:solidFill>
                  <a:srgbClr val="000000"/>
                </a:solidFill>
                <a:latin typeface="Trebuchet MS" panose="020B0703020202090204" pitchFamily="34" charset="0"/>
                <a:ea typeface="MS PGothic" panose="020B0600070205080204" pitchFamily="34" charset="-128"/>
              </a:endParaRPr>
            </a:p>
          </p:txBody>
        </p:sp>
        <p:sp>
          <p:nvSpPr>
            <p:cNvPr id="16499" name="Text Box 95">
              <a:extLst>
                <a:ext uri="{FF2B5EF4-FFF2-40B4-BE49-F238E27FC236}">
                  <a16:creationId xmlns:a16="http://schemas.microsoft.com/office/drawing/2014/main" id="{BCA4B458-0E39-B242-9EC5-7F91A797E65A}"/>
                </a:ext>
              </a:extLst>
            </p:cNvPr>
            <p:cNvSpPr txBox="1">
              <a:spLocks noChangeArrowheads="1"/>
            </p:cNvSpPr>
            <p:nvPr/>
          </p:nvSpPr>
          <p:spPr bwMode="auto">
            <a:xfrm>
              <a:off x="7110602" y="2507302"/>
              <a:ext cx="3168652" cy="940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defTabSz="684891" fontAlgn="base">
                <a:lnSpc>
                  <a:spcPct val="100000"/>
                </a:lnSpc>
                <a:spcBef>
                  <a:spcPct val="0"/>
                </a:spcBef>
                <a:spcAft>
                  <a:spcPct val="0"/>
                </a:spcAft>
                <a:buNone/>
                <a:defRPr/>
              </a:pPr>
              <a:r>
                <a:rPr lang="es-ES" altLang="LID8192" sz="750" b="1">
                  <a:solidFill>
                    <a:srgbClr val="000000"/>
                  </a:solidFill>
                  <a:latin typeface="Arial" panose="020B0604020202020204" pitchFamily="34" charset="0"/>
                </a:rPr>
                <a:t>Two risk factors</a:t>
              </a:r>
            </a:p>
          </p:txBody>
        </p:sp>
        <p:sp>
          <p:nvSpPr>
            <p:cNvPr id="16501" name="Line 97">
              <a:extLst>
                <a:ext uri="{FF2B5EF4-FFF2-40B4-BE49-F238E27FC236}">
                  <a16:creationId xmlns:a16="http://schemas.microsoft.com/office/drawing/2014/main" id="{2C3D03C6-D15C-B04B-B5F8-F40C55FB93A2}"/>
                </a:ext>
              </a:extLst>
            </p:cNvPr>
            <p:cNvSpPr>
              <a:spLocks noChangeShapeType="1"/>
            </p:cNvSpPr>
            <p:nvPr/>
          </p:nvSpPr>
          <p:spPr bwMode="auto">
            <a:xfrm>
              <a:off x="6753634" y="1830311"/>
              <a:ext cx="358775" cy="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pPr defTabSz="514337" eaLnBrk="0" fontAlgn="base" hangingPunct="0">
                <a:spcBef>
                  <a:spcPct val="0"/>
                </a:spcBef>
                <a:spcAft>
                  <a:spcPct val="0"/>
                </a:spcAft>
                <a:defRPr/>
              </a:pPr>
              <a:endParaRPr lang="en-US" sz="750">
                <a:solidFill>
                  <a:srgbClr val="000000"/>
                </a:solidFill>
                <a:latin typeface="Trebuchet MS" panose="020B0703020202090204" pitchFamily="34" charset="0"/>
                <a:ea typeface="MS PGothic" panose="020B0600070205080204" pitchFamily="34" charset="-128"/>
              </a:endParaRPr>
            </a:p>
          </p:txBody>
        </p:sp>
        <p:sp>
          <p:nvSpPr>
            <p:cNvPr id="16502" name="Text Box 98">
              <a:extLst>
                <a:ext uri="{FF2B5EF4-FFF2-40B4-BE49-F238E27FC236}">
                  <a16:creationId xmlns:a16="http://schemas.microsoft.com/office/drawing/2014/main" id="{4A24606D-B270-F348-94C1-4A460CCF482A}"/>
                </a:ext>
              </a:extLst>
            </p:cNvPr>
            <p:cNvSpPr txBox="1">
              <a:spLocks noChangeArrowheads="1"/>
            </p:cNvSpPr>
            <p:nvPr/>
          </p:nvSpPr>
          <p:spPr bwMode="auto">
            <a:xfrm>
              <a:off x="7129463" y="1431807"/>
              <a:ext cx="3263976" cy="1462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defTabSz="684891" fontAlgn="base">
                <a:lnSpc>
                  <a:spcPct val="100000"/>
                </a:lnSpc>
                <a:spcBef>
                  <a:spcPct val="0"/>
                </a:spcBef>
                <a:spcAft>
                  <a:spcPct val="0"/>
                </a:spcAft>
                <a:buNone/>
                <a:defRPr/>
              </a:pPr>
              <a:r>
                <a:rPr lang="es-ES" altLang="LID8192" sz="750" b="1">
                  <a:solidFill>
                    <a:srgbClr val="000000"/>
                  </a:solidFill>
                  <a:latin typeface="Arial" panose="020B0604020202020204" pitchFamily="34" charset="0"/>
                </a:rPr>
                <a:t>Three factors: PCBM &gt;10% and M-spike &gt;3 g/dL and sFLCr &gt;8 or &lt;0.125</a:t>
              </a:r>
            </a:p>
          </p:txBody>
        </p:sp>
        <p:sp>
          <p:nvSpPr>
            <p:cNvPr id="16503" name="Text Box 99">
              <a:extLst>
                <a:ext uri="{FF2B5EF4-FFF2-40B4-BE49-F238E27FC236}">
                  <a16:creationId xmlns:a16="http://schemas.microsoft.com/office/drawing/2014/main" id="{75ACC383-10E1-7645-BB60-F912C23D8BD4}"/>
                </a:ext>
              </a:extLst>
            </p:cNvPr>
            <p:cNvSpPr txBox="1">
              <a:spLocks noChangeArrowheads="1"/>
            </p:cNvSpPr>
            <p:nvPr/>
          </p:nvSpPr>
          <p:spPr bwMode="auto">
            <a:xfrm>
              <a:off x="7117517" y="3225327"/>
              <a:ext cx="2593975" cy="940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defTabSz="684891" fontAlgn="base">
                <a:lnSpc>
                  <a:spcPct val="100000"/>
                </a:lnSpc>
                <a:spcBef>
                  <a:spcPct val="0"/>
                </a:spcBef>
                <a:spcAft>
                  <a:spcPct val="0"/>
                </a:spcAft>
                <a:buNone/>
                <a:defRPr/>
              </a:pPr>
              <a:r>
                <a:rPr lang="es-ES" altLang="LID8192" sz="750" b="1">
                  <a:solidFill>
                    <a:srgbClr val="000000"/>
                  </a:solidFill>
                  <a:latin typeface="Arial" panose="020B0604020202020204" pitchFamily="34" charset="0"/>
                </a:rPr>
                <a:t>One risk factor</a:t>
              </a:r>
            </a:p>
          </p:txBody>
        </p:sp>
      </p:grpSp>
      <p:grpSp>
        <p:nvGrpSpPr>
          <p:cNvPr id="16392" name="Agrupar 1">
            <a:extLst>
              <a:ext uri="{FF2B5EF4-FFF2-40B4-BE49-F238E27FC236}">
                <a16:creationId xmlns:a16="http://schemas.microsoft.com/office/drawing/2014/main" id="{1CC9B007-F4C0-B648-975E-067DA94502AB}"/>
              </a:ext>
            </a:extLst>
          </p:cNvPr>
          <p:cNvGrpSpPr>
            <a:grpSpLocks/>
          </p:cNvGrpSpPr>
          <p:nvPr/>
        </p:nvGrpSpPr>
        <p:grpSpPr bwMode="auto">
          <a:xfrm>
            <a:off x="4814387" y="1494628"/>
            <a:ext cx="3146310" cy="2421672"/>
            <a:chOff x="4851371" y="1802141"/>
            <a:chExt cx="4249297" cy="3780044"/>
          </a:xfrm>
        </p:grpSpPr>
        <p:sp>
          <p:nvSpPr>
            <p:cNvPr id="20" name="Rectangle 5">
              <a:extLst>
                <a:ext uri="{FF2B5EF4-FFF2-40B4-BE49-F238E27FC236}">
                  <a16:creationId xmlns:a16="http://schemas.microsoft.com/office/drawing/2014/main" id="{3144691E-AA47-418C-B5BF-FE0332D206CF}"/>
                </a:ext>
              </a:extLst>
            </p:cNvPr>
            <p:cNvSpPr>
              <a:spLocks noChangeArrowheads="1"/>
            </p:cNvSpPr>
            <p:nvPr/>
          </p:nvSpPr>
          <p:spPr bwMode="auto">
            <a:xfrm>
              <a:off x="5359713" y="1802141"/>
              <a:ext cx="3365108" cy="3309281"/>
            </a:xfrm>
            <a:prstGeom prst="rect">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21" name="Line 7">
              <a:extLst>
                <a:ext uri="{FF2B5EF4-FFF2-40B4-BE49-F238E27FC236}">
                  <a16:creationId xmlns:a16="http://schemas.microsoft.com/office/drawing/2014/main" id="{637CE79B-F95F-45FB-A87A-8D0333C265DA}"/>
                </a:ext>
              </a:extLst>
            </p:cNvPr>
            <p:cNvSpPr>
              <a:spLocks noChangeShapeType="1"/>
            </p:cNvSpPr>
            <p:nvPr/>
          </p:nvSpPr>
          <p:spPr bwMode="auto">
            <a:xfrm>
              <a:off x="5526756" y="5111422"/>
              <a:ext cx="1348" cy="74149"/>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22" name="Line 8">
              <a:extLst>
                <a:ext uri="{FF2B5EF4-FFF2-40B4-BE49-F238E27FC236}">
                  <a16:creationId xmlns:a16="http://schemas.microsoft.com/office/drawing/2014/main" id="{657AFA56-DD56-4769-9CC0-DDDD4FFC568C}"/>
                </a:ext>
              </a:extLst>
            </p:cNvPr>
            <p:cNvSpPr>
              <a:spLocks noChangeShapeType="1"/>
            </p:cNvSpPr>
            <p:nvPr/>
          </p:nvSpPr>
          <p:spPr bwMode="auto">
            <a:xfrm>
              <a:off x="6132961" y="5111422"/>
              <a:ext cx="0" cy="74149"/>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23" name="Line 9">
              <a:extLst>
                <a:ext uri="{FF2B5EF4-FFF2-40B4-BE49-F238E27FC236}">
                  <a16:creationId xmlns:a16="http://schemas.microsoft.com/office/drawing/2014/main" id="{D368D147-860C-4560-89B8-DB0DC7AD5E7D}"/>
                </a:ext>
              </a:extLst>
            </p:cNvPr>
            <p:cNvSpPr>
              <a:spLocks noChangeShapeType="1"/>
            </p:cNvSpPr>
            <p:nvPr/>
          </p:nvSpPr>
          <p:spPr bwMode="auto">
            <a:xfrm>
              <a:off x="6737818" y="5111422"/>
              <a:ext cx="1347" cy="74149"/>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24" name="Line 10">
              <a:extLst>
                <a:ext uri="{FF2B5EF4-FFF2-40B4-BE49-F238E27FC236}">
                  <a16:creationId xmlns:a16="http://schemas.microsoft.com/office/drawing/2014/main" id="{84C408CB-0F15-4190-A3DB-BD40E8194E35}"/>
                </a:ext>
              </a:extLst>
            </p:cNvPr>
            <p:cNvSpPr>
              <a:spLocks noChangeShapeType="1"/>
            </p:cNvSpPr>
            <p:nvPr/>
          </p:nvSpPr>
          <p:spPr bwMode="auto">
            <a:xfrm>
              <a:off x="7344023" y="5111422"/>
              <a:ext cx="1347" cy="74149"/>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25" name="Line 11">
              <a:extLst>
                <a:ext uri="{FF2B5EF4-FFF2-40B4-BE49-F238E27FC236}">
                  <a16:creationId xmlns:a16="http://schemas.microsoft.com/office/drawing/2014/main" id="{3B0966D8-73F0-48E8-9BD6-4E6287198795}"/>
                </a:ext>
              </a:extLst>
            </p:cNvPr>
            <p:cNvSpPr>
              <a:spLocks noChangeShapeType="1"/>
            </p:cNvSpPr>
            <p:nvPr/>
          </p:nvSpPr>
          <p:spPr bwMode="auto">
            <a:xfrm>
              <a:off x="7948879" y="5111422"/>
              <a:ext cx="1348" cy="74149"/>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26" name="Rectangle 12">
              <a:extLst>
                <a:ext uri="{FF2B5EF4-FFF2-40B4-BE49-F238E27FC236}">
                  <a16:creationId xmlns:a16="http://schemas.microsoft.com/office/drawing/2014/main" id="{8DA0B019-6AA7-44D4-9080-D6368E82ED1C}"/>
                </a:ext>
              </a:extLst>
            </p:cNvPr>
            <p:cNvSpPr>
              <a:spLocks noChangeArrowheads="1"/>
            </p:cNvSpPr>
            <p:nvPr/>
          </p:nvSpPr>
          <p:spPr bwMode="auto">
            <a:xfrm>
              <a:off x="8524247" y="5206525"/>
              <a:ext cx="116909"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120</a:t>
              </a:r>
              <a:endParaRPr lang="es-ES" sz="900" b="1">
                <a:solidFill>
                  <a:srgbClr val="000000"/>
                </a:solidFill>
                <a:latin typeface="Arial" charset="0"/>
                <a:ea typeface="ＭＳ Ｐゴシック" charset="0"/>
              </a:endParaRPr>
            </a:p>
          </p:txBody>
        </p:sp>
        <p:sp>
          <p:nvSpPr>
            <p:cNvPr id="27" name="Rectangle 13">
              <a:extLst>
                <a:ext uri="{FF2B5EF4-FFF2-40B4-BE49-F238E27FC236}">
                  <a16:creationId xmlns:a16="http://schemas.microsoft.com/office/drawing/2014/main" id="{06F9A526-D2D5-4C80-9C27-CD3A964008E9}"/>
                </a:ext>
              </a:extLst>
            </p:cNvPr>
            <p:cNvSpPr>
              <a:spLocks noChangeArrowheads="1"/>
            </p:cNvSpPr>
            <p:nvPr/>
          </p:nvSpPr>
          <p:spPr bwMode="auto">
            <a:xfrm>
              <a:off x="7933485" y="5206525"/>
              <a:ext cx="77938"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96</a:t>
              </a:r>
              <a:endParaRPr lang="es-ES" sz="900" b="1">
                <a:solidFill>
                  <a:srgbClr val="000000"/>
                </a:solidFill>
                <a:latin typeface="Arial" charset="0"/>
                <a:ea typeface="ＭＳ Ｐゴシック" charset="0"/>
              </a:endParaRPr>
            </a:p>
          </p:txBody>
        </p:sp>
        <p:sp>
          <p:nvSpPr>
            <p:cNvPr id="28" name="Rectangle 14">
              <a:extLst>
                <a:ext uri="{FF2B5EF4-FFF2-40B4-BE49-F238E27FC236}">
                  <a16:creationId xmlns:a16="http://schemas.microsoft.com/office/drawing/2014/main" id="{AF9CCB4C-8A7A-41D9-A54C-AE03EC49A93E}"/>
                </a:ext>
              </a:extLst>
            </p:cNvPr>
            <p:cNvSpPr>
              <a:spLocks noChangeArrowheads="1"/>
            </p:cNvSpPr>
            <p:nvPr/>
          </p:nvSpPr>
          <p:spPr bwMode="auto">
            <a:xfrm>
              <a:off x="7328629" y="5206525"/>
              <a:ext cx="77938"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72</a:t>
              </a:r>
              <a:endParaRPr lang="es-ES" sz="900" b="1">
                <a:solidFill>
                  <a:srgbClr val="000000"/>
                </a:solidFill>
                <a:latin typeface="Arial" charset="0"/>
                <a:ea typeface="ＭＳ Ｐゴシック" charset="0"/>
              </a:endParaRPr>
            </a:p>
          </p:txBody>
        </p:sp>
        <p:sp>
          <p:nvSpPr>
            <p:cNvPr id="29" name="Rectangle 15">
              <a:extLst>
                <a:ext uri="{FF2B5EF4-FFF2-40B4-BE49-F238E27FC236}">
                  <a16:creationId xmlns:a16="http://schemas.microsoft.com/office/drawing/2014/main" id="{E87BF72D-A8A7-4BCB-89FF-799C3E48D4A3}"/>
                </a:ext>
              </a:extLst>
            </p:cNvPr>
            <p:cNvSpPr>
              <a:spLocks noChangeArrowheads="1"/>
            </p:cNvSpPr>
            <p:nvPr/>
          </p:nvSpPr>
          <p:spPr bwMode="auto">
            <a:xfrm>
              <a:off x="6718381" y="5206525"/>
              <a:ext cx="77938"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48</a:t>
              </a:r>
              <a:endParaRPr lang="es-ES" sz="900" b="1">
                <a:solidFill>
                  <a:srgbClr val="000000"/>
                </a:solidFill>
                <a:latin typeface="Arial" charset="0"/>
                <a:ea typeface="ＭＳ Ｐゴシック" charset="0"/>
              </a:endParaRPr>
            </a:p>
          </p:txBody>
        </p:sp>
        <p:sp>
          <p:nvSpPr>
            <p:cNvPr id="30" name="Rectangle 16">
              <a:extLst>
                <a:ext uri="{FF2B5EF4-FFF2-40B4-BE49-F238E27FC236}">
                  <a16:creationId xmlns:a16="http://schemas.microsoft.com/office/drawing/2014/main" id="{0E93D1B8-4D5E-42C1-A674-74A0DBC53114}"/>
                </a:ext>
              </a:extLst>
            </p:cNvPr>
            <p:cNvSpPr>
              <a:spLocks noChangeArrowheads="1"/>
            </p:cNvSpPr>
            <p:nvPr/>
          </p:nvSpPr>
          <p:spPr bwMode="auto">
            <a:xfrm>
              <a:off x="6114874" y="5206525"/>
              <a:ext cx="77938"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24</a:t>
              </a:r>
              <a:endParaRPr lang="es-ES" sz="900" b="1">
                <a:solidFill>
                  <a:srgbClr val="000000"/>
                </a:solidFill>
                <a:latin typeface="Arial" charset="0"/>
                <a:ea typeface="ＭＳ Ｐゴシック" charset="0"/>
              </a:endParaRPr>
            </a:p>
          </p:txBody>
        </p:sp>
        <p:sp>
          <p:nvSpPr>
            <p:cNvPr id="31" name="Rectangle 17">
              <a:extLst>
                <a:ext uri="{FF2B5EF4-FFF2-40B4-BE49-F238E27FC236}">
                  <a16:creationId xmlns:a16="http://schemas.microsoft.com/office/drawing/2014/main" id="{D7F685BE-A2F9-400E-BC64-93EEA2427285}"/>
                </a:ext>
              </a:extLst>
            </p:cNvPr>
            <p:cNvSpPr>
              <a:spLocks noChangeArrowheads="1"/>
            </p:cNvSpPr>
            <p:nvPr/>
          </p:nvSpPr>
          <p:spPr bwMode="auto">
            <a:xfrm>
              <a:off x="5526135" y="5206525"/>
              <a:ext cx="38969"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0</a:t>
              </a:r>
              <a:endParaRPr lang="es-ES" sz="900" b="1">
                <a:solidFill>
                  <a:srgbClr val="000000"/>
                </a:solidFill>
                <a:latin typeface="Arial" charset="0"/>
                <a:ea typeface="ＭＳ Ｐゴシック" charset="0"/>
              </a:endParaRPr>
            </a:p>
          </p:txBody>
        </p:sp>
        <p:sp>
          <p:nvSpPr>
            <p:cNvPr id="32" name="Line 18">
              <a:extLst>
                <a:ext uri="{FF2B5EF4-FFF2-40B4-BE49-F238E27FC236}">
                  <a16:creationId xmlns:a16="http://schemas.microsoft.com/office/drawing/2014/main" id="{BCB1C4AC-A562-4B93-9B06-058CEE0078D6}"/>
                </a:ext>
              </a:extLst>
            </p:cNvPr>
            <p:cNvSpPr>
              <a:spLocks noChangeShapeType="1"/>
            </p:cNvSpPr>
            <p:nvPr/>
          </p:nvSpPr>
          <p:spPr bwMode="auto">
            <a:xfrm>
              <a:off x="8556431" y="5111422"/>
              <a:ext cx="1347" cy="74149"/>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33" name="Line 19">
              <a:extLst>
                <a:ext uri="{FF2B5EF4-FFF2-40B4-BE49-F238E27FC236}">
                  <a16:creationId xmlns:a16="http://schemas.microsoft.com/office/drawing/2014/main" id="{44E3935D-B70A-4EB1-B454-0192BA312214}"/>
                </a:ext>
              </a:extLst>
            </p:cNvPr>
            <p:cNvSpPr>
              <a:spLocks noChangeShapeType="1"/>
            </p:cNvSpPr>
            <p:nvPr/>
          </p:nvSpPr>
          <p:spPr bwMode="auto">
            <a:xfrm flipV="1">
              <a:off x="5359713" y="1802141"/>
              <a:ext cx="1348" cy="3309281"/>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34" name="Line 20">
              <a:extLst>
                <a:ext uri="{FF2B5EF4-FFF2-40B4-BE49-F238E27FC236}">
                  <a16:creationId xmlns:a16="http://schemas.microsoft.com/office/drawing/2014/main" id="{39C3DD33-E449-4074-83F0-EBB6C5B64CD9}"/>
                </a:ext>
              </a:extLst>
            </p:cNvPr>
            <p:cNvSpPr>
              <a:spLocks noChangeShapeType="1"/>
            </p:cNvSpPr>
            <p:nvPr/>
          </p:nvSpPr>
          <p:spPr bwMode="auto">
            <a:xfrm flipH="1">
              <a:off x="5293705" y="4947005"/>
              <a:ext cx="66008" cy="1611"/>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35" name="Line 21">
              <a:extLst>
                <a:ext uri="{FF2B5EF4-FFF2-40B4-BE49-F238E27FC236}">
                  <a16:creationId xmlns:a16="http://schemas.microsoft.com/office/drawing/2014/main" id="{306E7420-49BA-45D2-9B99-50DCEF90CAE2}"/>
                </a:ext>
              </a:extLst>
            </p:cNvPr>
            <p:cNvSpPr>
              <a:spLocks noChangeShapeType="1"/>
            </p:cNvSpPr>
            <p:nvPr/>
          </p:nvSpPr>
          <p:spPr bwMode="auto">
            <a:xfrm flipH="1">
              <a:off x="5293705" y="4350593"/>
              <a:ext cx="66008" cy="1611"/>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36" name="Line 22">
              <a:extLst>
                <a:ext uri="{FF2B5EF4-FFF2-40B4-BE49-F238E27FC236}">
                  <a16:creationId xmlns:a16="http://schemas.microsoft.com/office/drawing/2014/main" id="{106A5E5A-7D4E-4641-A1B4-40E2FE8F2F5C}"/>
                </a:ext>
              </a:extLst>
            </p:cNvPr>
            <p:cNvSpPr>
              <a:spLocks noChangeShapeType="1"/>
            </p:cNvSpPr>
            <p:nvPr/>
          </p:nvSpPr>
          <p:spPr bwMode="auto">
            <a:xfrm flipH="1">
              <a:off x="5293705" y="3755793"/>
              <a:ext cx="66008" cy="1612"/>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37" name="Line 23">
              <a:extLst>
                <a:ext uri="{FF2B5EF4-FFF2-40B4-BE49-F238E27FC236}">
                  <a16:creationId xmlns:a16="http://schemas.microsoft.com/office/drawing/2014/main" id="{0AB9415A-DB6F-4787-912B-22FF6C4E589C}"/>
                </a:ext>
              </a:extLst>
            </p:cNvPr>
            <p:cNvSpPr>
              <a:spLocks noChangeShapeType="1"/>
            </p:cNvSpPr>
            <p:nvPr/>
          </p:nvSpPr>
          <p:spPr bwMode="auto">
            <a:xfrm flipH="1">
              <a:off x="5293705" y="3159381"/>
              <a:ext cx="66008" cy="1612"/>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38" name="Line 24">
              <a:extLst>
                <a:ext uri="{FF2B5EF4-FFF2-40B4-BE49-F238E27FC236}">
                  <a16:creationId xmlns:a16="http://schemas.microsoft.com/office/drawing/2014/main" id="{97D0C89D-3E72-4E57-A9DD-89BD92D610E1}"/>
                </a:ext>
              </a:extLst>
            </p:cNvPr>
            <p:cNvSpPr>
              <a:spLocks noChangeShapeType="1"/>
            </p:cNvSpPr>
            <p:nvPr/>
          </p:nvSpPr>
          <p:spPr bwMode="auto">
            <a:xfrm flipH="1">
              <a:off x="5293705" y="2562969"/>
              <a:ext cx="66008" cy="1612"/>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39" name="Rectangle 25">
              <a:extLst>
                <a:ext uri="{FF2B5EF4-FFF2-40B4-BE49-F238E27FC236}">
                  <a16:creationId xmlns:a16="http://schemas.microsoft.com/office/drawing/2014/main" id="{FF1EC2C0-2290-469D-9D37-4D9354BB84D9}"/>
                </a:ext>
              </a:extLst>
            </p:cNvPr>
            <p:cNvSpPr>
              <a:spLocks noChangeArrowheads="1"/>
            </p:cNvSpPr>
            <p:nvPr/>
          </p:nvSpPr>
          <p:spPr bwMode="auto">
            <a:xfrm>
              <a:off x="5194477" y="1914975"/>
              <a:ext cx="97424"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1,0</a:t>
              </a:r>
              <a:endParaRPr lang="es-ES" sz="900" b="1">
                <a:solidFill>
                  <a:srgbClr val="000000"/>
                </a:solidFill>
                <a:latin typeface="Arial" charset="0"/>
                <a:ea typeface="ＭＳ Ｐゴシック" charset="0"/>
              </a:endParaRPr>
            </a:p>
          </p:txBody>
        </p:sp>
        <p:sp>
          <p:nvSpPr>
            <p:cNvPr id="40" name="Rectangle 26">
              <a:extLst>
                <a:ext uri="{FF2B5EF4-FFF2-40B4-BE49-F238E27FC236}">
                  <a16:creationId xmlns:a16="http://schemas.microsoft.com/office/drawing/2014/main" id="{644D9C7E-DBCC-4809-82AF-41B1FD128F4B}"/>
                </a:ext>
              </a:extLst>
            </p:cNvPr>
            <p:cNvSpPr>
              <a:spLocks noChangeArrowheads="1"/>
            </p:cNvSpPr>
            <p:nvPr/>
          </p:nvSpPr>
          <p:spPr bwMode="auto">
            <a:xfrm>
              <a:off x="5189087" y="2511387"/>
              <a:ext cx="97424"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0,8</a:t>
              </a:r>
              <a:endParaRPr lang="es-ES" sz="900" b="1">
                <a:solidFill>
                  <a:srgbClr val="000000"/>
                </a:solidFill>
                <a:latin typeface="Arial" charset="0"/>
                <a:ea typeface="ＭＳ Ｐゴシック" charset="0"/>
              </a:endParaRPr>
            </a:p>
          </p:txBody>
        </p:sp>
        <p:sp>
          <p:nvSpPr>
            <p:cNvPr id="41" name="Rectangle 27">
              <a:extLst>
                <a:ext uri="{FF2B5EF4-FFF2-40B4-BE49-F238E27FC236}">
                  <a16:creationId xmlns:a16="http://schemas.microsoft.com/office/drawing/2014/main" id="{EDC1A117-323B-402A-874F-55D7EB070E73}"/>
                </a:ext>
              </a:extLst>
            </p:cNvPr>
            <p:cNvSpPr>
              <a:spLocks noChangeArrowheads="1"/>
            </p:cNvSpPr>
            <p:nvPr/>
          </p:nvSpPr>
          <p:spPr bwMode="auto">
            <a:xfrm>
              <a:off x="5189087" y="3104578"/>
              <a:ext cx="97424"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0,6</a:t>
              </a:r>
              <a:endParaRPr lang="es-ES" sz="900" b="1">
                <a:solidFill>
                  <a:srgbClr val="000000"/>
                </a:solidFill>
                <a:latin typeface="Arial" charset="0"/>
                <a:ea typeface="ＭＳ Ｐゴシック" charset="0"/>
              </a:endParaRPr>
            </a:p>
          </p:txBody>
        </p:sp>
        <p:sp>
          <p:nvSpPr>
            <p:cNvPr id="42" name="Rectangle 28">
              <a:extLst>
                <a:ext uri="{FF2B5EF4-FFF2-40B4-BE49-F238E27FC236}">
                  <a16:creationId xmlns:a16="http://schemas.microsoft.com/office/drawing/2014/main" id="{5B877B1F-F11A-47AD-B94B-80A8FA594A49}"/>
                </a:ext>
              </a:extLst>
            </p:cNvPr>
            <p:cNvSpPr>
              <a:spLocks noChangeArrowheads="1"/>
            </p:cNvSpPr>
            <p:nvPr/>
          </p:nvSpPr>
          <p:spPr bwMode="auto">
            <a:xfrm>
              <a:off x="5189087" y="3700988"/>
              <a:ext cx="97424"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0,4</a:t>
              </a:r>
              <a:endParaRPr lang="es-ES" sz="900" b="1">
                <a:solidFill>
                  <a:srgbClr val="000000"/>
                </a:solidFill>
                <a:latin typeface="Arial" charset="0"/>
                <a:ea typeface="ＭＳ Ｐゴシック" charset="0"/>
              </a:endParaRPr>
            </a:p>
          </p:txBody>
        </p:sp>
        <p:sp>
          <p:nvSpPr>
            <p:cNvPr id="43" name="Rectangle 29">
              <a:extLst>
                <a:ext uri="{FF2B5EF4-FFF2-40B4-BE49-F238E27FC236}">
                  <a16:creationId xmlns:a16="http://schemas.microsoft.com/office/drawing/2014/main" id="{5A7A0547-6F3B-4EDD-820A-63C73215E900}"/>
                </a:ext>
              </a:extLst>
            </p:cNvPr>
            <p:cNvSpPr>
              <a:spLocks noChangeArrowheads="1"/>
            </p:cNvSpPr>
            <p:nvPr/>
          </p:nvSpPr>
          <p:spPr bwMode="auto">
            <a:xfrm>
              <a:off x="5189087" y="4297398"/>
              <a:ext cx="97424"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0,2</a:t>
              </a:r>
              <a:endParaRPr lang="es-ES" sz="900" b="1">
                <a:solidFill>
                  <a:srgbClr val="000000"/>
                </a:solidFill>
                <a:latin typeface="Arial" charset="0"/>
                <a:ea typeface="ＭＳ Ｐゴシック" charset="0"/>
              </a:endParaRPr>
            </a:p>
          </p:txBody>
        </p:sp>
        <p:sp>
          <p:nvSpPr>
            <p:cNvPr id="44" name="Rectangle 30">
              <a:extLst>
                <a:ext uri="{FF2B5EF4-FFF2-40B4-BE49-F238E27FC236}">
                  <a16:creationId xmlns:a16="http://schemas.microsoft.com/office/drawing/2014/main" id="{18FB5451-EDCA-4AF1-BDAE-F7FFF8282BEF}"/>
                </a:ext>
              </a:extLst>
            </p:cNvPr>
            <p:cNvSpPr>
              <a:spLocks noChangeArrowheads="1"/>
            </p:cNvSpPr>
            <p:nvPr/>
          </p:nvSpPr>
          <p:spPr bwMode="auto">
            <a:xfrm>
              <a:off x="5189087" y="4893812"/>
              <a:ext cx="97424" cy="96083"/>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 sz="400">
                  <a:solidFill>
                    <a:srgbClr val="000000"/>
                  </a:solidFill>
                  <a:latin typeface="Arial" charset="0"/>
                  <a:ea typeface="ＭＳ Ｐゴシック" charset="0"/>
                </a:rPr>
                <a:t>0,0</a:t>
              </a:r>
              <a:endParaRPr lang="es-ES" sz="900" b="1">
                <a:solidFill>
                  <a:srgbClr val="000000"/>
                </a:solidFill>
                <a:latin typeface="Arial" charset="0"/>
                <a:ea typeface="ＭＳ Ｐゴシック" charset="0"/>
              </a:endParaRPr>
            </a:p>
          </p:txBody>
        </p:sp>
        <p:sp>
          <p:nvSpPr>
            <p:cNvPr id="45" name="Line 31">
              <a:extLst>
                <a:ext uri="{FF2B5EF4-FFF2-40B4-BE49-F238E27FC236}">
                  <a16:creationId xmlns:a16="http://schemas.microsoft.com/office/drawing/2014/main" id="{FAB5917C-184A-4CBC-A109-96DE2B3F414F}"/>
                </a:ext>
              </a:extLst>
            </p:cNvPr>
            <p:cNvSpPr>
              <a:spLocks noChangeShapeType="1"/>
            </p:cNvSpPr>
            <p:nvPr/>
          </p:nvSpPr>
          <p:spPr bwMode="auto">
            <a:xfrm flipH="1">
              <a:off x="5293705" y="1966557"/>
              <a:ext cx="66008" cy="1612"/>
            </a:xfrm>
            <a:prstGeom prst="line">
              <a:avLst/>
            </a:prstGeom>
            <a:noFill/>
            <a:ln w="38100">
              <a:solidFill>
                <a:srgbClr val="000000"/>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46" name="Freeform 32">
              <a:extLst>
                <a:ext uri="{FF2B5EF4-FFF2-40B4-BE49-F238E27FC236}">
                  <a16:creationId xmlns:a16="http://schemas.microsoft.com/office/drawing/2014/main" id="{0C235003-4D55-4D9D-9004-35DF48934C88}"/>
                </a:ext>
              </a:extLst>
            </p:cNvPr>
            <p:cNvSpPr>
              <a:spLocks/>
            </p:cNvSpPr>
            <p:nvPr/>
          </p:nvSpPr>
          <p:spPr bwMode="auto">
            <a:xfrm>
              <a:off x="5575253" y="4840618"/>
              <a:ext cx="2401917" cy="106387"/>
            </a:xfrm>
            <a:custGeom>
              <a:avLst/>
              <a:gdLst>
                <a:gd name="T0" fmla="*/ 0 w 6090"/>
                <a:gd name="T1" fmla="*/ 0 h 237"/>
                <a:gd name="T2" fmla="*/ 0 w 6090"/>
                <a:gd name="T3" fmla="*/ 0 h 237"/>
                <a:gd name="T4" fmla="*/ 0 w 6090"/>
                <a:gd name="T5" fmla="*/ 0 h 237"/>
                <a:gd name="T6" fmla="*/ 0 w 6090"/>
                <a:gd name="T7" fmla="*/ 0 h 237"/>
                <a:gd name="T8" fmla="*/ 0 60000 65536"/>
                <a:gd name="T9" fmla="*/ 0 60000 65536"/>
                <a:gd name="T10" fmla="*/ 0 60000 65536"/>
                <a:gd name="T11" fmla="*/ 0 60000 65536"/>
                <a:gd name="T12" fmla="*/ 0 w 6090"/>
                <a:gd name="T13" fmla="*/ 0 h 237"/>
                <a:gd name="T14" fmla="*/ 6090 w 6090"/>
                <a:gd name="T15" fmla="*/ 237 h 237"/>
              </a:gdLst>
              <a:ahLst/>
              <a:cxnLst>
                <a:cxn ang="T8">
                  <a:pos x="T0" y="T1"/>
                </a:cxn>
                <a:cxn ang="T9">
                  <a:pos x="T2" y="T3"/>
                </a:cxn>
                <a:cxn ang="T10">
                  <a:pos x="T4" y="T5"/>
                </a:cxn>
                <a:cxn ang="T11">
                  <a:pos x="T6" y="T7"/>
                </a:cxn>
              </a:cxnLst>
              <a:rect l="T12" t="T13" r="T14" b="T15"/>
              <a:pathLst>
                <a:path w="6090" h="237">
                  <a:moveTo>
                    <a:pt x="0" y="237"/>
                  </a:moveTo>
                  <a:lnTo>
                    <a:pt x="1302" y="237"/>
                  </a:lnTo>
                  <a:lnTo>
                    <a:pt x="1302" y="0"/>
                  </a:lnTo>
                  <a:lnTo>
                    <a:pt x="6090" y="0"/>
                  </a:lnTo>
                </a:path>
              </a:pathLst>
            </a:custGeom>
            <a:noFill/>
            <a:ln w="4445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47" name="Freeform 33">
              <a:extLst>
                <a:ext uri="{FF2B5EF4-FFF2-40B4-BE49-F238E27FC236}">
                  <a16:creationId xmlns:a16="http://schemas.microsoft.com/office/drawing/2014/main" id="{6C46F837-DDF5-42F2-BF55-67F443A0376D}"/>
                </a:ext>
              </a:extLst>
            </p:cNvPr>
            <p:cNvSpPr>
              <a:spLocks/>
            </p:cNvSpPr>
            <p:nvPr/>
          </p:nvSpPr>
          <p:spPr bwMode="auto">
            <a:xfrm>
              <a:off x="5575253" y="3259320"/>
              <a:ext cx="2730614" cy="1552283"/>
            </a:xfrm>
            <a:custGeom>
              <a:avLst/>
              <a:gdLst>
                <a:gd name="T0" fmla="*/ 0 w 6929"/>
                <a:gd name="T1" fmla="*/ 0 h 3456"/>
                <a:gd name="T2" fmla="*/ 0 w 6929"/>
                <a:gd name="T3" fmla="*/ 0 h 3456"/>
                <a:gd name="T4" fmla="*/ 0 w 6929"/>
                <a:gd name="T5" fmla="*/ 0 h 3456"/>
                <a:gd name="T6" fmla="*/ 0 w 6929"/>
                <a:gd name="T7" fmla="*/ 0 h 3456"/>
                <a:gd name="T8" fmla="*/ 0 w 6929"/>
                <a:gd name="T9" fmla="*/ 0 h 3456"/>
                <a:gd name="T10" fmla="*/ 0 w 6929"/>
                <a:gd name="T11" fmla="*/ 0 h 3456"/>
                <a:gd name="T12" fmla="*/ 0 w 6929"/>
                <a:gd name="T13" fmla="*/ 0 h 3456"/>
                <a:gd name="T14" fmla="*/ 0 w 6929"/>
                <a:gd name="T15" fmla="*/ 0 h 3456"/>
                <a:gd name="T16" fmla="*/ 0 w 6929"/>
                <a:gd name="T17" fmla="*/ 0 h 3456"/>
                <a:gd name="T18" fmla="*/ 0 w 6929"/>
                <a:gd name="T19" fmla="*/ 0 h 3456"/>
                <a:gd name="T20" fmla="*/ 0 w 6929"/>
                <a:gd name="T21" fmla="*/ 0 h 3456"/>
                <a:gd name="T22" fmla="*/ 0 w 6929"/>
                <a:gd name="T23" fmla="*/ 0 h 3456"/>
                <a:gd name="T24" fmla="*/ 0 w 6929"/>
                <a:gd name="T25" fmla="*/ 0 h 3456"/>
                <a:gd name="T26" fmla="*/ 0 w 6929"/>
                <a:gd name="T27" fmla="*/ 0 h 3456"/>
                <a:gd name="T28" fmla="*/ 0 w 6929"/>
                <a:gd name="T29" fmla="*/ 0 h 3456"/>
                <a:gd name="T30" fmla="*/ 0 w 6929"/>
                <a:gd name="T31" fmla="*/ 0 h 3456"/>
                <a:gd name="T32" fmla="*/ 0 w 6929"/>
                <a:gd name="T33" fmla="*/ 0 h 3456"/>
                <a:gd name="T34" fmla="*/ 0 w 6929"/>
                <a:gd name="T35" fmla="*/ 0 h 3456"/>
                <a:gd name="T36" fmla="*/ 0 w 6929"/>
                <a:gd name="T37" fmla="*/ 0 h 3456"/>
                <a:gd name="T38" fmla="*/ 0 w 6929"/>
                <a:gd name="T39" fmla="*/ 0 h 34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929"/>
                <a:gd name="T61" fmla="*/ 0 h 3456"/>
                <a:gd name="T62" fmla="*/ 6929 w 6929"/>
                <a:gd name="T63" fmla="*/ 3456 h 34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929" h="3456">
                  <a:moveTo>
                    <a:pt x="0" y="3456"/>
                  </a:moveTo>
                  <a:lnTo>
                    <a:pt x="152" y="3456"/>
                  </a:lnTo>
                  <a:lnTo>
                    <a:pt x="152" y="3155"/>
                  </a:lnTo>
                  <a:lnTo>
                    <a:pt x="364" y="3155"/>
                  </a:lnTo>
                  <a:lnTo>
                    <a:pt x="364" y="2853"/>
                  </a:lnTo>
                  <a:lnTo>
                    <a:pt x="436" y="2853"/>
                  </a:lnTo>
                  <a:lnTo>
                    <a:pt x="436" y="2551"/>
                  </a:lnTo>
                  <a:lnTo>
                    <a:pt x="511" y="2551"/>
                  </a:lnTo>
                  <a:lnTo>
                    <a:pt x="511" y="2249"/>
                  </a:lnTo>
                  <a:lnTo>
                    <a:pt x="1141" y="2249"/>
                  </a:lnTo>
                  <a:lnTo>
                    <a:pt x="1141" y="1948"/>
                  </a:lnTo>
                  <a:lnTo>
                    <a:pt x="1265" y="1948"/>
                  </a:lnTo>
                  <a:lnTo>
                    <a:pt x="1265" y="1646"/>
                  </a:lnTo>
                  <a:lnTo>
                    <a:pt x="2380" y="1646"/>
                  </a:lnTo>
                  <a:lnTo>
                    <a:pt x="2380" y="1235"/>
                  </a:lnTo>
                  <a:lnTo>
                    <a:pt x="3204" y="1235"/>
                  </a:lnTo>
                  <a:lnTo>
                    <a:pt x="3204" y="720"/>
                  </a:lnTo>
                  <a:lnTo>
                    <a:pt x="4571" y="720"/>
                  </a:lnTo>
                  <a:lnTo>
                    <a:pt x="4571" y="0"/>
                  </a:lnTo>
                  <a:lnTo>
                    <a:pt x="6929" y="0"/>
                  </a:lnTo>
                </a:path>
              </a:pathLst>
            </a:custGeom>
            <a:noFill/>
            <a:ln w="4445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48" name="Freeform 34">
              <a:extLst>
                <a:ext uri="{FF2B5EF4-FFF2-40B4-BE49-F238E27FC236}">
                  <a16:creationId xmlns:a16="http://schemas.microsoft.com/office/drawing/2014/main" id="{2D3602DC-7AFA-4648-A319-0455FBA500FD}"/>
                </a:ext>
              </a:extLst>
            </p:cNvPr>
            <p:cNvSpPr>
              <a:spLocks/>
            </p:cNvSpPr>
            <p:nvPr/>
          </p:nvSpPr>
          <p:spPr bwMode="auto">
            <a:xfrm>
              <a:off x="5575253" y="2287331"/>
              <a:ext cx="2682118" cy="2659675"/>
            </a:xfrm>
            <a:custGeom>
              <a:avLst/>
              <a:gdLst>
                <a:gd name="T0" fmla="*/ 0 w 6805"/>
                <a:gd name="T1" fmla="*/ 0 h 5926"/>
                <a:gd name="T2" fmla="*/ 0 w 6805"/>
                <a:gd name="T3" fmla="*/ 0 h 5926"/>
                <a:gd name="T4" fmla="*/ 0 w 6805"/>
                <a:gd name="T5" fmla="*/ 0 h 5926"/>
                <a:gd name="T6" fmla="*/ 0 w 6805"/>
                <a:gd name="T7" fmla="*/ 0 h 5926"/>
                <a:gd name="T8" fmla="*/ 0 w 6805"/>
                <a:gd name="T9" fmla="*/ 0 h 5926"/>
                <a:gd name="T10" fmla="*/ 0 w 6805"/>
                <a:gd name="T11" fmla="*/ 0 h 5926"/>
                <a:gd name="T12" fmla="*/ 0 w 6805"/>
                <a:gd name="T13" fmla="*/ 0 h 5926"/>
                <a:gd name="T14" fmla="*/ 0 w 6805"/>
                <a:gd name="T15" fmla="*/ 0 h 5926"/>
                <a:gd name="T16" fmla="*/ 0 w 6805"/>
                <a:gd name="T17" fmla="*/ 0 h 5926"/>
                <a:gd name="T18" fmla="*/ 0 w 6805"/>
                <a:gd name="T19" fmla="*/ 0 h 5926"/>
                <a:gd name="T20" fmla="*/ 0 w 6805"/>
                <a:gd name="T21" fmla="*/ 0 h 5926"/>
                <a:gd name="T22" fmla="*/ 0 w 6805"/>
                <a:gd name="T23" fmla="*/ 0 h 5926"/>
                <a:gd name="T24" fmla="*/ 0 w 6805"/>
                <a:gd name="T25" fmla="*/ 0 h 5926"/>
                <a:gd name="T26" fmla="*/ 0 w 6805"/>
                <a:gd name="T27" fmla="*/ 0 h 5926"/>
                <a:gd name="T28" fmla="*/ 0 w 6805"/>
                <a:gd name="T29" fmla="*/ 0 h 5926"/>
                <a:gd name="T30" fmla="*/ 0 w 6805"/>
                <a:gd name="T31" fmla="*/ 0 h 5926"/>
                <a:gd name="T32" fmla="*/ 0 w 6805"/>
                <a:gd name="T33" fmla="*/ 0 h 5926"/>
                <a:gd name="T34" fmla="*/ 0 w 6805"/>
                <a:gd name="T35" fmla="*/ 0 h 5926"/>
                <a:gd name="T36" fmla="*/ 0 w 6805"/>
                <a:gd name="T37" fmla="*/ 0 h 5926"/>
                <a:gd name="T38" fmla="*/ 0 w 6805"/>
                <a:gd name="T39" fmla="*/ 0 h 5926"/>
                <a:gd name="T40" fmla="*/ 0 w 6805"/>
                <a:gd name="T41" fmla="*/ 0 h 5926"/>
                <a:gd name="T42" fmla="*/ 0 w 6805"/>
                <a:gd name="T43" fmla="*/ 0 h 5926"/>
                <a:gd name="T44" fmla="*/ 0 w 6805"/>
                <a:gd name="T45" fmla="*/ 0 h 5926"/>
                <a:gd name="T46" fmla="*/ 0 w 6805"/>
                <a:gd name="T47" fmla="*/ 0 h 5926"/>
                <a:gd name="T48" fmla="*/ 0 w 6805"/>
                <a:gd name="T49" fmla="*/ 0 h 5926"/>
                <a:gd name="T50" fmla="*/ 0 w 6805"/>
                <a:gd name="T51" fmla="*/ 0 h 5926"/>
                <a:gd name="T52" fmla="*/ 0 w 6805"/>
                <a:gd name="T53" fmla="*/ 0 h 5926"/>
                <a:gd name="T54" fmla="*/ 0 w 6805"/>
                <a:gd name="T55" fmla="*/ 0 h 5926"/>
                <a:gd name="T56" fmla="*/ 0 w 6805"/>
                <a:gd name="T57" fmla="*/ 0 h 5926"/>
                <a:gd name="T58" fmla="*/ 0 w 6805"/>
                <a:gd name="T59" fmla="*/ 0 h 5926"/>
                <a:gd name="T60" fmla="*/ 0 w 6805"/>
                <a:gd name="T61" fmla="*/ 0 h 5926"/>
                <a:gd name="T62" fmla="*/ 0 w 6805"/>
                <a:gd name="T63" fmla="*/ 0 h 5926"/>
                <a:gd name="T64" fmla="*/ 0 w 6805"/>
                <a:gd name="T65" fmla="*/ 0 h 5926"/>
                <a:gd name="T66" fmla="*/ 0 w 6805"/>
                <a:gd name="T67" fmla="*/ 0 h 5926"/>
                <a:gd name="T68" fmla="*/ 0 w 6805"/>
                <a:gd name="T69" fmla="*/ 0 h 5926"/>
                <a:gd name="T70" fmla="*/ 0 w 6805"/>
                <a:gd name="T71" fmla="*/ 0 h 5926"/>
                <a:gd name="T72" fmla="*/ 0 w 6805"/>
                <a:gd name="T73" fmla="*/ 0 h 5926"/>
                <a:gd name="T74" fmla="*/ 0 w 6805"/>
                <a:gd name="T75" fmla="*/ 0 h 5926"/>
                <a:gd name="T76" fmla="*/ 0 w 6805"/>
                <a:gd name="T77" fmla="*/ 0 h 5926"/>
                <a:gd name="T78" fmla="*/ 0 w 6805"/>
                <a:gd name="T79" fmla="*/ 0 h 5926"/>
                <a:gd name="T80" fmla="*/ 0 w 6805"/>
                <a:gd name="T81" fmla="*/ 0 h 5926"/>
                <a:gd name="T82" fmla="*/ 0 w 6805"/>
                <a:gd name="T83" fmla="*/ 0 h 5926"/>
                <a:gd name="T84" fmla="*/ 0 w 6805"/>
                <a:gd name="T85" fmla="*/ 0 h 5926"/>
                <a:gd name="T86" fmla="*/ 0 w 6805"/>
                <a:gd name="T87" fmla="*/ 0 h 5926"/>
                <a:gd name="T88" fmla="*/ 0 w 6805"/>
                <a:gd name="T89" fmla="*/ 0 h 5926"/>
                <a:gd name="T90" fmla="*/ 0 w 6805"/>
                <a:gd name="T91" fmla="*/ 0 h 5926"/>
                <a:gd name="T92" fmla="*/ 0 w 6805"/>
                <a:gd name="T93" fmla="*/ 0 h 5926"/>
                <a:gd name="T94" fmla="*/ 0 w 6805"/>
                <a:gd name="T95" fmla="*/ 0 h 5926"/>
                <a:gd name="T96" fmla="*/ 0 w 6805"/>
                <a:gd name="T97" fmla="*/ 0 h 5926"/>
                <a:gd name="T98" fmla="*/ 0 w 6805"/>
                <a:gd name="T99" fmla="*/ 0 h 5926"/>
                <a:gd name="T100" fmla="*/ 0 w 6805"/>
                <a:gd name="T101" fmla="*/ 0 h 5926"/>
                <a:gd name="T102" fmla="*/ 0 w 6805"/>
                <a:gd name="T103" fmla="*/ 0 h 5926"/>
                <a:gd name="T104" fmla="*/ 0 w 6805"/>
                <a:gd name="T105" fmla="*/ 0 h 5926"/>
                <a:gd name="T106" fmla="*/ 0 w 6805"/>
                <a:gd name="T107" fmla="*/ 0 h 5926"/>
                <a:gd name="T108" fmla="*/ 0 w 6805"/>
                <a:gd name="T109" fmla="*/ 0 h 5926"/>
                <a:gd name="T110" fmla="*/ 0 w 6805"/>
                <a:gd name="T111" fmla="*/ 0 h 59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05"/>
                <a:gd name="T169" fmla="*/ 0 h 5926"/>
                <a:gd name="T170" fmla="*/ 6805 w 6805"/>
                <a:gd name="T171" fmla="*/ 5926 h 592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05" h="5926">
                  <a:moveTo>
                    <a:pt x="0" y="5926"/>
                  </a:moveTo>
                  <a:lnTo>
                    <a:pt x="177" y="5926"/>
                  </a:lnTo>
                  <a:lnTo>
                    <a:pt x="177" y="5756"/>
                  </a:lnTo>
                  <a:lnTo>
                    <a:pt x="189" y="5756"/>
                  </a:lnTo>
                  <a:lnTo>
                    <a:pt x="189" y="5586"/>
                  </a:lnTo>
                  <a:lnTo>
                    <a:pt x="246" y="5586"/>
                  </a:lnTo>
                  <a:lnTo>
                    <a:pt x="246" y="5415"/>
                  </a:lnTo>
                  <a:lnTo>
                    <a:pt x="375" y="5415"/>
                  </a:lnTo>
                  <a:lnTo>
                    <a:pt x="375" y="5245"/>
                  </a:lnTo>
                  <a:lnTo>
                    <a:pt x="383" y="5245"/>
                  </a:lnTo>
                  <a:lnTo>
                    <a:pt x="383" y="5075"/>
                  </a:lnTo>
                  <a:lnTo>
                    <a:pt x="426" y="5075"/>
                  </a:lnTo>
                  <a:lnTo>
                    <a:pt x="426" y="4905"/>
                  </a:lnTo>
                  <a:lnTo>
                    <a:pt x="574" y="4905"/>
                  </a:lnTo>
                  <a:lnTo>
                    <a:pt x="574" y="4735"/>
                  </a:lnTo>
                  <a:lnTo>
                    <a:pt x="576" y="4735"/>
                  </a:lnTo>
                  <a:lnTo>
                    <a:pt x="576" y="4564"/>
                  </a:lnTo>
                  <a:lnTo>
                    <a:pt x="625" y="4564"/>
                  </a:lnTo>
                  <a:lnTo>
                    <a:pt x="625" y="4394"/>
                  </a:lnTo>
                  <a:lnTo>
                    <a:pt x="646" y="4394"/>
                  </a:lnTo>
                  <a:lnTo>
                    <a:pt x="646" y="4224"/>
                  </a:lnTo>
                  <a:lnTo>
                    <a:pt x="754" y="4224"/>
                  </a:lnTo>
                  <a:lnTo>
                    <a:pt x="754" y="4054"/>
                  </a:lnTo>
                  <a:lnTo>
                    <a:pt x="758" y="4054"/>
                  </a:lnTo>
                  <a:lnTo>
                    <a:pt x="758" y="3884"/>
                  </a:lnTo>
                  <a:lnTo>
                    <a:pt x="852" y="3884"/>
                  </a:lnTo>
                  <a:lnTo>
                    <a:pt x="852" y="3713"/>
                  </a:lnTo>
                  <a:lnTo>
                    <a:pt x="888" y="3713"/>
                  </a:lnTo>
                  <a:lnTo>
                    <a:pt x="888" y="3373"/>
                  </a:lnTo>
                  <a:lnTo>
                    <a:pt x="1139" y="3373"/>
                  </a:lnTo>
                  <a:lnTo>
                    <a:pt x="1139" y="3203"/>
                  </a:lnTo>
                  <a:lnTo>
                    <a:pt x="1204" y="3203"/>
                  </a:lnTo>
                  <a:lnTo>
                    <a:pt x="1204" y="3033"/>
                  </a:lnTo>
                  <a:lnTo>
                    <a:pt x="1290" y="3033"/>
                  </a:lnTo>
                  <a:lnTo>
                    <a:pt x="1290" y="2862"/>
                  </a:lnTo>
                  <a:lnTo>
                    <a:pt x="1373" y="2862"/>
                  </a:lnTo>
                  <a:lnTo>
                    <a:pt x="1373" y="2692"/>
                  </a:lnTo>
                  <a:lnTo>
                    <a:pt x="1402" y="2692"/>
                  </a:lnTo>
                  <a:lnTo>
                    <a:pt x="1402" y="2522"/>
                  </a:lnTo>
                  <a:lnTo>
                    <a:pt x="1716" y="2522"/>
                  </a:lnTo>
                  <a:lnTo>
                    <a:pt x="1716" y="2342"/>
                  </a:lnTo>
                  <a:lnTo>
                    <a:pt x="1885" y="2342"/>
                  </a:lnTo>
                  <a:lnTo>
                    <a:pt x="1885" y="2152"/>
                  </a:lnTo>
                  <a:lnTo>
                    <a:pt x="2113" y="2152"/>
                  </a:lnTo>
                  <a:lnTo>
                    <a:pt x="2113" y="1947"/>
                  </a:lnTo>
                  <a:lnTo>
                    <a:pt x="2458" y="1947"/>
                  </a:lnTo>
                  <a:lnTo>
                    <a:pt x="2458" y="1725"/>
                  </a:lnTo>
                  <a:lnTo>
                    <a:pt x="2745" y="1725"/>
                  </a:lnTo>
                  <a:lnTo>
                    <a:pt x="2745" y="1504"/>
                  </a:lnTo>
                  <a:lnTo>
                    <a:pt x="3181" y="1504"/>
                  </a:lnTo>
                  <a:lnTo>
                    <a:pt x="3181" y="1187"/>
                  </a:lnTo>
                  <a:lnTo>
                    <a:pt x="4516" y="1187"/>
                  </a:lnTo>
                  <a:lnTo>
                    <a:pt x="4516" y="713"/>
                  </a:lnTo>
                  <a:lnTo>
                    <a:pt x="5268" y="713"/>
                  </a:lnTo>
                  <a:lnTo>
                    <a:pt x="5268" y="0"/>
                  </a:lnTo>
                  <a:lnTo>
                    <a:pt x="6805" y="0"/>
                  </a:lnTo>
                </a:path>
              </a:pathLst>
            </a:custGeom>
            <a:noFill/>
            <a:ln w="4445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49" name="Freeform 35">
              <a:extLst>
                <a:ext uri="{FF2B5EF4-FFF2-40B4-BE49-F238E27FC236}">
                  <a16:creationId xmlns:a16="http://schemas.microsoft.com/office/drawing/2014/main" id="{91B53251-704E-4DE1-A3CB-624CAA6C2368}"/>
                </a:ext>
              </a:extLst>
            </p:cNvPr>
            <p:cNvSpPr>
              <a:spLocks noEditPoints="1"/>
            </p:cNvSpPr>
            <p:nvPr/>
          </p:nvSpPr>
          <p:spPr bwMode="auto">
            <a:xfrm>
              <a:off x="6116795" y="4809991"/>
              <a:ext cx="51191"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0" name="Freeform 36">
              <a:extLst>
                <a:ext uri="{FF2B5EF4-FFF2-40B4-BE49-F238E27FC236}">
                  <a16:creationId xmlns:a16="http://schemas.microsoft.com/office/drawing/2014/main" id="{927171B1-9CC5-4021-9349-75FF3DF27D91}"/>
                </a:ext>
              </a:extLst>
            </p:cNvPr>
            <p:cNvSpPr>
              <a:spLocks noEditPoints="1"/>
            </p:cNvSpPr>
            <p:nvPr/>
          </p:nvSpPr>
          <p:spPr bwMode="auto">
            <a:xfrm>
              <a:off x="6186846" y="4809991"/>
              <a:ext cx="52538"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1" name="Freeform 37">
              <a:extLst>
                <a:ext uri="{FF2B5EF4-FFF2-40B4-BE49-F238E27FC236}">
                  <a16:creationId xmlns:a16="http://schemas.microsoft.com/office/drawing/2014/main" id="{8EEB38E6-C262-476F-AF6A-3DDAC55A8916}"/>
                </a:ext>
              </a:extLst>
            </p:cNvPr>
            <p:cNvSpPr>
              <a:spLocks noEditPoints="1"/>
            </p:cNvSpPr>
            <p:nvPr/>
          </p:nvSpPr>
          <p:spPr bwMode="auto">
            <a:xfrm>
              <a:off x="6283838" y="4809991"/>
              <a:ext cx="51191"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2" name="Freeform 38">
              <a:extLst>
                <a:ext uri="{FF2B5EF4-FFF2-40B4-BE49-F238E27FC236}">
                  <a16:creationId xmlns:a16="http://schemas.microsoft.com/office/drawing/2014/main" id="{E2F13D6B-FF0D-4F1D-B010-616DB6BDA33E}"/>
                </a:ext>
              </a:extLst>
            </p:cNvPr>
            <p:cNvSpPr>
              <a:spLocks noEditPoints="1"/>
            </p:cNvSpPr>
            <p:nvPr/>
          </p:nvSpPr>
          <p:spPr bwMode="auto">
            <a:xfrm>
              <a:off x="6313475" y="4809991"/>
              <a:ext cx="51191"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3" name="Freeform 39">
              <a:extLst>
                <a:ext uri="{FF2B5EF4-FFF2-40B4-BE49-F238E27FC236}">
                  <a16:creationId xmlns:a16="http://schemas.microsoft.com/office/drawing/2014/main" id="{34F51A47-A58B-454E-8731-B319125E92FA}"/>
                </a:ext>
              </a:extLst>
            </p:cNvPr>
            <p:cNvSpPr>
              <a:spLocks noEditPoints="1"/>
            </p:cNvSpPr>
            <p:nvPr/>
          </p:nvSpPr>
          <p:spPr bwMode="auto">
            <a:xfrm>
              <a:off x="6321558" y="4809991"/>
              <a:ext cx="53885"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4" name="Freeform 40">
              <a:extLst>
                <a:ext uri="{FF2B5EF4-FFF2-40B4-BE49-F238E27FC236}">
                  <a16:creationId xmlns:a16="http://schemas.microsoft.com/office/drawing/2014/main" id="{5622A1FC-BB07-4C2B-BC2F-E875719B90BA}"/>
                </a:ext>
              </a:extLst>
            </p:cNvPr>
            <p:cNvSpPr>
              <a:spLocks noEditPoints="1"/>
            </p:cNvSpPr>
            <p:nvPr/>
          </p:nvSpPr>
          <p:spPr bwMode="auto">
            <a:xfrm>
              <a:off x="6321558" y="4809991"/>
              <a:ext cx="53885"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5" name="Freeform 41">
              <a:extLst>
                <a:ext uri="{FF2B5EF4-FFF2-40B4-BE49-F238E27FC236}">
                  <a16:creationId xmlns:a16="http://schemas.microsoft.com/office/drawing/2014/main" id="{08D507BA-A90A-4409-9529-E03D262E4F34}"/>
                </a:ext>
              </a:extLst>
            </p:cNvPr>
            <p:cNvSpPr>
              <a:spLocks noEditPoints="1"/>
            </p:cNvSpPr>
            <p:nvPr/>
          </p:nvSpPr>
          <p:spPr bwMode="auto">
            <a:xfrm>
              <a:off x="6394302" y="4809991"/>
              <a:ext cx="52538"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6" name="Freeform 42">
              <a:extLst>
                <a:ext uri="{FF2B5EF4-FFF2-40B4-BE49-F238E27FC236}">
                  <a16:creationId xmlns:a16="http://schemas.microsoft.com/office/drawing/2014/main" id="{B31819FC-BA28-4CB0-BBA2-A10D9ACD9FBE}"/>
                </a:ext>
              </a:extLst>
            </p:cNvPr>
            <p:cNvSpPr>
              <a:spLocks noEditPoints="1"/>
            </p:cNvSpPr>
            <p:nvPr/>
          </p:nvSpPr>
          <p:spPr bwMode="auto">
            <a:xfrm>
              <a:off x="6395650" y="4809991"/>
              <a:ext cx="53885"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7" name="Freeform 43">
              <a:extLst>
                <a:ext uri="{FF2B5EF4-FFF2-40B4-BE49-F238E27FC236}">
                  <a16:creationId xmlns:a16="http://schemas.microsoft.com/office/drawing/2014/main" id="{CB12860B-F913-458B-9A40-644770907A0A}"/>
                </a:ext>
              </a:extLst>
            </p:cNvPr>
            <p:cNvSpPr>
              <a:spLocks noEditPoints="1"/>
            </p:cNvSpPr>
            <p:nvPr/>
          </p:nvSpPr>
          <p:spPr bwMode="auto">
            <a:xfrm>
              <a:off x="6569428" y="4809991"/>
              <a:ext cx="51191"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8" name="Freeform 44">
              <a:extLst>
                <a:ext uri="{FF2B5EF4-FFF2-40B4-BE49-F238E27FC236}">
                  <a16:creationId xmlns:a16="http://schemas.microsoft.com/office/drawing/2014/main" id="{463DF3F4-0E68-4B69-A7DF-A225A1FDE453}"/>
                </a:ext>
              </a:extLst>
            </p:cNvPr>
            <p:cNvSpPr>
              <a:spLocks noEditPoints="1"/>
            </p:cNvSpPr>
            <p:nvPr/>
          </p:nvSpPr>
          <p:spPr bwMode="auto">
            <a:xfrm>
              <a:off x="6647561" y="4809991"/>
              <a:ext cx="51191"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59" name="Freeform 45">
              <a:extLst>
                <a:ext uri="{FF2B5EF4-FFF2-40B4-BE49-F238E27FC236}">
                  <a16:creationId xmlns:a16="http://schemas.microsoft.com/office/drawing/2014/main" id="{D6032918-9BBE-4425-BDCC-2D072F40B710}"/>
                </a:ext>
              </a:extLst>
            </p:cNvPr>
            <p:cNvSpPr>
              <a:spLocks noEditPoints="1"/>
            </p:cNvSpPr>
            <p:nvPr/>
          </p:nvSpPr>
          <p:spPr bwMode="auto">
            <a:xfrm>
              <a:off x="6689322" y="4809991"/>
              <a:ext cx="52537" cy="62866"/>
            </a:xfrm>
            <a:custGeom>
              <a:avLst/>
              <a:gdLst>
                <a:gd name="T0" fmla="*/ 0 w 134"/>
                <a:gd name="T1" fmla="*/ 0 h 134"/>
                <a:gd name="T2" fmla="*/ 0 w 134"/>
                <a:gd name="T3" fmla="*/ 0 h 134"/>
                <a:gd name="T4" fmla="*/ 0 w 134"/>
                <a:gd name="T5" fmla="*/ 0 h 134"/>
                <a:gd name="T6" fmla="*/ 0 w 134"/>
                <a:gd name="T7" fmla="*/ 0 h 134"/>
                <a:gd name="T8" fmla="*/ 0 60000 65536"/>
                <a:gd name="T9" fmla="*/ 0 60000 65536"/>
                <a:gd name="T10" fmla="*/ 0 60000 65536"/>
                <a:gd name="T11" fmla="*/ 0 60000 65536"/>
                <a:gd name="T12" fmla="*/ 0 w 134"/>
                <a:gd name="T13" fmla="*/ 0 h 134"/>
                <a:gd name="T14" fmla="*/ 134 w 134"/>
                <a:gd name="T15" fmla="*/ 134 h 134"/>
              </a:gdLst>
              <a:ahLst/>
              <a:cxnLst>
                <a:cxn ang="T8">
                  <a:pos x="T0" y="T1"/>
                </a:cxn>
                <a:cxn ang="T9">
                  <a:pos x="T2" y="T3"/>
                </a:cxn>
                <a:cxn ang="T10">
                  <a:pos x="T4" y="T5"/>
                </a:cxn>
                <a:cxn ang="T11">
                  <a:pos x="T6" y="T7"/>
                </a:cxn>
              </a:cxnLst>
              <a:rect l="T12" t="T13" r="T14" b="T15"/>
              <a:pathLst>
                <a:path w="134" h="134">
                  <a:moveTo>
                    <a:pt x="0" y="67"/>
                  </a:moveTo>
                  <a:lnTo>
                    <a:pt x="134"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0" name="Freeform 46">
              <a:extLst>
                <a:ext uri="{FF2B5EF4-FFF2-40B4-BE49-F238E27FC236}">
                  <a16:creationId xmlns:a16="http://schemas.microsoft.com/office/drawing/2014/main" id="{C7CF7910-1F79-4AD5-B562-06A7757ACC70}"/>
                </a:ext>
              </a:extLst>
            </p:cNvPr>
            <p:cNvSpPr>
              <a:spLocks noEditPoints="1"/>
            </p:cNvSpPr>
            <p:nvPr/>
          </p:nvSpPr>
          <p:spPr bwMode="auto">
            <a:xfrm>
              <a:off x="6739165" y="4809991"/>
              <a:ext cx="52538"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1" name="Freeform 47">
              <a:extLst>
                <a:ext uri="{FF2B5EF4-FFF2-40B4-BE49-F238E27FC236}">
                  <a16:creationId xmlns:a16="http://schemas.microsoft.com/office/drawing/2014/main" id="{9C98D581-9484-4167-AB49-CA4DEA53D9F5}"/>
                </a:ext>
              </a:extLst>
            </p:cNvPr>
            <p:cNvSpPr>
              <a:spLocks noEditPoints="1"/>
            </p:cNvSpPr>
            <p:nvPr/>
          </p:nvSpPr>
          <p:spPr bwMode="auto">
            <a:xfrm>
              <a:off x="6774190" y="4809991"/>
              <a:ext cx="53885"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2" name="Freeform 48">
              <a:extLst>
                <a:ext uri="{FF2B5EF4-FFF2-40B4-BE49-F238E27FC236}">
                  <a16:creationId xmlns:a16="http://schemas.microsoft.com/office/drawing/2014/main" id="{8F7F418B-C63C-41F5-9365-4926B0940CF9}"/>
                </a:ext>
              </a:extLst>
            </p:cNvPr>
            <p:cNvSpPr>
              <a:spLocks noEditPoints="1"/>
            </p:cNvSpPr>
            <p:nvPr/>
          </p:nvSpPr>
          <p:spPr bwMode="auto">
            <a:xfrm>
              <a:off x="6805174" y="4809991"/>
              <a:ext cx="52537"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3" name="Freeform 49">
              <a:extLst>
                <a:ext uri="{FF2B5EF4-FFF2-40B4-BE49-F238E27FC236}">
                  <a16:creationId xmlns:a16="http://schemas.microsoft.com/office/drawing/2014/main" id="{0A83F1FA-E369-4883-90C9-62A90E24BEEB}"/>
                </a:ext>
              </a:extLst>
            </p:cNvPr>
            <p:cNvSpPr>
              <a:spLocks noEditPoints="1"/>
            </p:cNvSpPr>
            <p:nvPr/>
          </p:nvSpPr>
          <p:spPr bwMode="auto">
            <a:xfrm>
              <a:off x="6828075" y="4809991"/>
              <a:ext cx="51191"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4" name="Freeform 50">
              <a:extLst>
                <a:ext uri="{FF2B5EF4-FFF2-40B4-BE49-F238E27FC236}">
                  <a16:creationId xmlns:a16="http://schemas.microsoft.com/office/drawing/2014/main" id="{F9A8F81A-F79E-45A5-9545-FC9C635B0CE9}"/>
                </a:ext>
              </a:extLst>
            </p:cNvPr>
            <p:cNvSpPr>
              <a:spLocks noEditPoints="1"/>
            </p:cNvSpPr>
            <p:nvPr/>
          </p:nvSpPr>
          <p:spPr bwMode="auto">
            <a:xfrm>
              <a:off x="7159467" y="4809991"/>
              <a:ext cx="51191"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5" name="Freeform 51">
              <a:extLst>
                <a:ext uri="{FF2B5EF4-FFF2-40B4-BE49-F238E27FC236}">
                  <a16:creationId xmlns:a16="http://schemas.microsoft.com/office/drawing/2014/main" id="{1F8BB3D3-EC57-4F83-A8DE-214BFCA0B42B}"/>
                </a:ext>
              </a:extLst>
            </p:cNvPr>
            <p:cNvSpPr>
              <a:spLocks noEditPoints="1"/>
            </p:cNvSpPr>
            <p:nvPr/>
          </p:nvSpPr>
          <p:spPr bwMode="auto">
            <a:xfrm>
              <a:off x="7245682" y="4809991"/>
              <a:ext cx="52538"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6" name="Freeform 52">
              <a:extLst>
                <a:ext uri="{FF2B5EF4-FFF2-40B4-BE49-F238E27FC236}">
                  <a16:creationId xmlns:a16="http://schemas.microsoft.com/office/drawing/2014/main" id="{EF3EA5C7-64DE-4B2F-8A18-CB69B65D046D}"/>
                </a:ext>
              </a:extLst>
            </p:cNvPr>
            <p:cNvSpPr>
              <a:spLocks noEditPoints="1"/>
            </p:cNvSpPr>
            <p:nvPr/>
          </p:nvSpPr>
          <p:spPr bwMode="auto">
            <a:xfrm>
              <a:off x="7273972" y="4809991"/>
              <a:ext cx="52537" cy="62866"/>
            </a:xfrm>
            <a:custGeom>
              <a:avLst/>
              <a:gdLst>
                <a:gd name="T0" fmla="*/ 0 w 134"/>
                <a:gd name="T1" fmla="*/ 0 h 134"/>
                <a:gd name="T2" fmla="*/ 0 w 134"/>
                <a:gd name="T3" fmla="*/ 0 h 134"/>
                <a:gd name="T4" fmla="*/ 0 w 134"/>
                <a:gd name="T5" fmla="*/ 0 h 134"/>
                <a:gd name="T6" fmla="*/ 0 w 134"/>
                <a:gd name="T7" fmla="*/ 0 h 134"/>
                <a:gd name="T8" fmla="*/ 0 60000 65536"/>
                <a:gd name="T9" fmla="*/ 0 60000 65536"/>
                <a:gd name="T10" fmla="*/ 0 60000 65536"/>
                <a:gd name="T11" fmla="*/ 0 60000 65536"/>
                <a:gd name="T12" fmla="*/ 0 w 134"/>
                <a:gd name="T13" fmla="*/ 0 h 134"/>
                <a:gd name="T14" fmla="*/ 134 w 134"/>
                <a:gd name="T15" fmla="*/ 134 h 134"/>
              </a:gdLst>
              <a:ahLst/>
              <a:cxnLst>
                <a:cxn ang="T8">
                  <a:pos x="T0" y="T1"/>
                </a:cxn>
                <a:cxn ang="T9">
                  <a:pos x="T2" y="T3"/>
                </a:cxn>
                <a:cxn ang="T10">
                  <a:pos x="T4" y="T5"/>
                </a:cxn>
                <a:cxn ang="T11">
                  <a:pos x="T6" y="T7"/>
                </a:cxn>
              </a:cxnLst>
              <a:rect l="T12" t="T13" r="T14" b="T15"/>
              <a:pathLst>
                <a:path w="134" h="134">
                  <a:moveTo>
                    <a:pt x="0" y="67"/>
                  </a:moveTo>
                  <a:lnTo>
                    <a:pt x="134"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7" name="Freeform 53">
              <a:extLst>
                <a:ext uri="{FF2B5EF4-FFF2-40B4-BE49-F238E27FC236}">
                  <a16:creationId xmlns:a16="http://schemas.microsoft.com/office/drawing/2014/main" id="{3239930D-BA20-44AA-BA77-DAEA29B5F90B}"/>
                </a:ext>
              </a:extLst>
            </p:cNvPr>
            <p:cNvSpPr>
              <a:spLocks noEditPoints="1"/>
            </p:cNvSpPr>
            <p:nvPr/>
          </p:nvSpPr>
          <p:spPr bwMode="auto">
            <a:xfrm>
              <a:off x="7291485" y="4809991"/>
              <a:ext cx="52538"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8" name="Freeform 54">
              <a:extLst>
                <a:ext uri="{FF2B5EF4-FFF2-40B4-BE49-F238E27FC236}">
                  <a16:creationId xmlns:a16="http://schemas.microsoft.com/office/drawing/2014/main" id="{1F4DB932-8755-4102-BDCD-6F5730A24BBD}"/>
                </a:ext>
              </a:extLst>
            </p:cNvPr>
            <p:cNvSpPr>
              <a:spLocks noEditPoints="1"/>
            </p:cNvSpPr>
            <p:nvPr/>
          </p:nvSpPr>
          <p:spPr bwMode="auto">
            <a:xfrm>
              <a:off x="7358841" y="4809991"/>
              <a:ext cx="53885" cy="62866"/>
            </a:xfrm>
            <a:custGeom>
              <a:avLst/>
              <a:gdLst>
                <a:gd name="T0" fmla="*/ 0 w 134"/>
                <a:gd name="T1" fmla="*/ 0 h 134"/>
                <a:gd name="T2" fmla="*/ 0 w 134"/>
                <a:gd name="T3" fmla="*/ 0 h 134"/>
                <a:gd name="T4" fmla="*/ 0 w 134"/>
                <a:gd name="T5" fmla="*/ 0 h 134"/>
                <a:gd name="T6" fmla="*/ 0 w 134"/>
                <a:gd name="T7" fmla="*/ 0 h 134"/>
                <a:gd name="T8" fmla="*/ 0 60000 65536"/>
                <a:gd name="T9" fmla="*/ 0 60000 65536"/>
                <a:gd name="T10" fmla="*/ 0 60000 65536"/>
                <a:gd name="T11" fmla="*/ 0 60000 65536"/>
                <a:gd name="T12" fmla="*/ 0 w 134"/>
                <a:gd name="T13" fmla="*/ 0 h 134"/>
                <a:gd name="T14" fmla="*/ 134 w 134"/>
                <a:gd name="T15" fmla="*/ 134 h 134"/>
              </a:gdLst>
              <a:ahLst/>
              <a:cxnLst>
                <a:cxn ang="T8">
                  <a:pos x="T0" y="T1"/>
                </a:cxn>
                <a:cxn ang="T9">
                  <a:pos x="T2" y="T3"/>
                </a:cxn>
                <a:cxn ang="T10">
                  <a:pos x="T4" y="T5"/>
                </a:cxn>
                <a:cxn ang="T11">
                  <a:pos x="T6" y="T7"/>
                </a:cxn>
              </a:cxnLst>
              <a:rect l="T12" t="T13" r="T14" b="T15"/>
              <a:pathLst>
                <a:path w="134" h="134">
                  <a:moveTo>
                    <a:pt x="0" y="67"/>
                  </a:moveTo>
                  <a:lnTo>
                    <a:pt x="134"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69" name="Freeform 55">
              <a:extLst>
                <a:ext uri="{FF2B5EF4-FFF2-40B4-BE49-F238E27FC236}">
                  <a16:creationId xmlns:a16="http://schemas.microsoft.com/office/drawing/2014/main" id="{5000A6F1-45F0-43BF-A457-8376E9ECA6AF}"/>
                </a:ext>
              </a:extLst>
            </p:cNvPr>
            <p:cNvSpPr>
              <a:spLocks noEditPoints="1"/>
            </p:cNvSpPr>
            <p:nvPr/>
          </p:nvSpPr>
          <p:spPr bwMode="auto">
            <a:xfrm>
              <a:off x="7431585" y="4809991"/>
              <a:ext cx="52538" cy="62866"/>
            </a:xfrm>
            <a:custGeom>
              <a:avLst/>
              <a:gdLst>
                <a:gd name="T0" fmla="*/ 0 w 134"/>
                <a:gd name="T1" fmla="*/ 0 h 134"/>
                <a:gd name="T2" fmla="*/ 0 w 134"/>
                <a:gd name="T3" fmla="*/ 0 h 134"/>
                <a:gd name="T4" fmla="*/ 0 w 134"/>
                <a:gd name="T5" fmla="*/ 0 h 134"/>
                <a:gd name="T6" fmla="*/ 0 w 134"/>
                <a:gd name="T7" fmla="*/ 0 h 134"/>
                <a:gd name="T8" fmla="*/ 0 60000 65536"/>
                <a:gd name="T9" fmla="*/ 0 60000 65536"/>
                <a:gd name="T10" fmla="*/ 0 60000 65536"/>
                <a:gd name="T11" fmla="*/ 0 60000 65536"/>
                <a:gd name="T12" fmla="*/ 0 w 134"/>
                <a:gd name="T13" fmla="*/ 0 h 134"/>
                <a:gd name="T14" fmla="*/ 134 w 134"/>
                <a:gd name="T15" fmla="*/ 134 h 134"/>
              </a:gdLst>
              <a:ahLst/>
              <a:cxnLst>
                <a:cxn ang="T8">
                  <a:pos x="T0" y="T1"/>
                </a:cxn>
                <a:cxn ang="T9">
                  <a:pos x="T2" y="T3"/>
                </a:cxn>
                <a:cxn ang="T10">
                  <a:pos x="T4" y="T5"/>
                </a:cxn>
                <a:cxn ang="T11">
                  <a:pos x="T6" y="T7"/>
                </a:cxn>
              </a:cxnLst>
              <a:rect l="T12" t="T13" r="T14" b="T15"/>
              <a:pathLst>
                <a:path w="134" h="134">
                  <a:moveTo>
                    <a:pt x="0" y="67"/>
                  </a:moveTo>
                  <a:lnTo>
                    <a:pt x="134"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0" name="Freeform 56">
              <a:extLst>
                <a:ext uri="{FF2B5EF4-FFF2-40B4-BE49-F238E27FC236}">
                  <a16:creationId xmlns:a16="http://schemas.microsoft.com/office/drawing/2014/main" id="{4FF7668E-7555-441B-A0C8-5B4BC85FE7C8}"/>
                </a:ext>
              </a:extLst>
            </p:cNvPr>
            <p:cNvSpPr>
              <a:spLocks noEditPoints="1"/>
            </p:cNvSpPr>
            <p:nvPr/>
          </p:nvSpPr>
          <p:spPr bwMode="auto">
            <a:xfrm>
              <a:off x="7573033" y="4809991"/>
              <a:ext cx="52537" cy="62866"/>
            </a:xfrm>
            <a:custGeom>
              <a:avLst/>
              <a:gdLst>
                <a:gd name="T0" fmla="*/ 0 w 134"/>
                <a:gd name="T1" fmla="*/ 0 h 134"/>
                <a:gd name="T2" fmla="*/ 0 w 134"/>
                <a:gd name="T3" fmla="*/ 0 h 134"/>
                <a:gd name="T4" fmla="*/ 0 w 134"/>
                <a:gd name="T5" fmla="*/ 0 h 134"/>
                <a:gd name="T6" fmla="*/ 0 w 134"/>
                <a:gd name="T7" fmla="*/ 0 h 134"/>
                <a:gd name="T8" fmla="*/ 0 60000 65536"/>
                <a:gd name="T9" fmla="*/ 0 60000 65536"/>
                <a:gd name="T10" fmla="*/ 0 60000 65536"/>
                <a:gd name="T11" fmla="*/ 0 60000 65536"/>
                <a:gd name="T12" fmla="*/ 0 w 134"/>
                <a:gd name="T13" fmla="*/ 0 h 134"/>
                <a:gd name="T14" fmla="*/ 134 w 134"/>
                <a:gd name="T15" fmla="*/ 134 h 134"/>
              </a:gdLst>
              <a:ahLst/>
              <a:cxnLst>
                <a:cxn ang="T8">
                  <a:pos x="T0" y="T1"/>
                </a:cxn>
                <a:cxn ang="T9">
                  <a:pos x="T2" y="T3"/>
                </a:cxn>
                <a:cxn ang="T10">
                  <a:pos x="T4" y="T5"/>
                </a:cxn>
                <a:cxn ang="T11">
                  <a:pos x="T6" y="T7"/>
                </a:cxn>
              </a:cxnLst>
              <a:rect l="T12" t="T13" r="T14" b="T15"/>
              <a:pathLst>
                <a:path w="134" h="134">
                  <a:moveTo>
                    <a:pt x="0" y="67"/>
                  </a:moveTo>
                  <a:lnTo>
                    <a:pt x="134"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1" name="Freeform 57">
              <a:extLst>
                <a:ext uri="{FF2B5EF4-FFF2-40B4-BE49-F238E27FC236}">
                  <a16:creationId xmlns:a16="http://schemas.microsoft.com/office/drawing/2014/main" id="{722E5AB9-EAB0-4DF6-90D2-8363A8758618}"/>
                </a:ext>
              </a:extLst>
            </p:cNvPr>
            <p:cNvSpPr>
              <a:spLocks noEditPoints="1"/>
            </p:cNvSpPr>
            <p:nvPr/>
          </p:nvSpPr>
          <p:spPr bwMode="auto">
            <a:xfrm>
              <a:off x="7614794" y="4809991"/>
              <a:ext cx="53885"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2" name="Freeform 58">
              <a:extLst>
                <a:ext uri="{FF2B5EF4-FFF2-40B4-BE49-F238E27FC236}">
                  <a16:creationId xmlns:a16="http://schemas.microsoft.com/office/drawing/2014/main" id="{9A31FFAD-87C8-4EC2-8AAF-8258256649CD}"/>
                </a:ext>
              </a:extLst>
            </p:cNvPr>
            <p:cNvSpPr>
              <a:spLocks noEditPoints="1"/>
            </p:cNvSpPr>
            <p:nvPr/>
          </p:nvSpPr>
          <p:spPr bwMode="auto">
            <a:xfrm>
              <a:off x="7626918" y="4809991"/>
              <a:ext cx="51191"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3" name="Freeform 59">
              <a:extLst>
                <a:ext uri="{FF2B5EF4-FFF2-40B4-BE49-F238E27FC236}">
                  <a16:creationId xmlns:a16="http://schemas.microsoft.com/office/drawing/2014/main" id="{67EFC708-A6E7-43AF-BBC0-F95661737F04}"/>
                </a:ext>
              </a:extLst>
            </p:cNvPr>
            <p:cNvSpPr>
              <a:spLocks noEditPoints="1"/>
            </p:cNvSpPr>
            <p:nvPr/>
          </p:nvSpPr>
          <p:spPr bwMode="auto">
            <a:xfrm>
              <a:off x="7888259" y="4809991"/>
              <a:ext cx="53885" cy="62866"/>
            </a:xfrm>
            <a:custGeom>
              <a:avLst/>
              <a:gdLst>
                <a:gd name="T0" fmla="*/ 0 w 134"/>
                <a:gd name="T1" fmla="*/ 0 h 134"/>
                <a:gd name="T2" fmla="*/ 0 w 134"/>
                <a:gd name="T3" fmla="*/ 0 h 134"/>
                <a:gd name="T4" fmla="*/ 0 w 134"/>
                <a:gd name="T5" fmla="*/ 0 h 134"/>
                <a:gd name="T6" fmla="*/ 0 w 134"/>
                <a:gd name="T7" fmla="*/ 0 h 134"/>
                <a:gd name="T8" fmla="*/ 0 60000 65536"/>
                <a:gd name="T9" fmla="*/ 0 60000 65536"/>
                <a:gd name="T10" fmla="*/ 0 60000 65536"/>
                <a:gd name="T11" fmla="*/ 0 60000 65536"/>
                <a:gd name="T12" fmla="*/ 0 w 134"/>
                <a:gd name="T13" fmla="*/ 0 h 134"/>
                <a:gd name="T14" fmla="*/ 134 w 134"/>
                <a:gd name="T15" fmla="*/ 134 h 134"/>
              </a:gdLst>
              <a:ahLst/>
              <a:cxnLst>
                <a:cxn ang="T8">
                  <a:pos x="T0" y="T1"/>
                </a:cxn>
                <a:cxn ang="T9">
                  <a:pos x="T2" y="T3"/>
                </a:cxn>
                <a:cxn ang="T10">
                  <a:pos x="T4" y="T5"/>
                </a:cxn>
                <a:cxn ang="T11">
                  <a:pos x="T6" y="T7"/>
                </a:cxn>
              </a:cxnLst>
              <a:rect l="T12" t="T13" r="T14" b="T15"/>
              <a:pathLst>
                <a:path w="134" h="134">
                  <a:moveTo>
                    <a:pt x="0" y="67"/>
                  </a:moveTo>
                  <a:lnTo>
                    <a:pt x="134"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4" name="Freeform 60">
              <a:extLst>
                <a:ext uri="{FF2B5EF4-FFF2-40B4-BE49-F238E27FC236}">
                  <a16:creationId xmlns:a16="http://schemas.microsoft.com/office/drawing/2014/main" id="{666ED928-E568-498A-BE3A-48DBC06601F9}"/>
                </a:ext>
              </a:extLst>
            </p:cNvPr>
            <p:cNvSpPr>
              <a:spLocks noEditPoints="1"/>
            </p:cNvSpPr>
            <p:nvPr/>
          </p:nvSpPr>
          <p:spPr bwMode="auto">
            <a:xfrm>
              <a:off x="7942144" y="4809991"/>
              <a:ext cx="51191"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5" name="Freeform 61">
              <a:extLst>
                <a:ext uri="{FF2B5EF4-FFF2-40B4-BE49-F238E27FC236}">
                  <a16:creationId xmlns:a16="http://schemas.microsoft.com/office/drawing/2014/main" id="{3093AE09-7CAB-4039-8ACA-134F53C7701F}"/>
                </a:ext>
              </a:extLst>
            </p:cNvPr>
            <p:cNvSpPr>
              <a:spLocks noEditPoints="1"/>
            </p:cNvSpPr>
            <p:nvPr/>
          </p:nvSpPr>
          <p:spPr bwMode="auto">
            <a:xfrm>
              <a:off x="7948879" y="4809991"/>
              <a:ext cx="53885" cy="62866"/>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00FFFF"/>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6" name="Freeform 62">
              <a:extLst>
                <a:ext uri="{FF2B5EF4-FFF2-40B4-BE49-F238E27FC236}">
                  <a16:creationId xmlns:a16="http://schemas.microsoft.com/office/drawing/2014/main" id="{A96268E8-774D-4EFB-A1BB-0B1C2012D113}"/>
                </a:ext>
              </a:extLst>
            </p:cNvPr>
            <p:cNvSpPr>
              <a:spLocks noEditPoints="1"/>
            </p:cNvSpPr>
            <p:nvPr/>
          </p:nvSpPr>
          <p:spPr bwMode="auto">
            <a:xfrm>
              <a:off x="6190887" y="3970179"/>
              <a:ext cx="52537" cy="58029"/>
            </a:xfrm>
            <a:custGeom>
              <a:avLst/>
              <a:gdLst>
                <a:gd name="T0" fmla="*/ 0 w 134"/>
                <a:gd name="T1" fmla="*/ 0 h 134"/>
                <a:gd name="T2" fmla="*/ 0 w 134"/>
                <a:gd name="T3" fmla="*/ 0 h 134"/>
                <a:gd name="T4" fmla="*/ 0 w 134"/>
                <a:gd name="T5" fmla="*/ 0 h 134"/>
                <a:gd name="T6" fmla="*/ 0 w 134"/>
                <a:gd name="T7" fmla="*/ 0 h 134"/>
                <a:gd name="T8" fmla="*/ 0 60000 65536"/>
                <a:gd name="T9" fmla="*/ 0 60000 65536"/>
                <a:gd name="T10" fmla="*/ 0 60000 65536"/>
                <a:gd name="T11" fmla="*/ 0 60000 65536"/>
                <a:gd name="T12" fmla="*/ 0 w 134"/>
                <a:gd name="T13" fmla="*/ 0 h 134"/>
                <a:gd name="T14" fmla="*/ 134 w 134"/>
                <a:gd name="T15" fmla="*/ 134 h 134"/>
              </a:gdLst>
              <a:ahLst/>
              <a:cxnLst>
                <a:cxn ang="T8">
                  <a:pos x="T0" y="T1"/>
                </a:cxn>
                <a:cxn ang="T9">
                  <a:pos x="T2" y="T3"/>
                </a:cxn>
                <a:cxn ang="T10">
                  <a:pos x="T4" y="T5"/>
                </a:cxn>
                <a:cxn ang="T11">
                  <a:pos x="T6" y="T7"/>
                </a:cxn>
              </a:cxnLst>
              <a:rect l="T12" t="T13" r="T14" b="T15"/>
              <a:pathLst>
                <a:path w="134" h="134">
                  <a:moveTo>
                    <a:pt x="0" y="67"/>
                  </a:moveTo>
                  <a:lnTo>
                    <a:pt x="134" y="67"/>
                  </a:lnTo>
                  <a:moveTo>
                    <a:pt x="67" y="0"/>
                  </a:moveTo>
                  <a:lnTo>
                    <a:pt x="67" y="134"/>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7" name="Freeform 63">
              <a:extLst>
                <a:ext uri="{FF2B5EF4-FFF2-40B4-BE49-F238E27FC236}">
                  <a16:creationId xmlns:a16="http://schemas.microsoft.com/office/drawing/2014/main" id="{1A629C3B-87CA-46C7-B14C-9C234B5C890E}"/>
                </a:ext>
              </a:extLst>
            </p:cNvPr>
            <p:cNvSpPr>
              <a:spLocks noEditPoints="1"/>
            </p:cNvSpPr>
            <p:nvPr/>
          </p:nvSpPr>
          <p:spPr bwMode="auto">
            <a:xfrm>
              <a:off x="6353888" y="3970179"/>
              <a:ext cx="51191" cy="58029"/>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8" name="Freeform 64">
              <a:extLst>
                <a:ext uri="{FF2B5EF4-FFF2-40B4-BE49-F238E27FC236}">
                  <a16:creationId xmlns:a16="http://schemas.microsoft.com/office/drawing/2014/main" id="{044AD2B4-2852-49DB-95E3-6E51ACED75E2}"/>
                </a:ext>
              </a:extLst>
            </p:cNvPr>
            <p:cNvSpPr>
              <a:spLocks noEditPoints="1"/>
            </p:cNvSpPr>
            <p:nvPr/>
          </p:nvSpPr>
          <p:spPr bwMode="auto">
            <a:xfrm>
              <a:off x="6441452" y="3970179"/>
              <a:ext cx="52537" cy="58029"/>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79" name="Freeform 65">
              <a:extLst>
                <a:ext uri="{FF2B5EF4-FFF2-40B4-BE49-F238E27FC236}">
                  <a16:creationId xmlns:a16="http://schemas.microsoft.com/office/drawing/2014/main" id="{AB8DF8A3-B992-4D12-9302-3176DD577AF9}"/>
                </a:ext>
              </a:extLst>
            </p:cNvPr>
            <p:cNvSpPr>
              <a:spLocks noEditPoints="1"/>
            </p:cNvSpPr>
            <p:nvPr/>
          </p:nvSpPr>
          <p:spPr bwMode="auto">
            <a:xfrm>
              <a:off x="6477824" y="3970179"/>
              <a:ext cx="51191" cy="58029"/>
            </a:xfrm>
            <a:custGeom>
              <a:avLst/>
              <a:gdLst>
                <a:gd name="T0" fmla="*/ 0 w 134"/>
                <a:gd name="T1" fmla="*/ 0 h 134"/>
                <a:gd name="T2" fmla="*/ 0 w 134"/>
                <a:gd name="T3" fmla="*/ 0 h 134"/>
                <a:gd name="T4" fmla="*/ 0 w 134"/>
                <a:gd name="T5" fmla="*/ 0 h 134"/>
                <a:gd name="T6" fmla="*/ 0 w 134"/>
                <a:gd name="T7" fmla="*/ 0 h 134"/>
                <a:gd name="T8" fmla="*/ 0 60000 65536"/>
                <a:gd name="T9" fmla="*/ 0 60000 65536"/>
                <a:gd name="T10" fmla="*/ 0 60000 65536"/>
                <a:gd name="T11" fmla="*/ 0 60000 65536"/>
                <a:gd name="T12" fmla="*/ 0 w 134"/>
                <a:gd name="T13" fmla="*/ 0 h 134"/>
                <a:gd name="T14" fmla="*/ 134 w 134"/>
                <a:gd name="T15" fmla="*/ 134 h 134"/>
              </a:gdLst>
              <a:ahLst/>
              <a:cxnLst>
                <a:cxn ang="T8">
                  <a:pos x="T0" y="T1"/>
                </a:cxn>
                <a:cxn ang="T9">
                  <a:pos x="T2" y="T3"/>
                </a:cxn>
                <a:cxn ang="T10">
                  <a:pos x="T4" y="T5"/>
                </a:cxn>
                <a:cxn ang="T11">
                  <a:pos x="T6" y="T7"/>
                </a:cxn>
              </a:cxnLst>
              <a:rect l="T12" t="T13" r="T14" b="T15"/>
              <a:pathLst>
                <a:path w="134" h="134">
                  <a:moveTo>
                    <a:pt x="0" y="67"/>
                  </a:moveTo>
                  <a:lnTo>
                    <a:pt x="134" y="67"/>
                  </a:lnTo>
                  <a:moveTo>
                    <a:pt x="67" y="0"/>
                  </a:moveTo>
                  <a:lnTo>
                    <a:pt x="67" y="134"/>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0" name="Freeform 66">
              <a:extLst>
                <a:ext uri="{FF2B5EF4-FFF2-40B4-BE49-F238E27FC236}">
                  <a16:creationId xmlns:a16="http://schemas.microsoft.com/office/drawing/2014/main" id="{9E21C796-3DFA-4E26-B777-3C2AC8F16660}"/>
                </a:ext>
              </a:extLst>
            </p:cNvPr>
            <p:cNvSpPr>
              <a:spLocks noEditPoints="1"/>
            </p:cNvSpPr>
            <p:nvPr/>
          </p:nvSpPr>
          <p:spPr bwMode="auto">
            <a:xfrm>
              <a:off x="6627354" y="3784808"/>
              <a:ext cx="51191" cy="59642"/>
            </a:xfrm>
            <a:custGeom>
              <a:avLst/>
              <a:gdLst>
                <a:gd name="T0" fmla="*/ 0 w 134"/>
                <a:gd name="T1" fmla="*/ 0 h 133"/>
                <a:gd name="T2" fmla="*/ 0 w 134"/>
                <a:gd name="T3" fmla="*/ 0 h 133"/>
                <a:gd name="T4" fmla="*/ 0 w 134"/>
                <a:gd name="T5" fmla="*/ 0 h 133"/>
                <a:gd name="T6" fmla="*/ 0 w 134"/>
                <a:gd name="T7" fmla="*/ 0 h 133"/>
                <a:gd name="T8" fmla="*/ 0 60000 65536"/>
                <a:gd name="T9" fmla="*/ 0 60000 65536"/>
                <a:gd name="T10" fmla="*/ 0 60000 65536"/>
                <a:gd name="T11" fmla="*/ 0 60000 65536"/>
                <a:gd name="T12" fmla="*/ 0 w 134"/>
                <a:gd name="T13" fmla="*/ 0 h 133"/>
                <a:gd name="T14" fmla="*/ 134 w 134"/>
                <a:gd name="T15" fmla="*/ 133 h 133"/>
              </a:gdLst>
              <a:ahLst/>
              <a:cxnLst>
                <a:cxn ang="T8">
                  <a:pos x="T0" y="T1"/>
                </a:cxn>
                <a:cxn ang="T9">
                  <a:pos x="T2" y="T3"/>
                </a:cxn>
                <a:cxn ang="T10">
                  <a:pos x="T4" y="T5"/>
                </a:cxn>
                <a:cxn ang="T11">
                  <a:pos x="T6" y="T7"/>
                </a:cxn>
              </a:cxnLst>
              <a:rect l="T12" t="T13" r="T14" b="T15"/>
              <a:pathLst>
                <a:path w="134" h="133">
                  <a:moveTo>
                    <a:pt x="0" y="67"/>
                  </a:moveTo>
                  <a:lnTo>
                    <a:pt x="134" y="67"/>
                  </a:lnTo>
                  <a:moveTo>
                    <a:pt x="67" y="0"/>
                  </a:moveTo>
                  <a:lnTo>
                    <a:pt x="67" y="133"/>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1" name="Freeform 67">
              <a:extLst>
                <a:ext uri="{FF2B5EF4-FFF2-40B4-BE49-F238E27FC236}">
                  <a16:creationId xmlns:a16="http://schemas.microsoft.com/office/drawing/2014/main" id="{26797338-689D-4A26-BD93-70B6108205BF}"/>
                </a:ext>
              </a:extLst>
            </p:cNvPr>
            <p:cNvSpPr>
              <a:spLocks noEditPoints="1"/>
            </p:cNvSpPr>
            <p:nvPr/>
          </p:nvSpPr>
          <p:spPr bwMode="auto">
            <a:xfrm>
              <a:off x="6692016" y="3784808"/>
              <a:ext cx="52537" cy="59642"/>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7"/>
                  </a:moveTo>
                  <a:lnTo>
                    <a:pt x="133" y="67"/>
                  </a:lnTo>
                  <a:moveTo>
                    <a:pt x="66" y="0"/>
                  </a:moveTo>
                  <a:lnTo>
                    <a:pt x="66" y="133"/>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2" name="Freeform 68">
              <a:extLst>
                <a:ext uri="{FF2B5EF4-FFF2-40B4-BE49-F238E27FC236}">
                  <a16:creationId xmlns:a16="http://schemas.microsoft.com/office/drawing/2014/main" id="{878723BE-D93D-407D-AB66-1597367C2303}"/>
                </a:ext>
              </a:extLst>
            </p:cNvPr>
            <p:cNvSpPr>
              <a:spLocks noEditPoints="1"/>
            </p:cNvSpPr>
            <p:nvPr/>
          </p:nvSpPr>
          <p:spPr bwMode="auto">
            <a:xfrm>
              <a:off x="7125789" y="3552690"/>
              <a:ext cx="52537" cy="61253"/>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6"/>
                  </a:moveTo>
                  <a:lnTo>
                    <a:pt x="133" y="66"/>
                  </a:lnTo>
                  <a:moveTo>
                    <a:pt x="66" y="0"/>
                  </a:moveTo>
                  <a:lnTo>
                    <a:pt x="66" y="133"/>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3" name="Freeform 69">
              <a:extLst>
                <a:ext uri="{FF2B5EF4-FFF2-40B4-BE49-F238E27FC236}">
                  <a16:creationId xmlns:a16="http://schemas.microsoft.com/office/drawing/2014/main" id="{D0F2D528-48BD-44DA-BCB9-81A8AF041584}"/>
                </a:ext>
              </a:extLst>
            </p:cNvPr>
            <p:cNvSpPr>
              <a:spLocks noEditPoints="1"/>
            </p:cNvSpPr>
            <p:nvPr/>
          </p:nvSpPr>
          <p:spPr bwMode="auto">
            <a:xfrm>
              <a:off x="7330551" y="3552690"/>
              <a:ext cx="53885" cy="61253"/>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6"/>
                  </a:moveTo>
                  <a:lnTo>
                    <a:pt x="133" y="66"/>
                  </a:lnTo>
                  <a:moveTo>
                    <a:pt x="66" y="0"/>
                  </a:moveTo>
                  <a:lnTo>
                    <a:pt x="66" y="133"/>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4" name="Freeform 70">
              <a:extLst>
                <a:ext uri="{FF2B5EF4-FFF2-40B4-BE49-F238E27FC236}">
                  <a16:creationId xmlns:a16="http://schemas.microsoft.com/office/drawing/2014/main" id="{E186314F-78CB-4E56-B727-C6AE9BC97E8D}"/>
                </a:ext>
              </a:extLst>
            </p:cNvPr>
            <p:cNvSpPr>
              <a:spLocks noEditPoints="1"/>
            </p:cNvSpPr>
            <p:nvPr/>
          </p:nvSpPr>
          <p:spPr bwMode="auto">
            <a:xfrm>
              <a:off x="7613447" y="3230306"/>
              <a:ext cx="52537" cy="59642"/>
            </a:xfrm>
            <a:custGeom>
              <a:avLst/>
              <a:gdLst>
                <a:gd name="T0" fmla="*/ 0 w 134"/>
                <a:gd name="T1" fmla="*/ 0 h 133"/>
                <a:gd name="T2" fmla="*/ 0 w 134"/>
                <a:gd name="T3" fmla="*/ 0 h 133"/>
                <a:gd name="T4" fmla="*/ 0 w 134"/>
                <a:gd name="T5" fmla="*/ 0 h 133"/>
                <a:gd name="T6" fmla="*/ 0 w 134"/>
                <a:gd name="T7" fmla="*/ 0 h 133"/>
                <a:gd name="T8" fmla="*/ 0 60000 65536"/>
                <a:gd name="T9" fmla="*/ 0 60000 65536"/>
                <a:gd name="T10" fmla="*/ 0 60000 65536"/>
                <a:gd name="T11" fmla="*/ 0 60000 65536"/>
                <a:gd name="T12" fmla="*/ 0 w 134"/>
                <a:gd name="T13" fmla="*/ 0 h 133"/>
                <a:gd name="T14" fmla="*/ 134 w 134"/>
                <a:gd name="T15" fmla="*/ 133 h 133"/>
              </a:gdLst>
              <a:ahLst/>
              <a:cxnLst>
                <a:cxn ang="T8">
                  <a:pos x="T0" y="T1"/>
                </a:cxn>
                <a:cxn ang="T9">
                  <a:pos x="T2" y="T3"/>
                </a:cxn>
                <a:cxn ang="T10">
                  <a:pos x="T4" y="T5"/>
                </a:cxn>
                <a:cxn ang="T11">
                  <a:pos x="T6" y="T7"/>
                </a:cxn>
              </a:cxnLst>
              <a:rect l="T12" t="T13" r="T14" b="T15"/>
              <a:pathLst>
                <a:path w="134" h="133">
                  <a:moveTo>
                    <a:pt x="0" y="66"/>
                  </a:moveTo>
                  <a:lnTo>
                    <a:pt x="134" y="66"/>
                  </a:lnTo>
                  <a:moveTo>
                    <a:pt x="67" y="0"/>
                  </a:moveTo>
                  <a:lnTo>
                    <a:pt x="67" y="133"/>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5" name="Freeform 71">
              <a:extLst>
                <a:ext uri="{FF2B5EF4-FFF2-40B4-BE49-F238E27FC236}">
                  <a16:creationId xmlns:a16="http://schemas.microsoft.com/office/drawing/2014/main" id="{05224DA6-52ED-400B-ABA5-14C8844ED56B}"/>
                </a:ext>
              </a:extLst>
            </p:cNvPr>
            <p:cNvSpPr>
              <a:spLocks noEditPoints="1"/>
            </p:cNvSpPr>
            <p:nvPr/>
          </p:nvSpPr>
          <p:spPr bwMode="auto">
            <a:xfrm>
              <a:off x="7804738" y="3230306"/>
              <a:ext cx="51191" cy="59642"/>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6"/>
                  </a:moveTo>
                  <a:lnTo>
                    <a:pt x="133" y="66"/>
                  </a:lnTo>
                  <a:moveTo>
                    <a:pt x="66" y="0"/>
                  </a:moveTo>
                  <a:lnTo>
                    <a:pt x="66" y="133"/>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6" name="Freeform 72">
              <a:extLst>
                <a:ext uri="{FF2B5EF4-FFF2-40B4-BE49-F238E27FC236}">
                  <a16:creationId xmlns:a16="http://schemas.microsoft.com/office/drawing/2014/main" id="{8BC089CC-449D-4301-B828-9E33A1791D52}"/>
                </a:ext>
              </a:extLst>
            </p:cNvPr>
            <p:cNvSpPr>
              <a:spLocks noEditPoints="1"/>
            </p:cNvSpPr>
            <p:nvPr/>
          </p:nvSpPr>
          <p:spPr bwMode="auto">
            <a:xfrm>
              <a:off x="7955616" y="3230306"/>
              <a:ext cx="52537" cy="59642"/>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6"/>
                  </a:moveTo>
                  <a:lnTo>
                    <a:pt x="133" y="66"/>
                  </a:lnTo>
                  <a:moveTo>
                    <a:pt x="66" y="0"/>
                  </a:moveTo>
                  <a:lnTo>
                    <a:pt x="66" y="133"/>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7" name="Freeform 73">
              <a:extLst>
                <a:ext uri="{FF2B5EF4-FFF2-40B4-BE49-F238E27FC236}">
                  <a16:creationId xmlns:a16="http://schemas.microsoft.com/office/drawing/2014/main" id="{78825F02-1B06-45C7-BB9E-6E0215E8B919}"/>
                </a:ext>
              </a:extLst>
            </p:cNvPr>
            <p:cNvSpPr>
              <a:spLocks noEditPoints="1"/>
            </p:cNvSpPr>
            <p:nvPr/>
          </p:nvSpPr>
          <p:spPr bwMode="auto">
            <a:xfrm>
              <a:off x="8280271" y="3230306"/>
              <a:ext cx="52538" cy="59642"/>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6"/>
                  </a:moveTo>
                  <a:lnTo>
                    <a:pt x="133" y="66"/>
                  </a:lnTo>
                  <a:moveTo>
                    <a:pt x="66" y="0"/>
                  </a:moveTo>
                  <a:lnTo>
                    <a:pt x="66" y="133"/>
                  </a:lnTo>
                </a:path>
              </a:pathLst>
            </a:custGeom>
            <a:noFill/>
            <a:ln w="38100">
              <a:solidFill>
                <a:srgbClr val="2EB848"/>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8" name="Freeform 74">
              <a:extLst>
                <a:ext uri="{FF2B5EF4-FFF2-40B4-BE49-F238E27FC236}">
                  <a16:creationId xmlns:a16="http://schemas.microsoft.com/office/drawing/2014/main" id="{D953C5FB-6652-4089-85E0-9C1388A12999}"/>
                </a:ext>
              </a:extLst>
            </p:cNvPr>
            <p:cNvSpPr>
              <a:spLocks noEditPoints="1"/>
            </p:cNvSpPr>
            <p:nvPr/>
          </p:nvSpPr>
          <p:spPr bwMode="auto">
            <a:xfrm>
              <a:off x="6190887" y="3388274"/>
              <a:ext cx="52537" cy="61253"/>
            </a:xfrm>
            <a:custGeom>
              <a:avLst/>
              <a:gdLst>
                <a:gd name="T0" fmla="*/ 0 w 134"/>
                <a:gd name="T1" fmla="*/ 0 h 134"/>
                <a:gd name="T2" fmla="*/ 0 w 134"/>
                <a:gd name="T3" fmla="*/ 0 h 134"/>
                <a:gd name="T4" fmla="*/ 0 w 134"/>
                <a:gd name="T5" fmla="*/ 0 h 134"/>
                <a:gd name="T6" fmla="*/ 0 w 134"/>
                <a:gd name="T7" fmla="*/ 0 h 134"/>
                <a:gd name="T8" fmla="*/ 0 60000 65536"/>
                <a:gd name="T9" fmla="*/ 0 60000 65536"/>
                <a:gd name="T10" fmla="*/ 0 60000 65536"/>
                <a:gd name="T11" fmla="*/ 0 60000 65536"/>
                <a:gd name="T12" fmla="*/ 0 w 134"/>
                <a:gd name="T13" fmla="*/ 0 h 134"/>
                <a:gd name="T14" fmla="*/ 134 w 134"/>
                <a:gd name="T15" fmla="*/ 134 h 134"/>
              </a:gdLst>
              <a:ahLst/>
              <a:cxnLst>
                <a:cxn ang="T8">
                  <a:pos x="T0" y="T1"/>
                </a:cxn>
                <a:cxn ang="T9">
                  <a:pos x="T2" y="T3"/>
                </a:cxn>
                <a:cxn ang="T10">
                  <a:pos x="T4" y="T5"/>
                </a:cxn>
                <a:cxn ang="T11">
                  <a:pos x="T6" y="T7"/>
                </a:cxn>
              </a:cxnLst>
              <a:rect l="T12" t="T13" r="T14" b="T15"/>
              <a:pathLst>
                <a:path w="134" h="134">
                  <a:moveTo>
                    <a:pt x="0" y="67"/>
                  </a:moveTo>
                  <a:lnTo>
                    <a:pt x="134" y="67"/>
                  </a:lnTo>
                  <a:moveTo>
                    <a:pt x="67" y="0"/>
                  </a:moveTo>
                  <a:lnTo>
                    <a:pt x="67" y="134"/>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89" name="Freeform 75">
              <a:extLst>
                <a:ext uri="{FF2B5EF4-FFF2-40B4-BE49-F238E27FC236}">
                  <a16:creationId xmlns:a16="http://schemas.microsoft.com/office/drawing/2014/main" id="{E9C53751-BE17-469A-997F-60461CC86BC5}"/>
                </a:ext>
              </a:extLst>
            </p:cNvPr>
            <p:cNvSpPr>
              <a:spLocks noEditPoints="1"/>
            </p:cNvSpPr>
            <p:nvPr/>
          </p:nvSpPr>
          <p:spPr bwMode="auto">
            <a:xfrm>
              <a:off x="6254202" y="3309290"/>
              <a:ext cx="52538" cy="59641"/>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6"/>
                  </a:moveTo>
                  <a:lnTo>
                    <a:pt x="133" y="66"/>
                  </a:lnTo>
                  <a:moveTo>
                    <a:pt x="67" y="0"/>
                  </a:moveTo>
                  <a:lnTo>
                    <a:pt x="67" y="133"/>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0" name="Freeform 76">
              <a:extLst>
                <a:ext uri="{FF2B5EF4-FFF2-40B4-BE49-F238E27FC236}">
                  <a16:creationId xmlns:a16="http://schemas.microsoft.com/office/drawing/2014/main" id="{F029059C-9019-421F-89EC-FE4A592DBB0D}"/>
                </a:ext>
              </a:extLst>
            </p:cNvPr>
            <p:cNvSpPr>
              <a:spLocks noEditPoints="1"/>
            </p:cNvSpPr>
            <p:nvPr/>
          </p:nvSpPr>
          <p:spPr bwMode="auto">
            <a:xfrm>
              <a:off x="6348500" y="3222247"/>
              <a:ext cx="52538" cy="59641"/>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7"/>
                  </a:moveTo>
                  <a:lnTo>
                    <a:pt x="133" y="67"/>
                  </a:lnTo>
                  <a:moveTo>
                    <a:pt x="67" y="0"/>
                  </a:moveTo>
                  <a:lnTo>
                    <a:pt x="67" y="133"/>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1" name="Freeform 77">
              <a:extLst>
                <a:ext uri="{FF2B5EF4-FFF2-40B4-BE49-F238E27FC236}">
                  <a16:creationId xmlns:a16="http://schemas.microsoft.com/office/drawing/2014/main" id="{1BE1EE65-7735-4282-ADC0-2B17D16451D8}"/>
                </a:ext>
              </a:extLst>
            </p:cNvPr>
            <p:cNvSpPr>
              <a:spLocks noEditPoints="1"/>
            </p:cNvSpPr>
            <p:nvPr/>
          </p:nvSpPr>
          <p:spPr bwMode="auto">
            <a:xfrm>
              <a:off x="6387567" y="3131979"/>
              <a:ext cx="52537" cy="58029"/>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2" name="Freeform 78">
              <a:extLst>
                <a:ext uri="{FF2B5EF4-FFF2-40B4-BE49-F238E27FC236}">
                  <a16:creationId xmlns:a16="http://schemas.microsoft.com/office/drawing/2014/main" id="{C2F7420C-A633-4710-8D87-076EA9409333}"/>
                </a:ext>
              </a:extLst>
            </p:cNvPr>
            <p:cNvSpPr>
              <a:spLocks noEditPoints="1"/>
            </p:cNvSpPr>
            <p:nvPr/>
          </p:nvSpPr>
          <p:spPr bwMode="auto">
            <a:xfrm>
              <a:off x="6685280" y="2932100"/>
              <a:ext cx="52538" cy="59641"/>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3" name="Freeform 79">
              <a:extLst>
                <a:ext uri="{FF2B5EF4-FFF2-40B4-BE49-F238E27FC236}">
                  <a16:creationId xmlns:a16="http://schemas.microsoft.com/office/drawing/2014/main" id="{679D0712-8642-4FEB-94D0-41F146CAFEAB}"/>
                </a:ext>
              </a:extLst>
            </p:cNvPr>
            <p:cNvSpPr>
              <a:spLocks noEditPoints="1"/>
            </p:cNvSpPr>
            <p:nvPr/>
          </p:nvSpPr>
          <p:spPr bwMode="auto">
            <a:xfrm>
              <a:off x="6694710" y="2932100"/>
              <a:ext cx="51191" cy="59641"/>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7" y="0"/>
                  </a:moveTo>
                  <a:lnTo>
                    <a:pt x="67" y="134"/>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4" name="Freeform 80">
              <a:extLst>
                <a:ext uri="{FF2B5EF4-FFF2-40B4-BE49-F238E27FC236}">
                  <a16:creationId xmlns:a16="http://schemas.microsoft.com/office/drawing/2014/main" id="{99316978-5FBF-429B-8C8A-18F2FED023D0}"/>
                </a:ext>
              </a:extLst>
            </p:cNvPr>
            <p:cNvSpPr>
              <a:spLocks noEditPoints="1"/>
            </p:cNvSpPr>
            <p:nvPr/>
          </p:nvSpPr>
          <p:spPr bwMode="auto">
            <a:xfrm>
              <a:off x="6787661" y="2932100"/>
              <a:ext cx="52538" cy="59641"/>
            </a:xfrm>
            <a:custGeom>
              <a:avLst/>
              <a:gdLst>
                <a:gd name="T0" fmla="*/ 0 w 133"/>
                <a:gd name="T1" fmla="*/ 0 h 134"/>
                <a:gd name="T2" fmla="*/ 0 w 133"/>
                <a:gd name="T3" fmla="*/ 0 h 134"/>
                <a:gd name="T4" fmla="*/ 0 w 133"/>
                <a:gd name="T5" fmla="*/ 0 h 134"/>
                <a:gd name="T6" fmla="*/ 0 w 133"/>
                <a:gd name="T7" fmla="*/ 0 h 134"/>
                <a:gd name="T8" fmla="*/ 0 60000 65536"/>
                <a:gd name="T9" fmla="*/ 0 60000 65536"/>
                <a:gd name="T10" fmla="*/ 0 60000 65536"/>
                <a:gd name="T11" fmla="*/ 0 60000 65536"/>
                <a:gd name="T12" fmla="*/ 0 w 133"/>
                <a:gd name="T13" fmla="*/ 0 h 134"/>
                <a:gd name="T14" fmla="*/ 133 w 133"/>
                <a:gd name="T15" fmla="*/ 134 h 134"/>
              </a:gdLst>
              <a:ahLst/>
              <a:cxnLst>
                <a:cxn ang="T8">
                  <a:pos x="T0" y="T1"/>
                </a:cxn>
                <a:cxn ang="T9">
                  <a:pos x="T2" y="T3"/>
                </a:cxn>
                <a:cxn ang="T10">
                  <a:pos x="T4" y="T5"/>
                </a:cxn>
                <a:cxn ang="T11">
                  <a:pos x="T6" y="T7"/>
                </a:cxn>
              </a:cxnLst>
              <a:rect l="T12" t="T13" r="T14" b="T15"/>
              <a:pathLst>
                <a:path w="133" h="134">
                  <a:moveTo>
                    <a:pt x="0" y="67"/>
                  </a:moveTo>
                  <a:lnTo>
                    <a:pt x="133" y="67"/>
                  </a:lnTo>
                  <a:moveTo>
                    <a:pt x="66" y="0"/>
                  </a:moveTo>
                  <a:lnTo>
                    <a:pt x="66" y="134"/>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5" name="Freeform 81">
              <a:extLst>
                <a:ext uri="{FF2B5EF4-FFF2-40B4-BE49-F238E27FC236}">
                  <a16:creationId xmlns:a16="http://schemas.microsoft.com/office/drawing/2014/main" id="{3E855588-73A8-468F-9BC4-7A5FEA6C0490}"/>
                </a:ext>
              </a:extLst>
            </p:cNvPr>
            <p:cNvSpPr>
              <a:spLocks noEditPoints="1"/>
            </p:cNvSpPr>
            <p:nvPr/>
          </p:nvSpPr>
          <p:spPr bwMode="auto">
            <a:xfrm>
              <a:off x="6888696" y="2790251"/>
              <a:ext cx="51191" cy="59641"/>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6"/>
                  </a:moveTo>
                  <a:lnTo>
                    <a:pt x="133" y="66"/>
                  </a:lnTo>
                  <a:moveTo>
                    <a:pt x="66" y="0"/>
                  </a:moveTo>
                  <a:lnTo>
                    <a:pt x="66" y="133"/>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6" name="Freeform 82">
              <a:extLst>
                <a:ext uri="{FF2B5EF4-FFF2-40B4-BE49-F238E27FC236}">
                  <a16:creationId xmlns:a16="http://schemas.microsoft.com/office/drawing/2014/main" id="{4285C45D-CCA8-4310-842B-FAB787972B02}"/>
                </a:ext>
              </a:extLst>
            </p:cNvPr>
            <p:cNvSpPr>
              <a:spLocks noEditPoints="1"/>
            </p:cNvSpPr>
            <p:nvPr/>
          </p:nvSpPr>
          <p:spPr bwMode="auto">
            <a:xfrm>
              <a:off x="7139260" y="2790251"/>
              <a:ext cx="52537" cy="59641"/>
            </a:xfrm>
            <a:custGeom>
              <a:avLst/>
              <a:gdLst>
                <a:gd name="T0" fmla="*/ 0 w 134"/>
                <a:gd name="T1" fmla="*/ 0 h 133"/>
                <a:gd name="T2" fmla="*/ 0 w 134"/>
                <a:gd name="T3" fmla="*/ 0 h 133"/>
                <a:gd name="T4" fmla="*/ 0 w 134"/>
                <a:gd name="T5" fmla="*/ 0 h 133"/>
                <a:gd name="T6" fmla="*/ 0 w 134"/>
                <a:gd name="T7" fmla="*/ 0 h 133"/>
                <a:gd name="T8" fmla="*/ 0 60000 65536"/>
                <a:gd name="T9" fmla="*/ 0 60000 65536"/>
                <a:gd name="T10" fmla="*/ 0 60000 65536"/>
                <a:gd name="T11" fmla="*/ 0 60000 65536"/>
                <a:gd name="T12" fmla="*/ 0 w 134"/>
                <a:gd name="T13" fmla="*/ 0 h 133"/>
                <a:gd name="T14" fmla="*/ 134 w 134"/>
                <a:gd name="T15" fmla="*/ 133 h 133"/>
              </a:gdLst>
              <a:ahLst/>
              <a:cxnLst>
                <a:cxn ang="T8">
                  <a:pos x="T0" y="T1"/>
                </a:cxn>
                <a:cxn ang="T9">
                  <a:pos x="T2" y="T3"/>
                </a:cxn>
                <a:cxn ang="T10">
                  <a:pos x="T4" y="T5"/>
                </a:cxn>
                <a:cxn ang="T11">
                  <a:pos x="T6" y="T7"/>
                </a:cxn>
              </a:cxnLst>
              <a:rect l="T12" t="T13" r="T14" b="T15"/>
              <a:pathLst>
                <a:path w="134" h="133">
                  <a:moveTo>
                    <a:pt x="0" y="66"/>
                  </a:moveTo>
                  <a:lnTo>
                    <a:pt x="134" y="66"/>
                  </a:lnTo>
                  <a:moveTo>
                    <a:pt x="67" y="0"/>
                  </a:moveTo>
                  <a:lnTo>
                    <a:pt x="67" y="133"/>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7" name="Freeform 83">
              <a:extLst>
                <a:ext uri="{FF2B5EF4-FFF2-40B4-BE49-F238E27FC236}">
                  <a16:creationId xmlns:a16="http://schemas.microsoft.com/office/drawing/2014/main" id="{5FAB660A-5832-4A8C-8087-74EE60054681}"/>
                </a:ext>
              </a:extLst>
            </p:cNvPr>
            <p:cNvSpPr>
              <a:spLocks noEditPoints="1"/>
            </p:cNvSpPr>
            <p:nvPr/>
          </p:nvSpPr>
          <p:spPr bwMode="auto">
            <a:xfrm>
              <a:off x="7342675" y="2577477"/>
              <a:ext cx="53885" cy="59641"/>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7"/>
                  </a:moveTo>
                  <a:lnTo>
                    <a:pt x="133" y="67"/>
                  </a:lnTo>
                  <a:moveTo>
                    <a:pt x="67" y="0"/>
                  </a:moveTo>
                  <a:lnTo>
                    <a:pt x="67" y="133"/>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8" name="Freeform 84">
              <a:extLst>
                <a:ext uri="{FF2B5EF4-FFF2-40B4-BE49-F238E27FC236}">
                  <a16:creationId xmlns:a16="http://schemas.microsoft.com/office/drawing/2014/main" id="{A17F317B-F953-4472-B71D-72C4A503E204}"/>
                </a:ext>
              </a:extLst>
            </p:cNvPr>
            <p:cNvSpPr>
              <a:spLocks noEditPoints="1"/>
            </p:cNvSpPr>
            <p:nvPr/>
          </p:nvSpPr>
          <p:spPr bwMode="auto">
            <a:xfrm>
              <a:off x="8231775" y="2256704"/>
              <a:ext cx="51191" cy="59642"/>
            </a:xfrm>
            <a:custGeom>
              <a:avLst/>
              <a:gdLst>
                <a:gd name="T0" fmla="*/ 0 w 133"/>
                <a:gd name="T1" fmla="*/ 0 h 133"/>
                <a:gd name="T2" fmla="*/ 0 w 133"/>
                <a:gd name="T3" fmla="*/ 0 h 133"/>
                <a:gd name="T4" fmla="*/ 0 w 133"/>
                <a:gd name="T5" fmla="*/ 0 h 133"/>
                <a:gd name="T6" fmla="*/ 0 w 133"/>
                <a:gd name="T7" fmla="*/ 0 h 133"/>
                <a:gd name="T8" fmla="*/ 0 60000 65536"/>
                <a:gd name="T9" fmla="*/ 0 60000 65536"/>
                <a:gd name="T10" fmla="*/ 0 60000 65536"/>
                <a:gd name="T11" fmla="*/ 0 60000 65536"/>
                <a:gd name="T12" fmla="*/ 0 w 133"/>
                <a:gd name="T13" fmla="*/ 0 h 133"/>
                <a:gd name="T14" fmla="*/ 133 w 133"/>
                <a:gd name="T15" fmla="*/ 133 h 133"/>
              </a:gdLst>
              <a:ahLst/>
              <a:cxnLst>
                <a:cxn ang="T8">
                  <a:pos x="T0" y="T1"/>
                </a:cxn>
                <a:cxn ang="T9">
                  <a:pos x="T2" y="T3"/>
                </a:cxn>
                <a:cxn ang="T10">
                  <a:pos x="T4" y="T5"/>
                </a:cxn>
                <a:cxn ang="T11">
                  <a:pos x="T6" y="T7"/>
                </a:cxn>
              </a:cxnLst>
              <a:rect l="T12" t="T13" r="T14" b="T15"/>
              <a:pathLst>
                <a:path w="133" h="133">
                  <a:moveTo>
                    <a:pt x="0" y="66"/>
                  </a:moveTo>
                  <a:lnTo>
                    <a:pt x="133" y="66"/>
                  </a:lnTo>
                  <a:moveTo>
                    <a:pt x="66" y="0"/>
                  </a:moveTo>
                  <a:lnTo>
                    <a:pt x="66" y="133"/>
                  </a:lnTo>
                </a:path>
              </a:pathLst>
            </a:custGeom>
            <a:noFill/>
            <a:ln w="38100">
              <a:solidFill>
                <a:srgbClr val="FF0033"/>
              </a:solidFill>
              <a:miter lim="800000"/>
              <a:headEnd/>
              <a:tailEnd/>
            </a:ln>
            <a:extLst>
              <a:ext uri="{909E8E84-426E-40dd-AFC4-6F175D3DCCD1}"/>
            </a:extLst>
          </p:spPr>
          <p:txBody>
            <a:bodyPr/>
            <a:lstStyle/>
            <a:p>
              <a:pPr defTabSz="685767" eaLnBrk="0" fontAlgn="base" hangingPunct="0">
                <a:spcBef>
                  <a:spcPct val="20000"/>
                </a:spcBef>
                <a:spcAft>
                  <a:spcPct val="0"/>
                </a:spcAft>
                <a:defRPr/>
              </a:pPr>
              <a:endParaRPr lang="es-ES_tradnl" sz="1001">
                <a:solidFill>
                  <a:srgbClr val="000000"/>
                </a:solidFill>
                <a:latin typeface="Arial" charset="0"/>
                <a:ea typeface="ＭＳ Ｐゴシック" charset="0"/>
              </a:endParaRPr>
            </a:p>
          </p:txBody>
        </p:sp>
        <p:sp>
          <p:nvSpPr>
            <p:cNvPr id="99" name="Rectangle 85">
              <a:extLst>
                <a:ext uri="{FF2B5EF4-FFF2-40B4-BE49-F238E27FC236}">
                  <a16:creationId xmlns:a16="http://schemas.microsoft.com/office/drawing/2014/main" id="{D7702E3B-6444-4D5F-84C8-EA809407AACE}"/>
                </a:ext>
              </a:extLst>
            </p:cNvPr>
            <p:cNvSpPr>
              <a:spLocks noChangeArrowheads="1"/>
            </p:cNvSpPr>
            <p:nvPr/>
          </p:nvSpPr>
          <p:spPr bwMode="auto">
            <a:xfrm>
              <a:off x="6825770" y="5402029"/>
              <a:ext cx="463302" cy="180156"/>
            </a:xfrm>
            <a:prstGeom prst="rect">
              <a:avLst/>
            </a:prstGeom>
            <a:noFill/>
            <a:ln>
              <a:noFill/>
            </a:ln>
            <a:extLst>
              <a:ext uri="{909E8E84-426E-40dd-AFC4-6F175D3DCCD1}"/>
              <a:ext uri="{91240B29-F687-4f45-9708-019B960494DF}"/>
            </a:extLst>
          </p:spPr>
          <p:txBody>
            <a:bodyPr wrap="none" lIns="0" tIns="0" rIns="0" bIns="0">
              <a:spAutoFit/>
            </a:bodyPr>
            <a:lstStyle/>
            <a:p>
              <a:pPr defTabSz="685767" fontAlgn="base">
                <a:spcBef>
                  <a:spcPct val="0"/>
                </a:spcBef>
                <a:spcAft>
                  <a:spcPct val="0"/>
                </a:spcAft>
                <a:defRPr/>
              </a:pPr>
              <a:r>
                <a:rPr lang="es-ES" sz="750" b="1">
                  <a:solidFill>
                    <a:srgbClr val="000000"/>
                  </a:solidFill>
                  <a:latin typeface="Arial" charset="0"/>
                  <a:ea typeface="ＭＳ Ｐゴシック" charset="0"/>
                </a:rPr>
                <a:t>Months</a:t>
              </a:r>
              <a:endParaRPr lang="es-ES" sz="1200" b="1">
                <a:solidFill>
                  <a:srgbClr val="000000"/>
                </a:solidFill>
                <a:latin typeface="Arial" charset="0"/>
                <a:ea typeface="ＭＳ Ｐゴシック" charset="0"/>
              </a:endParaRPr>
            </a:p>
          </p:txBody>
        </p:sp>
        <p:sp>
          <p:nvSpPr>
            <p:cNvPr id="100" name="Rectangle 86">
              <a:extLst>
                <a:ext uri="{FF2B5EF4-FFF2-40B4-BE49-F238E27FC236}">
                  <a16:creationId xmlns:a16="http://schemas.microsoft.com/office/drawing/2014/main" id="{14EA8B5D-BFAE-4204-8F49-326E3FDFE0A1}"/>
                </a:ext>
              </a:extLst>
            </p:cNvPr>
            <p:cNvSpPr>
              <a:spLocks noChangeArrowheads="1"/>
            </p:cNvSpPr>
            <p:nvPr/>
          </p:nvSpPr>
          <p:spPr bwMode="auto">
            <a:xfrm rot="16200000">
              <a:off x="4097340" y="3518273"/>
              <a:ext cx="1663939" cy="155877"/>
            </a:xfrm>
            <a:prstGeom prst="rect">
              <a:avLst/>
            </a:prstGeom>
            <a:noFill/>
            <a:ln>
              <a:noFill/>
            </a:ln>
            <a:extLst>
              <a:ext uri="{909E8E84-426E-40dd-AFC4-6F175D3DCCD1}"/>
              <a:ext uri="{91240B29-F687-4f45-9708-019B960494DF}"/>
            </a:extLst>
          </p:spPr>
          <p:txBody>
            <a:bodyPr wrap="none" lIns="0" tIns="0" rIns="0" bIns="0">
              <a:spAutoFit/>
            </a:bodyPr>
            <a:lstStyle/>
            <a:p>
              <a:pPr algn="ctr" defTabSz="685767" fontAlgn="base">
                <a:spcBef>
                  <a:spcPct val="0"/>
                </a:spcBef>
                <a:spcAft>
                  <a:spcPct val="0"/>
                </a:spcAft>
                <a:defRPr/>
              </a:pPr>
              <a:r>
                <a:rPr lang="es-ES_tradnl" sz="750" b="1">
                  <a:solidFill>
                    <a:prstClr val="black"/>
                  </a:solidFill>
                  <a:latin typeface="Arial" charset="0"/>
                  <a:ea typeface="ＭＳ Ｐゴシック" charset="0"/>
                </a:rPr>
                <a:t>Time to progression, %</a:t>
              </a:r>
              <a:endParaRPr lang="es-ES" sz="1200" b="1">
                <a:solidFill>
                  <a:prstClr val="black"/>
                </a:solidFill>
                <a:latin typeface="Arial" charset="0"/>
                <a:ea typeface="ＭＳ Ｐゴシック" charset="0"/>
              </a:endParaRPr>
            </a:p>
          </p:txBody>
        </p:sp>
        <p:sp>
          <p:nvSpPr>
            <p:cNvPr id="109" name="Line 106">
              <a:extLst>
                <a:ext uri="{FF2B5EF4-FFF2-40B4-BE49-F238E27FC236}">
                  <a16:creationId xmlns:a16="http://schemas.microsoft.com/office/drawing/2014/main" id="{E2A607EC-ABF7-4133-88D1-2EE96E0696F9}"/>
                </a:ext>
              </a:extLst>
            </p:cNvPr>
            <p:cNvSpPr>
              <a:spLocks noChangeShapeType="1"/>
            </p:cNvSpPr>
            <p:nvPr/>
          </p:nvSpPr>
          <p:spPr bwMode="auto">
            <a:xfrm flipV="1">
              <a:off x="6118143" y="1865007"/>
              <a:ext cx="1347" cy="3196445"/>
            </a:xfrm>
            <a:prstGeom prst="line">
              <a:avLst/>
            </a:prstGeom>
            <a:noFill/>
            <a:ln w="28575">
              <a:solidFill>
                <a:srgbClr val="32363C"/>
              </a:solidFill>
              <a:prstDash val="dash"/>
              <a:round/>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111" name="Text Box 108">
              <a:extLst>
                <a:ext uri="{FF2B5EF4-FFF2-40B4-BE49-F238E27FC236}">
                  <a16:creationId xmlns:a16="http://schemas.microsoft.com/office/drawing/2014/main" id="{98ED3967-43D4-4170-B23F-6922B1370E06}"/>
                </a:ext>
              </a:extLst>
            </p:cNvPr>
            <p:cNvSpPr txBox="1">
              <a:spLocks noChangeArrowheads="1"/>
            </p:cNvSpPr>
            <p:nvPr/>
          </p:nvSpPr>
          <p:spPr bwMode="auto">
            <a:xfrm>
              <a:off x="7722563" y="1802141"/>
              <a:ext cx="1378105" cy="384532"/>
            </a:xfrm>
            <a:prstGeom prst="rect">
              <a:avLst/>
            </a:prstGeom>
            <a:noFill/>
            <a:ln>
              <a:noFill/>
            </a:ln>
            <a:extLst>
              <a:ext uri="{909E8E84-426E-40dd-AFC4-6F175D3DCCD1}"/>
              <a:ext uri="{91240B29-F687-4f45-9708-019B960494DF}"/>
            </a:extLst>
          </p:spPr>
          <p:txBody>
            <a:bodyPr>
              <a:spAutoFit/>
            </a:bodyPr>
            <a:lstStyle>
              <a:lvl1pPr>
                <a:defRPr sz="2000">
                  <a:solidFill>
                    <a:schemeClr val="tx1"/>
                  </a:solidFill>
                  <a:latin typeface="Arial" charset="0"/>
                  <a:ea typeface="ＭＳ Ｐゴシック" charset="0"/>
                  <a:cs typeface="ＭＳ Ｐゴシック" charset="0"/>
                </a:defRPr>
              </a:lvl1pPr>
              <a:lvl2pPr marL="37931725" indent="-37474525">
                <a:defRPr sz="2000">
                  <a:solidFill>
                    <a:schemeClr val="tx1"/>
                  </a:solidFill>
                  <a:latin typeface="Arial" charset="0"/>
                  <a:ea typeface="ＭＳ Ｐゴシック" charset="0"/>
                </a:defRPr>
              </a:lvl2pPr>
              <a:lvl3pPr>
                <a:defRPr sz="2000">
                  <a:solidFill>
                    <a:schemeClr val="tx1"/>
                  </a:solidFill>
                  <a:latin typeface="Arial" charset="0"/>
                  <a:ea typeface="ＭＳ Ｐゴシック" charset="0"/>
                </a:defRPr>
              </a:lvl3pPr>
              <a:lvl4pPr>
                <a:defRPr sz="2000">
                  <a:solidFill>
                    <a:schemeClr val="tx1"/>
                  </a:solidFill>
                  <a:latin typeface="Arial" charset="0"/>
                  <a:ea typeface="ＭＳ Ｐゴシック" charset="0"/>
                </a:defRPr>
              </a:lvl4pPr>
              <a:lvl5pPr>
                <a:defRPr sz="2000">
                  <a:solidFill>
                    <a:schemeClr val="tx1"/>
                  </a:solidFill>
                  <a:latin typeface="Arial" charset="0"/>
                  <a:ea typeface="ＭＳ Ｐゴシック" charset="0"/>
                </a:defRPr>
              </a:lvl5pPr>
              <a:lvl6pPr marL="457200" eaLnBrk="0" fontAlgn="base" hangingPunct="0">
                <a:spcBef>
                  <a:spcPct val="20000"/>
                </a:spcBef>
                <a:spcAft>
                  <a:spcPct val="0"/>
                </a:spcAft>
                <a:defRPr sz="2000">
                  <a:solidFill>
                    <a:schemeClr val="tx1"/>
                  </a:solidFill>
                  <a:latin typeface="Arial" charset="0"/>
                  <a:ea typeface="ＭＳ Ｐゴシック" charset="0"/>
                </a:defRPr>
              </a:lvl6pPr>
              <a:lvl7pPr marL="914400" eaLnBrk="0" fontAlgn="base" hangingPunct="0">
                <a:spcBef>
                  <a:spcPct val="20000"/>
                </a:spcBef>
                <a:spcAft>
                  <a:spcPct val="0"/>
                </a:spcAft>
                <a:defRPr sz="2000">
                  <a:solidFill>
                    <a:schemeClr val="tx1"/>
                  </a:solidFill>
                  <a:latin typeface="Arial" charset="0"/>
                  <a:ea typeface="ＭＳ Ｐゴシック" charset="0"/>
                </a:defRPr>
              </a:lvl7pPr>
              <a:lvl8pPr marL="1371600" eaLnBrk="0" fontAlgn="base" hangingPunct="0">
                <a:spcBef>
                  <a:spcPct val="20000"/>
                </a:spcBef>
                <a:spcAft>
                  <a:spcPct val="0"/>
                </a:spcAft>
                <a:defRPr sz="2000">
                  <a:solidFill>
                    <a:schemeClr val="tx1"/>
                  </a:solidFill>
                  <a:latin typeface="Arial" charset="0"/>
                  <a:ea typeface="ＭＳ Ｐゴシック" charset="0"/>
                </a:defRPr>
              </a:lvl8pPr>
              <a:lvl9pPr marL="1828800" eaLnBrk="0" fontAlgn="base" hangingPunct="0">
                <a:spcBef>
                  <a:spcPct val="20000"/>
                </a:spcBef>
                <a:spcAft>
                  <a:spcPct val="0"/>
                </a:spcAft>
                <a:defRPr sz="2000">
                  <a:solidFill>
                    <a:schemeClr val="tx1"/>
                  </a:solidFill>
                  <a:latin typeface="Arial" charset="0"/>
                  <a:ea typeface="ＭＳ Ｐゴシック" charset="0"/>
                </a:defRPr>
              </a:lvl9pPr>
            </a:lstStyle>
            <a:p>
              <a:pPr defTabSz="685767" fontAlgn="base">
                <a:spcBef>
                  <a:spcPct val="50000"/>
                </a:spcBef>
                <a:spcAft>
                  <a:spcPct val="0"/>
                </a:spcAft>
                <a:defRPr/>
              </a:pPr>
              <a:r>
                <a:rPr lang="es-ES" sz="1001" b="1" i="1">
                  <a:solidFill>
                    <a:srgbClr val="000000"/>
                  </a:solidFill>
                </a:rPr>
                <a:t>P</a:t>
              </a:r>
              <a:r>
                <a:rPr lang="es-ES" sz="1001" b="1">
                  <a:solidFill>
                    <a:srgbClr val="000000"/>
                  </a:solidFill>
                </a:rPr>
                <a:t> = .003</a:t>
              </a:r>
            </a:p>
          </p:txBody>
        </p:sp>
      </p:grpSp>
      <p:sp>
        <p:nvSpPr>
          <p:cNvPr id="16393" name="Text Box 8">
            <a:extLst>
              <a:ext uri="{FF2B5EF4-FFF2-40B4-BE49-F238E27FC236}">
                <a16:creationId xmlns:a16="http://schemas.microsoft.com/office/drawing/2014/main" id="{8B357CB4-549D-E147-B52C-B3D396166985}"/>
              </a:ext>
            </a:extLst>
          </p:cNvPr>
          <p:cNvSpPr txBox="1">
            <a:spLocks noChangeArrowheads="1"/>
          </p:cNvSpPr>
          <p:nvPr/>
        </p:nvSpPr>
        <p:spPr bwMode="auto">
          <a:xfrm>
            <a:off x="5042502" y="4899569"/>
            <a:ext cx="41014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algn="r" defTabSz="684891" eaLnBrk="0" fontAlgn="base" hangingPunct="0">
              <a:lnSpc>
                <a:spcPct val="100000"/>
              </a:lnSpc>
              <a:spcBef>
                <a:spcPct val="20000"/>
              </a:spcBef>
              <a:spcAft>
                <a:spcPct val="0"/>
              </a:spcAft>
              <a:buNone/>
              <a:defRPr/>
            </a:pPr>
            <a:r>
              <a:rPr lang="es-ES" altLang="LID8192" sz="1000">
                <a:solidFill>
                  <a:srgbClr val="000000"/>
                </a:solidFill>
                <a:latin typeface="Arial" panose="020B0604020202020204" pitchFamily="34" charset="0"/>
              </a:rPr>
              <a:t>Pérez E, et al. </a:t>
            </a:r>
            <a:r>
              <a:rPr lang="es-ES" altLang="LID8192" sz="1000" i="1">
                <a:solidFill>
                  <a:srgbClr val="000000"/>
                </a:solidFill>
                <a:latin typeface="Arial" panose="020B0604020202020204" pitchFamily="34" charset="0"/>
              </a:rPr>
              <a:t>Blood.</a:t>
            </a:r>
            <a:r>
              <a:rPr lang="es-ES" altLang="LID8192" sz="1000">
                <a:solidFill>
                  <a:srgbClr val="000000"/>
                </a:solidFill>
                <a:latin typeface="Arial" panose="020B0604020202020204" pitchFamily="34" charset="0"/>
              </a:rPr>
              <a:t> 2007;110:2586-2592.</a:t>
            </a:r>
          </a:p>
        </p:txBody>
      </p:sp>
      <p:sp>
        <p:nvSpPr>
          <p:cNvPr id="16394" name="Title 1">
            <a:extLst>
              <a:ext uri="{FF2B5EF4-FFF2-40B4-BE49-F238E27FC236}">
                <a16:creationId xmlns:a16="http://schemas.microsoft.com/office/drawing/2014/main" id="{24E6C7FB-FE64-D543-A13A-90FD5895D2DE}"/>
              </a:ext>
            </a:extLst>
          </p:cNvPr>
          <p:cNvSpPr txBox="1">
            <a:spLocks/>
          </p:cNvSpPr>
          <p:nvPr/>
        </p:nvSpPr>
        <p:spPr bwMode="auto">
          <a:xfrm>
            <a:off x="0" y="90369"/>
            <a:ext cx="9144000" cy="512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algn="ctr" defTabSz="514337" fontAlgn="base">
              <a:spcBef>
                <a:spcPct val="0"/>
              </a:spcBef>
              <a:spcAft>
                <a:spcPct val="0"/>
              </a:spcAft>
              <a:buNone/>
              <a:defRPr/>
            </a:pPr>
            <a:r>
              <a:rPr lang="en-US" altLang="LID8192" sz="2400" b="1">
                <a:solidFill>
                  <a:srgbClr val="0070C0"/>
                </a:solidFill>
                <a:latin typeface="Arial" panose="020B0604020202020204"/>
                <a:cs typeface="Arial" panose="020B0604020202020204" pitchFamily="34" charset="0"/>
              </a:rPr>
              <a:t>Current models for risk assessment</a:t>
            </a:r>
          </a:p>
        </p:txBody>
      </p:sp>
      <p:sp>
        <p:nvSpPr>
          <p:cNvPr id="16395" name="Text Box 26">
            <a:extLst>
              <a:ext uri="{FF2B5EF4-FFF2-40B4-BE49-F238E27FC236}">
                <a16:creationId xmlns:a16="http://schemas.microsoft.com/office/drawing/2014/main" id="{BB7C4B86-67FC-C04E-8B8D-295C0AF8AB91}"/>
              </a:ext>
            </a:extLst>
          </p:cNvPr>
          <p:cNvSpPr txBox="1">
            <a:spLocks noChangeArrowheads="1"/>
          </p:cNvSpPr>
          <p:nvPr/>
        </p:nvSpPr>
        <p:spPr bwMode="auto">
          <a:xfrm>
            <a:off x="6526563" y="2061382"/>
            <a:ext cx="1186756" cy="179023"/>
          </a:xfrm>
          <a:prstGeom prst="rect">
            <a:avLst/>
          </a:prstGeom>
          <a:noFill/>
          <a:ln>
            <a:noFill/>
          </a:ln>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algn="ctr" defTabSz="684891" eaLnBrk="0" fontAlgn="base" hangingPunct="0">
              <a:lnSpc>
                <a:spcPct val="70000"/>
              </a:lnSpc>
              <a:spcBef>
                <a:spcPct val="50000"/>
              </a:spcBef>
              <a:spcAft>
                <a:spcPct val="0"/>
              </a:spcAft>
              <a:buNone/>
              <a:defRPr/>
            </a:pPr>
            <a:r>
              <a:rPr lang="es-ES" altLang="LID8192" sz="788" b="1">
                <a:solidFill>
                  <a:srgbClr val="000000"/>
                </a:solidFill>
                <a:latin typeface="Arial" panose="020B0604020202020204" pitchFamily="34" charset="0"/>
                <a:cs typeface="Arial" panose="020B0604020202020204" pitchFamily="34" charset="0"/>
              </a:rPr>
              <a:t>50% risk at 2 yr</a:t>
            </a:r>
          </a:p>
        </p:txBody>
      </p:sp>
      <p:sp>
        <p:nvSpPr>
          <p:cNvPr id="16396" name="Text Box 26">
            <a:extLst>
              <a:ext uri="{FF2B5EF4-FFF2-40B4-BE49-F238E27FC236}">
                <a16:creationId xmlns:a16="http://schemas.microsoft.com/office/drawing/2014/main" id="{CE92F4DB-5F79-F54B-B3B0-59368D348EC7}"/>
              </a:ext>
            </a:extLst>
          </p:cNvPr>
          <p:cNvSpPr txBox="1">
            <a:spLocks noChangeArrowheads="1"/>
          </p:cNvSpPr>
          <p:nvPr/>
        </p:nvSpPr>
        <p:spPr bwMode="auto">
          <a:xfrm>
            <a:off x="6142559" y="2721718"/>
            <a:ext cx="1186755" cy="179023"/>
          </a:xfrm>
          <a:prstGeom prst="rect">
            <a:avLst/>
          </a:prstGeom>
          <a:noFill/>
          <a:ln>
            <a:noFill/>
          </a:ln>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algn="ctr" defTabSz="684891" eaLnBrk="0" fontAlgn="base" hangingPunct="0">
              <a:lnSpc>
                <a:spcPct val="70000"/>
              </a:lnSpc>
              <a:spcBef>
                <a:spcPct val="50000"/>
              </a:spcBef>
              <a:spcAft>
                <a:spcPct val="0"/>
              </a:spcAft>
              <a:buNone/>
              <a:defRPr/>
            </a:pPr>
            <a:r>
              <a:rPr lang="es-ES" altLang="LID8192" sz="788" b="1">
                <a:solidFill>
                  <a:srgbClr val="000000"/>
                </a:solidFill>
                <a:latin typeface="Arial" panose="020B0604020202020204" pitchFamily="34" charset="0"/>
                <a:cs typeface="Arial" panose="020B0604020202020204" pitchFamily="34" charset="0"/>
              </a:rPr>
              <a:t>35% risk at 2 yr</a:t>
            </a:r>
          </a:p>
        </p:txBody>
      </p:sp>
      <p:sp>
        <p:nvSpPr>
          <p:cNvPr id="16397" name="Text Box 26">
            <a:extLst>
              <a:ext uri="{FF2B5EF4-FFF2-40B4-BE49-F238E27FC236}">
                <a16:creationId xmlns:a16="http://schemas.microsoft.com/office/drawing/2014/main" id="{4C5EEDFC-C81B-2D4F-B8AD-179B87157480}"/>
              </a:ext>
            </a:extLst>
          </p:cNvPr>
          <p:cNvSpPr txBox="1">
            <a:spLocks noChangeArrowheads="1"/>
          </p:cNvSpPr>
          <p:nvPr/>
        </p:nvSpPr>
        <p:spPr bwMode="auto">
          <a:xfrm>
            <a:off x="5720359" y="3260416"/>
            <a:ext cx="1185863" cy="17902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algn="ctr" defTabSz="684891" eaLnBrk="0" fontAlgn="base" hangingPunct="0">
              <a:lnSpc>
                <a:spcPct val="70000"/>
              </a:lnSpc>
              <a:spcBef>
                <a:spcPct val="50000"/>
              </a:spcBef>
              <a:spcAft>
                <a:spcPct val="0"/>
              </a:spcAft>
              <a:buNone/>
              <a:defRPr/>
            </a:pPr>
            <a:r>
              <a:rPr lang="es-ES" altLang="LID8192" sz="788" b="1">
                <a:solidFill>
                  <a:srgbClr val="000000"/>
                </a:solidFill>
                <a:latin typeface="Arial" panose="020B0604020202020204" pitchFamily="34" charset="0"/>
                <a:cs typeface="Arial" panose="020B0604020202020204" pitchFamily="34" charset="0"/>
              </a:rPr>
              <a:t>5% risk at 2 yr</a:t>
            </a:r>
          </a:p>
        </p:txBody>
      </p:sp>
      <p:sp>
        <p:nvSpPr>
          <p:cNvPr id="126" name="Line 106">
            <a:extLst>
              <a:ext uri="{FF2B5EF4-FFF2-40B4-BE49-F238E27FC236}">
                <a16:creationId xmlns:a16="http://schemas.microsoft.com/office/drawing/2014/main" id="{D5E41DDB-7DB4-46BD-A91C-B2E973E01BB7}"/>
              </a:ext>
            </a:extLst>
          </p:cNvPr>
          <p:cNvSpPr>
            <a:spLocks noChangeShapeType="1"/>
          </p:cNvSpPr>
          <p:nvPr/>
        </p:nvSpPr>
        <p:spPr bwMode="auto">
          <a:xfrm flipH="1" flipV="1">
            <a:off x="1672708" y="2000723"/>
            <a:ext cx="4725" cy="1138605"/>
          </a:xfrm>
          <a:prstGeom prst="line">
            <a:avLst/>
          </a:prstGeom>
          <a:noFill/>
          <a:ln w="28575">
            <a:solidFill>
              <a:srgbClr val="32363C"/>
            </a:solidFill>
            <a:prstDash val="dash"/>
            <a:round/>
            <a:headEnd/>
            <a:tailEnd/>
          </a:ln>
          <a:extLst>
            <a:ext uri="{909E8E84-426E-40dd-AFC4-6F175D3DCCD1}"/>
          </a:extLst>
        </p:spPr>
        <p:txBody>
          <a:bodyPr/>
          <a:lstStyle/>
          <a:p>
            <a:pPr defTabSz="685767" eaLnBrk="0" fontAlgn="base" hangingPunct="0">
              <a:spcBef>
                <a:spcPct val="20000"/>
              </a:spcBef>
              <a:spcAft>
                <a:spcPct val="0"/>
              </a:spcAft>
              <a:defRPr/>
            </a:pPr>
            <a:endParaRPr lang="es-ES" sz="1001">
              <a:solidFill>
                <a:srgbClr val="000000"/>
              </a:solidFill>
              <a:latin typeface="Arial" charset="0"/>
              <a:ea typeface="ＭＳ Ｐゴシック" charset="0"/>
            </a:endParaRPr>
          </a:p>
        </p:txBody>
      </p:sp>
      <p:sp>
        <p:nvSpPr>
          <p:cNvPr id="4" name="Elipse 3">
            <a:extLst>
              <a:ext uri="{FF2B5EF4-FFF2-40B4-BE49-F238E27FC236}">
                <a16:creationId xmlns:a16="http://schemas.microsoft.com/office/drawing/2014/main" id="{1908F0B3-C0E7-4B48-9A4D-033A4C3601A7}"/>
              </a:ext>
            </a:extLst>
          </p:cNvPr>
          <p:cNvSpPr/>
          <p:nvPr/>
        </p:nvSpPr>
        <p:spPr>
          <a:xfrm>
            <a:off x="1588668" y="2179045"/>
            <a:ext cx="181880" cy="18352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37">
              <a:defRPr/>
            </a:pPr>
            <a:endParaRPr lang="es-ES" sz="1013">
              <a:solidFill>
                <a:srgbClr val="000000"/>
              </a:solidFill>
              <a:latin typeface="Trebuchet MS"/>
            </a:endParaRPr>
          </a:p>
        </p:txBody>
      </p:sp>
      <p:sp>
        <p:nvSpPr>
          <p:cNvPr id="130" name="Elipse 129">
            <a:extLst>
              <a:ext uri="{FF2B5EF4-FFF2-40B4-BE49-F238E27FC236}">
                <a16:creationId xmlns:a16="http://schemas.microsoft.com/office/drawing/2014/main" id="{8F5AE2DA-5D41-4D1F-85CD-DD25C63A0689}"/>
              </a:ext>
            </a:extLst>
          </p:cNvPr>
          <p:cNvSpPr/>
          <p:nvPr/>
        </p:nvSpPr>
        <p:spPr>
          <a:xfrm>
            <a:off x="1641835" y="2446687"/>
            <a:ext cx="183062" cy="18352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37">
              <a:defRPr/>
            </a:pPr>
            <a:endParaRPr lang="es-ES" sz="1013">
              <a:solidFill>
                <a:srgbClr val="000000"/>
              </a:solidFill>
              <a:latin typeface="Trebuchet MS"/>
            </a:endParaRPr>
          </a:p>
        </p:txBody>
      </p:sp>
      <p:sp>
        <p:nvSpPr>
          <p:cNvPr id="131" name="Elipse 130">
            <a:extLst>
              <a:ext uri="{FF2B5EF4-FFF2-40B4-BE49-F238E27FC236}">
                <a16:creationId xmlns:a16="http://schemas.microsoft.com/office/drawing/2014/main" id="{702A3AC8-5A0D-459D-A2A9-5028964DE4CF}"/>
              </a:ext>
            </a:extLst>
          </p:cNvPr>
          <p:cNvSpPr/>
          <p:nvPr/>
        </p:nvSpPr>
        <p:spPr>
          <a:xfrm>
            <a:off x="1649686" y="2740995"/>
            <a:ext cx="183062" cy="18448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37">
              <a:defRPr/>
            </a:pPr>
            <a:endParaRPr lang="es-ES" sz="1013">
              <a:solidFill>
                <a:srgbClr val="000000"/>
              </a:solidFill>
              <a:latin typeface="Trebuchet MS"/>
            </a:endParaRPr>
          </a:p>
        </p:txBody>
      </p:sp>
      <p:grpSp>
        <p:nvGrpSpPr>
          <p:cNvPr id="16402" name="Agrupar 110">
            <a:extLst>
              <a:ext uri="{FF2B5EF4-FFF2-40B4-BE49-F238E27FC236}">
                <a16:creationId xmlns:a16="http://schemas.microsoft.com/office/drawing/2014/main" id="{8DA51A5A-F44F-2C43-9584-7C374118846D}"/>
              </a:ext>
            </a:extLst>
          </p:cNvPr>
          <p:cNvGrpSpPr>
            <a:grpSpLocks/>
          </p:cNvGrpSpPr>
          <p:nvPr/>
        </p:nvGrpSpPr>
        <p:grpSpPr bwMode="auto">
          <a:xfrm>
            <a:off x="4947820" y="4067982"/>
            <a:ext cx="2931290" cy="496151"/>
            <a:chOff x="6753638" y="1747838"/>
            <a:chExt cx="3574638" cy="2493697"/>
          </a:xfrm>
        </p:grpSpPr>
        <p:sp>
          <p:nvSpPr>
            <p:cNvPr id="16405" name="Line 93">
              <a:extLst>
                <a:ext uri="{FF2B5EF4-FFF2-40B4-BE49-F238E27FC236}">
                  <a16:creationId xmlns:a16="http://schemas.microsoft.com/office/drawing/2014/main" id="{04A74F0B-080A-0C40-B3C1-373EA60467F8}"/>
                </a:ext>
              </a:extLst>
            </p:cNvPr>
            <p:cNvSpPr>
              <a:spLocks noChangeShapeType="1"/>
            </p:cNvSpPr>
            <p:nvPr/>
          </p:nvSpPr>
          <p:spPr bwMode="auto">
            <a:xfrm>
              <a:off x="6761983" y="2958265"/>
              <a:ext cx="358775" cy="0"/>
            </a:xfrm>
            <a:prstGeom prst="line">
              <a:avLst/>
            </a:prstGeom>
            <a:noFill/>
            <a:ln w="38100">
              <a:solidFill>
                <a:srgbClr val="00FF00"/>
              </a:solidFill>
              <a:round/>
              <a:headEnd/>
              <a:tailEnd/>
            </a:ln>
            <a:extLst>
              <a:ext uri="{909E8E84-426E-40DD-AFC4-6F175D3DCCD1}">
                <a14:hiddenFill xmlns:a14="http://schemas.microsoft.com/office/drawing/2010/main">
                  <a:noFill/>
                </a14:hiddenFill>
              </a:ext>
            </a:extLst>
          </p:spPr>
          <p:txBody>
            <a:bodyPr/>
            <a:lstStyle/>
            <a:p>
              <a:pPr defTabSz="514337" eaLnBrk="0" fontAlgn="base" hangingPunct="0">
                <a:spcBef>
                  <a:spcPct val="0"/>
                </a:spcBef>
                <a:spcAft>
                  <a:spcPct val="0"/>
                </a:spcAft>
                <a:defRPr/>
              </a:pPr>
              <a:endParaRPr lang="en-US" sz="1050">
                <a:solidFill>
                  <a:srgbClr val="000000"/>
                </a:solidFill>
                <a:latin typeface="Trebuchet MS" panose="020B0703020202090204" pitchFamily="34" charset="0"/>
                <a:ea typeface="MS PGothic" panose="020B0600070205080204" pitchFamily="34" charset="-128"/>
              </a:endParaRPr>
            </a:p>
          </p:txBody>
        </p:sp>
        <p:sp>
          <p:nvSpPr>
            <p:cNvPr id="16406" name="Line 94">
              <a:extLst>
                <a:ext uri="{FF2B5EF4-FFF2-40B4-BE49-F238E27FC236}">
                  <a16:creationId xmlns:a16="http://schemas.microsoft.com/office/drawing/2014/main" id="{8D7AD67D-BD41-EF42-86CE-E2E584D2A15B}"/>
                </a:ext>
              </a:extLst>
            </p:cNvPr>
            <p:cNvSpPr>
              <a:spLocks noChangeShapeType="1"/>
            </p:cNvSpPr>
            <p:nvPr/>
          </p:nvSpPr>
          <p:spPr bwMode="auto">
            <a:xfrm>
              <a:off x="6756477" y="3657388"/>
              <a:ext cx="358775" cy="0"/>
            </a:xfrm>
            <a:prstGeom prst="line">
              <a:avLst/>
            </a:prstGeom>
            <a:noFill/>
            <a:ln w="38100">
              <a:solidFill>
                <a:srgbClr val="00FFFF"/>
              </a:solidFill>
              <a:round/>
              <a:headEnd/>
              <a:tailEnd/>
            </a:ln>
            <a:extLst>
              <a:ext uri="{909E8E84-426E-40DD-AFC4-6F175D3DCCD1}">
                <a14:hiddenFill xmlns:a14="http://schemas.microsoft.com/office/drawing/2010/main">
                  <a:noFill/>
                </a14:hiddenFill>
              </a:ext>
            </a:extLst>
          </p:spPr>
          <p:txBody>
            <a:bodyPr/>
            <a:lstStyle/>
            <a:p>
              <a:pPr defTabSz="514337" eaLnBrk="0" fontAlgn="base" hangingPunct="0">
                <a:spcBef>
                  <a:spcPct val="0"/>
                </a:spcBef>
                <a:spcAft>
                  <a:spcPct val="0"/>
                </a:spcAft>
                <a:defRPr/>
              </a:pPr>
              <a:endParaRPr lang="en-US" sz="1050">
                <a:solidFill>
                  <a:srgbClr val="000000"/>
                </a:solidFill>
                <a:latin typeface="Trebuchet MS" panose="020B0703020202090204" pitchFamily="34" charset="0"/>
                <a:ea typeface="MS PGothic" panose="020B0600070205080204" pitchFamily="34" charset="-128"/>
              </a:endParaRPr>
            </a:p>
          </p:txBody>
        </p:sp>
        <p:sp>
          <p:nvSpPr>
            <p:cNvPr id="16407" name="Text Box 95">
              <a:extLst>
                <a:ext uri="{FF2B5EF4-FFF2-40B4-BE49-F238E27FC236}">
                  <a16:creationId xmlns:a16="http://schemas.microsoft.com/office/drawing/2014/main" id="{4908D6E4-5B16-5045-8438-4518173BB327}"/>
                </a:ext>
              </a:extLst>
            </p:cNvPr>
            <p:cNvSpPr txBox="1">
              <a:spLocks noChangeArrowheads="1"/>
            </p:cNvSpPr>
            <p:nvPr/>
          </p:nvSpPr>
          <p:spPr bwMode="auto">
            <a:xfrm>
              <a:off x="7110604" y="2507305"/>
              <a:ext cx="3168652" cy="1044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defTabSz="684891" fontAlgn="base">
                <a:lnSpc>
                  <a:spcPct val="100000"/>
                </a:lnSpc>
                <a:spcBef>
                  <a:spcPct val="0"/>
                </a:spcBef>
                <a:spcAft>
                  <a:spcPct val="0"/>
                </a:spcAft>
                <a:buNone/>
                <a:defRPr/>
              </a:pPr>
              <a:r>
                <a:rPr lang="es-ES" altLang="LID8192" sz="750" b="1">
                  <a:solidFill>
                    <a:srgbClr val="000000"/>
                  </a:solidFill>
                  <a:latin typeface="Arial" panose="020B0604020202020204" pitchFamily="34" charset="0"/>
                </a:rPr>
                <a:t>&gt;95% aPC/BMPC or paresis</a:t>
              </a:r>
            </a:p>
          </p:txBody>
        </p:sp>
        <p:sp>
          <p:nvSpPr>
            <p:cNvPr id="16409" name="Line 97">
              <a:extLst>
                <a:ext uri="{FF2B5EF4-FFF2-40B4-BE49-F238E27FC236}">
                  <a16:creationId xmlns:a16="http://schemas.microsoft.com/office/drawing/2014/main" id="{3BEA40FB-E997-5241-BAA6-47F6B5A0C606}"/>
                </a:ext>
              </a:extLst>
            </p:cNvPr>
            <p:cNvSpPr>
              <a:spLocks noChangeShapeType="1"/>
            </p:cNvSpPr>
            <p:nvPr/>
          </p:nvSpPr>
          <p:spPr bwMode="auto">
            <a:xfrm>
              <a:off x="6753638" y="2218525"/>
              <a:ext cx="358775" cy="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pPr defTabSz="514337" eaLnBrk="0" fontAlgn="base" hangingPunct="0">
                <a:spcBef>
                  <a:spcPct val="0"/>
                </a:spcBef>
                <a:spcAft>
                  <a:spcPct val="0"/>
                </a:spcAft>
                <a:defRPr/>
              </a:pPr>
              <a:endParaRPr lang="en-US" sz="1050">
                <a:solidFill>
                  <a:srgbClr val="000000"/>
                </a:solidFill>
                <a:latin typeface="Trebuchet MS" panose="020B0703020202090204" pitchFamily="34" charset="0"/>
                <a:ea typeface="MS PGothic" panose="020B0600070205080204" pitchFamily="34" charset="-128"/>
              </a:endParaRPr>
            </a:p>
          </p:txBody>
        </p:sp>
        <p:sp>
          <p:nvSpPr>
            <p:cNvPr id="16410" name="Text Box 98">
              <a:extLst>
                <a:ext uri="{FF2B5EF4-FFF2-40B4-BE49-F238E27FC236}">
                  <a16:creationId xmlns:a16="http://schemas.microsoft.com/office/drawing/2014/main" id="{BB5CA541-B650-4743-B0D9-5569279B458E}"/>
                </a:ext>
              </a:extLst>
            </p:cNvPr>
            <p:cNvSpPr txBox="1">
              <a:spLocks noChangeArrowheads="1"/>
            </p:cNvSpPr>
            <p:nvPr/>
          </p:nvSpPr>
          <p:spPr bwMode="auto">
            <a:xfrm>
              <a:off x="7129463" y="1747838"/>
              <a:ext cx="3198813" cy="1044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defTabSz="684891" fontAlgn="base">
                <a:lnSpc>
                  <a:spcPct val="100000"/>
                </a:lnSpc>
                <a:spcBef>
                  <a:spcPct val="0"/>
                </a:spcBef>
                <a:spcAft>
                  <a:spcPct val="0"/>
                </a:spcAft>
                <a:buNone/>
                <a:defRPr/>
              </a:pPr>
              <a:r>
                <a:rPr lang="es-ES" altLang="LID8192" sz="750" b="1">
                  <a:solidFill>
                    <a:srgbClr val="000000"/>
                  </a:solidFill>
                  <a:latin typeface="Arial" panose="020B0604020202020204" pitchFamily="34" charset="0"/>
                </a:rPr>
                <a:t>&gt;95% aPC/BMPC + paresis</a:t>
              </a:r>
            </a:p>
          </p:txBody>
        </p:sp>
        <p:sp>
          <p:nvSpPr>
            <p:cNvPr id="16411" name="Text Box 99">
              <a:extLst>
                <a:ext uri="{FF2B5EF4-FFF2-40B4-BE49-F238E27FC236}">
                  <a16:creationId xmlns:a16="http://schemas.microsoft.com/office/drawing/2014/main" id="{1A5E809B-EDB7-B246-A71C-BE68DBA29E99}"/>
                </a:ext>
              </a:extLst>
            </p:cNvPr>
            <p:cNvSpPr txBox="1">
              <a:spLocks noChangeArrowheads="1"/>
            </p:cNvSpPr>
            <p:nvPr/>
          </p:nvSpPr>
          <p:spPr bwMode="auto">
            <a:xfrm>
              <a:off x="7123423" y="3197371"/>
              <a:ext cx="2593976" cy="1044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lnSpc>
                  <a:spcPct val="90000"/>
                </a:lnSpc>
                <a:spcBef>
                  <a:spcPts val="1000"/>
                </a:spcBef>
                <a:buFont typeface="Arial" panose="020B0604020202020204" pitchFamily="34" charset="0"/>
                <a:buChar char="•"/>
                <a:defRPr sz="2800">
                  <a:solidFill>
                    <a:schemeClr val="bg1"/>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defTabSz="1217613">
                <a:lnSpc>
                  <a:spcPct val="90000"/>
                </a:lnSpc>
                <a:spcBef>
                  <a:spcPts val="500"/>
                </a:spcBef>
                <a:buFont typeface="Arial" panose="020B0604020202020204" pitchFamily="34" charset="0"/>
                <a:buChar char="•"/>
                <a:defRPr sz="2400">
                  <a:solidFill>
                    <a:schemeClr val="bg1"/>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defTabSz="1217613">
                <a:lnSpc>
                  <a:spcPct val="90000"/>
                </a:lnSpc>
                <a:spcBef>
                  <a:spcPts val="500"/>
                </a:spcBef>
                <a:buFont typeface="Arial" panose="020B0604020202020204" pitchFamily="34" charset="0"/>
                <a:buChar char="•"/>
                <a:defRPr sz="2000">
                  <a:solidFill>
                    <a:schemeClr val="bg1"/>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defTabSz="1217613">
                <a:lnSpc>
                  <a:spcPct val="90000"/>
                </a:lnSpc>
                <a:spcBef>
                  <a:spcPts val="500"/>
                </a:spcBef>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defTabSz="1217613" eaLnBrk="0" fontAlgn="base" hangingPunct="0">
                <a:lnSpc>
                  <a:spcPct val="90000"/>
                </a:lnSpc>
                <a:spcBef>
                  <a:spcPts val="500"/>
                </a:spcBef>
                <a:spcAft>
                  <a:spcPct val="0"/>
                </a:spcAft>
                <a:buFont typeface="Arial" panose="020B0604020202020204" pitchFamily="34" charset="0"/>
                <a:buChar char="•"/>
                <a:defRPr>
                  <a:solidFill>
                    <a:schemeClr val="bg1"/>
                  </a:solidFill>
                  <a:latin typeface="Calibri" panose="020F0502020204030204" pitchFamily="34" charset="0"/>
                  <a:ea typeface="MS PGothic" panose="020B0600070205080204" pitchFamily="34" charset="-128"/>
                  <a:cs typeface="Calibri" panose="020F0502020204030204" pitchFamily="34" charset="0"/>
                </a:defRPr>
              </a:lvl9pPr>
            </a:lstStyle>
            <a:p>
              <a:pPr defTabSz="684891" fontAlgn="base">
                <a:lnSpc>
                  <a:spcPct val="100000"/>
                </a:lnSpc>
                <a:spcBef>
                  <a:spcPct val="0"/>
                </a:spcBef>
                <a:spcAft>
                  <a:spcPct val="0"/>
                </a:spcAft>
                <a:buNone/>
                <a:defRPr/>
              </a:pPr>
              <a:r>
                <a:rPr lang="es-ES" altLang="LID8192" sz="750" b="1">
                  <a:solidFill>
                    <a:srgbClr val="000000"/>
                  </a:solidFill>
                  <a:latin typeface="Arial" panose="020B0604020202020204" pitchFamily="34" charset="0"/>
                </a:rPr>
                <a:t>No adverse factors</a:t>
              </a:r>
            </a:p>
          </p:txBody>
        </p:sp>
      </p:grpSp>
    </p:spTree>
    <p:extLst>
      <p:ext uri="{BB962C8B-B14F-4D97-AF65-F5344CB8AC3E}">
        <p14:creationId xmlns:p14="http://schemas.microsoft.com/office/powerpoint/2010/main" val="24572350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Graphical user interface, text, application&#10;&#10;Description automatically generated">
            <a:extLst>
              <a:ext uri="{FF2B5EF4-FFF2-40B4-BE49-F238E27FC236}">
                <a16:creationId xmlns:a16="http://schemas.microsoft.com/office/drawing/2014/main" id="{CEC35AC0-9693-45F3-84B0-3710CF622F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4887" y="1244872"/>
            <a:ext cx="2022532" cy="3479529"/>
          </a:xfrm>
          <a:prstGeom prst="rect">
            <a:avLst/>
          </a:prstGeom>
          <a:effectLst/>
        </p:spPr>
      </p:pic>
      <p:sp>
        <p:nvSpPr>
          <p:cNvPr id="2" name="Title 1">
            <a:extLst>
              <a:ext uri="{FF2B5EF4-FFF2-40B4-BE49-F238E27FC236}">
                <a16:creationId xmlns:a16="http://schemas.microsoft.com/office/drawing/2014/main" id="{D4A5F4F1-78F5-4D14-8C9F-E9167667B116}"/>
              </a:ext>
            </a:extLst>
          </p:cNvPr>
          <p:cNvSpPr>
            <a:spLocks noGrp="1"/>
          </p:cNvSpPr>
          <p:nvPr>
            <p:ph type="title"/>
          </p:nvPr>
        </p:nvSpPr>
        <p:spPr>
          <a:xfrm>
            <a:off x="0" y="17410"/>
            <a:ext cx="9144000" cy="621233"/>
          </a:xfrm>
        </p:spPr>
        <p:txBody>
          <a:bodyPr>
            <a:noAutofit/>
          </a:bodyPr>
          <a:lstStyle/>
          <a:p>
            <a:r>
              <a:rPr lang="en-US" sz="2400" b="1" noProof="0">
                <a:solidFill>
                  <a:srgbClr val="0070C0"/>
                </a:solidFill>
                <a:latin typeface="Arial" panose="020B0604020202020204" pitchFamily="34" charset="0"/>
                <a:cs typeface="Arial" panose="020B0604020202020204" pitchFamily="34" charset="0"/>
              </a:rPr>
              <a:t>2/20/20 model to identify high-risk SMM patients</a:t>
            </a:r>
          </a:p>
        </p:txBody>
      </p:sp>
      <p:sp>
        <p:nvSpPr>
          <p:cNvPr id="2514" name="TextBox 2513"/>
          <p:cNvSpPr txBox="1"/>
          <p:nvPr/>
        </p:nvSpPr>
        <p:spPr>
          <a:xfrm>
            <a:off x="2937027" y="1544208"/>
            <a:ext cx="396262"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100</a:t>
            </a:r>
          </a:p>
        </p:txBody>
      </p:sp>
      <p:sp>
        <p:nvSpPr>
          <p:cNvPr id="2686" name="TextBox 2685"/>
          <p:cNvSpPr txBox="1"/>
          <p:nvPr/>
        </p:nvSpPr>
        <p:spPr>
          <a:xfrm>
            <a:off x="4092679" y="4306527"/>
            <a:ext cx="1696298"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Time to progression, years</a:t>
            </a:r>
          </a:p>
        </p:txBody>
      </p:sp>
      <p:sp>
        <p:nvSpPr>
          <p:cNvPr id="30" name="Freeform 26"/>
          <p:cNvSpPr>
            <a:spLocks/>
          </p:cNvSpPr>
          <p:nvPr/>
        </p:nvSpPr>
        <p:spPr bwMode="auto">
          <a:xfrm>
            <a:off x="3464298" y="2969122"/>
            <a:ext cx="2183059" cy="1093665"/>
          </a:xfrm>
          <a:custGeom>
            <a:avLst/>
            <a:gdLst>
              <a:gd name="T0" fmla="*/ 1693 w 2044"/>
              <a:gd name="T1" fmla="*/ 0 h 578"/>
              <a:gd name="T2" fmla="*/ 1511 w 2044"/>
              <a:gd name="T3" fmla="*/ 70 h 578"/>
              <a:gd name="T4" fmla="*/ 1414 w 2044"/>
              <a:gd name="T5" fmla="*/ 70 h 578"/>
              <a:gd name="T6" fmla="*/ 1351 w 2044"/>
              <a:gd name="T7" fmla="*/ 101 h 578"/>
              <a:gd name="T8" fmla="*/ 1254 w 2044"/>
              <a:gd name="T9" fmla="*/ 101 h 578"/>
              <a:gd name="T10" fmla="*/ 1187 w 2044"/>
              <a:gd name="T11" fmla="*/ 125 h 578"/>
              <a:gd name="T12" fmla="*/ 1097 w 2044"/>
              <a:gd name="T13" fmla="*/ 125 h 578"/>
              <a:gd name="T14" fmla="*/ 1031 w 2044"/>
              <a:gd name="T15" fmla="*/ 140 h 578"/>
              <a:gd name="T16" fmla="*/ 994 w 2044"/>
              <a:gd name="T17" fmla="*/ 170 h 578"/>
              <a:gd name="T18" fmla="*/ 947 w 2044"/>
              <a:gd name="T19" fmla="*/ 183 h 578"/>
              <a:gd name="T20" fmla="*/ 919 w 2044"/>
              <a:gd name="T21" fmla="*/ 218 h 578"/>
              <a:gd name="T22" fmla="*/ 883 w 2044"/>
              <a:gd name="T23" fmla="*/ 233 h 578"/>
              <a:gd name="T24" fmla="*/ 833 w 2044"/>
              <a:gd name="T25" fmla="*/ 253 h 578"/>
              <a:gd name="T26" fmla="*/ 806 w 2044"/>
              <a:gd name="T27" fmla="*/ 284 h 578"/>
              <a:gd name="T28" fmla="*/ 775 w 2044"/>
              <a:gd name="T29" fmla="*/ 304 h 578"/>
              <a:gd name="T30" fmla="*/ 749 w 2044"/>
              <a:gd name="T31" fmla="*/ 320 h 578"/>
              <a:gd name="T32" fmla="*/ 727 w 2044"/>
              <a:gd name="T33" fmla="*/ 346 h 578"/>
              <a:gd name="T34" fmla="*/ 695 w 2044"/>
              <a:gd name="T35" fmla="*/ 361 h 578"/>
              <a:gd name="T36" fmla="*/ 677 w 2044"/>
              <a:gd name="T37" fmla="*/ 386 h 578"/>
              <a:gd name="T38" fmla="*/ 646 w 2044"/>
              <a:gd name="T39" fmla="*/ 399 h 578"/>
              <a:gd name="T40" fmla="*/ 617 w 2044"/>
              <a:gd name="T41" fmla="*/ 412 h 578"/>
              <a:gd name="T42" fmla="*/ 588 w 2044"/>
              <a:gd name="T43" fmla="*/ 425 h 578"/>
              <a:gd name="T44" fmla="*/ 555 w 2044"/>
              <a:gd name="T45" fmla="*/ 425 h 578"/>
              <a:gd name="T46" fmla="*/ 522 w 2044"/>
              <a:gd name="T47" fmla="*/ 435 h 578"/>
              <a:gd name="T48" fmla="*/ 497 w 2044"/>
              <a:gd name="T49" fmla="*/ 450 h 578"/>
              <a:gd name="T50" fmla="*/ 476 w 2044"/>
              <a:gd name="T51" fmla="*/ 464 h 578"/>
              <a:gd name="T52" fmla="*/ 447 w 2044"/>
              <a:gd name="T53" fmla="*/ 474 h 578"/>
              <a:gd name="T54" fmla="*/ 421 w 2044"/>
              <a:gd name="T55" fmla="*/ 485 h 578"/>
              <a:gd name="T56" fmla="*/ 390 w 2044"/>
              <a:gd name="T57" fmla="*/ 495 h 578"/>
              <a:gd name="T58" fmla="*/ 345 w 2044"/>
              <a:gd name="T59" fmla="*/ 495 h 578"/>
              <a:gd name="T60" fmla="*/ 317 w 2044"/>
              <a:gd name="T61" fmla="*/ 505 h 578"/>
              <a:gd name="T62" fmla="*/ 285 w 2044"/>
              <a:gd name="T63" fmla="*/ 509 h 578"/>
              <a:gd name="T64" fmla="*/ 228 w 2044"/>
              <a:gd name="T65" fmla="*/ 512 h 578"/>
              <a:gd name="T66" fmla="*/ 205 w 2044"/>
              <a:gd name="T67" fmla="*/ 524 h 578"/>
              <a:gd name="T68" fmla="*/ 163 w 2044"/>
              <a:gd name="T69" fmla="*/ 530 h 578"/>
              <a:gd name="T70" fmla="*/ 138 w 2044"/>
              <a:gd name="T71" fmla="*/ 543 h 578"/>
              <a:gd name="T72" fmla="*/ 99 w 2044"/>
              <a:gd name="T73" fmla="*/ 551 h 578"/>
              <a:gd name="T74" fmla="*/ 50 w 2044"/>
              <a:gd name="T75" fmla="*/ 567 h 578"/>
              <a:gd name="T76" fmla="*/ 52 w 2044"/>
              <a:gd name="T77" fmla="*/ 575 h 578"/>
              <a:gd name="T78" fmla="*/ 131 w 2044"/>
              <a:gd name="T79" fmla="*/ 551 h 578"/>
              <a:gd name="T80" fmla="*/ 178 w 2044"/>
              <a:gd name="T81" fmla="*/ 534 h 578"/>
              <a:gd name="T82" fmla="*/ 226 w 2044"/>
              <a:gd name="T83" fmla="*/ 524 h 578"/>
              <a:gd name="T84" fmla="*/ 289 w 2044"/>
              <a:gd name="T85" fmla="*/ 516 h 578"/>
              <a:gd name="T86" fmla="*/ 328 w 2044"/>
              <a:gd name="T87" fmla="*/ 507 h 578"/>
              <a:gd name="T88" fmla="*/ 375 w 2044"/>
              <a:gd name="T89" fmla="*/ 501 h 578"/>
              <a:gd name="T90" fmla="*/ 417 w 2044"/>
              <a:gd name="T91" fmla="*/ 492 h 578"/>
              <a:gd name="T92" fmla="*/ 461 w 2044"/>
              <a:gd name="T93" fmla="*/ 479 h 578"/>
              <a:gd name="T94" fmla="*/ 497 w 2044"/>
              <a:gd name="T95" fmla="*/ 460 h 578"/>
              <a:gd name="T96" fmla="*/ 529 w 2044"/>
              <a:gd name="T97" fmla="*/ 435 h 578"/>
              <a:gd name="T98" fmla="*/ 583 w 2044"/>
              <a:gd name="T99" fmla="*/ 430 h 578"/>
              <a:gd name="T100" fmla="*/ 624 w 2044"/>
              <a:gd name="T101" fmla="*/ 418 h 578"/>
              <a:gd name="T102" fmla="*/ 674 w 2044"/>
              <a:gd name="T103" fmla="*/ 405 h 578"/>
              <a:gd name="T104" fmla="*/ 706 w 2044"/>
              <a:gd name="T105" fmla="*/ 367 h 578"/>
              <a:gd name="T106" fmla="*/ 749 w 2044"/>
              <a:gd name="T107" fmla="*/ 336 h 578"/>
              <a:gd name="T108" fmla="*/ 800 w 2044"/>
              <a:gd name="T109" fmla="*/ 297 h 578"/>
              <a:gd name="T110" fmla="*/ 857 w 2044"/>
              <a:gd name="T111" fmla="*/ 249 h 578"/>
              <a:gd name="T112" fmla="*/ 925 w 2044"/>
              <a:gd name="T113" fmla="*/ 215 h 578"/>
              <a:gd name="T114" fmla="*/ 1001 w 2044"/>
              <a:gd name="T115" fmla="*/ 174 h 578"/>
              <a:gd name="T116" fmla="*/ 1090 w 2044"/>
              <a:gd name="T117" fmla="*/ 132 h 578"/>
              <a:gd name="T118" fmla="*/ 1234 w 2044"/>
              <a:gd name="T119" fmla="*/ 132 h 578"/>
              <a:gd name="T120" fmla="*/ 1400 w 2044"/>
              <a:gd name="T121" fmla="*/ 107 h 578"/>
              <a:gd name="T122" fmla="*/ 1621 w 2044"/>
              <a:gd name="T123" fmla="*/ 74 h 578"/>
              <a:gd name="T124" fmla="*/ 2041 w 2044"/>
              <a:gd name="T125"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44" h="578">
                <a:moveTo>
                  <a:pt x="2041" y="0"/>
                </a:moveTo>
                <a:lnTo>
                  <a:pt x="2020" y="0"/>
                </a:lnTo>
                <a:lnTo>
                  <a:pt x="2017" y="0"/>
                </a:lnTo>
                <a:lnTo>
                  <a:pt x="2016" y="0"/>
                </a:lnTo>
                <a:lnTo>
                  <a:pt x="1934" y="0"/>
                </a:lnTo>
                <a:lnTo>
                  <a:pt x="1932" y="0"/>
                </a:lnTo>
                <a:lnTo>
                  <a:pt x="1929" y="0"/>
                </a:lnTo>
                <a:lnTo>
                  <a:pt x="1927" y="0"/>
                </a:lnTo>
                <a:lnTo>
                  <a:pt x="1925" y="0"/>
                </a:lnTo>
                <a:lnTo>
                  <a:pt x="1922" y="0"/>
                </a:lnTo>
                <a:lnTo>
                  <a:pt x="1879" y="0"/>
                </a:lnTo>
                <a:lnTo>
                  <a:pt x="1878" y="0"/>
                </a:lnTo>
                <a:lnTo>
                  <a:pt x="1878" y="0"/>
                </a:lnTo>
                <a:lnTo>
                  <a:pt x="1875" y="0"/>
                </a:lnTo>
                <a:lnTo>
                  <a:pt x="1706" y="0"/>
                </a:lnTo>
                <a:lnTo>
                  <a:pt x="1704" y="0"/>
                </a:lnTo>
                <a:lnTo>
                  <a:pt x="1703" y="0"/>
                </a:lnTo>
                <a:lnTo>
                  <a:pt x="1700" y="0"/>
                </a:lnTo>
                <a:lnTo>
                  <a:pt x="1698" y="0"/>
                </a:lnTo>
                <a:lnTo>
                  <a:pt x="1696" y="0"/>
                </a:lnTo>
                <a:lnTo>
                  <a:pt x="1693" y="0"/>
                </a:lnTo>
                <a:lnTo>
                  <a:pt x="1664" y="0"/>
                </a:lnTo>
                <a:lnTo>
                  <a:pt x="1662" y="0"/>
                </a:lnTo>
                <a:lnTo>
                  <a:pt x="1659" y="0"/>
                </a:lnTo>
                <a:lnTo>
                  <a:pt x="1645" y="0"/>
                </a:lnTo>
                <a:lnTo>
                  <a:pt x="1642" y="0"/>
                </a:lnTo>
                <a:lnTo>
                  <a:pt x="1642" y="0"/>
                </a:lnTo>
                <a:lnTo>
                  <a:pt x="1639" y="0"/>
                </a:lnTo>
                <a:lnTo>
                  <a:pt x="1623" y="0"/>
                </a:lnTo>
                <a:lnTo>
                  <a:pt x="1620" y="0"/>
                </a:lnTo>
                <a:lnTo>
                  <a:pt x="1620" y="0"/>
                </a:lnTo>
                <a:lnTo>
                  <a:pt x="1619" y="0"/>
                </a:lnTo>
                <a:lnTo>
                  <a:pt x="1619" y="1"/>
                </a:lnTo>
                <a:lnTo>
                  <a:pt x="1619" y="1"/>
                </a:lnTo>
                <a:lnTo>
                  <a:pt x="1619" y="4"/>
                </a:lnTo>
                <a:lnTo>
                  <a:pt x="1619" y="70"/>
                </a:lnTo>
                <a:lnTo>
                  <a:pt x="1527" y="70"/>
                </a:lnTo>
                <a:lnTo>
                  <a:pt x="1524" y="70"/>
                </a:lnTo>
                <a:lnTo>
                  <a:pt x="1523" y="70"/>
                </a:lnTo>
                <a:lnTo>
                  <a:pt x="1515" y="70"/>
                </a:lnTo>
                <a:lnTo>
                  <a:pt x="1512" y="70"/>
                </a:lnTo>
                <a:lnTo>
                  <a:pt x="1511" y="70"/>
                </a:lnTo>
                <a:lnTo>
                  <a:pt x="1508" y="70"/>
                </a:lnTo>
                <a:lnTo>
                  <a:pt x="1505" y="70"/>
                </a:lnTo>
                <a:lnTo>
                  <a:pt x="1504" y="70"/>
                </a:lnTo>
                <a:lnTo>
                  <a:pt x="1488" y="70"/>
                </a:lnTo>
                <a:lnTo>
                  <a:pt x="1487" y="70"/>
                </a:lnTo>
                <a:lnTo>
                  <a:pt x="1484" y="70"/>
                </a:lnTo>
                <a:lnTo>
                  <a:pt x="1477" y="70"/>
                </a:lnTo>
                <a:lnTo>
                  <a:pt x="1476" y="70"/>
                </a:lnTo>
                <a:lnTo>
                  <a:pt x="1473" y="70"/>
                </a:lnTo>
                <a:lnTo>
                  <a:pt x="1450" y="70"/>
                </a:lnTo>
                <a:lnTo>
                  <a:pt x="1448" y="70"/>
                </a:lnTo>
                <a:lnTo>
                  <a:pt x="1448" y="70"/>
                </a:lnTo>
                <a:lnTo>
                  <a:pt x="1446" y="70"/>
                </a:lnTo>
                <a:lnTo>
                  <a:pt x="1426" y="70"/>
                </a:lnTo>
                <a:lnTo>
                  <a:pt x="1423" y="70"/>
                </a:lnTo>
                <a:lnTo>
                  <a:pt x="1423" y="70"/>
                </a:lnTo>
                <a:lnTo>
                  <a:pt x="1422" y="70"/>
                </a:lnTo>
                <a:lnTo>
                  <a:pt x="1419" y="70"/>
                </a:lnTo>
                <a:lnTo>
                  <a:pt x="1418" y="70"/>
                </a:lnTo>
                <a:lnTo>
                  <a:pt x="1415" y="70"/>
                </a:lnTo>
                <a:lnTo>
                  <a:pt x="1414" y="70"/>
                </a:lnTo>
                <a:lnTo>
                  <a:pt x="1411" y="70"/>
                </a:lnTo>
                <a:lnTo>
                  <a:pt x="1408" y="70"/>
                </a:lnTo>
                <a:lnTo>
                  <a:pt x="1407" y="70"/>
                </a:lnTo>
                <a:lnTo>
                  <a:pt x="1405" y="70"/>
                </a:lnTo>
                <a:lnTo>
                  <a:pt x="1400" y="70"/>
                </a:lnTo>
                <a:lnTo>
                  <a:pt x="1398" y="70"/>
                </a:lnTo>
                <a:lnTo>
                  <a:pt x="1396" y="70"/>
                </a:lnTo>
                <a:lnTo>
                  <a:pt x="1396" y="72"/>
                </a:lnTo>
                <a:lnTo>
                  <a:pt x="1396" y="72"/>
                </a:lnTo>
                <a:lnTo>
                  <a:pt x="1396" y="74"/>
                </a:lnTo>
                <a:lnTo>
                  <a:pt x="1396" y="101"/>
                </a:lnTo>
                <a:lnTo>
                  <a:pt x="1375" y="101"/>
                </a:lnTo>
                <a:lnTo>
                  <a:pt x="1372" y="101"/>
                </a:lnTo>
                <a:lnTo>
                  <a:pt x="1371" y="101"/>
                </a:lnTo>
                <a:lnTo>
                  <a:pt x="1368" y="101"/>
                </a:lnTo>
                <a:lnTo>
                  <a:pt x="1367" y="101"/>
                </a:lnTo>
                <a:lnTo>
                  <a:pt x="1361" y="101"/>
                </a:lnTo>
                <a:lnTo>
                  <a:pt x="1360" y="101"/>
                </a:lnTo>
                <a:lnTo>
                  <a:pt x="1357" y="101"/>
                </a:lnTo>
                <a:lnTo>
                  <a:pt x="1353" y="101"/>
                </a:lnTo>
                <a:lnTo>
                  <a:pt x="1351" y="101"/>
                </a:lnTo>
                <a:lnTo>
                  <a:pt x="1351" y="101"/>
                </a:lnTo>
                <a:lnTo>
                  <a:pt x="1349" y="101"/>
                </a:lnTo>
                <a:lnTo>
                  <a:pt x="1339" y="101"/>
                </a:lnTo>
                <a:lnTo>
                  <a:pt x="1338" y="101"/>
                </a:lnTo>
                <a:lnTo>
                  <a:pt x="1338" y="101"/>
                </a:lnTo>
                <a:lnTo>
                  <a:pt x="1336" y="101"/>
                </a:lnTo>
                <a:lnTo>
                  <a:pt x="1290" y="101"/>
                </a:lnTo>
                <a:lnTo>
                  <a:pt x="1289" y="101"/>
                </a:lnTo>
                <a:lnTo>
                  <a:pt x="1286" y="101"/>
                </a:lnTo>
                <a:lnTo>
                  <a:pt x="1283" y="101"/>
                </a:lnTo>
                <a:lnTo>
                  <a:pt x="1282" y="101"/>
                </a:lnTo>
                <a:lnTo>
                  <a:pt x="1279" y="101"/>
                </a:lnTo>
                <a:lnTo>
                  <a:pt x="1278" y="101"/>
                </a:lnTo>
                <a:lnTo>
                  <a:pt x="1270" y="101"/>
                </a:lnTo>
                <a:lnTo>
                  <a:pt x="1267" y="101"/>
                </a:lnTo>
                <a:lnTo>
                  <a:pt x="1264" y="101"/>
                </a:lnTo>
                <a:lnTo>
                  <a:pt x="1263" y="101"/>
                </a:lnTo>
                <a:lnTo>
                  <a:pt x="1260" y="101"/>
                </a:lnTo>
                <a:lnTo>
                  <a:pt x="1259" y="101"/>
                </a:lnTo>
                <a:lnTo>
                  <a:pt x="1256" y="101"/>
                </a:lnTo>
                <a:lnTo>
                  <a:pt x="1254" y="101"/>
                </a:lnTo>
                <a:lnTo>
                  <a:pt x="1252" y="101"/>
                </a:lnTo>
                <a:lnTo>
                  <a:pt x="1252" y="104"/>
                </a:lnTo>
                <a:lnTo>
                  <a:pt x="1252" y="104"/>
                </a:lnTo>
                <a:lnTo>
                  <a:pt x="1252" y="107"/>
                </a:lnTo>
                <a:lnTo>
                  <a:pt x="1252" y="125"/>
                </a:lnTo>
                <a:lnTo>
                  <a:pt x="1236" y="125"/>
                </a:lnTo>
                <a:lnTo>
                  <a:pt x="1234" y="125"/>
                </a:lnTo>
                <a:lnTo>
                  <a:pt x="1234" y="125"/>
                </a:lnTo>
                <a:lnTo>
                  <a:pt x="1232" y="125"/>
                </a:lnTo>
                <a:lnTo>
                  <a:pt x="1229" y="125"/>
                </a:lnTo>
                <a:lnTo>
                  <a:pt x="1227" y="125"/>
                </a:lnTo>
                <a:lnTo>
                  <a:pt x="1225" y="125"/>
                </a:lnTo>
                <a:lnTo>
                  <a:pt x="1213" y="125"/>
                </a:lnTo>
                <a:lnTo>
                  <a:pt x="1210" y="125"/>
                </a:lnTo>
                <a:lnTo>
                  <a:pt x="1207" y="125"/>
                </a:lnTo>
                <a:lnTo>
                  <a:pt x="1206" y="125"/>
                </a:lnTo>
                <a:lnTo>
                  <a:pt x="1205" y="125"/>
                </a:lnTo>
                <a:lnTo>
                  <a:pt x="1202" y="125"/>
                </a:lnTo>
                <a:lnTo>
                  <a:pt x="1200" y="125"/>
                </a:lnTo>
                <a:lnTo>
                  <a:pt x="1189" y="125"/>
                </a:lnTo>
                <a:lnTo>
                  <a:pt x="1187" y="125"/>
                </a:lnTo>
                <a:lnTo>
                  <a:pt x="1185" y="125"/>
                </a:lnTo>
                <a:lnTo>
                  <a:pt x="1181" y="125"/>
                </a:lnTo>
                <a:lnTo>
                  <a:pt x="1178" y="125"/>
                </a:lnTo>
                <a:lnTo>
                  <a:pt x="1175" y="125"/>
                </a:lnTo>
                <a:lnTo>
                  <a:pt x="1174" y="125"/>
                </a:lnTo>
                <a:lnTo>
                  <a:pt x="1174" y="125"/>
                </a:lnTo>
                <a:lnTo>
                  <a:pt x="1173" y="125"/>
                </a:lnTo>
                <a:lnTo>
                  <a:pt x="1155" y="125"/>
                </a:lnTo>
                <a:lnTo>
                  <a:pt x="1153" y="125"/>
                </a:lnTo>
                <a:lnTo>
                  <a:pt x="1152" y="125"/>
                </a:lnTo>
                <a:lnTo>
                  <a:pt x="1149" y="125"/>
                </a:lnTo>
                <a:lnTo>
                  <a:pt x="1135" y="125"/>
                </a:lnTo>
                <a:lnTo>
                  <a:pt x="1133" y="125"/>
                </a:lnTo>
                <a:lnTo>
                  <a:pt x="1133" y="125"/>
                </a:lnTo>
                <a:lnTo>
                  <a:pt x="1130" y="125"/>
                </a:lnTo>
                <a:lnTo>
                  <a:pt x="1126" y="125"/>
                </a:lnTo>
                <a:lnTo>
                  <a:pt x="1124" y="125"/>
                </a:lnTo>
                <a:lnTo>
                  <a:pt x="1123" y="125"/>
                </a:lnTo>
                <a:lnTo>
                  <a:pt x="1101" y="125"/>
                </a:lnTo>
                <a:lnTo>
                  <a:pt x="1098" y="125"/>
                </a:lnTo>
                <a:lnTo>
                  <a:pt x="1097" y="125"/>
                </a:lnTo>
                <a:lnTo>
                  <a:pt x="1094" y="125"/>
                </a:lnTo>
                <a:lnTo>
                  <a:pt x="1091" y="125"/>
                </a:lnTo>
                <a:lnTo>
                  <a:pt x="1090" y="125"/>
                </a:lnTo>
                <a:lnTo>
                  <a:pt x="1088" y="125"/>
                </a:lnTo>
                <a:lnTo>
                  <a:pt x="1084" y="125"/>
                </a:lnTo>
                <a:lnTo>
                  <a:pt x="1081" y="125"/>
                </a:lnTo>
                <a:lnTo>
                  <a:pt x="1079" y="125"/>
                </a:lnTo>
                <a:lnTo>
                  <a:pt x="1079" y="128"/>
                </a:lnTo>
                <a:lnTo>
                  <a:pt x="1079" y="128"/>
                </a:lnTo>
                <a:lnTo>
                  <a:pt x="1079" y="129"/>
                </a:lnTo>
                <a:lnTo>
                  <a:pt x="1079" y="140"/>
                </a:lnTo>
                <a:lnTo>
                  <a:pt x="1062" y="140"/>
                </a:lnTo>
                <a:lnTo>
                  <a:pt x="1059" y="140"/>
                </a:lnTo>
                <a:lnTo>
                  <a:pt x="1059" y="140"/>
                </a:lnTo>
                <a:lnTo>
                  <a:pt x="1058" y="140"/>
                </a:lnTo>
                <a:lnTo>
                  <a:pt x="1040" y="140"/>
                </a:lnTo>
                <a:lnTo>
                  <a:pt x="1038" y="140"/>
                </a:lnTo>
                <a:lnTo>
                  <a:pt x="1038" y="140"/>
                </a:lnTo>
                <a:lnTo>
                  <a:pt x="1036" y="140"/>
                </a:lnTo>
                <a:lnTo>
                  <a:pt x="1033" y="140"/>
                </a:lnTo>
                <a:lnTo>
                  <a:pt x="1031" y="140"/>
                </a:lnTo>
                <a:lnTo>
                  <a:pt x="1029" y="140"/>
                </a:lnTo>
                <a:lnTo>
                  <a:pt x="1025" y="140"/>
                </a:lnTo>
                <a:lnTo>
                  <a:pt x="1023" y="140"/>
                </a:lnTo>
                <a:lnTo>
                  <a:pt x="1020" y="140"/>
                </a:lnTo>
                <a:lnTo>
                  <a:pt x="1019" y="140"/>
                </a:lnTo>
                <a:lnTo>
                  <a:pt x="1016" y="140"/>
                </a:lnTo>
                <a:lnTo>
                  <a:pt x="1009" y="140"/>
                </a:lnTo>
                <a:lnTo>
                  <a:pt x="1008" y="140"/>
                </a:lnTo>
                <a:lnTo>
                  <a:pt x="1005" y="140"/>
                </a:lnTo>
                <a:lnTo>
                  <a:pt x="1005" y="142"/>
                </a:lnTo>
                <a:lnTo>
                  <a:pt x="1005" y="142"/>
                </a:lnTo>
                <a:lnTo>
                  <a:pt x="1005" y="145"/>
                </a:lnTo>
                <a:lnTo>
                  <a:pt x="1005" y="155"/>
                </a:lnTo>
                <a:lnTo>
                  <a:pt x="1001" y="155"/>
                </a:lnTo>
                <a:lnTo>
                  <a:pt x="1000" y="155"/>
                </a:lnTo>
                <a:lnTo>
                  <a:pt x="997" y="155"/>
                </a:lnTo>
                <a:lnTo>
                  <a:pt x="997" y="157"/>
                </a:lnTo>
                <a:lnTo>
                  <a:pt x="997" y="157"/>
                </a:lnTo>
                <a:lnTo>
                  <a:pt x="997" y="159"/>
                </a:lnTo>
                <a:lnTo>
                  <a:pt x="997" y="170"/>
                </a:lnTo>
                <a:lnTo>
                  <a:pt x="994" y="170"/>
                </a:lnTo>
                <a:lnTo>
                  <a:pt x="989" y="170"/>
                </a:lnTo>
                <a:lnTo>
                  <a:pt x="986" y="170"/>
                </a:lnTo>
                <a:lnTo>
                  <a:pt x="984" y="170"/>
                </a:lnTo>
                <a:lnTo>
                  <a:pt x="980" y="170"/>
                </a:lnTo>
                <a:lnTo>
                  <a:pt x="977" y="170"/>
                </a:lnTo>
                <a:lnTo>
                  <a:pt x="975" y="170"/>
                </a:lnTo>
                <a:lnTo>
                  <a:pt x="972" y="170"/>
                </a:lnTo>
                <a:lnTo>
                  <a:pt x="969" y="170"/>
                </a:lnTo>
                <a:lnTo>
                  <a:pt x="969" y="170"/>
                </a:lnTo>
                <a:lnTo>
                  <a:pt x="966" y="170"/>
                </a:lnTo>
                <a:lnTo>
                  <a:pt x="959" y="170"/>
                </a:lnTo>
                <a:lnTo>
                  <a:pt x="958" y="170"/>
                </a:lnTo>
                <a:lnTo>
                  <a:pt x="958" y="170"/>
                </a:lnTo>
                <a:lnTo>
                  <a:pt x="955" y="170"/>
                </a:lnTo>
                <a:lnTo>
                  <a:pt x="955" y="172"/>
                </a:lnTo>
                <a:lnTo>
                  <a:pt x="955" y="172"/>
                </a:lnTo>
                <a:lnTo>
                  <a:pt x="955" y="174"/>
                </a:lnTo>
                <a:lnTo>
                  <a:pt x="955" y="183"/>
                </a:lnTo>
                <a:lnTo>
                  <a:pt x="951" y="183"/>
                </a:lnTo>
                <a:lnTo>
                  <a:pt x="950" y="183"/>
                </a:lnTo>
                <a:lnTo>
                  <a:pt x="947" y="183"/>
                </a:lnTo>
                <a:lnTo>
                  <a:pt x="944" y="183"/>
                </a:lnTo>
                <a:lnTo>
                  <a:pt x="943" y="183"/>
                </a:lnTo>
                <a:lnTo>
                  <a:pt x="943" y="184"/>
                </a:lnTo>
                <a:lnTo>
                  <a:pt x="943" y="184"/>
                </a:lnTo>
                <a:lnTo>
                  <a:pt x="943" y="187"/>
                </a:lnTo>
                <a:lnTo>
                  <a:pt x="943" y="195"/>
                </a:lnTo>
                <a:lnTo>
                  <a:pt x="940" y="195"/>
                </a:lnTo>
                <a:lnTo>
                  <a:pt x="940" y="197"/>
                </a:lnTo>
                <a:lnTo>
                  <a:pt x="940" y="197"/>
                </a:lnTo>
                <a:lnTo>
                  <a:pt x="940" y="200"/>
                </a:lnTo>
                <a:lnTo>
                  <a:pt x="940" y="208"/>
                </a:lnTo>
                <a:lnTo>
                  <a:pt x="932" y="208"/>
                </a:lnTo>
                <a:lnTo>
                  <a:pt x="930" y="208"/>
                </a:lnTo>
                <a:lnTo>
                  <a:pt x="928" y="208"/>
                </a:lnTo>
                <a:lnTo>
                  <a:pt x="923" y="208"/>
                </a:lnTo>
                <a:lnTo>
                  <a:pt x="922" y="208"/>
                </a:lnTo>
                <a:lnTo>
                  <a:pt x="919" y="208"/>
                </a:lnTo>
                <a:lnTo>
                  <a:pt x="919" y="211"/>
                </a:lnTo>
                <a:lnTo>
                  <a:pt x="919" y="211"/>
                </a:lnTo>
                <a:lnTo>
                  <a:pt x="919" y="212"/>
                </a:lnTo>
                <a:lnTo>
                  <a:pt x="919" y="218"/>
                </a:lnTo>
                <a:lnTo>
                  <a:pt x="917" y="218"/>
                </a:lnTo>
                <a:lnTo>
                  <a:pt x="915" y="218"/>
                </a:lnTo>
                <a:lnTo>
                  <a:pt x="912" y="218"/>
                </a:lnTo>
                <a:lnTo>
                  <a:pt x="911" y="218"/>
                </a:lnTo>
                <a:lnTo>
                  <a:pt x="908" y="218"/>
                </a:lnTo>
                <a:lnTo>
                  <a:pt x="907" y="218"/>
                </a:lnTo>
                <a:lnTo>
                  <a:pt x="904" y="218"/>
                </a:lnTo>
                <a:lnTo>
                  <a:pt x="903" y="218"/>
                </a:lnTo>
                <a:lnTo>
                  <a:pt x="900" y="218"/>
                </a:lnTo>
                <a:lnTo>
                  <a:pt x="897" y="218"/>
                </a:lnTo>
                <a:lnTo>
                  <a:pt x="896" y="218"/>
                </a:lnTo>
                <a:lnTo>
                  <a:pt x="893" y="218"/>
                </a:lnTo>
                <a:lnTo>
                  <a:pt x="892" y="218"/>
                </a:lnTo>
                <a:lnTo>
                  <a:pt x="892" y="221"/>
                </a:lnTo>
                <a:lnTo>
                  <a:pt x="892" y="221"/>
                </a:lnTo>
                <a:lnTo>
                  <a:pt x="892" y="222"/>
                </a:lnTo>
                <a:lnTo>
                  <a:pt x="892" y="232"/>
                </a:lnTo>
                <a:lnTo>
                  <a:pt x="887" y="232"/>
                </a:lnTo>
                <a:lnTo>
                  <a:pt x="885" y="232"/>
                </a:lnTo>
                <a:lnTo>
                  <a:pt x="883" y="232"/>
                </a:lnTo>
                <a:lnTo>
                  <a:pt x="883" y="233"/>
                </a:lnTo>
                <a:lnTo>
                  <a:pt x="883" y="233"/>
                </a:lnTo>
                <a:lnTo>
                  <a:pt x="883" y="236"/>
                </a:lnTo>
                <a:lnTo>
                  <a:pt x="883" y="242"/>
                </a:lnTo>
                <a:lnTo>
                  <a:pt x="858" y="242"/>
                </a:lnTo>
                <a:lnTo>
                  <a:pt x="857" y="242"/>
                </a:lnTo>
                <a:lnTo>
                  <a:pt x="857" y="242"/>
                </a:lnTo>
                <a:lnTo>
                  <a:pt x="854" y="242"/>
                </a:lnTo>
                <a:lnTo>
                  <a:pt x="853" y="242"/>
                </a:lnTo>
                <a:lnTo>
                  <a:pt x="850" y="242"/>
                </a:lnTo>
                <a:lnTo>
                  <a:pt x="847" y="242"/>
                </a:lnTo>
                <a:lnTo>
                  <a:pt x="846" y="242"/>
                </a:lnTo>
                <a:lnTo>
                  <a:pt x="843" y="242"/>
                </a:lnTo>
                <a:lnTo>
                  <a:pt x="842" y="242"/>
                </a:lnTo>
                <a:lnTo>
                  <a:pt x="839" y="242"/>
                </a:lnTo>
                <a:lnTo>
                  <a:pt x="839" y="243"/>
                </a:lnTo>
                <a:lnTo>
                  <a:pt x="839" y="243"/>
                </a:lnTo>
                <a:lnTo>
                  <a:pt x="839" y="246"/>
                </a:lnTo>
                <a:lnTo>
                  <a:pt x="839" y="253"/>
                </a:lnTo>
                <a:lnTo>
                  <a:pt x="838" y="253"/>
                </a:lnTo>
                <a:lnTo>
                  <a:pt x="835" y="253"/>
                </a:lnTo>
                <a:lnTo>
                  <a:pt x="833" y="253"/>
                </a:lnTo>
                <a:lnTo>
                  <a:pt x="831" y="253"/>
                </a:lnTo>
                <a:lnTo>
                  <a:pt x="828" y="253"/>
                </a:lnTo>
                <a:lnTo>
                  <a:pt x="828" y="254"/>
                </a:lnTo>
                <a:lnTo>
                  <a:pt x="828" y="254"/>
                </a:lnTo>
                <a:lnTo>
                  <a:pt x="828" y="257"/>
                </a:lnTo>
                <a:lnTo>
                  <a:pt x="828" y="263"/>
                </a:lnTo>
                <a:lnTo>
                  <a:pt x="828" y="266"/>
                </a:lnTo>
                <a:lnTo>
                  <a:pt x="828" y="266"/>
                </a:lnTo>
                <a:lnTo>
                  <a:pt x="828" y="267"/>
                </a:lnTo>
                <a:lnTo>
                  <a:pt x="828" y="274"/>
                </a:lnTo>
                <a:lnTo>
                  <a:pt x="827" y="274"/>
                </a:lnTo>
                <a:lnTo>
                  <a:pt x="827" y="276"/>
                </a:lnTo>
                <a:lnTo>
                  <a:pt x="827" y="276"/>
                </a:lnTo>
                <a:lnTo>
                  <a:pt x="827" y="278"/>
                </a:lnTo>
                <a:lnTo>
                  <a:pt x="827" y="284"/>
                </a:lnTo>
                <a:lnTo>
                  <a:pt x="824" y="284"/>
                </a:lnTo>
                <a:lnTo>
                  <a:pt x="820" y="284"/>
                </a:lnTo>
                <a:lnTo>
                  <a:pt x="818" y="284"/>
                </a:lnTo>
                <a:lnTo>
                  <a:pt x="815" y="284"/>
                </a:lnTo>
                <a:lnTo>
                  <a:pt x="807" y="284"/>
                </a:lnTo>
                <a:lnTo>
                  <a:pt x="806" y="284"/>
                </a:lnTo>
                <a:lnTo>
                  <a:pt x="803" y="284"/>
                </a:lnTo>
                <a:lnTo>
                  <a:pt x="800" y="284"/>
                </a:lnTo>
                <a:lnTo>
                  <a:pt x="799" y="284"/>
                </a:lnTo>
                <a:lnTo>
                  <a:pt x="796" y="284"/>
                </a:lnTo>
                <a:lnTo>
                  <a:pt x="796" y="287"/>
                </a:lnTo>
                <a:lnTo>
                  <a:pt x="796" y="287"/>
                </a:lnTo>
                <a:lnTo>
                  <a:pt x="796" y="288"/>
                </a:lnTo>
                <a:lnTo>
                  <a:pt x="796" y="293"/>
                </a:lnTo>
                <a:lnTo>
                  <a:pt x="791" y="293"/>
                </a:lnTo>
                <a:lnTo>
                  <a:pt x="788" y="293"/>
                </a:lnTo>
                <a:lnTo>
                  <a:pt x="786" y="293"/>
                </a:lnTo>
                <a:lnTo>
                  <a:pt x="784" y="293"/>
                </a:lnTo>
                <a:lnTo>
                  <a:pt x="784" y="295"/>
                </a:lnTo>
                <a:lnTo>
                  <a:pt x="784" y="295"/>
                </a:lnTo>
                <a:lnTo>
                  <a:pt x="784" y="297"/>
                </a:lnTo>
                <a:lnTo>
                  <a:pt x="784" y="304"/>
                </a:lnTo>
                <a:lnTo>
                  <a:pt x="781" y="304"/>
                </a:lnTo>
                <a:lnTo>
                  <a:pt x="779" y="304"/>
                </a:lnTo>
                <a:lnTo>
                  <a:pt x="777" y="304"/>
                </a:lnTo>
                <a:lnTo>
                  <a:pt x="777" y="304"/>
                </a:lnTo>
                <a:lnTo>
                  <a:pt x="775" y="304"/>
                </a:lnTo>
                <a:lnTo>
                  <a:pt x="775" y="304"/>
                </a:lnTo>
                <a:lnTo>
                  <a:pt x="775" y="304"/>
                </a:lnTo>
                <a:lnTo>
                  <a:pt x="773" y="304"/>
                </a:lnTo>
                <a:lnTo>
                  <a:pt x="773" y="304"/>
                </a:lnTo>
                <a:lnTo>
                  <a:pt x="770" y="304"/>
                </a:lnTo>
                <a:lnTo>
                  <a:pt x="770" y="305"/>
                </a:lnTo>
                <a:lnTo>
                  <a:pt x="770" y="305"/>
                </a:lnTo>
                <a:lnTo>
                  <a:pt x="770" y="308"/>
                </a:lnTo>
                <a:lnTo>
                  <a:pt x="770" y="312"/>
                </a:lnTo>
                <a:lnTo>
                  <a:pt x="768" y="312"/>
                </a:lnTo>
                <a:lnTo>
                  <a:pt x="768" y="312"/>
                </a:lnTo>
                <a:lnTo>
                  <a:pt x="766" y="312"/>
                </a:lnTo>
                <a:lnTo>
                  <a:pt x="759" y="312"/>
                </a:lnTo>
                <a:lnTo>
                  <a:pt x="757" y="312"/>
                </a:lnTo>
                <a:lnTo>
                  <a:pt x="756" y="312"/>
                </a:lnTo>
                <a:lnTo>
                  <a:pt x="753" y="312"/>
                </a:lnTo>
                <a:lnTo>
                  <a:pt x="750" y="312"/>
                </a:lnTo>
                <a:lnTo>
                  <a:pt x="750" y="314"/>
                </a:lnTo>
                <a:lnTo>
                  <a:pt x="750" y="316"/>
                </a:lnTo>
                <a:lnTo>
                  <a:pt x="750" y="320"/>
                </a:lnTo>
                <a:lnTo>
                  <a:pt x="749" y="320"/>
                </a:lnTo>
                <a:lnTo>
                  <a:pt x="749" y="322"/>
                </a:lnTo>
                <a:lnTo>
                  <a:pt x="749" y="322"/>
                </a:lnTo>
                <a:lnTo>
                  <a:pt x="749" y="325"/>
                </a:lnTo>
                <a:lnTo>
                  <a:pt x="749" y="329"/>
                </a:lnTo>
                <a:lnTo>
                  <a:pt x="746" y="329"/>
                </a:lnTo>
                <a:lnTo>
                  <a:pt x="743" y="329"/>
                </a:lnTo>
                <a:lnTo>
                  <a:pt x="742" y="329"/>
                </a:lnTo>
                <a:lnTo>
                  <a:pt x="742" y="332"/>
                </a:lnTo>
                <a:lnTo>
                  <a:pt x="742" y="333"/>
                </a:lnTo>
                <a:lnTo>
                  <a:pt x="742" y="337"/>
                </a:lnTo>
                <a:lnTo>
                  <a:pt x="741" y="337"/>
                </a:lnTo>
                <a:lnTo>
                  <a:pt x="738" y="337"/>
                </a:lnTo>
                <a:lnTo>
                  <a:pt x="737" y="337"/>
                </a:lnTo>
                <a:lnTo>
                  <a:pt x="737" y="339"/>
                </a:lnTo>
                <a:lnTo>
                  <a:pt x="737" y="339"/>
                </a:lnTo>
                <a:lnTo>
                  <a:pt x="737" y="342"/>
                </a:lnTo>
                <a:lnTo>
                  <a:pt x="737" y="346"/>
                </a:lnTo>
                <a:lnTo>
                  <a:pt x="734" y="346"/>
                </a:lnTo>
                <a:lnTo>
                  <a:pt x="731" y="346"/>
                </a:lnTo>
                <a:lnTo>
                  <a:pt x="730" y="346"/>
                </a:lnTo>
                <a:lnTo>
                  <a:pt x="727" y="346"/>
                </a:lnTo>
                <a:lnTo>
                  <a:pt x="724" y="346"/>
                </a:lnTo>
                <a:lnTo>
                  <a:pt x="723" y="346"/>
                </a:lnTo>
                <a:lnTo>
                  <a:pt x="721" y="346"/>
                </a:lnTo>
                <a:lnTo>
                  <a:pt x="718" y="346"/>
                </a:lnTo>
                <a:lnTo>
                  <a:pt x="714" y="346"/>
                </a:lnTo>
                <a:lnTo>
                  <a:pt x="712" y="346"/>
                </a:lnTo>
                <a:lnTo>
                  <a:pt x="710" y="346"/>
                </a:lnTo>
                <a:lnTo>
                  <a:pt x="707" y="346"/>
                </a:lnTo>
                <a:lnTo>
                  <a:pt x="706" y="346"/>
                </a:lnTo>
                <a:lnTo>
                  <a:pt x="703" y="346"/>
                </a:lnTo>
                <a:lnTo>
                  <a:pt x="703" y="347"/>
                </a:lnTo>
                <a:lnTo>
                  <a:pt x="703" y="350"/>
                </a:lnTo>
                <a:lnTo>
                  <a:pt x="703" y="353"/>
                </a:lnTo>
                <a:lnTo>
                  <a:pt x="703" y="354"/>
                </a:lnTo>
                <a:lnTo>
                  <a:pt x="703" y="354"/>
                </a:lnTo>
                <a:lnTo>
                  <a:pt x="703" y="357"/>
                </a:lnTo>
                <a:lnTo>
                  <a:pt x="703" y="361"/>
                </a:lnTo>
                <a:lnTo>
                  <a:pt x="702" y="361"/>
                </a:lnTo>
                <a:lnTo>
                  <a:pt x="699" y="361"/>
                </a:lnTo>
                <a:lnTo>
                  <a:pt x="698" y="361"/>
                </a:lnTo>
                <a:lnTo>
                  <a:pt x="695" y="361"/>
                </a:lnTo>
                <a:lnTo>
                  <a:pt x="692" y="361"/>
                </a:lnTo>
                <a:lnTo>
                  <a:pt x="692" y="363"/>
                </a:lnTo>
                <a:lnTo>
                  <a:pt x="692" y="364"/>
                </a:lnTo>
                <a:lnTo>
                  <a:pt x="692" y="370"/>
                </a:lnTo>
                <a:lnTo>
                  <a:pt x="691" y="370"/>
                </a:lnTo>
                <a:lnTo>
                  <a:pt x="689" y="370"/>
                </a:lnTo>
                <a:lnTo>
                  <a:pt x="687" y="370"/>
                </a:lnTo>
                <a:lnTo>
                  <a:pt x="684" y="370"/>
                </a:lnTo>
                <a:lnTo>
                  <a:pt x="684" y="371"/>
                </a:lnTo>
                <a:lnTo>
                  <a:pt x="684" y="371"/>
                </a:lnTo>
                <a:lnTo>
                  <a:pt x="684" y="374"/>
                </a:lnTo>
                <a:lnTo>
                  <a:pt x="684" y="375"/>
                </a:lnTo>
                <a:lnTo>
                  <a:pt x="684" y="375"/>
                </a:lnTo>
                <a:lnTo>
                  <a:pt x="681" y="375"/>
                </a:lnTo>
                <a:lnTo>
                  <a:pt x="681" y="375"/>
                </a:lnTo>
                <a:lnTo>
                  <a:pt x="680" y="375"/>
                </a:lnTo>
                <a:lnTo>
                  <a:pt x="680" y="378"/>
                </a:lnTo>
                <a:lnTo>
                  <a:pt x="680" y="380"/>
                </a:lnTo>
                <a:lnTo>
                  <a:pt x="680" y="384"/>
                </a:lnTo>
                <a:lnTo>
                  <a:pt x="677" y="384"/>
                </a:lnTo>
                <a:lnTo>
                  <a:pt x="677" y="386"/>
                </a:lnTo>
                <a:lnTo>
                  <a:pt x="677" y="386"/>
                </a:lnTo>
                <a:lnTo>
                  <a:pt x="677" y="388"/>
                </a:lnTo>
                <a:lnTo>
                  <a:pt x="677" y="391"/>
                </a:lnTo>
                <a:lnTo>
                  <a:pt x="674" y="391"/>
                </a:lnTo>
                <a:lnTo>
                  <a:pt x="674" y="392"/>
                </a:lnTo>
                <a:lnTo>
                  <a:pt x="674" y="392"/>
                </a:lnTo>
                <a:lnTo>
                  <a:pt x="674" y="395"/>
                </a:lnTo>
                <a:lnTo>
                  <a:pt x="674" y="399"/>
                </a:lnTo>
                <a:lnTo>
                  <a:pt x="673" y="399"/>
                </a:lnTo>
                <a:lnTo>
                  <a:pt x="671" y="399"/>
                </a:lnTo>
                <a:lnTo>
                  <a:pt x="669" y="399"/>
                </a:lnTo>
                <a:lnTo>
                  <a:pt x="666" y="399"/>
                </a:lnTo>
                <a:lnTo>
                  <a:pt x="664" y="399"/>
                </a:lnTo>
                <a:lnTo>
                  <a:pt x="662" y="399"/>
                </a:lnTo>
                <a:lnTo>
                  <a:pt x="660" y="399"/>
                </a:lnTo>
                <a:lnTo>
                  <a:pt x="658" y="399"/>
                </a:lnTo>
                <a:lnTo>
                  <a:pt x="656" y="399"/>
                </a:lnTo>
                <a:lnTo>
                  <a:pt x="653" y="399"/>
                </a:lnTo>
                <a:lnTo>
                  <a:pt x="652" y="399"/>
                </a:lnTo>
                <a:lnTo>
                  <a:pt x="649" y="399"/>
                </a:lnTo>
                <a:lnTo>
                  <a:pt x="646" y="399"/>
                </a:lnTo>
                <a:lnTo>
                  <a:pt x="645" y="399"/>
                </a:lnTo>
                <a:lnTo>
                  <a:pt x="642" y="399"/>
                </a:lnTo>
                <a:lnTo>
                  <a:pt x="641" y="399"/>
                </a:lnTo>
                <a:lnTo>
                  <a:pt x="640" y="399"/>
                </a:lnTo>
                <a:lnTo>
                  <a:pt x="637" y="399"/>
                </a:lnTo>
                <a:lnTo>
                  <a:pt x="637" y="401"/>
                </a:lnTo>
                <a:lnTo>
                  <a:pt x="637" y="401"/>
                </a:lnTo>
                <a:lnTo>
                  <a:pt x="637" y="403"/>
                </a:lnTo>
                <a:lnTo>
                  <a:pt x="637" y="405"/>
                </a:lnTo>
                <a:lnTo>
                  <a:pt x="634" y="405"/>
                </a:lnTo>
                <a:lnTo>
                  <a:pt x="633" y="405"/>
                </a:lnTo>
                <a:lnTo>
                  <a:pt x="630" y="405"/>
                </a:lnTo>
                <a:lnTo>
                  <a:pt x="627" y="405"/>
                </a:lnTo>
                <a:lnTo>
                  <a:pt x="627" y="408"/>
                </a:lnTo>
                <a:lnTo>
                  <a:pt x="627" y="408"/>
                </a:lnTo>
                <a:lnTo>
                  <a:pt x="627" y="409"/>
                </a:lnTo>
                <a:lnTo>
                  <a:pt x="627" y="412"/>
                </a:lnTo>
                <a:lnTo>
                  <a:pt x="626" y="412"/>
                </a:lnTo>
                <a:lnTo>
                  <a:pt x="624" y="412"/>
                </a:lnTo>
                <a:lnTo>
                  <a:pt x="622" y="412"/>
                </a:lnTo>
                <a:lnTo>
                  <a:pt x="617" y="412"/>
                </a:lnTo>
                <a:lnTo>
                  <a:pt x="615" y="412"/>
                </a:lnTo>
                <a:lnTo>
                  <a:pt x="613" y="412"/>
                </a:lnTo>
                <a:lnTo>
                  <a:pt x="610" y="412"/>
                </a:lnTo>
                <a:lnTo>
                  <a:pt x="608" y="412"/>
                </a:lnTo>
                <a:lnTo>
                  <a:pt x="606" y="412"/>
                </a:lnTo>
                <a:lnTo>
                  <a:pt x="606" y="413"/>
                </a:lnTo>
                <a:lnTo>
                  <a:pt x="606" y="416"/>
                </a:lnTo>
                <a:lnTo>
                  <a:pt x="606" y="418"/>
                </a:lnTo>
                <a:lnTo>
                  <a:pt x="605" y="418"/>
                </a:lnTo>
                <a:lnTo>
                  <a:pt x="602" y="418"/>
                </a:lnTo>
                <a:lnTo>
                  <a:pt x="601" y="418"/>
                </a:lnTo>
                <a:lnTo>
                  <a:pt x="601" y="420"/>
                </a:lnTo>
                <a:lnTo>
                  <a:pt x="601" y="420"/>
                </a:lnTo>
                <a:lnTo>
                  <a:pt x="601" y="422"/>
                </a:lnTo>
                <a:lnTo>
                  <a:pt x="601" y="425"/>
                </a:lnTo>
                <a:lnTo>
                  <a:pt x="598" y="425"/>
                </a:lnTo>
                <a:lnTo>
                  <a:pt x="595" y="425"/>
                </a:lnTo>
                <a:lnTo>
                  <a:pt x="594" y="425"/>
                </a:lnTo>
                <a:lnTo>
                  <a:pt x="591" y="425"/>
                </a:lnTo>
                <a:lnTo>
                  <a:pt x="590" y="425"/>
                </a:lnTo>
                <a:lnTo>
                  <a:pt x="588" y="425"/>
                </a:lnTo>
                <a:lnTo>
                  <a:pt x="587" y="425"/>
                </a:lnTo>
                <a:lnTo>
                  <a:pt x="587" y="425"/>
                </a:lnTo>
                <a:lnTo>
                  <a:pt x="587" y="425"/>
                </a:lnTo>
                <a:lnTo>
                  <a:pt x="586" y="425"/>
                </a:lnTo>
                <a:lnTo>
                  <a:pt x="584" y="425"/>
                </a:lnTo>
                <a:lnTo>
                  <a:pt x="584" y="425"/>
                </a:lnTo>
                <a:lnTo>
                  <a:pt x="583" y="425"/>
                </a:lnTo>
                <a:lnTo>
                  <a:pt x="583" y="425"/>
                </a:lnTo>
                <a:lnTo>
                  <a:pt x="580" y="425"/>
                </a:lnTo>
                <a:lnTo>
                  <a:pt x="577" y="425"/>
                </a:lnTo>
                <a:lnTo>
                  <a:pt x="576" y="425"/>
                </a:lnTo>
                <a:lnTo>
                  <a:pt x="574" y="425"/>
                </a:lnTo>
                <a:lnTo>
                  <a:pt x="572" y="425"/>
                </a:lnTo>
                <a:lnTo>
                  <a:pt x="569" y="425"/>
                </a:lnTo>
                <a:lnTo>
                  <a:pt x="568" y="425"/>
                </a:lnTo>
                <a:lnTo>
                  <a:pt x="565" y="425"/>
                </a:lnTo>
                <a:lnTo>
                  <a:pt x="563" y="425"/>
                </a:lnTo>
                <a:lnTo>
                  <a:pt x="561" y="425"/>
                </a:lnTo>
                <a:lnTo>
                  <a:pt x="558" y="425"/>
                </a:lnTo>
                <a:lnTo>
                  <a:pt x="556" y="425"/>
                </a:lnTo>
                <a:lnTo>
                  <a:pt x="555" y="425"/>
                </a:lnTo>
                <a:lnTo>
                  <a:pt x="552" y="425"/>
                </a:lnTo>
                <a:lnTo>
                  <a:pt x="550" y="425"/>
                </a:lnTo>
                <a:lnTo>
                  <a:pt x="548" y="425"/>
                </a:lnTo>
                <a:lnTo>
                  <a:pt x="545" y="425"/>
                </a:lnTo>
                <a:lnTo>
                  <a:pt x="544" y="425"/>
                </a:lnTo>
                <a:lnTo>
                  <a:pt x="541" y="425"/>
                </a:lnTo>
                <a:lnTo>
                  <a:pt x="540" y="425"/>
                </a:lnTo>
                <a:lnTo>
                  <a:pt x="537" y="425"/>
                </a:lnTo>
                <a:lnTo>
                  <a:pt x="536" y="425"/>
                </a:lnTo>
                <a:lnTo>
                  <a:pt x="536" y="426"/>
                </a:lnTo>
                <a:lnTo>
                  <a:pt x="536" y="429"/>
                </a:lnTo>
                <a:lnTo>
                  <a:pt x="533" y="429"/>
                </a:lnTo>
                <a:lnTo>
                  <a:pt x="530" y="429"/>
                </a:lnTo>
                <a:lnTo>
                  <a:pt x="529" y="429"/>
                </a:lnTo>
                <a:lnTo>
                  <a:pt x="526" y="429"/>
                </a:lnTo>
                <a:lnTo>
                  <a:pt x="525" y="429"/>
                </a:lnTo>
                <a:lnTo>
                  <a:pt x="522" y="429"/>
                </a:lnTo>
                <a:lnTo>
                  <a:pt x="522" y="430"/>
                </a:lnTo>
                <a:lnTo>
                  <a:pt x="522" y="430"/>
                </a:lnTo>
                <a:lnTo>
                  <a:pt x="522" y="433"/>
                </a:lnTo>
                <a:lnTo>
                  <a:pt x="522" y="435"/>
                </a:lnTo>
                <a:lnTo>
                  <a:pt x="522" y="437"/>
                </a:lnTo>
                <a:lnTo>
                  <a:pt x="522" y="437"/>
                </a:lnTo>
                <a:lnTo>
                  <a:pt x="522" y="439"/>
                </a:lnTo>
                <a:lnTo>
                  <a:pt x="520" y="439"/>
                </a:lnTo>
                <a:lnTo>
                  <a:pt x="518" y="439"/>
                </a:lnTo>
                <a:lnTo>
                  <a:pt x="518" y="441"/>
                </a:lnTo>
                <a:lnTo>
                  <a:pt x="518" y="443"/>
                </a:lnTo>
                <a:lnTo>
                  <a:pt x="518" y="446"/>
                </a:lnTo>
                <a:lnTo>
                  <a:pt x="516" y="446"/>
                </a:lnTo>
                <a:lnTo>
                  <a:pt x="514" y="446"/>
                </a:lnTo>
                <a:lnTo>
                  <a:pt x="511" y="446"/>
                </a:lnTo>
                <a:lnTo>
                  <a:pt x="509" y="446"/>
                </a:lnTo>
                <a:lnTo>
                  <a:pt x="508" y="446"/>
                </a:lnTo>
                <a:lnTo>
                  <a:pt x="505" y="446"/>
                </a:lnTo>
                <a:lnTo>
                  <a:pt x="505" y="447"/>
                </a:lnTo>
                <a:lnTo>
                  <a:pt x="505" y="447"/>
                </a:lnTo>
                <a:lnTo>
                  <a:pt x="505" y="450"/>
                </a:lnTo>
                <a:lnTo>
                  <a:pt x="502" y="450"/>
                </a:lnTo>
                <a:lnTo>
                  <a:pt x="501" y="450"/>
                </a:lnTo>
                <a:lnTo>
                  <a:pt x="498" y="450"/>
                </a:lnTo>
                <a:lnTo>
                  <a:pt x="497" y="450"/>
                </a:lnTo>
                <a:lnTo>
                  <a:pt x="497" y="453"/>
                </a:lnTo>
                <a:lnTo>
                  <a:pt x="497" y="453"/>
                </a:lnTo>
                <a:lnTo>
                  <a:pt x="497" y="454"/>
                </a:lnTo>
                <a:lnTo>
                  <a:pt x="497" y="454"/>
                </a:lnTo>
                <a:lnTo>
                  <a:pt x="494" y="454"/>
                </a:lnTo>
                <a:lnTo>
                  <a:pt x="494" y="454"/>
                </a:lnTo>
                <a:lnTo>
                  <a:pt x="491" y="454"/>
                </a:lnTo>
                <a:lnTo>
                  <a:pt x="491" y="454"/>
                </a:lnTo>
                <a:lnTo>
                  <a:pt x="490" y="454"/>
                </a:lnTo>
                <a:lnTo>
                  <a:pt x="490" y="457"/>
                </a:lnTo>
                <a:lnTo>
                  <a:pt x="490" y="458"/>
                </a:lnTo>
                <a:lnTo>
                  <a:pt x="490" y="460"/>
                </a:lnTo>
                <a:lnTo>
                  <a:pt x="487" y="460"/>
                </a:lnTo>
                <a:lnTo>
                  <a:pt x="486" y="460"/>
                </a:lnTo>
                <a:lnTo>
                  <a:pt x="486" y="460"/>
                </a:lnTo>
                <a:lnTo>
                  <a:pt x="483" y="460"/>
                </a:lnTo>
                <a:lnTo>
                  <a:pt x="480" y="460"/>
                </a:lnTo>
                <a:lnTo>
                  <a:pt x="479" y="460"/>
                </a:lnTo>
                <a:lnTo>
                  <a:pt x="479" y="463"/>
                </a:lnTo>
                <a:lnTo>
                  <a:pt x="479" y="464"/>
                </a:lnTo>
                <a:lnTo>
                  <a:pt x="476" y="464"/>
                </a:lnTo>
                <a:lnTo>
                  <a:pt x="475" y="464"/>
                </a:lnTo>
                <a:lnTo>
                  <a:pt x="472" y="464"/>
                </a:lnTo>
                <a:lnTo>
                  <a:pt x="471" y="464"/>
                </a:lnTo>
                <a:lnTo>
                  <a:pt x="468" y="464"/>
                </a:lnTo>
                <a:lnTo>
                  <a:pt x="466" y="464"/>
                </a:lnTo>
                <a:lnTo>
                  <a:pt x="464" y="464"/>
                </a:lnTo>
                <a:lnTo>
                  <a:pt x="461" y="464"/>
                </a:lnTo>
                <a:lnTo>
                  <a:pt x="461" y="467"/>
                </a:lnTo>
                <a:lnTo>
                  <a:pt x="461" y="467"/>
                </a:lnTo>
                <a:lnTo>
                  <a:pt x="461" y="468"/>
                </a:lnTo>
                <a:lnTo>
                  <a:pt x="460" y="468"/>
                </a:lnTo>
                <a:lnTo>
                  <a:pt x="460" y="471"/>
                </a:lnTo>
                <a:lnTo>
                  <a:pt x="460" y="471"/>
                </a:lnTo>
                <a:lnTo>
                  <a:pt x="460" y="474"/>
                </a:lnTo>
                <a:lnTo>
                  <a:pt x="460" y="474"/>
                </a:lnTo>
                <a:lnTo>
                  <a:pt x="458" y="474"/>
                </a:lnTo>
                <a:lnTo>
                  <a:pt x="455" y="474"/>
                </a:lnTo>
                <a:lnTo>
                  <a:pt x="453" y="474"/>
                </a:lnTo>
                <a:lnTo>
                  <a:pt x="451" y="474"/>
                </a:lnTo>
                <a:lnTo>
                  <a:pt x="448" y="474"/>
                </a:lnTo>
                <a:lnTo>
                  <a:pt x="447" y="474"/>
                </a:lnTo>
                <a:lnTo>
                  <a:pt x="444" y="474"/>
                </a:lnTo>
                <a:lnTo>
                  <a:pt x="442" y="474"/>
                </a:lnTo>
                <a:lnTo>
                  <a:pt x="440" y="474"/>
                </a:lnTo>
                <a:lnTo>
                  <a:pt x="439" y="474"/>
                </a:lnTo>
                <a:lnTo>
                  <a:pt x="436" y="474"/>
                </a:lnTo>
                <a:lnTo>
                  <a:pt x="436" y="475"/>
                </a:lnTo>
                <a:lnTo>
                  <a:pt x="436" y="478"/>
                </a:lnTo>
                <a:lnTo>
                  <a:pt x="433" y="478"/>
                </a:lnTo>
                <a:lnTo>
                  <a:pt x="432" y="478"/>
                </a:lnTo>
                <a:lnTo>
                  <a:pt x="429" y="478"/>
                </a:lnTo>
                <a:lnTo>
                  <a:pt x="428" y="478"/>
                </a:lnTo>
                <a:lnTo>
                  <a:pt x="425" y="478"/>
                </a:lnTo>
                <a:lnTo>
                  <a:pt x="425" y="479"/>
                </a:lnTo>
                <a:lnTo>
                  <a:pt x="425" y="479"/>
                </a:lnTo>
                <a:lnTo>
                  <a:pt x="425" y="482"/>
                </a:lnTo>
                <a:lnTo>
                  <a:pt x="424" y="482"/>
                </a:lnTo>
                <a:lnTo>
                  <a:pt x="421" y="482"/>
                </a:lnTo>
                <a:lnTo>
                  <a:pt x="421" y="484"/>
                </a:lnTo>
                <a:lnTo>
                  <a:pt x="421" y="484"/>
                </a:lnTo>
                <a:lnTo>
                  <a:pt x="421" y="485"/>
                </a:lnTo>
                <a:lnTo>
                  <a:pt x="421" y="485"/>
                </a:lnTo>
                <a:lnTo>
                  <a:pt x="419" y="485"/>
                </a:lnTo>
                <a:lnTo>
                  <a:pt x="417" y="485"/>
                </a:lnTo>
                <a:lnTo>
                  <a:pt x="414" y="485"/>
                </a:lnTo>
                <a:lnTo>
                  <a:pt x="412" y="485"/>
                </a:lnTo>
                <a:lnTo>
                  <a:pt x="410" y="485"/>
                </a:lnTo>
                <a:lnTo>
                  <a:pt x="408" y="485"/>
                </a:lnTo>
                <a:lnTo>
                  <a:pt x="406" y="485"/>
                </a:lnTo>
                <a:lnTo>
                  <a:pt x="406" y="488"/>
                </a:lnTo>
                <a:lnTo>
                  <a:pt x="406" y="491"/>
                </a:lnTo>
                <a:lnTo>
                  <a:pt x="404" y="491"/>
                </a:lnTo>
                <a:lnTo>
                  <a:pt x="401" y="491"/>
                </a:lnTo>
                <a:lnTo>
                  <a:pt x="401" y="491"/>
                </a:lnTo>
                <a:lnTo>
                  <a:pt x="400" y="491"/>
                </a:lnTo>
                <a:lnTo>
                  <a:pt x="397" y="491"/>
                </a:lnTo>
                <a:lnTo>
                  <a:pt x="397" y="491"/>
                </a:lnTo>
                <a:lnTo>
                  <a:pt x="394" y="491"/>
                </a:lnTo>
                <a:lnTo>
                  <a:pt x="394" y="491"/>
                </a:lnTo>
                <a:lnTo>
                  <a:pt x="392" y="491"/>
                </a:lnTo>
                <a:lnTo>
                  <a:pt x="392" y="492"/>
                </a:lnTo>
                <a:lnTo>
                  <a:pt x="392" y="495"/>
                </a:lnTo>
                <a:lnTo>
                  <a:pt x="390" y="495"/>
                </a:lnTo>
                <a:lnTo>
                  <a:pt x="389" y="495"/>
                </a:lnTo>
                <a:lnTo>
                  <a:pt x="386" y="495"/>
                </a:lnTo>
                <a:lnTo>
                  <a:pt x="383" y="495"/>
                </a:lnTo>
                <a:lnTo>
                  <a:pt x="382" y="495"/>
                </a:lnTo>
                <a:lnTo>
                  <a:pt x="379" y="495"/>
                </a:lnTo>
                <a:lnTo>
                  <a:pt x="378" y="495"/>
                </a:lnTo>
                <a:lnTo>
                  <a:pt x="375" y="495"/>
                </a:lnTo>
                <a:lnTo>
                  <a:pt x="374" y="495"/>
                </a:lnTo>
                <a:lnTo>
                  <a:pt x="371" y="495"/>
                </a:lnTo>
                <a:lnTo>
                  <a:pt x="370" y="495"/>
                </a:lnTo>
                <a:lnTo>
                  <a:pt x="367" y="495"/>
                </a:lnTo>
                <a:lnTo>
                  <a:pt x="364" y="495"/>
                </a:lnTo>
                <a:lnTo>
                  <a:pt x="363" y="495"/>
                </a:lnTo>
                <a:lnTo>
                  <a:pt x="360" y="495"/>
                </a:lnTo>
                <a:lnTo>
                  <a:pt x="358" y="495"/>
                </a:lnTo>
                <a:lnTo>
                  <a:pt x="356" y="495"/>
                </a:lnTo>
                <a:lnTo>
                  <a:pt x="354" y="495"/>
                </a:lnTo>
                <a:lnTo>
                  <a:pt x="352" y="495"/>
                </a:lnTo>
                <a:lnTo>
                  <a:pt x="350" y="495"/>
                </a:lnTo>
                <a:lnTo>
                  <a:pt x="347" y="495"/>
                </a:lnTo>
                <a:lnTo>
                  <a:pt x="345" y="495"/>
                </a:lnTo>
                <a:lnTo>
                  <a:pt x="343" y="495"/>
                </a:lnTo>
                <a:lnTo>
                  <a:pt x="342" y="495"/>
                </a:lnTo>
                <a:lnTo>
                  <a:pt x="339" y="495"/>
                </a:lnTo>
                <a:lnTo>
                  <a:pt x="336" y="495"/>
                </a:lnTo>
                <a:lnTo>
                  <a:pt x="336" y="496"/>
                </a:lnTo>
                <a:lnTo>
                  <a:pt x="336" y="496"/>
                </a:lnTo>
                <a:lnTo>
                  <a:pt x="336" y="499"/>
                </a:lnTo>
                <a:lnTo>
                  <a:pt x="335" y="499"/>
                </a:lnTo>
                <a:lnTo>
                  <a:pt x="335" y="501"/>
                </a:lnTo>
                <a:lnTo>
                  <a:pt x="332" y="501"/>
                </a:lnTo>
                <a:lnTo>
                  <a:pt x="331" y="501"/>
                </a:lnTo>
                <a:lnTo>
                  <a:pt x="328" y="501"/>
                </a:lnTo>
                <a:lnTo>
                  <a:pt x="325" y="501"/>
                </a:lnTo>
                <a:lnTo>
                  <a:pt x="324" y="501"/>
                </a:lnTo>
                <a:lnTo>
                  <a:pt x="322" y="501"/>
                </a:lnTo>
                <a:lnTo>
                  <a:pt x="322" y="503"/>
                </a:lnTo>
                <a:lnTo>
                  <a:pt x="322" y="503"/>
                </a:lnTo>
                <a:lnTo>
                  <a:pt x="322" y="505"/>
                </a:lnTo>
                <a:lnTo>
                  <a:pt x="322" y="505"/>
                </a:lnTo>
                <a:lnTo>
                  <a:pt x="320" y="505"/>
                </a:lnTo>
                <a:lnTo>
                  <a:pt x="317" y="505"/>
                </a:lnTo>
                <a:lnTo>
                  <a:pt x="316" y="505"/>
                </a:lnTo>
                <a:lnTo>
                  <a:pt x="313" y="505"/>
                </a:lnTo>
                <a:lnTo>
                  <a:pt x="311" y="505"/>
                </a:lnTo>
                <a:lnTo>
                  <a:pt x="309" y="505"/>
                </a:lnTo>
                <a:lnTo>
                  <a:pt x="307" y="505"/>
                </a:lnTo>
                <a:lnTo>
                  <a:pt x="306" y="505"/>
                </a:lnTo>
                <a:lnTo>
                  <a:pt x="304" y="505"/>
                </a:lnTo>
                <a:lnTo>
                  <a:pt x="304" y="505"/>
                </a:lnTo>
                <a:lnTo>
                  <a:pt x="304" y="505"/>
                </a:lnTo>
                <a:lnTo>
                  <a:pt x="302" y="505"/>
                </a:lnTo>
                <a:lnTo>
                  <a:pt x="299" y="505"/>
                </a:lnTo>
                <a:lnTo>
                  <a:pt x="299" y="505"/>
                </a:lnTo>
                <a:lnTo>
                  <a:pt x="298" y="505"/>
                </a:lnTo>
                <a:lnTo>
                  <a:pt x="295" y="505"/>
                </a:lnTo>
                <a:lnTo>
                  <a:pt x="293" y="505"/>
                </a:lnTo>
                <a:lnTo>
                  <a:pt x="293" y="507"/>
                </a:lnTo>
                <a:lnTo>
                  <a:pt x="293" y="509"/>
                </a:lnTo>
                <a:lnTo>
                  <a:pt x="292" y="509"/>
                </a:lnTo>
                <a:lnTo>
                  <a:pt x="289" y="509"/>
                </a:lnTo>
                <a:lnTo>
                  <a:pt x="286" y="509"/>
                </a:lnTo>
                <a:lnTo>
                  <a:pt x="285" y="509"/>
                </a:lnTo>
                <a:lnTo>
                  <a:pt x="282" y="509"/>
                </a:lnTo>
                <a:lnTo>
                  <a:pt x="280" y="509"/>
                </a:lnTo>
                <a:lnTo>
                  <a:pt x="278" y="509"/>
                </a:lnTo>
                <a:lnTo>
                  <a:pt x="275" y="509"/>
                </a:lnTo>
                <a:lnTo>
                  <a:pt x="274" y="509"/>
                </a:lnTo>
                <a:lnTo>
                  <a:pt x="273" y="509"/>
                </a:lnTo>
                <a:lnTo>
                  <a:pt x="270" y="509"/>
                </a:lnTo>
                <a:lnTo>
                  <a:pt x="270" y="512"/>
                </a:lnTo>
                <a:lnTo>
                  <a:pt x="267" y="512"/>
                </a:lnTo>
                <a:lnTo>
                  <a:pt x="266" y="512"/>
                </a:lnTo>
                <a:lnTo>
                  <a:pt x="263" y="512"/>
                </a:lnTo>
                <a:lnTo>
                  <a:pt x="260" y="512"/>
                </a:lnTo>
                <a:lnTo>
                  <a:pt x="259" y="512"/>
                </a:lnTo>
                <a:lnTo>
                  <a:pt x="257" y="512"/>
                </a:lnTo>
                <a:lnTo>
                  <a:pt x="255" y="512"/>
                </a:lnTo>
                <a:lnTo>
                  <a:pt x="253" y="512"/>
                </a:lnTo>
                <a:lnTo>
                  <a:pt x="250" y="512"/>
                </a:lnTo>
                <a:lnTo>
                  <a:pt x="248" y="512"/>
                </a:lnTo>
                <a:lnTo>
                  <a:pt x="234" y="512"/>
                </a:lnTo>
                <a:lnTo>
                  <a:pt x="231" y="512"/>
                </a:lnTo>
                <a:lnTo>
                  <a:pt x="228" y="512"/>
                </a:lnTo>
                <a:lnTo>
                  <a:pt x="228" y="513"/>
                </a:lnTo>
                <a:lnTo>
                  <a:pt x="228" y="513"/>
                </a:lnTo>
                <a:lnTo>
                  <a:pt x="228" y="516"/>
                </a:lnTo>
                <a:lnTo>
                  <a:pt x="227" y="516"/>
                </a:lnTo>
                <a:lnTo>
                  <a:pt x="226" y="516"/>
                </a:lnTo>
                <a:lnTo>
                  <a:pt x="223" y="516"/>
                </a:lnTo>
                <a:lnTo>
                  <a:pt x="223" y="518"/>
                </a:lnTo>
                <a:lnTo>
                  <a:pt x="223" y="518"/>
                </a:lnTo>
                <a:lnTo>
                  <a:pt x="220" y="518"/>
                </a:lnTo>
                <a:lnTo>
                  <a:pt x="219" y="518"/>
                </a:lnTo>
                <a:lnTo>
                  <a:pt x="216" y="518"/>
                </a:lnTo>
                <a:lnTo>
                  <a:pt x="216" y="520"/>
                </a:lnTo>
                <a:lnTo>
                  <a:pt x="216" y="522"/>
                </a:lnTo>
                <a:lnTo>
                  <a:pt x="216" y="522"/>
                </a:lnTo>
                <a:lnTo>
                  <a:pt x="214" y="522"/>
                </a:lnTo>
                <a:lnTo>
                  <a:pt x="212" y="522"/>
                </a:lnTo>
                <a:lnTo>
                  <a:pt x="209" y="522"/>
                </a:lnTo>
                <a:lnTo>
                  <a:pt x="209" y="522"/>
                </a:lnTo>
                <a:lnTo>
                  <a:pt x="208" y="522"/>
                </a:lnTo>
                <a:lnTo>
                  <a:pt x="208" y="524"/>
                </a:lnTo>
                <a:lnTo>
                  <a:pt x="205" y="524"/>
                </a:lnTo>
                <a:lnTo>
                  <a:pt x="205" y="524"/>
                </a:lnTo>
                <a:lnTo>
                  <a:pt x="202" y="524"/>
                </a:lnTo>
                <a:lnTo>
                  <a:pt x="201" y="524"/>
                </a:lnTo>
                <a:lnTo>
                  <a:pt x="198" y="524"/>
                </a:lnTo>
                <a:lnTo>
                  <a:pt x="196" y="524"/>
                </a:lnTo>
                <a:lnTo>
                  <a:pt x="196" y="526"/>
                </a:lnTo>
                <a:lnTo>
                  <a:pt x="196" y="529"/>
                </a:lnTo>
                <a:lnTo>
                  <a:pt x="194" y="529"/>
                </a:lnTo>
                <a:lnTo>
                  <a:pt x="192" y="529"/>
                </a:lnTo>
                <a:lnTo>
                  <a:pt x="190" y="529"/>
                </a:lnTo>
                <a:lnTo>
                  <a:pt x="188" y="529"/>
                </a:lnTo>
                <a:lnTo>
                  <a:pt x="185" y="529"/>
                </a:lnTo>
                <a:lnTo>
                  <a:pt x="183" y="529"/>
                </a:lnTo>
                <a:lnTo>
                  <a:pt x="181" y="529"/>
                </a:lnTo>
                <a:lnTo>
                  <a:pt x="178" y="529"/>
                </a:lnTo>
                <a:lnTo>
                  <a:pt x="177" y="529"/>
                </a:lnTo>
                <a:lnTo>
                  <a:pt x="176" y="529"/>
                </a:lnTo>
                <a:lnTo>
                  <a:pt x="173" y="529"/>
                </a:lnTo>
                <a:lnTo>
                  <a:pt x="173" y="530"/>
                </a:lnTo>
                <a:lnTo>
                  <a:pt x="170" y="530"/>
                </a:lnTo>
                <a:lnTo>
                  <a:pt x="163" y="530"/>
                </a:lnTo>
                <a:lnTo>
                  <a:pt x="162" y="530"/>
                </a:lnTo>
                <a:lnTo>
                  <a:pt x="159" y="530"/>
                </a:lnTo>
                <a:lnTo>
                  <a:pt x="159" y="533"/>
                </a:lnTo>
                <a:lnTo>
                  <a:pt x="159" y="533"/>
                </a:lnTo>
                <a:lnTo>
                  <a:pt x="159" y="534"/>
                </a:lnTo>
                <a:lnTo>
                  <a:pt x="159" y="534"/>
                </a:lnTo>
                <a:lnTo>
                  <a:pt x="159" y="537"/>
                </a:lnTo>
                <a:lnTo>
                  <a:pt x="159" y="537"/>
                </a:lnTo>
                <a:lnTo>
                  <a:pt x="158" y="537"/>
                </a:lnTo>
                <a:lnTo>
                  <a:pt x="158" y="539"/>
                </a:lnTo>
                <a:lnTo>
                  <a:pt x="158" y="541"/>
                </a:lnTo>
                <a:lnTo>
                  <a:pt x="156" y="541"/>
                </a:lnTo>
                <a:lnTo>
                  <a:pt x="154" y="541"/>
                </a:lnTo>
                <a:lnTo>
                  <a:pt x="151" y="541"/>
                </a:lnTo>
                <a:lnTo>
                  <a:pt x="149" y="541"/>
                </a:lnTo>
                <a:lnTo>
                  <a:pt x="147" y="541"/>
                </a:lnTo>
                <a:lnTo>
                  <a:pt x="144" y="541"/>
                </a:lnTo>
                <a:lnTo>
                  <a:pt x="142" y="541"/>
                </a:lnTo>
                <a:lnTo>
                  <a:pt x="141" y="541"/>
                </a:lnTo>
                <a:lnTo>
                  <a:pt x="141" y="543"/>
                </a:lnTo>
                <a:lnTo>
                  <a:pt x="138" y="543"/>
                </a:lnTo>
                <a:lnTo>
                  <a:pt x="138" y="546"/>
                </a:lnTo>
                <a:lnTo>
                  <a:pt x="137" y="546"/>
                </a:lnTo>
                <a:lnTo>
                  <a:pt x="134" y="546"/>
                </a:lnTo>
                <a:lnTo>
                  <a:pt x="131" y="546"/>
                </a:lnTo>
                <a:lnTo>
                  <a:pt x="130" y="546"/>
                </a:lnTo>
                <a:lnTo>
                  <a:pt x="127" y="546"/>
                </a:lnTo>
                <a:lnTo>
                  <a:pt x="123" y="546"/>
                </a:lnTo>
                <a:lnTo>
                  <a:pt x="122" y="546"/>
                </a:lnTo>
                <a:lnTo>
                  <a:pt x="119" y="546"/>
                </a:lnTo>
                <a:lnTo>
                  <a:pt x="119" y="547"/>
                </a:lnTo>
                <a:lnTo>
                  <a:pt x="119" y="547"/>
                </a:lnTo>
                <a:lnTo>
                  <a:pt x="119" y="550"/>
                </a:lnTo>
                <a:lnTo>
                  <a:pt x="119" y="550"/>
                </a:lnTo>
                <a:lnTo>
                  <a:pt x="115" y="550"/>
                </a:lnTo>
                <a:lnTo>
                  <a:pt x="112" y="550"/>
                </a:lnTo>
                <a:lnTo>
                  <a:pt x="112" y="550"/>
                </a:lnTo>
                <a:lnTo>
                  <a:pt x="109" y="550"/>
                </a:lnTo>
                <a:lnTo>
                  <a:pt x="109" y="551"/>
                </a:lnTo>
                <a:lnTo>
                  <a:pt x="101" y="551"/>
                </a:lnTo>
                <a:lnTo>
                  <a:pt x="99" y="551"/>
                </a:lnTo>
                <a:lnTo>
                  <a:pt x="99" y="551"/>
                </a:lnTo>
                <a:lnTo>
                  <a:pt x="97" y="551"/>
                </a:lnTo>
                <a:lnTo>
                  <a:pt x="97" y="554"/>
                </a:lnTo>
                <a:lnTo>
                  <a:pt x="97" y="556"/>
                </a:lnTo>
                <a:lnTo>
                  <a:pt x="97" y="558"/>
                </a:lnTo>
                <a:lnTo>
                  <a:pt x="88" y="558"/>
                </a:lnTo>
                <a:lnTo>
                  <a:pt x="86" y="558"/>
                </a:lnTo>
                <a:lnTo>
                  <a:pt x="84" y="558"/>
                </a:lnTo>
                <a:lnTo>
                  <a:pt x="84" y="560"/>
                </a:lnTo>
                <a:lnTo>
                  <a:pt x="84" y="560"/>
                </a:lnTo>
                <a:lnTo>
                  <a:pt x="84" y="562"/>
                </a:lnTo>
                <a:lnTo>
                  <a:pt x="77" y="562"/>
                </a:lnTo>
                <a:lnTo>
                  <a:pt x="76" y="562"/>
                </a:lnTo>
                <a:lnTo>
                  <a:pt x="73" y="562"/>
                </a:lnTo>
                <a:lnTo>
                  <a:pt x="73" y="564"/>
                </a:lnTo>
                <a:lnTo>
                  <a:pt x="73" y="564"/>
                </a:lnTo>
                <a:lnTo>
                  <a:pt x="66" y="564"/>
                </a:lnTo>
                <a:lnTo>
                  <a:pt x="65" y="564"/>
                </a:lnTo>
                <a:lnTo>
                  <a:pt x="62" y="564"/>
                </a:lnTo>
                <a:lnTo>
                  <a:pt x="62" y="567"/>
                </a:lnTo>
                <a:lnTo>
                  <a:pt x="52" y="567"/>
                </a:lnTo>
                <a:lnTo>
                  <a:pt x="50" y="567"/>
                </a:lnTo>
                <a:lnTo>
                  <a:pt x="47" y="567"/>
                </a:lnTo>
                <a:lnTo>
                  <a:pt x="47" y="568"/>
                </a:lnTo>
                <a:lnTo>
                  <a:pt x="47" y="571"/>
                </a:lnTo>
                <a:lnTo>
                  <a:pt x="47" y="571"/>
                </a:lnTo>
                <a:lnTo>
                  <a:pt x="45" y="571"/>
                </a:lnTo>
                <a:lnTo>
                  <a:pt x="22" y="571"/>
                </a:lnTo>
                <a:lnTo>
                  <a:pt x="19" y="571"/>
                </a:lnTo>
                <a:lnTo>
                  <a:pt x="19" y="571"/>
                </a:lnTo>
                <a:lnTo>
                  <a:pt x="16" y="571"/>
                </a:lnTo>
                <a:lnTo>
                  <a:pt x="3" y="571"/>
                </a:lnTo>
                <a:lnTo>
                  <a:pt x="0" y="571"/>
                </a:lnTo>
                <a:lnTo>
                  <a:pt x="0" y="572"/>
                </a:lnTo>
                <a:lnTo>
                  <a:pt x="0" y="575"/>
                </a:lnTo>
                <a:lnTo>
                  <a:pt x="3" y="578"/>
                </a:lnTo>
                <a:lnTo>
                  <a:pt x="19" y="578"/>
                </a:lnTo>
                <a:lnTo>
                  <a:pt x="19" y="578"/>
                </a:lnTo>
                <a:lnTo>
                  <a:pt x="47" y="578"/>
                </a:lnTo>
                <a:lnTo>
                  <a:pt x="47" y="578"/>
                </a:lnTo>
                <a:lnTo>
                  <a:pt x="47" y="578"/>
                </a:lnTo>
                <a:lnTo>
                  <a:pt x="50" y="578"/>
                </a:lnTo>
                <a:lnTo>
                  <a:pt x="52" y="575"/>
                </a:lnTo>
                <a:lnTo>
                  <a:pt x="54" y="572"/>
                </a:lnTo>
                <a:lnTo>
                  <a:pt x="65" y="572"/>
                </a:lnTo>
                <a:lnTo>
                  <a:pt x="66" y="571"/>
                </a:lnTo>
                <a:lnTo>
                  <a:pt x="76" y="571"/>
                </a:lnTo>
                <a:lnTo>
                  <a:pt x="77" y="568"/>
                </a:lnTo>
                <a:lnTo>
                  <a:pt x="86" y="568"/>
                </a:lnTo>
                <a:lnTo>
                  <a:pt x="88" y="567"/>
                </a:lnTo>
                <a:lnTo>
                  <a:pt x="88" y="567"/>
                </a:lnTo>
                <a:lnTo>
                  <a:pt x="90" y="564"/>
                </a:lnTo>
                <a:lnTo>
                  <a:pt x="99" y="564"/>
                </a:lnTo>
                <a:lnTo>
                  <a:pt x="101" y="562"/>
                </a:lnTo>
                <a:lnTo>
                  <a:pt x="101" y="562"/>
                </a:lnTo>
                <a:lnTo>
                  <a:pt x="104" y="560"/>
                </a:lnTo>
                <a:lnTo>
                  <a:pt x="104" y="558"/>
                </a:lnTo>
                <a:lnTo>
                  <a:pt x="112" y="558"/>
                </a:lnTo>
                <a:lnTo>
                  <a:pt x="115" y="556"/>
                </a:lnTo>
                <a:lnTo>
                  <a:pt x="122" y="556"/>
                </a:lnTo>
                <a:lnTo>
                  <a:pt x="123" y="554"/>
                </a:lnTo>
                <a:lnTo>
                  <a:pt x="124" y="551"/>
                </a:lnTo>
                <a:lnTo>
                  <a:pt x="130" y="551"/>
                </a:lnTo>
                <a:lnTo>
                  <a:pt x="131" y="551"/>
                </a:lnTo>
                <a:lnTo>
                  <a:pt x="137" y="551"/>
                </a:lnTo>
                <a:lnTo>
                  <a:pt x="141" y="551"/>
                </a:lnTo>
                <a:lnTo>
                  <a:pt x="142" y="550"/>
                </a:lnTo>
                <a:lnTo>
                  <a:pt x="142" y="550"/>
                </a:lnTo>
                <a:lnTo>
                  <a:pt x="144" y="547"/>
                </a:lnTo>
                <a:lnTo>
                  <a:pt x="144" y="547"/>
                </a:lnTo>
                <a:lnTo>
                  <a:pt x="147" y="547"/>
                </a:lnTo>
                <a:lnTo>
                  <a:pt x="149" y="547"/>
                </a:lnTo>
                <a:lnTo>
                  <a:pt x="154" y="547"/>
                </a:lnTo>
                <a:lnTo>
                  <a:pt x="156" y="547"/>
                </a:lnTo>
                <a:lnTo>
                  <a:pt x="159" y="547"/>
                </a:lnTo>
                <a:lnTo>
                  <a:pt x="162" y="546"/>
                </a:lnTo>
                <a:lnTo>
                  <a:pt x="163" y="543"/>
                </a:lnTo>
                <a:lnTo>
                  <a:pt x="163" y="541"/>
                </a:lnTo>
                <a:lnTo>
                  <a:pt x="166" y="539"/>
                </a:lnTo>
                <a:lnTo>
                  <a:pt x="166" y="537"/>
                </a:lnTo>
                <a:lnTo>
                  <a:pt x="173" y="537"/>
                </a:lnTo>
                <a:lnTo>
                  <a:pt x="176" y="537"/>
                </a:lnTo>
                <a:lnTo>
                  <a:pt x="177" y="534"/>
                </a:lnTo>
                <a:lnTo>
                  <a:pt x="177" y="534"/>
                </a:lnTo>
                <a:lnTo>
                  <a:pt x="178" y="534"/>
                </a:lnTo>
                <a:lnTo>
                  <a:pt x="181" y="534"/>
                </a:lnTo>
                <a:lnTo>
                  <a:pt x="183" y="534"/>
                </a:lnTo>
                <a:lnTo>
                  <a:pt x="185" y="534"/>
                </a:lnTo>
                <a:lnTo>
                  <a:pt x="190" y="534"/>
                </a:lnTo>
                <a:lnTo>
                  <a:pt x="196" y="534"/>
                </a:lnTo>
                <a:lnTo>
                  <a:pt x="198" y="534"/>
                </a:lnTo>
                <a:lnTo>
                  <a:pt x="201" y="533"/>
                </a:lnTo>
                <a:lnTo>
                  <a:pt x="201" y="533"/>
                </a:lnTo>
                <a:lnTo>
                  <a:pt x="202" y="530"/>
                </a:lnTo>
                <a:lnTo>
                  <a:pt x="205" y="530"/>
                </a:lnTo>
                <a:lnTo>
                  <a:pt x="205" y="530"/>
                </a:lnTo>
                <a:lnTo>
                  <a:pt x="205" y="530"/>
                </a:lnTo>
                <a:lnTo>
                  <a:pt x="209" y="530"/>
                </a:lnTo>
                <a:lnTo>
                  <a:pt x="212" y="529"/>
                </a:lnTo>
                <a:lnTo>
                  <a:pt x="216" y="529"/>
                </a:lnTo>
                <a:lnTo>
                  <a:pt x="216" y="529"/>
                </a:lnTo>
                <a:lnTo>
                  <a:pt x="216" y="529"/>
                </a:lnTo>
                <a:lnTo>
                  <a:pt x="219" y="529"/>
                </a:lnTo>
                <a:lnTo>
                  <a:pt x="220" y="526"/>
                </a:lnTo>
                <a:lnTo>
                  <a:pt x="223" y="524"/>
                </a:lnTo>
                <a:lnTo>
                  <a:pt x="226" y="524"/>
                </a:lnTo>
                <a:lnTo>
                  <a:pt x="227" y="522"/>
                </a:lnTo>
                <a:lnTo>
                  <a:pt x="228" y="522"/>
                </a:lnTo>
                <a:lnTo>
                  <a:pt x="231" y="522"/>
                </a:lnTo>
                <a:lnTo>
                  <a:pt x="234" y="520"/>
                </a:lnTo>
                <a:lnTo>
                  <a:pt x="234" y="520"/>
                </a:lnTo>
                <a:lnTo>
                  <a:pt x="235" y="518"/>
                </a:lnTo>
                <a:lnTo>
                  <a:pt x="250" y="518"/>
                </a:lnTo>
                <a:lnTo>
                  <a:pt x="255" y="518"/>
                </a:lnTo>
                <a:lnTo>
                  <a:pt x="257" y="518"/>
                </a:lnTo>
                <a:lnTo>
                  <a:pt x="259" y="518"/>
                </a:lnTo>
                <a:lnTo>
                  <a:pt x="263" y="518"/>
                </a:lnTo>
                <a:lnTo>
                  <a:pt x="266" y="518"/>
                </a:lnTo>
                <a:lnTo>
                  <a:pt x="267" y="518"/>
                </a:lnTo>
                <a:lnTo>
                  <a:pt x="270" y="518"/>
                </a:lnTo>
                <a:lnTo>
                  <a:pt x="273" y="518"/>
                </a:lnTo>
                <a:lnTo>
                  <a:pt x="274" y="516"/>
                </a:lnTo>
                <a:lnTo>
                  <a:pt x="274" y="516"/>
                </a:lnTo>
                <a:lnTo>
                  <a:pt x="278" y="516"/>
                </a:lnTo>
                <a:lnTo>
                  <a:pt x="282" y="516"/>
                </a:lnTo>
                <a:lnTo>
                  <a:pt x="286" y="516"/>
                </a:lnTo>
                <a:lnTo>
                  <a:pt x="289" y="516"/>
                </a:lnTo>
                <a:lnTo>
                  <a:pt x="292" y="516"/>
                </a:lnTo>
                <a:lnTo>
                  <a:pt x="293" y="516"/>
                </a:lnTo>
                <a:lnTo>
                  <a:pt x="295" y="516"/>
                </a:lnTo>
                <a:lnTo>
                  <a:pt x="298" y="513"/>
                </a:lnTo>
                <a:lnTo>
                  <a:pt x="299" y="512"/>
                </a:lnTo>
                <a:lnTo>
                  <a:pt x="299" y="512"/>
                </a:lnTo>
                <a:lnTo>
                  <a:pt x="299" y="512"/>
                </a:lnTo>
                <a:lnTo>
                  <a:pt x="304" y="512"/>
                </a:lnTo>
                <a:lnTo>
                  <a:pt x="304" y="512"/>
                </a:lnTo>
                <a:lnTo>
                  <a:pt x="306" y="512"/>
                </a:lnTo>
                <a:lnTo>
                  <a:pt x="306" y="512"/>
                </a:lnTo>
                <a:lnTo>
                  <a:pt x="307" y="512"/>
                </a:lnTo>
                <a:lnTo>
                  <a:pt x="311" y="512"/>
                </a:lnTo>
                <a:lnTo>
                  <a:pt x="313" y="512"/>
                </a:lnTo>
                <a:lnTo>
                  <a:pt x="316" y="512"/>
                </a:lnTo>
                <a:lnTo>
                  <a:pt x="320" y="512"/>
                </a:lnTo>
                <a:lnTo>
                  <a:pt x="322" y="512"/>
                </a:lnTo>
                <a:lnTo>
                  <a:pt x="324" y="512"/>
                </a:lnTo>
                <a:lnTo>
                  <a:pt x="325" y="509"/>
                </a:lnTo>
                <a:lnTo>
                  <a:pt x="328" y="507"/>
                </a:lnTo>
                <a:lnTo>
                  <a:pt x="328" y="507"/>
                </a:lnTo>
                <a:lnTo>
                  <a:pt x="332" y="507"/>
                </a:lnTo>
                <a:lnTo>
                  <a:pt x="335" y="507"/>
                </a:lnTo>
                <a:lnTo>
                  <a:pt x="336" y="507"/>
                </a:lnTo>
                <a:lnTo>
                  <a:pt x="338" y="505"/>
                </a:lnTo>
                <a:lnTo>
                  <a:pt x="339" y="505"/>
                </a:lnTo>
                <a:lnTo>
                  <a:pt x="340" y="503"/>
                </a:lnTo>
                <a:lnTo>
                  <a:pt x="342" y="503"/>
                </a:lnTo>
                <a:lnTo>
                  <a:pt x="343" y="501"/>
                </a:lnTo>
                <a:lnTo>
                  <a:pt x="343" y="501"/>
                </a:lnTo>
                <a:lnTo>
                  <a:pt x="345" y="501"/>
                </a:lnTo>
                <a:lnTo>
                  <a:pt x="347" y="501"/>
                </a:lnTo>
                <a:lnTo>
                  <a:pt x="350" y="501"/>
                </a:lnTo>
                <a:lnTo>
                  <a:pt x="352" y="501"/>
                </a:lnTo>
                <a:lnTo>
                  <a:pt x="354" y="501"/>
                </a:lnTo>
                <a:lnTo>
                  <a:pt x="356" y="501"/>
                </a:lnTo>
                <a:lnTo>
                  <a:pt x="360" y="501"/>
                </a:lnTo>
                <a:lnTo>
                  <a:pt x="364" y="501"/>
                </a:lnTo>
                <a:lnTo>
                  <a:pt x="367" y="501"/>
                </a:lnTo>
                <a:lnTo>
                  <a:pt x="370" y="501"/>
                </a:lnTo>
                <a:lnTo>
                  <a:pt x="371" y="501"/>
                </a:lnTo>
                <a:lnTo>
                  <a:pt x="375" y="501"/>
                </a:lnTo>
                <a:lnTo>
                  <a:pt x="379" y="501"/>
                </a:lnTo>
                <a:lnTo>
                  <a:pt x="382" y="501"/>
                </a:lnTo>
                <a:lnTo>
                  <a:pt x="383" y="501"/>
                </a:lnTo>
                <a:lnTo>
                  <a:pt x="386" y="501"/>
                </a:lnTo>
                <a:lnTo>
                  <a:pt x="392" y="501"/>
                </a:lnTo>
                <a:lnTo>
                  <a:pt x="393" y="500"/>
                </a:lnTo>
                <a:lnTo>
                  <a:pt x="393" y="501"/>
                </a:lnTo>
                <a:lnTo>
                  <a:pt x="394" y="501"/>
                </a:lnTo>
                <a:lnTo>
                  <a:pt x="397" y="499"/>
                </a:lnTo>
                <a:lnTo>
                  <a:pt x="397" y="499"/>
                </a:lnTo>
                <a:lnTo>
                  <a:pt x="400" y="496"/>
                </a:lnTo>
                <a:lnTo>
                  <a:pt x="401" y="496"/>
                </a:lnTo>
                <a:lnTo>
                  <a:pt x="401" y="496"/>
                </a:lnTo>
                <a:lnTo>
                  <a:pt x="401" y="496"/>
                </a:lnTo>
                <a:lnTo>
                  <a:pt x="404" y="496"/>
                </a:lnTo>
                <a:lnTo>
                  <a:pt x="406" y="496"/>
                </a:lnTo>
                <a:lnTo>
                  <a:pt x="408" y="496"/>
                </a:lnTo>
                <a:lnTo>
                  <a:pt x="410" y="495"/>
                </a:lnTo>
                <a:lnTo>
                  <a:pt x="412" y="492"/>
                </a:lnTo>
                <a:lnTo>
                  <a:pt x="414" y="492"/>
                </a:lnTo>
                <a:lnTo>
                  <a:pt x="417" y="492"/>
                </a:lnTo>
                <a:lnTo>
                  <a:pt x="419" y="492"/>
                </a:lnTo>
                <a:lnTo>
                  <a:pt x="424" y="492"/>
                </a:lnTo>
                <a:lnTo>
                  <a:pt x="425" y="491"/>
                </a:lnTo>
                <a:lnTo>
                  <a:pt x="428" y="488"/>
                </a:lnTo>
                <a:lnTo>
                  <a:pt x="428" y="488"/>
                </a:lnTo>
                <a:lnTo>
                  <a:pt x="429" y="485"/>
                </a:lnTo>
                <a:lnTo>
                  <a:pt x="429" y="485"/>
                </a:lnTo>
                <a:lnTo>
                  <a:pt x="432" y="484"/>
                </a:lnTo>
                <a:lnTo>
                  <a:pt x="432" y="484"/>
                </a:lnTo>
                <a:lnTo>
                  <a:pt x="433" y="484"/>
                </a:lnTo>
                <a:lnTo>
                  <a:pt x="436" y="484"/>
                </a:lnTo>
                <a:lnTo>
                  <a:pt x="439" y="484"/>
                </a:lnTo>
                <a:lnTo>
                  <a:pt x="440" y="482"/>
                </a:lnTo>
                <a:lnTo>
                  <a:pt x="442" y="479"/>
                </a:lnTo>
                <a:lnTo>
                  <a:pt x="448" y="479"/>
                </a:lnTo>
                <a:lnTo>
                  <a:pt x="451" y="479"/>
                </a:lnTo>
                <a:lnTo>
                  <a:pt x="453" y="479"/>
                </a:lnTo>
                <a:lnTo>
                  <a:pt x="455" y="479"/>
                </a:lnTo>
                <a:lnTo>
                  <a:pt x="458" y="479"/>
                </a:lnTo>
                <a:lnTo>
                  <a:pt x="460" y="479"/>
                </a:lnTo>
                <a:lnTo>
                  <a:pt x="461" y="479"/>
                </a:lnTo>
                <a:lnTo>
                  <a:pt x="464" y="478"/>
                </a:lnTo>
                <a:lnTo>
                  <a:pt x="466" y="475"/>
                </a:lnTo>
                <a:lnTo>
                  <a:pt x="466" y="474"/>
                </a:lnTo>
                <a:lnTo>
                  <a:pt x="468" y="471"/>
                </a:lnTo>
                <a:lnTo>
                  <a:pt x="468" y="471"/>
                </a:lnTo>
                <a:lnTo>
                  <a:pt x="472" y="471"/>
                </a:lnTo>
                <a:lnTo>
                  <a:pt x="475" y="471"/>
                </a:lnTo>
                <a:lnTo>
                  <a:pt x="479" y="471"/>
                </a:lnTo>
                <a:lnTo>
                  <a:pt x="480" y="471"/>
                </a:lnTo>
                <a:lnTo>
                  <a:pt x="483" y="468"/>
                </a:lnTo>
                <a:lnTo>
                  <a:pt x="483" y="468"/>
                </a:lnTo>
                <a:lnTo>
                  <a:pt x="486" y="467"/>
                </a:lnTo>
                <a:lnTo>
                  <a:pt x="486" y="467"/>
                </a:lnTo>
                <a:lnTo>
                  <a:pt x="486" y="467"/>
                </a:lnTo>
                <a:lnTo>
                  <a:pt x="490" y="467"/>
                </a:lnTo>
                <a:lnTo>
                  <a:pt x="490" y="467"/>
                </a:lnTo>
                <a:lnTo>
                  <a:pt x="491" y="467"/>
                </a:lnTo>
                <a:lnTo>
                  <a:pt x="494" y="464"/>
                </a:lnTo>
                <a:lnTo>
                  <a:pt x="494" y="464"/>
                </a:lnTo>
                <a:lnTo>
                  <a:pt x="497" y="463"/>
                </a:lnTo>
                <a:lnTo>
                  <a:pt x="497" y="460"/>
                </a:lnTo>
                <a:lnTo>
                  <a:pt x="498" y="460"/>
                </a:lnTo>
                <a:lnTo>
                  <a:pt x="501" y="458"/>
                </a:lnTo>
                <a:lnTo>
                  <a:pt x="502" y="457"/>
                </a:lnTo>
                <a:lnTo>
                  <a:pt x="502" y="457"/>
                </a:lnTo>
                <a:lnTo>
                  <a:pt x="508" y="457"/>
                </a:lnTo>
                <a:lnTo>
                  <a:pt x="509" y="454"/>
                </a:lnTo>
                <a:lnTo>
                  <a:pt x="509" y="454"/>
                </a:lnTo>
                <a:lnTo>
                  <a:pt x="511" y="453"/>
                </a:lnTo>
                <a:lnTo>
                  <a:pt x="511" y="453"/>
                </a:lnTo>
                <a:lnTo>
                  <a:pt x="514" y="453"/>
                </a:lnTo>
                <a:lnTo>
                  <a:pt x="516" y="453"/>
                </a:lnTo>
                <a:lnTo>
                  <a:pt x="518" y="453"/>
                </a:lnTo>
                <a:lnTo>
                  <a:pt x="520" y="453"/>
                </a:lnTo>
                <a:lnTo>
                  <a:pt x="522" y="450"/>
                </a:lnTo>
                <a:lnTo>
                  <a:pt x="525" y="447"/>
                </a:lnTo>
                <a:lnTo>
                  <a:pt x="525" y="446"/>
                </a:lnTo>
                <a:lnTo>
                  <a:pt x="526" y="443"/>
                </a:lnTo>
                <a:lnTo>
                  <a:pt x="529" y="441"/>
                </a:lnTo>
                <a:lnTo>
                  <a:pt x="529" y="437"/>
                </a:lnTo>
                <a:lnTo>
                  <a:pt x="529" y="437"/>
                </a:lnTo>
                <a:lnTo>
                  <a:pt x="529" y="435"/>
                </a:lnTo>
                <a:lnTo>
                  <a:pt x="530" y="435"/>
                </a:lnTo>
                <a:lnTo>
                  <a:pt x="533" y="435"/>
                </a:lnTo>
                <a:lnTo>
                  <a:pt x="536" y="435"/>
                </a:lnTo>
                <a:lnTo>
                  <a:pt x="537" y="435"/>
                </a:lnTo>
                <a:lnTo>
                  <a:pt x="540" y="433"/>
                </a:lnTo>
                <a:lnTo>
                  <a:pt x="541" y="430"/>
                </a:lnTo>
                <a:lnTo>
                  <a:pt x="544" y="430"/>
                </a:lnTo>
                <a:lnTo>
                  <a:pt x="550" y="430"/>
                </a:lnTo>
                <a:lnTo>
                  <a:pt x="552" y="430"/>
                </a:lnTo>
                <a:lnTo>
                  <a:pt x="556" y="430"/>
                </a:lnTo>
                <a:lnTo>
                  <a:pt x="558" y="430"/>
                </a:lnTo>
                <a:lnTo>
                  <a:pt x="565" y="430"/>
                </a:lnTo>
                <a:lnTo>
                  <a:pt x="568" y="430"/>
                </a:lnTo>
                <a:lnTo>
                  <a:pt x="569" y="430"/>
                </a:lnTo>
                <a:lnTo>
                  <a:pt x="572" y="430"/>
                </a:lnTo>
                <a:lnTo>
                  <a:pt x="574" y="430"/>
                </a:lnTo>
                <a:lnTo>
                  <a:pt x="576" y="430"/>
                </a:lnTo>
                <a:lnTo>
                  <a:pt x="580" y="430"/>
                </a:lnTo>
                <a:lnTo>
                  <a:pt x="583" y="430"/>
                </a:lnTo>
                <a:lnTo>
                  <a:pt x="583" y="430"/>
                </a:lnTo>
                <a:lnTo>
                  <a:pt x="583" y="430"/>
                </a:lnTo>
                <a:lnTo>
                  <a:pt x="584" y="430"/>
                </a:lnTo>
                <a:lnTo>
                  <a:pt x="586" y="430"/>
                </a:lnTo>
                <a:lnTo>
                  <a:pt x="587" y="430"/>
                </a:lnTo>
                <a:lnTo>
                  <a:pt x="587" y="430"/>
                </a:lnTo>
                <a:lnTo>
                  <a:pt x="588" y="430"/>
                </a:lnTo>
                <a:lnTo>
                  <a:pt x="588" y="430"/>
                </a:lnTo>
                <a:lnTo>
                  <a:pt x="590" y="430"/>
                </a:lnTo>
                <a:lnTo>
                  <a:pt x="595" y="430"/>
                </a:lnTo>
                <a:lnTo>
                  <a:pt x="598" y="430"/>
                </a:lnTo>
                <a:lnTo>
                  <a:pt x="601" y="430"/>
                </a:lnTo>
                <a:lnTo>
                  <a:pt x="602" y="430"/>
                </a:lnTo>
                <a:lnTo>
                  <a:pt x="605" y="429"/>
                </a:lnTo>
                <a:lnTo>
                  <a:pt x="606" y="426"/>
                </a:lnTo>
                <a:lnTo>
                  <a:pt x="606" y="425"/>
                </a:lnTo>
                <a:lnTo>
                  <a:pt x="608" y="425"/>
                </a:lnTo>
                <a:lnTo>
                  <a:pt x="610" y="422"/>
                </a:lnTo>
                <a:lnTo>
                  <a:pt x="610" y="422"/>
                </a:lnTo>
                <a:lnTo>
                  <a:pt x="613" y="420"/>
                </a:lnTo>
                <a:lnTo>
                  <a:pt x="613" y="418"/>
                </a:lnTo>
                <a:lnTo>
                  <a:pt x="615" y="418"/>
                </a:lnTo>
                <a:lnTo>
                  <a:pt x="624" y="418"/>
                </a:lnTo>
                <a:lnTo>
                  <a:pt x="626" y="418"/>
                </a:lnTo>
                <a:lnTo>
                  <a:pt x="630" y="418"/>
                </a:lnTo>
                <a:lnTo>
                  <a:pt x="633" y="416"/>
                </a:lnTo>
                <a:lnTo>
                  <a:pt x="634" y="413"/>
                </a:lnTo>
                <a:lnTo>
                  <a:pt x="634" y="412"/>
                </a:lnTo>
                <a:lnTo>
                  <a:pt x="637" y="412"/>
                </a:lnTo>
                <a:lnTo>
                  <a:pt x="640" y="412"/>
                </a:lnTo>
                <a:lnTo>
                  <a:pt x="641" y="409"/>
                </a:lnTo>
                <a:lnTo>
                  <a:pt x="641" y="409"/>
                </a:lnTo>
                <a:lnTo>
                  <a:pt x="642" y="408"/>
                </a:lnTo>
                <a:lnTo>
                  <a:pt x="642" y="405"/>
                </a:lnTo>
                <a:lnTo>
                  <a:pt x="646" y="405"/>
                </a:lnTo>
                <a:lnTo>
                  <a:pt x="649" y="405"/>
                </a:lnTo>
                <a:lnTo>
                  <a:pt x="653" y="405"/>
                </a:lnTo>
                <a:lnTo>
                  <a:pt x="656" y="405"/>
                </a:lnTo>
                <a:lnTo>
                  <a:pt x="660" y="405"/>
                </a:lnTo>
                <a:lnTo>
                  <a:pt x="662" y="405"/>
                </a:lnTo>
                <a:lnTo>
                  <a:pt x="664" y="405"/>
                </a:lnTo>
                <a:lnTo>
                  <a:pt x="666" y="405"/>
                </a:lnTo>
                <a:lnTo>
                  <a:pt x="673" y="405"/>
                </a:lnTo>
                <a:lnTo>
                  <a:pt x="674" y="405"/>
                </a:lnTo>
                <a:lnTo>
                  <a:pt x="677" y="405"/>
                </a:lnTo>
                <a:lnTo>
                  <a:pt x="680" y="403"/>
                </a:lnTo>
                <a:lnTo>
                  <a:pt x="680" y="403"/>
                </a:lnTo>
                <a:lnTo>
                  <a:pt x="682" y="401"/>
                </a:lnTo>
                <a:lnTo>
                  <a:pt x="682" y="395"/>
                </a:lnTo>
                <a:lnTo>
                  <a:pt x="684" y="392"/>
                </a:lnTo>
                <a:lnTo>
                  <a:pt x="684" y="388"/>
                </a:lnTo>
                <a:lnTo>
                  <a:pt x="684" y="388"/>
                </a:lnTo>
                <a:lnTo>
                  <a:pt x="687" y="386"/>
                </a:lnTo>
                <a:lnTo>
                  <a:pt x="687" y="382"/>
                </a:lnTo>
                <a:lnTo>
                  <a:pt x="689" y="380"/>
                </a:lnTo>
                <a:lnTo>
                  <a:pt x="691" y="378"/>
                </a:lnTo>
                <a:lnTo>
                  <a:pt x="691" y="375"/>
                </a:lnTo>
                <a:lnTo>
                  <a:pt x="692" y="375"/>
                </a:lnTo>
                <a:lnTo>
                  <a:pt x="695" y="375"/>
                </a:lnTo>
                <a:lnTo>
                  <a:pt x="698" y="374"/>
                </a:lnTo>
                <a:lnTo>
                  <a:pt x="698" y="374"/>
                </a:lnTo>
                <a:lnTo>
                  <a:pt x="699" y="371"/>
                </a:lnTo>
                <a:lnTo>
                  <a:pt x="699" y="367"/>
                </a:lnTo>
                <a:lnTo>
                  <a:pt x="703" y="367"/>
                </a:lnTo>
                <a:lnTo>
                  <a:pt x="706" y="367"/>
                </a:lnTo>
                <a:lnTo>
                  <a:pt x="707" y="364"/>
                </a:lnTo>
                <a:lnTo>
                  <a:pt x="710" y="363"/>
                </a:lnTo>
                <a:lnTo>
                  <a:pt x="710" y="354"/>
                </a:lnTo>
                <a:lnTo>
                  <a:pt x="710" y="354"/>
                </a:lnTo>
                <a:lnTo>
                  <a:pt x="710" y="354"/>
                </a:lnTo>
                <a:lnTo>
                  <a:pt x="710" y="353"/>
                </a:lnTo>
                <a:lnTo>
                  <a:pt x="712" y="353"/>
                </a:lnTo>
                <a:lnTo>
                  <a:pt x="721" y="353"/>
                </a:lnTo>
                <a:lnTo>
                  <a:pt x="723" y="353"/>
                </a:lnTo>
                <a:lnTo>
                  <a:pt x="730" y="353"/>
                </a:lnTo>
                <a:lnTo>
                  <a:pt x="731" y="353"/>
                </a:lnTo>
                <a:lnTo>
                  <a:pt x="734" y="353"/>
                </a:lnTo>
                <a:lnTo>
                  <a:pt x="738" y="353"/>
                </a:lnTo>
                <a:lnTo>
                  <a:pt x="741" y="350"/>
                </a:lnTo>
                <a:lnTo>
                  <a:pt x="742" y="347"/>
                </a:lnTo>
                <a:lnTo>
                  <a:pt x="742" y="343"/>
                </a:lnTo>
                <a:lnTo>
                  <a:pt x="743" y="343"/>
                </a:lnTo>
                <a:lnTo>
                  <a:pt x="746" y="342"/>
                </a:lnTo>
                <a:lnTo>
                  <a:pt x="746" y="342"/>
                </a:lnTo>
                <a:lnTo>
                  <a:pt x="749" y="339"/>
                </a:lnTo>
                <a:lnTo>
                  <a:pt x="749" y="336"/>
                </a:lnTo>
                <a:lnTo>
                  <a:pt x="750" y="336"/>
                </a:lnTo>
                <a:lnTo>
                  <a:pt x="753" y="333"/>
                </a:lnTo>
                <a:lnTo>
                  <a:pt x="756" y="332"/>
                </a:lnTo>
                <a:lnTo>
                  <a:pt x="756" y="325"/>
                </a:lnTo>
                <a:lnTo>
                  <a:pt x="757" y="322"/>
                </a:lnTo>
                <a:lnTo>
                  <a:pt x="757" y="318"/>
                </a:lnTo>
                <a:lnTo>
                  <a:pt x="768" y="318"/>
                </a:lnTo>
                <a:lnTo>
                  <a:pt x="768" y="318"/>
                </a:lnTo>
                <a:lnTo>
                  <a:pt x="768" y="318"/>
                </a:lnTo>
                <a:lnTo>
                  <a:pt x="773" y="318"/>
                </a:lnTo>
                <a:lnTo>
                  <a:pt x="775" y="316"/>
                </a:lnTo>
                <a:lnTo>
                  <a:pt x="775" y="316"/>
                </a:lnTo>
                <a:lnTo>
                  <a:pt x="777" y="314"/>
                </a:lnTo>
                <a:lnTo>
                  <a:pt x="777" y="309"/>
                </a:lnTo>
                <a:lnTo>
                  <a:pt x="779" y="309"/>
                </a:lnTo>
                <a:lnTo>
                  <a:pt x="786" y="309"/>
                </a:lnTo>
                <a:lnTo>
                  <a:pt x="788" y="308"/>
                </a:lnTo>
                <a:lnTo>
                  <a:pt x="791" y="305"/>
                </a:lnTo>
                <a:lnTo>
                  <a:pt x="791" y="299"/>
                </a:lnTo>
                <a:lnTo>
                  <a:pt x="799" y="299"/>
                </a:lnTo>
                <a:lnTo>
                  <a:pt x="800" y="297"/>
                </a:lnTo>
                <a:lnTo>
                  <a:pt x="800" y="297"/>
                </a:lnTo>
                <a:lnTo>
                  <a:pt x="803" y="295"/>
                </a:lnTo>
                <a:lnTo>
                  <a:pt x="803" y="291"/>
                </a:lnTo>
                <a:lnTo>
                  <a:pt x="806" y="291"/>
                </a:lnTo>
                <a:lnTo>
                  <a:pt x="818" y="291"/>
                </a:lnTo>
                <a:lnTo>
                  <a:pt x="827" y="291"/>
                </a:lnTo>
                <a:lnTo>
                  <a:pt x="828" y="291"/>
                </a:lnTo>
                <a:lnTo>
                  <a:pt x="831" y="288"/>
                </a:lnTo>
                <a:lnTo>
                  <a:pt x="833" y="287"/>
                </a:lnTo>
                <a:lnTo>
                  <a:pt x="833" y="278"/>
                </a:lnTo>
                <a:lnTo>
                  <a:pt x="835" y="276"/>
                </a:lnTo>
                <a:lnTo>
                  <a:pt x="835" y="266"/>
                </a:lnTo>
                <a:lnTo>
                  <a:pt x="835" y="266"/>
                </a:lnTo>
                <a:lnTo>
                  <a:pt x="835" y="259"/>
                </a:lnTo>
                <a:lnTo>
                  <a:pt x="842" y="259"/>
                </a:lnTo>
                <a:lnTo>
                  <a:pt x="843" y="257"/>
                </a:lnTo>
                <a:lnTo>
                  <a:pt x="846" y="254"/>
                </a:lnTo>
                <a:lnTo>
                  <a:pt x="846" y="249"/>
                </a:lnTo>
                <a:lnTo>
                  <a:pt x="853" y="249"/>
                </a:lnTo>
                <a:lnTo>
                  <a:pt x="854" y="249"/>
                </a:lnTo>
                <a:lnTo>
                  <a:pt x="857" y="249"/>
                </a:lnTo>
                <a:lnTo>
                  <a:pt x="857" y="249"/>
                </a:lnTo>
                <a:lnTo>
                  <a:pt x="857" y="249"/>
                </a:lnTo>
                <a:lnTo>
                  <a:pt x="885" y="249"/>
                </a:lnTo>
                <a:lnTo>
                  <a:pt x="887" y="246"/>
                </a:lnTo>
                <a:lnTo>
                  <a:pt x="889" y="243"/>
                </a:lnTo>
                <a:lnTo>
                  <a:pt x="889" y="238"/>
                </a:lnTo>
                <a:lnTo>
                  <a:pt x="893" y="238"/>
                </a:lnTo>
                <a:lnTo>
                  <a:pt x="896" y="236"/>
                </a:lnTo>
                <a:lnTo>
                  <a:pt x="896" y="236"/>
                </a:lnTo>
                <a:lnTo>
                  <a:pt x="897" y="233"/>
                </a:lnTo>
                <a:lnTo>
                  <a:pt x="897" y="225"/>
                </a:lnTo>
                <a:lnTo>
                  <a:pt x="900" y="225"/>
                </a:lnTo>
                <a:lnTo>
                  <a:pt x="903" y="225"/>
                </a:lnTo>
                <a:lnTo>
                  <a:pt x="904" y="225"/>
                </a:lnTo>
                <a:lnTo>
                  <a:pt x="908" y="225"/>
                </a:lnTo>
                <a:lnTo>
                  <a:pt x="915" y="225"/>
                </a:lnTo>
                <a:lnTo>
                  <a:pt x="917" y="225"/>
                </a:lnTo>
                <a:lnTo>
                  <a:pt x="922" y="225"/>
                </a:lnTo>
                <a:lnTo>
                  <a:pt x="923" y="222"/>
                </a:lnTo>
                <a:lnTo>
                  <a:pt x="925" y="221"/>
                </a:lnTo>
                <a:lnTo>
                  <a:pt x="925" y="215"/>
                </a:lnTo>
                <a:lnTo>
                  <a:pt x="930" y="215"/>
                </a:lnTo>
                <a:lnTo>
                  <a:pt x="943" y="215"/>
                </a:lnTo>
                <a:lnTo>
                  <a:pt x="944" y="212"/>
                </a:lnTo>
                <a:lnTo>
                  <a:pt x="947" y="211"/>
                </a:lnTo>
                <a:lnTo>
                  <a:pt x="947" y="200"/>
                </a:lnTo>
                <a:lnTo>
                  <a:pt x="947" y="200"/>
                </a:lnTo>
                <a:lnTo>
                  <a:pt x="950" y="197"/>
                </a:lnTo>
                <a:lnTo>
                  <a:pt x="950" y="188"/>
                </a:lnTo>
                <a:lnTo>
                  <a:pt x="958" y="188"/>
                </a:lnTo>
                <a:lnTo>
                  <a:pt x="959" y="187"/>
                </a:lnTo>
                <a:lnTo>
                  <a:pt x="959" y="187"/>
                </a:lnTo>
                <a:lnTo>
                  <a:pt x="962" y="184"/>
                </a:lnTo>
                <a:lnTo>
                  <a:pt x="962" y="176"/>
                </a:lnTo>
                <a:lnTo>
                  <a:pt x="969" y="176"/>
                </a:lnTo>
                <a:lnTo>
                  <a:pt x="969" y="176"/>
                </a:lnTo>
                <a:lnTo>
                  <a:pt x="969" y="176"/>
                </a:lnTo>
                <a:lnTo>
                  <a:pt x="977" y="176"/>
                </a:lnTo>
                <a:lnTo>
                  <a:pt x="986" y="176"/>
                </a:lnTo>
                <a:lnTo>
                  <a:pt x="997" y="176"/>
                </a:lnTo>
                <a:lnTo>
                  <a:pt x="1000" y="176"/>
                </a:lnTo>
                <a:lnTo>
                  <a:pt x="1001" y="174"/>
                </a:lnTo>
                <a:lnTo>
                  <a:pt x="1001" y="174"/>
                </a:lnTo>
                <a:lnTo>
                  <a:pt x="1004" y="172"/>
                </a:lnTo>
                <a:lnTo>
                  <a:pt x="1004" y="161"/>
                </a:lnTo>
                <a:lnTo>
                  <a:pt x="1008" y="161"/>
                </a:lnTo>
                <a:lnTo>
                  <a:pt x="1009" y="159"/>
                </a:lnTo>
                <a:lnTo>
                  <a:pt x="1012" y="157"/>
                </a:lnTo>
                <a:lnTo>
                  <a:pt x="1012" y="146"/>
                </a:lnTo>
                <a:lnTo>
                  <a:pt x="1019" y="146"/>
                </a:lnTo>
                <a:lnTo>
                  <a:pt x="1023" y="146"/>
                </a:lnTo>
                <a:lnTo>
                  <a:pt x="1031" y="146"/>
                </a:lnTo>
                <a:lnTo>
                  <a:pt x="1038" y="146"/>
                </a:lnTo>
                <a:lnTo>
                  <a:pt x="1038" y="146"/>
                </a:lnTo>
                <a:lnTo>
                  <a:pt x="1038" y="146"/>
                </a:lnTo>
                <a:lnTo>
                  <a:pt x="1059" y="146"/>
                </a:lnTo>
                <a:lnTo>
                  <a:pt x="1059" y="146"/>
                </a:lnTo>
                <a:lnTo>
                  <a:pt x="1059" y="146"/>
                </a:lnTo>
                <a:lnTo>
                  <a:pt x="1081" y="146"/>
                </a:lnTo>
                <a:lnTo>
                  <a:pt x="1084" y="145"/>
                </a:lnTo>
                <a:lnTo>
                  <a:pt x="1085" y="142"/>
                </a:lnTo>
                <a:lnTo>
                  <a:pt x="1085" y="132"/>
                </a:lnTo>
                <a:lnTo>
                  <a:pt x="1090" y="132"/>
                </a:lnTo>
                <a:lnTo>
                  <a:pt x="1094" y="132"/>
                </a:lnTo>
                <a:lnTo>
                  <a:pt x="1097" y="132"/>
                </a:lnTo>
                <a:lnTo>
                  <a:pt x="1098" y="132"/>
                </a:lnTo>
                <a:lnTo>
                  <a:pt x="1124" y="132"/>
                </a:lnTo>
                <a:lnTo>
                  <a:pt x="1133" y="132"/>
                </a:lnTo>
                <a:lnTo>
                  <a:pt x="1133" y="132"/>
                </a:lnTo>
                <a:lnTo>
                  <a:pt x="1133" y="132"/>
                </a:lnTo>
                <a:lnTo>
                  <a:pt x="1152" y="132"/>
                </a:lnTo>
                <a:lnTo>
                  <a:pt x="1153" y="132"/>
                </a:lnTo>
                <a:lnTo>
                  <a:pt x="1174" y="132"/>
                </a:lnTo>
                <a:lnTo>
                  <a:pt x="1174" y="132"/>
                </a:lnTo>
                <a:lnTo>
                  <a:pt x="1174" y="132"/>
                </a:lnTo>
                <a:lnTo>
                  <a:pt x="1178" y="132"/>
                </a:lnTo>
                <a:lnTo>
                  <a:pt x="1187" y="132"/>
                </a:lnTo>
                <a:lnTo>
                  <a:pt x="1202" y="132"/>
                </a:lnTo>
                <a:lnTo>
                  <a:pt x="1205" y="132"/>
                </a:lnTo>
                <a:lnTo>
                  <a:pt x="1206" y="132"/>
                </a:lnTo>
                <a:lnTo>
                  <a:pt x="1210" y="132"/>
                </a:lnTo>
                <a:lnTo>
                  <a:pt x="1227" y="132"/>
                </a:lnTo>
                <a:lnTo>
                  <a:pt x="1234" y="132"/>
                </a:lnTo>
                <a:lnTo>
                  <a:pt x="1234" y="132"/>
                </a:lnTo>
                <a:lnTo>
                  <a:pt x="1234" y="132"/>
                </a:lnTo>
                <a:lnTo>
                  <a:pt x="1254" y="132"/>
                </a:lnTo>
                <a:lnTo>
                  <a:pt x="1256" y="129"/>
                </a:lnTo>
                <a:lnTo>
                  <a:pt x="1259" y="128"/>
                </a:lnTo>
                <a:lnTo>
                  <a:pt x="1259" y="108"/>
                </a:lnTo>
                <a:lnTo>
                  <a:pt x="1260" y="108"/>
                </a:lnTo>
                <a:lnTo>
                  <a:pt x="1267" y="108"/>
                </a:lnTo>
                <a:lnTo>
                  <a:pt x="1279" y="108"/>
                </a:lnTo>
                <a:lnTo>
                  <a:pt x="1286" y="108"/>
                </a:lnTo>
                <a:lnTo>
                  <a:pt x="1289" y="108"/>
                </a:lnTo>
                <a:lnTo>
                  <a:pt x="1338" y="108"/>
                </a:lnTo>
                <a:lnTo>
                  <a:pt x="1338" y="108"/>
                </a:lnTo>
                <a:lnTo>
                  <a:pt x="1338" y="108"/>
                </a:lnTo>
                <a:lnTo>
                  <a:pt x="1351" y="108"/>
                </a:lnTo>
                <a:lnTo>
                  <a:pt x="1351" y="108"/>
                </a:lnTo>
                <a:lnTo>
                  <a:pt x="1351" y="108"/>
                </a:lnTo>
                <a:lnTo>
                  <a:pt x="1360" y="108"/>
                </a:lnTo>
                <a:lnTo>
                  <a:pt x="1368" y="108"/>
                </a:lnTo>
                <a:lnTo>
                  <a:pt x="1372" y="108"/>
                </a:lnTo>
                <a:lnTo>
                  <a:pt x="1398" y="108"/>
                </a:lnTo>
                <a:lnTo>
                  <a:pt x="1400" y="107"/>
                </a:lnTo>
                <a:lnTo>
                  <a:pt x="1400" y="107"/>
                </a:lnTo>
                <a:lnTo>
                  <a:pt x="1403" y="104"/>
                </a:lnTo>
                <a:lnTo>
                  <a:pt x="1403" y="76"/>
                </a:lnTo>
                <a:lnTo>
                  <a:pt x="1407" y="76"/>
                </a:lnTo>
                <a:lnTo>
                  <a:pt x="1414" y="76"/>
                </a:lnTo>
                <a:lnTo>
                  <a:pt x="1418" y="76"/>
                </a:lnTo>
                <a:lnTo>
                  <a:pt x="1422" y="76"/>
                </a:lnTo>
                <a:lnTo>
                  <a:pt x="1423" y="76"/>
                </a:lnTo>
                <a:lnTo>
                  <a:pt x="1423" y="76"/>
                </a:lnTo>
                <a:lnTo>
                  <a:pt x="1423" y="76"/>
                </a:lnTo>
                <a:lnTo>
                  <a:pt x="1448" y="76"/>
                </a:lnTo>
                <a:lnTo>
                  <a:pt x="1448" y="76"/>
                </a:lnTo>
                <a:lnTo>
                  <a:pt x="1448" y="76"/>
                </a:lnTo>
                <a:lnTo>
                  <a:pt x="1476" y="76"/>
                </a:lnTo>
                <a:lnTo>
                  <a:pt x="1487" y="76"/>
                </a:lnTo>
                <a:lnTo>
                  <a:pt x="1505" y="76"/>
                </a:lnTo>
                <a:lnTo>
                  <a:pt x="1512" y="76"/>
                </a:lnTo>
                <a:lnTo>
                  <a:pt x="1524" y="76"/>
                </a:lnTo>
                <a:lnTo>
                  <a:pt x="1620" y="76"/>
                </a:lnTo>
                <a:lnTo>
                  <a:pt x="1621" y="74"/>
                </a:lnTo>
                <a:lnTo>
                  <a:pt x="1621" y="74"/>
                </a:lnTo>
                <a:lnTo>
                  <a:pt x="1623" y="74"/>
                </a:lnTo>
                <a:lnTo>
                  <a:pt x="1626" y="72"/>
                </a:lnTo>
                <a:lnTo>
                  <a:pt x="1626" y="7"/>
                </a:lnTo>
                <a:lnTo>
                  <a:pt x="1642" y="7"/>
                </a:lnTo>
                <a:lnTo>
                  <a:pt x="1642" y="7"/>
                </a:lnTo>
                <a:lnTo>
                  <a:pt x="1642" y="7"/>
                </a:lnTo>
                <a:lnTo>
                  <a:pt x="1662" y="7"/>
                </a:lnTo>
                <a:lnTo>
                  <a:pt x="1696" y="7"/>
                </a:lnTo>
                <a:lnTo>
                  <a:pt x="1703" y="7"/>
                </a:lnTo>
                <a:lnTo>
                  <a:pt x="1704" y="7"/>
                </a:lnTo>
                <a:lnTo>
                  <a:pt x="1878" y="7"/>
                </a:lnTo>
                <a:lnTo>
                  <a:pt x="1878" y="7"/>
                </a:lnTo>
                <a:lnTo>
                  <a:pt x="1878" y="7"/>
                </a:lnTo>
                <a:lnTo>
                  <a:pt x="1925" y="7"/>
                </a:lnTo>
                <a:lnTo>
                  <a:pt x="1932" y="7"/>
                </a:lnTo>
                <a:lnTo>
                  <a:pt x="2017" y="7"/>
                </a:lnTo>
                <a:lnTo>
                  <a:pt x="2041" y="7"/>
                </a:lnTo>
                <a:lnTo>
                  <a:pt x="2044" y="4"/>
                </a:lnTo>
                <a:lnTo>
                  <a:pt x="2044" y="1"/>
                </a:lnTo>
                <a:lnTo>
                  <a:pt x="2044" y="0"/>
                </a:lnTo>
                <a:lnTo>
                  <a:pt x="2041" y="0"/>
                </a:lnTo>
                <a:close/>
              </a:path>
            </a:pathLst>
          </a:custGeom>
          <a:solidFill>
            <a:schemeClr val="accent3"/>
          </a:solidFill>
          <a:ln w="19050">
            <a:solidFill>
              <a:schemeClr val="accent3"/>
            </a:solidFill>
            <a:round/>
            <a:headEnd/>
            <a:tailEnd/>
          </a:ln>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31" name="Freeform 27"/>
          <p:cNvSpPr>
            <a:spLocks/>
          </p:cNvSpPr>
          <p:nvPr/>
        </p:nvSpPr>
        <p:spPr bwMode="auto">
          <a:xfrm>
            <a:off x="3464298" y="2289839"/>
            <a:ext cx="2173447" cy="1772949"/>
          </a:xfrm>
          <a:custGeom>
            <a:avLst/>
            <a:gdLst>
              <a:gd name="T0" fmla="*/ 1835 w 2035"/>
              <a:gd name="T1" fmla="*/ 166 h 937"/>
              <a:gd name="T2" fmla="*/ 1587 w 2035"/>
              <a:gd name="T3" fmla="*/ 166 h 937"/>
              <a:gd name="T4" fmla="*/ 1441 w 2035"/>
              <a:gd name="T5" fmla="*/ 204 h 937"/>
              <a:gd name="T6" fmla="*/ 1322 w 2035"/>
              <a:gd name="T7" fmla="*/ 232 h 937"/>
              <a:gd name="T8" fmla="*/ 1282 w 2035"/>
              <a:gd name="T9" fmla="*/ 291 h 937"/>
              <a:gd name="T10" fmla="*/ 1210 w 2035"/>
              <a:gd name="T11" fmla="*/ 328 h 937"/>
              <a:gd name="T12" fmla="*/ 1113 w 2035"/>
              <a:gd name="T13" fmla="*/ 328 h 937"/>
              <a:gd name="T14" fmla="*/ 1055 w 2035"/>
              <a:gd name="T15" fmla="*/ 345 h 937"/>
              <a:gd name="T16" fmla="*/ 965 w 2035"/>
              <a:gd name="T17" fmla="*/ 363 h 937"/>
              <a:gd name="T18" fmla="*/ 917 w 2035"/>
              <a:gd name="T19" fmla="*/ 384 h 937"/>
              <a:gd name="T20" fmla="*/ 878 w 2035"/>
              <a:gd name="T21" fmla="*/ 414 h 937"/>
              <a:gd name="T22" fmla="*/ 779 w 2035"/>
              <a:gd name="T23" fmla="*/ 433 h 937"/>
              <a:gd name="T24" fmla="*/ 702 w 2035"/>
              <a:gd name="T25" fmla="*/ 433 h 937"/>
              <a:gd name="T26" fmla="*/ 666 w 2035"/>
              <a:gd name="T27" fmla="*/ 450 h 937"/>
              <a:gd name="T28" fmla="*/ 641 w 2035"/>
              <a:gd name="T29" fmla="*/ 471 h 937"/>
              <a:gd name="T30" fmla="*/ 622 w 2035"/>
              <a:gd name="T31" fmla="*/ 497 h 937"/>
              <a:gd name="T32" fmla="*/ 583 w 2035"/>
              <a:gd name="T33" fmla="*/ 508 h 937"/>
              <a:gd name="T34" fmla="*/ 541 w 2035"/>
              <a:gd name="T35" fmla="*/ 520 h 937"/>
              <a:gd name="T36" fmla="*/ 514 w 2035"/>
              <a:gd name="T37" fmla="*/ 537 h 937"/>
              <a:gd name="T38" fmla="*/ 494 w 2035"/>
              <a:gd name="T39" fmla="*/ 563 h 937"/>
              <a:gd name="T40" fmla="*/ 472 w 2035"/>
              <a:gd name="T41" fmla="*/ 580 h 937"/>
              <a:gd name="T42" fmla="*/ 451 w 2035"/>
              <a:gd name="T43" fmla="*/ 601 h 937"/>
              <a:gd name="T44" fmla="*/ 424 w 2035"/>
              <a:gd name="T45" fmla="*/ 618 h 937"/>
              <a:gd name="T46" fmla="*/ 390 w 2035"/>
              <a:gd name="T47" fmla="*/ 630 h 937"/>
              <a:gd name="T48" fmla="*/ 379 w 2035"/>
              <a:gd name="T49" fmla="*/ 660 h 937"/>
              <a:gd name="T50" fmla="*/ 354 w 2035"/>
              <a:gd name="T51" fmla="*/ 679 h 937"/>
              <a:gd name="T52" fmla="*/ 331 w 2035"/>
              <a:gd name="T53" fmla="*/ 698 h 937"/>
              <a:gd name="T54" fmla="*/ 299 w 2035"/>
              <a:gd name="T55" fmla="*/ 706 h 937"/>
              <a:gd name="T56" fmla="*/ 274 w 2035"/>
              <a:gd name="T57" fmla="*/ 722 h 937"/>
              <a:gd name="T58" fmla="*/ 253 w 2035"/>
              <a:gd name="T59" fmla="*/ 743 h 937"/>
              <a:gd name="T60" fmla="*/ 238 w 2035"/>
              <a:gd name="T61" fmla="*/ 768 h 937"/>
              <a:gd name="T62" fmla="*/ 216 w 2035"/>
              <a:gd name="T63" fmla="*/ 792 h 937"/>
              <a:gd name="T64" fmla="*/ 192 w 2035"/>
              <a:gd name="T65" fmla="*/ 809 h 937"/>
              <a:gd name="T66" fmla="*/ 173 w 2035"/>
              <a:gd name="T67" fmla="*/ 830 h 937"/>
              <a:gd name="T68" fmla="*/ 147 w 2035"/>
              <a:gd name="T69" fmla="*/ 844 h 937"/>
              <a:gd name="T70" fmla="*/ 123 w 2035"/>
              <a:gd name="T71" fmla="*/ 864 h 937"/>
              <a:gd name="T72" fmla="*/ 104 w 2035"/>
              <a:gd name="T73" fmla="*/ 881 h 937"/>
              <a:gd name="T74" fmla="*/ 76 w 2035"/>
              <a:gd name="T75" fmla="*/ 905 h 937"/>
              <a:gd name="T76" fmla="*/ 52 w 2035"/>
              <a:gd name="T77" fmla="*/ 926 h 937"/>
              <a:gd name="T78" fmla="*/ 80 w 2035"/>
              <a:gd name="T79" fmla="*/ 915 h 937"/>
              <a:gd name="T80" fmla="*/ 116 w 2035"/>
              <a:gd name="T81" fmla="*/ 879 h 937"/>
              <a:gd name="T82" fmla="*/ 154 w 2035"/>
              <a:gd name="T83" fmla="*/ 851 h 937"/>
              <a:gd name="T84" fmla="*/ 191 w 2035"/>
              <a:gd name="T85" fmla="*/ 817 h 937"/>
              <a:gd name="T86" fmla="*/ 234 w 2035"/>
              <a:gd name="T87" fmla="*/ 788 h 937"/>
              <a:gd name="T88" fmla="*/ 259 w 2035"/>
              <a:gd name="T89" fmla="*/ 750 h 937"/>
              <a:gd name="T90" fmla="*/ 299 w 2035"/>
              <a:gd name="T91" fmla="*/ 718 h 937"/>
              <a:gd name="T92" fmla="*/ 347 w 2035"/>
              <a:gd name="T93" fmla="*/ 698 h 937"/>
              <a:gd name="T94" fmla="*/ 383 w 2035"/>
              <a:gd name="T95" fmla="*/ 664 h 937"/>
              <a:gd name="T96" fmla="*/ 421 w 2035"/>
              <a:gd name="T97" fmla="*/ 629 h 937"/>
              <a:gd name="T98" fmla="*/ 461 w 2035"/>
              <a:gd name="T99" fmla="*/ 605 h 937"/>
              <a:gd name="T100" fmla="*/ 497 w 2035"/>
              <a:gd name="T101" fmla="*/ 570 h 937"/>
              <a:gd name="T102" fmla="*/ 526 w 2035"/>
              <a:gd name="T103" fmla="*/ 526 h 937"/>
              <a:gd name="T104" fmla="*/ 595 w 2035"/>
              <a:gd name="T105" fmla="*/ 514 h 937"/>
              <a:gd name="T106" fmla="*/ 645 w 2035"/>
              <a:gd name="T107" fmla="*/ 478 h 937"/>
              <a:gd name="T108" fmla="*/ 680 w 2035"/>
              <a:gd name="T109" fmla="*/ 449 h 937"/>
              <a:gd name="T110" fmla="*/ 853 w 2035"/>
              <a:gd name="T111" fmla="*/ 438 h 937"/>
              <a:gd name="T112" fmla="*/ 923 w 2035"/>
              <a:gd name="T113" fmla="*/ 387 h 937"/>
              <a:gd name="T114" fmla="*/ 1062 w 2035"/>
              <a:gd name="T115" fmla="*/ 355 h 937"/>
              <a:gd name="T116" fmla="*/ 1217 w 2035"/>
              <a:gd name="T117" fmla="*/ 317 h 937"/>
              <a:gd name="T118" fmla="*/ 1326 w 2035"/>
              <a:gd name="T119" fmla="*/ 255 h 937"/>
              <a:gd name="T120" fmla="*/ 1588 w 2035"/>
              <a:gd name="T121" fmla="*/ 208 h 937"/>
              <a:gd name="T122" fmla="*/ 1966 w 2035"/>
              <a:gd name="T123" fmla="*/ 168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35" h="937">
                <a:moveTo>
                  <a:pt x="2033" y="0"/>
                </a:moveTo>
                <a:lnTo>
                  <a:pt x="1975" y="0"/>
                </a:lnTo>
                <a:lnTo>
                  <a:pt x="1972" y="0"/>
                </a:lnTo>
                <a:lnTo>
                  <a:pt x="1970" y="0"/>
                </a:lnTo>
                <a:lnTo>
                  <a:pt x="1963" y="0"/>
                </a:lnTo>
                <a:lnTo>
                  <a:pt x="1961" y="0"/>
                </a:lnTo>
                <a:lnTo>
                  <a:pt x="1959" y="0"/>
                </a:lnTo>
                <a:lnTo>
                  <a:pt x="1959" y="3"/>
                </a:lnTo>
                <a:lnTo>
                  <a:pt x="1959" y="3"/>
                </a:lnTo>
                <a:lnTo>
                  <a:pt x="1959" y="4"/>
                </a:lnTo>
                <a:lnTo>
                  <a:pt x="1959" y="166"/>
                </a:lnTo>
                <a:lnTo>
                  <a:pt x="1920" y="166"/>
                </a:lnTo>
                <a:lnTo>
                  <a:pt x="1919" y="166"/>
                </a:lnTo>
                <a:lnTo>
                  <a:pt x="1916" y="166"/>
                </a:lnTo>
                <a:lnTo>
                  <a:pt x="1866" y="166"/>
                </a:lnTo>
                <a:lnTo>
                  <a:pt x="1864" y="166"/>
                </a:lnTo>
                <a:lnTo>
                  <a:pt x="1862" y="166"/>
                </a:lnTo>
                <a:lnTo>
                  <a:pt x="1860" y="166"/>
                </a:lnTo>
                <a:lnTo>
                  <a:pt x="1858" y="166"/>
                </a:lnTo>
                <a:lnTo>
                  <a:pt x="1839" y="166"/>
                </a:lnTo>
                <a:lnTo>
                  <a:pt x="1836" y="166"/>
                </a:lnTo>
                <a:lnTo>
                  <a:pt x="1836" y="166"/>
                </a:lnTo>
                <a:lnTo>
                  <a:pt x="1835" y="166"/>
                </a:lnTo>
                <a:lnTo>
                  <a:pt x="1806" y="166"/>
                </a:lnTo>
                <a:lnTo>
                  <a:pt x="1804" y="166"/>
                </a:lnTo>
                <a:lnTo>
                  <a:pt x="1804" y="166"/>
                </a:lnTo>
                <a:lnTo>
                  <a:pt x="1801" y="166"/>
                </a:lnTo>
                <a:lnTo>
                  <a:pt x="1738" y="166"/>
                </a:lnTo>
                <a:lnTo>
                  <a:pt x="1735" y="166"/>
                </a:lnTo>
                <a:lnTo>
                  <a:pt x="1735" y="166"/>
                </a:lnTo>
                <a:lnTo>
                  <a:pt x="1734" y="166"/>
                </a:lnTo>
                <a:lnTo>
                  <a:pt x="1717" y="166"/>
                </a:lnTo>
                <a:lnTo>
                  <a:pt x="1716" y="166"/>
                </a:lnTo>
                <a:lnTo>
                  <a:pt x="1716" y="166"/>
                </a:lnTo>
                <a:lnTo>
                  <a:pt x="1713" y="166"/>
                </a:lnTo>
                <a:lnTo>
                  <a:pt x="1709" y="166"/>
                </a:lnTo>
                <a:lnTo>
                  <a:pt x="1706" y="166"/>
                </a:lnTo>
                <a:lnTo>
                  <a:pt x="1704" y="166"/>
                </a:lnTo>
                <a:lnTo>
                  <a:pt x="1650" y="166"/>
                </a:lnTo>
                <a:lnTo>
                  <a:pt x="1649" y="166"/>
                </a:lnTo>
                <a:lnTo>
                  <a:pt x="1646" y="166"/>
                </a:lnTo>
                <a:lnTo>
                  <a:pt x="1601" y="166"/>
                </a:lnTo>
                <a:lnTo>
                  <a:pt x="1599" y="166"/>
                </a:lnTo>
                <a:lnTo>
                  <a:pt x="1596" y="166"/>
                </a:lnTo>
                <a:lnTo>
                  <a:pt x="1588" y="166"/>
                </a:lnTo>
                <a:lnTo>
                  <a:pt x="1587" y="166"/>
                </a:lnTo>
                <a:lnTo>
                  <a:pt x="1584" y="166"/>
                </a:lnTo>
                <a:lnTo>
                  <a:pt x="1584" y="168"/>
                </a:lnTo>
                <a:lnTo>
                  <a:pt x="1584" y="168"/>
                </a:lnTo>
                <a:lnTo>
                  <a:pt x="1584" y="170"/>
                </a:lnTo>
                <a:lnTo>
                  <a:pt x="1584" y="204"/>
                </a:lnTo>
                <a:lnTo>
                  <a:pt x="1574" y="204"/>
                </a:lnTo>
                <a:lnTo>
                  <a:pt x="1573" y="204"/>
                </a:lnTo>
                <a:lnTo>
                  <a:pt x="1572" y="204"/>
                </a:lnTo>
                <a:lnTo>
                  <a:pt x="1530" y="204"/>
                </a:lnTo>
                <a:lnTo>
                  <a:pt x="1529" y="204"/>
                </a:lnTo>
                <a:lnTo>
                  <a:pt x="1527" y="204"/>
                </a:lnTo>
                <a:lnTo>
                  <a:pt x="1524" y="204"/>
                </a:lnTo>
                <a:lnTo>
                  <a:pt x="1505" y="204"/>
                </a:lnTo>
                <a:lnTo>
                  <a:pt x="1504" y="204"/>
                </a:lnTo>
                <a:lnTo>
                  <a:pt x="1504" y="204"/>
                </a:lnTo>
                <a:lnTo>
                  <a:pt x="1502" y="204"/>
                </a:lnTo>
                <a:lnTo>
                  <a:pt x="1465" y="204"/>
                </a:lnTo>
                <a:lnTo>
                  <a:pt x="1464" y="204"/>
                </a:lnTo>
                <a:lnTo>
                  <a:pt x="1461" y="204"/>
                </a:lnTo>
                <a:lnTo>
                  <a:pt x="1446" y="204"/>
                </a:lnTo>
                <a:lnTo>
                  <a:pt x="1444" y="204"/>
                </a:lnTo>
                <a:lnTo>
                  <a:pt x="1444" y="204"/>
                </a:lnTo>
                <a:lnTo>
                  <a:pt x="1441" y="204"/>
                </a:lnTo>
                <a:lnTo>
                  <a:pt x="1437" y="204"/>
                </a:lnTo>
                <a:lnTo>
                  <a:pt x="1434" y="204"/>
                </a:lnTo>
                <a:lnTo>
                  <a:pt x="1434" y="204"/>
                </a:lnTo>
                <a:lnTo>
                  <a:pt x="1433" y="204"/>
                </a:lnTo>
                <a:lnTo>
                  <a:pt x="1433" y="204"/>
                </a:lnTo>
                <a:lnTo>
                  <a:pt x="1430" y="204"/>
                </a:lnTo>
                <a:lnTo>
                  <a:pt x="1430" y="207"/>
                </a:lnTo>
                <a:lnTo>
                  <a:pt x="1430" y="207"/>
                </a:lnTo>
                <a:lnTo>
                  <a:pt x="1430" y="208"/>
                </a:lnTo>
                <a:lnTo>
                  <a:pt x="1430" y="228"/>
                </a:lnTo>
                <a:lnTo>
                  <a:pt x="1408" y="228"/>
                </a:lnTo>
                <a:lnTo>
                  <a:pt x="1407" y="228"/>
                </a:lnTo>
                <a:lnTo>
                  <a:pt x="1407" y="228"/>
                </a:lnTo>
                <a:lnTo>
                  <a:pt x="1405" y="228"/>
                </a:lnTo>
                <a:lnTo>
                  <a:pt x="1400" y="228"/>
                </a:lnTo>
                <a:lnTo>
                  <a:pt x="1398" y="228"/>
                </a:lnTo>
                <a:lnTo>
                  <a:pt x="1396" y="228"/>
                </a:lnTo>
                <a:lnTo>
                  <a:pt x="1326" y="228"/>
                </a:lnTo>
                <a:lnTo>
                  <a:pt x="1325" y="228"/>
                </a:lnTo>
                <a:lnTo>
                  <a:pt x="1322" y="228"/>
                </a:lnTo>
                <a:lnTo>
                  <a:pt x="1322" y="229"/>
                </a:lnTo>
                <a:lnTo>
                  <a:pt x="1322" y="229"/>
                </a:lnTo>
                <a:lnTo>
                  <a:pt x="1322" y="232"/>
                </a:lnTo>
                <a:lnTo>
                  <a:pt x="1322" y="251"/>
                </a:lnTo>
                <a:lnTo>
                  <a:pt x="1321" y="251"/>
                </a:lnTo>
                <a:lnTo>
                  <a:pt x="1318" y="251"/>
                </a:lnTo>
                <a:lnTo>
                  <a:pt x="1317" y="251"/>
                </a:lnTo>
                <a:lnTo>
                  <a:pt x="1314" y="251"/>
                </a:lnTo>
                <a:lnTo>
                  <a:pt x="1311" y="251"/>
                </a:lnTo>
                <a:lnTo>
                  <a:pt x="1310" y="251"/>
                </a:lnTo>
                <a:lnTo>
                  <a:pt x="1307" y="251"/>
                </a:lnTo>
                <a:lnTo>
                  <a:pt x="1307" y="253"/>
                </a:lnTo>
                <a:lnTo>
                  <a:pt x="1307" y="253"/>
                </a:lnTo>
                <a:lnTo>
                  <a:pt x="1307" y="255"/>
                </a:lnTo>
                <a:lnTo>
                  <a:pt x="1307" y="272"/>
                </a:lnTo>
                <a:lnTo>
                  <a:pt x="1306" y="272"/>
                </a:lnTo>
                <a:lnTo>
                  <a:pt x="1306" y="274"/>
                </a:lnTo>
                <a:lnTo>
                  <a:pt x="1306" y="274"/>
                </a:lnTo>
                <a:lnTo>
                  <a:pt x="1306" y="276"/>
                </a:lnTo>
                <a:lnTo>
                  <a:pt x="1306" y="291"/>
                </a:lnTo>
                <a:lnTo>
                  <a:pt x="1297" y="291"/>
                </a:lnTo>
                <a:lnTo>
                  <a:pt x="1295" y="291"/>
                </a:lnTo>
                <a:lnTo>
                  <a:pt x="1292" y="291"/>
                </a:lnTo>
                <a:lnTo>
                  <a:pt x="1286" y="291"/>
                </a:lnTo>
                <a:lnTo>
                  <a:pt x="1283" y="291"/>
                </a:lnTo>
                <a:lnTo>
                  <a:pt x="1282" y="291"/>
                </a:lnTo>
                <a:lnTo>
                  <a:pt x="1270" y="291"/>
                </a:lnTo>
                <a:lnTo>
                  <a:pt x="1267" y="291"/>
                </a:lnTo>
                <a:lnTo>
                  <a:pt x="1264" y="291"/>
                </a:lnTo>
                <a:lnTo>
                  <a:pt x="1260" y="291"/>
                </a:lnTo>
                <a:lnTo>
                  <a:pt x="1259" y="291"/>
                </a:lnTo>
                <a:lnTo>
                  <a:pt x="1256" y="291"/>
                </a:lnTo>
                <a:lnTo>
                  <a:pt x="1256" y="293"/>
                </a:lnTo>
                <a:lnTo>
                  <a:pt x="1256" y="293"/>
                </a:lnTo>
                <a:lnTo>
                  <a:pt x="1256" y="295"/>
                </a:lnTo>
                <a:lnTo>
                  <a:pt x="1256" y="310"/>
                </a:lnTo>
                <a:lnTo>
                  <a:pt x="1227" y="310"/>
                </a:lnTo>
                <a:lnTo>
                  <a:pt x="1225" y="310"/>
                </a:lnTo>
                <a:lnTo>
                  <a:pt x="1225" y="310"/>
                </a:lnTo>
                <a:lnTo>
                  <a:pt x="1223" y="310"/>
                </a:lnTo>
                <a:lnTo>
                  <a:pt x="1221" y="310"/>
                </a:lnTo>
                <a:lnTo>
                  <a:pt x="1217" y="310"/>
                </a:lnTo>
                <a:lnTo>
                  <a:pt x="1214" y="310"/>
                </a:lnTo>
                <a:lnTo>
                  <a:pt x="1213" y="310"/>
                </a:lnTo>
                <a:lnTo>
                  <a:pt x="1210" y="310"/>
                </a:lnTo>
                <a:lnTo>
                  <a:pt x="1210" y="312"/>
                </a:lnTo>
                <a:lnTo>
                  <a:pt x="1210" y="312"/>
                </a:lnTo>
                <a:lnTo>
                  <a:pt x="1210" y="314"/>
                </a:lnTo>
                <a:lnTo>
                  <a:pt x="1210" y="328"/>
                </a:lnTo>
                <a:lnTo>
                  <a:pt x="1193" y="328"/>
                </a:lnTo>
                <a:lnTo>
                  <a:pt x="1191" y="328"/>
                </a:lnTo>
                <a:lnTo>
                  <a:pt x="1189" y="328"/>
                </a:lnTo>
                <a:lnTo>
                  <a:pt x="1187" y="328"/>
                </a:lnTo>
                <a:lnTo>
                  <a:pt x="1185" y="328"/>
                </a:lnTo>
                <a:lnTo>
                  <a:pt x="1175" y="328"/>
                </a:lnTo>
                <a:lnTo>
                  <a:pt x="1174" y="328"/>
                </a:lnTo>
                <a:lnTo>
                  <a:pt x="1174" y="328"/>
                </a:lnTo>
                <a:lnTo>
                  <a:pt x="1173" y="328"/>
                </a:lnTo>
                <a:lnTo>
                  <a:pt x="1149" y="328"/>
                </a:lnTo>
                <a:lnTo>
                  <a:pt x="1148" y="328"/>
                </a:lnTo>
                <a:lnTo>
                  <a:pt x="1148" y="328"/>
                </a:lnTo>
                <a:lnTo>
                  <a:pt x="1145" y="328"/>
                </a:lnTo>
                <a:lnTo>
                  <a:pt x="1141" y="328"/>
                </a:lnTo>
                <a:lnTo>
                  <a:pt x="1139" y="328"/>
                </a:lnTo>
                <a:lnTo>
                  <a:pt x="1137" y="328"/>
                </a:lnTo>
                <a:lnTo>
                  <a:pt x="1135" y="328"/>
                </a:lnTo>
                <a:lnTo>
                  <a:pt x="1133" y="328"/>
                </a:lnTo>
                <a:lnTo>
                  <a:pt x="1130" y="328"/>
                </a:lnTo>
                <a:lnTo>
                  <a:pt x="1124" y="328"/>
                </a:lnTo>
                <a:lnTo>
                  <a:pt x="1123" y="328"/>
                </a:lnTo>
                <a:lnTo>
                  <a:pt x="1120" y="328"/>
                </a:lnTo>
                <a:lnTo>
                  <a:pt x="1113" y="328"/>
                </a:lnTo>
                <a:lnTo>
                  <a:pt x="1110" y="328"/>
                </a:lnTo>
                <a:lnTo>
                  <a:pt x="1109" y="328"/>
                </a:lnTo>
                <a:lnTo>
                  <a:pt x="1103" y="328"/>
                </a:lnTo>
                <a:lnTo>
                  <a:pt x="1101" y="328"/>
                </a:lnTo>
                <a:lnTo>
                  <a:pt x="1098" y="328"/>
                </a:lnTo>
                <a:lnTo>
                  <a:pt x="1091" y="328"/>
                </a:lnTo>
                <a:lnTo>
                  <a:pt x="1090" y="328"/>
                </a:lnTo>
                <a:lnTo>
                  <a:pt x="1088" y="328"/>
                </a:lnTo>
                <a:lnTo>
                  <a:pt x="1070" y="328"/>
                </a:lnTo>
                <a:lnTo>
                  <a:pt x="1069" y="328"/>
                </a:lnTo>
                <a:lnTo>
                  <a:pt x="1066" y="328"/>
                </a:lnTo>
                <a:lnTo>
                  <a:pt x="1065" y="328"/>
                </a:lnTo>
                <a:lnTo>
                  <a:pt x="1065" y="329"/>
                </a:lnTo>
                <a:lnTo>
                  <a:pt x="1065" y="329"/>
                </a:lnTo>
                <a:lnTo>
                  <a:pt x="1065" y="332"/>
                </a:lnTo>
                <a:lnTo>
                  <a:pt x="1065" y="339"/>
                </a:lnTo>
                <a:lnTo>
                  <a:pt x="1059" y="339"/>
                </a:lnTo>
                <a:lnTo>
                  <a:pt x="1058" y="339"/>
                </a:lnTo>
                <a:lnTo>
                  <a:pt x="1058" y="339"/>
                </a:lnTo>
                <a:lnTo>
                  <a:pt x="1055" y="339"/>
                </a:lnTo>
                <a:lnTo>
                  <a:pt x="1055" y="342"/>
                </a:lnTo>
                <a:lnTo>
                  <a:pt x="1055" y="342"/>
                </a:lnTo>
                <a:lnTo>
                  <a:pt x="1055" y="345"/>
                </a:lnTo>
                <a:lnTo>
                  <a:pt x="1055" y="353"/>
                </a:lnTo>
                <a:lnTo>
                  <a:pt x="1036" y="353"/>
                </a:lnTo>
                <a:lnTo>
                  <a:pt x="1033" y="353"/>
                </a:lnTo>
                <a:lnTo>
                  <a:pt x="1033" y="353"/>
                </a:lnTo>
                <a:lnTo>
                  <a:pt x="1031" y="353"/>
                </a:lnTo>
                <a:lnTo>
                  <a:pt x="1029" y="353"/>
                </a:lnTo>
                <a:lnTo>
                  <a:pt x="1027" y="353"/>
                </a:lnTo>
                <a:lnTo>
                  <a:pt x="1013" y="353"/>
                </a:lnTo>
                <a:lnTo>
                  <a:pt x="1012" y="353"/>
                </a:lnTo>
                <a:lnTo>
                  <a:pt x="1009" y="353"/>
                </a:lnTo>
                <a:lnTo>
                  <a:pt x="993" y="353"/>
                </a:lnTo>
                <a:lnTo>
                  <a:pt x="990" y="353"/>
                </a:lnTo>
                <a:lnTo>
                  <a:pt x="989" y="353"/>
                </a:lnTo>
                <a:lnTo>
                  <a:pt x="975" y="353"/>
                </a:lnTo>
                <a:lnTo>
                  <a:pt x="973" y="353"/>
                </a:lnTo>
                <a:lnTo>
                  <a:pt x="972" y="353"/>
                </a:lnTo>
                <a:lnTo>
                  <a:pt x="969" y="353"/>
                </a:lnTo>
                <a:lnTo>
                  <a:pt x="966" y="353"/>
                </a:lnTo>
                <a:lnTo>
                  <a:pt x="965" y="353"/>
                </a:lnTo>
                <a:lnTo>
                  <a:pt x="965" y="355"/>
                </a:lnTo>
                <a:lnTo>
                  <a:pt x="965" y="355"/>
                </a:lnTo>
                <a:lnTo>
                  <a:pt x="965" y="357"/>
                </a:lnTo>
                <a:lnTo>
                  <a:pt x="965" y="363"/>
                </a:lnTo>
                <a:lnTo>
                  <a:pt x="962" y="363"/>
                </a:lnTo>
                <a:lnTo>
                  <a:pt x="962" y="363"/>
                </a:lnTo>
                <a:lnTo>
                  <a:pt x="959" y="363"/>
                </a:lnTo>
                <a:lnTo>
                  <a:pt x="958" y="363"/>
                </a:lnTo>
                <a:lnTo>
                  <a:pt x="955" y="363"/>
                </a:lnTo>
                <a:lnTo>
                  <a:pt x="955" y="363"/>
                </a:lnTo>
                <a:lnTo>
                  <a:pt x="954" y="363"/>
                </a:lnTo>
                <a:lnTo>
                  <a:pt x="954" y="366"/>
                </a:lnTo>
                <a:lnTo>
                  <a:pt x="954" y="366"/>
                </a:lnTo>
                <a:lnTo>
                  <a:pt x="954" y="367"/>
                </a:lnTo>
                <a:lnTo>
                  <a:pt x="954" y="374"/>
                </a:lnTo>
                <a:lnTo>
                  <a:pt x="951" y="374"/>
                </a:lnTo>
                <a:lnTo>
                  <a:pt x="950" y="374"/>
                </a:lnTo>
                <a:lnTo>
                  <a:pt x="947" y="374"/>
                </a:lnTo>
                <a:lnTo>
                  <a:pt x="925" y="374"/>
                </a:lnTo>
                <a:lnTo>
                  <a:pt x="923" y="374"/>
                </a:lnTo>
                <a:lnTo>
                  <a:pt x="922" y="374"/>
                </a:lnTo>
                <a:lnTo>
                  <a:pt x="919" y="374"/>
                </a:lnTo>
                <a:lnTo>
                  <a:pt x="917" y="374"/>
                </a:lnTo>
                <a:lnTo>
                  <a:pt x="917" y="376"/>
                </a:lnTo>
                <a:lnTo>
                  <a:pt x="917" y="376"/>
                </a:lnTo>
                <a:lnTo>
                  <a:pt x="917" y="378"/>
                </a:lnTo>
                <a:lnTo>
                  <a:pt x="917" y="384"/>
                </a:lnTo>
                <a:lnTo>
                  <a:pt x="917" y="387"/>
                </a:lnTo>
                <a:lnTo>
                  <a:pt x="917" y="387"/>
                </a:lnTo>
                <a:lnTo>
                  <a:pt x="917" y="388"/>
                </a:lnTo>
                <a:lnTo>
                  <a:pt x="917" y="395"/>
                </a:lnTo>
                <a:lnTo>
                  <a:pt x="912" y="395"/>
                </a:lnTo>
                <a:lnTo>
                  <a:pt x="911" y="395"/>
                </a:lnTo>
                <a:lnTo>
                  <a:pt x="908" y="395"/>
                </a:lnTo>
                <a:lnTo>
                  <a:pt x="904" y="395"/>
                </a:lnTo>
                <a:lnTo>
                  <a:pt x="903" y="395"/>
                </a:lnTo>
                <a:lnTo>
                  <a:pt x="900" y="395"/>
                </a:lnTo>
                <a:lnTo>
                  <a:pt x="900" y="397"/>
                </a:lnTo>
                <a:lnTo>
                  <a:pt x="900" y="397"/>
                </a:lnTo>
                <a:lnTo>
                  <a:pt x="900" y="400"/>
                </a:lnTo>
                <a:lnTo>
                  <a:pt x="900" y="404"/>
                </a:lnTo>
                <a:lnTo>
                  <a:pt x="885" y="404"/>
                </a:lnTo>
                <a:lnTo>
                  <a:pt x="883" y="404"/>
                </a:lnTo>
                <a:lnTo>
                  <a:pt x="881" y="404"/>
                </a:lnTo>
                <a:lnTo>
                  <a:pt x="881" y="405"/>
                </a:lnTo>
                <a:lnTo>
                  <a:pt x="881" y="405"/>
                </a:lnTo>
                <a:lnTo>
                  <a:pt x="881" y="408"/>
                </a:lnTo>
                <a:lnTo>
                  <a:pt x="881" y="414"/>
                </a:lnTo>
                <a:lnTo>
                  <a:pt x="881" y="414"/>
                </a:lnTo>
                <a:lnTo>
                  <a:pt x="878" y="414"/>
                </a:lnTo>
                <a:lnTo>
                  <a:pt x="861" y="414"/>
                </a:lnTo>
                <a:lnTo>
                  <a:pt x="858" y="414"/>
                </a:lnTo>
                <a:lnTo>
                  <a:pt x="858" y="414"/>
                </a:lnTo>
                <a:lnTo>
                  <a:pt x="857" y="414"/>
                </a:lnTo>
                <a:lnTo>
                  <a:pt x="857" y="416"/>
                </a:lnTo>
                <a:lnTo>
                  <a:pt x="857" y="416"/>
                </a:lnTo>
                <a:lnTo>
                  <a:pt x="857" y="418"/>
                </a:lnTo>
                <a:lnTo>
                  <a:pt x="857" y="422"/>
                </a:lnTo>
                <a:lnTo>
                  <a:pt x="853" y="422"/>
                </a:lnTo>
                <a:lnTo>
                  <a:pt x="850" y="422"/>
                </a:lnTo>
                <a:lnTo>
                  <a:pt x="847" y="422"/>
                </a:lnTo>
                <a:lnTo>
                  <a:pt x="847" y="425"/>
                </a:lnTo>
                <a:lnTo>
                  <a:pt x="847" y="425"/>
                </a:lnTo>
                <a:lnTo>
                  <a:pt x="847" y="426"/>
                </a:lnTo>
                <a:lnTo>
                  <a:pt x="847" y="433"/>
                </a:lnTo>
                <a:lnTo>
                  <a:pt x="831" y="433"/>
                </a:lnTo>
                <a:lnTo>
                  <a:pt x="828" y="433"/>
                </a:lnTo>
                <a:lnTo>
                  <a:pt x="827" y="433"/>
                </a:lnTo>
                <a:lnTo>
                  <a:pt x="806" y="433"/>
                </a:lnTo>
                <a:lnTo>
                  <a:pt x="803" y="433"/>
                </a:lnTo>
                <a:lnTo>
                  <a:pt x="800" y="433"/>
                </a:lnTo>
                <a:lnTo>
                  <a:pt x="781" y="433"/>
                </a:lnTo>
                <a:lnTo>
                  <a:pt x="779" y="433"/>
                </a:lnTo>
                <a:lnTo>
                  <a:pt x="779" y="433"/>
                </a:lnTo>
                <a:lnTo>
                  <a:pt x="777" y="433"/>
                </a:lnTo>
                <a:lnTo>
                  <a:pt x="763" y="433"/>
                </a:lnTo>
                <a:lnTo>
                  <a:pt x="761" y="433"/>
                </a:lnTo>
                <a:lnTo>
                  <a:pt x="761" y="433"/>
                </a:lnTo>
                <a:lnTo>
                  <a:pt x="759" y="433"/>
                </a:lnTo>
                <a:lnTo>
                  <a:pt x="756" y="433"/>
                </a:lnTo>
                <a:lnTo>
                  <a:pt x="753" y="433"/>
                </a:lnTo>
                <a:lnTo>
                  <a:pt x="750" y="433"/>
                </a:lnTo>
                <a:lnTo>
                  <a:pt x="749" y="433"/>
                </a:lnTo>
                <a:lnTo>
                  <a:pt x="743" y="433"/>
                </a:lnTo>
                <a:lnTo>
                  <a:pt x="742" y="433"/>
                </a:lnTo>
                <a:lnTo>
                  <a:pt x="741" y="433"/>
                </a:lnTo>
                <a:lnTo>
                  <a:pt x="738" y="433"/>
                </a:lnTo>
                <a:lnTo>
                  <a:pt x="737" y="433"/>
                </a:lnTo>
                <a:lnTo>
                  <a:pt x="734" y="433"/>
                </a:lnTo>
                <a:lnTo>
                  <a:pt x="714" y="433"/>
                </a:lnTo>
                <a:lnTo>
                  <a:pt x="712" y="433"/>
                </a:lnTo>
                <a:lnTo>
                  <a:pt x="710" y="433"/>
                </a:lnTo>
                <a:lnTo>
                  <a:pt x="707" y="433"/>
                </a:lnTo>
                <a:lnTo>
                  <a:pt x="706" y="433"/>
                </a:lnTo>
                <a:lnTo>
                  <a:pt x="703" y="433"/>
                </a:lnTo>
                <a:lnTo>
                  <a:pt x="702" y="433"/>
                </a:lnTo>
                <a:lnTo>
                  <a:pt x="699" y="433"/>
                </a:lnTo>
                <a:lnTo>
                  <a:pt x="689" y="433"/>
                </a:lnTo>
                <a:lnTo>
                  <a:pt x="687" y="433"/>
                </a:lnTo>
                <a:lnTo>
                  <a:pt x="684" y="433"/>
                </a:lnTo>
                <a:lnTo>
                  <a:pt x="682" y="433"/>
                </a:lnTo>
                <a:lnTo>
                  <a:pt x="682" y="435"/>
                </a:lnTo>
                <a:lnTo>
                  <a:pt x="682" y="435"/>
                </a:lnTo>
                <a:lnTo>
                  <a:pt x="682" y="438"/>
                </a:lnTo>
                <a:lnTo>
                  <a:pt x="682" y="442"/>
                </a:lnTo>
                <a:lnTo>
                  <a:pt x="680" y="442"/>
                </a:lnTo>
                <a:lnTo>
                  <a:pt x="680" y="442"/>
                </a:lnTo>
                <a:lnTo>
                  <a:pt x="680" y="442"/>
                </a:lnTo>
                <a:lnTo>
                  <a:pt x="678" y="442"/>
                </a:lnTo>
                <a:lnTo>
                  <a:pt x="677" y="442"/>
                </a:lnTo>
                <a:lnTo>
                  <a:pt x="674" y="442"/>
                </a:lnTo>
                <a:lnTo>
                  <a:pt x="673" y="442"/>
                </a:lnTo>
                <a:lnTo>
                  <a:pt x="671" y="442"/>
                </a:lnTo>
                <a:lnTo>
                  <a:pt x="669" y="442"/>
                </a:lnTo>
                <a:lnTo>
                  <a:pt x="669" y="443"/>
                </a:lnTo>
                <a:lnTo>
                  <a:pt x="669" y="443"/>
                </a:lnTo>
                <a:lnTo>
                  <a:pt x="669" y="446"/>
                </a:lnTo>
                <a:lnTo>
                  <a:pt x="669" y="450"/>
                </a:lnTo>
                <a:lnTo>
                  <a:pt x="666" y="450"/>
                </a:lnTo>
                <a:lnTo>
                  <a:pt x="666" y="453"/>
                </a:lnTo>
                <a:lnTo>
                  <a:pt x="666" y="454"/>
                </a:lnTo>
                <a:lnTo>
                  <a:pt x="666" y="456"/>
                </a:lnTo>
                <a:lnTo>
                  <a:pt x="664" y="456"/>
                </a:lnTo>
                <a:lnTo>
                  <a:pt x="662" y="456"/>
                </a:lnTo>
                <a:lnTo>
                  <a:pt x="662" y="459"/>
                </a:lnTo>
                <a:lnTo>
                  <a:pt x="662" y="459"/>
                </a:lnTo>
                <a:lnTo>
                  <a:pt x="662" y="460"/>
                </a:lnTo>
                <a:lnTo>
                  <a:pt x="662" y="466"/>
                </a:lnTo>
                <a:lnTo>
                  <a:pt x="660" y="466"/>
                </a:lnTo>
                <a:lnTo>
                  <a:pt x="658" y="466"/>
                </a:lnTo>
                <a:lnTo>
                  <a:pt x="656" y="466"/>
                </a:lnTo>
                <a:lnTo>
                  <a:pt x="653" y="466"/>
                </a:lnTo>
                <a:lnTo>
                  <a:pt x="652" y="466"/>
                </a:lnTo>
                <a:lnTo>
                  <a:pt x="649" y="466"/>
                </a:lnTo>
                <a:lnTo>
                  <a:pt x="646" y="466"/>
                </a:lnTo>
                <a:lnTo>
                  <a:pt x="645" y="466"/>
                </a:lnTo>
                <a:lnTo>
                  <a:pt x="645" y="467"/>
                </a:lnTo>
                <a:lnTo>
                  <a:pt x="645" y="467"/>
                </a:lnTo>
                <a:lnTo>
                  <a:pt x="645" y="470"/>
                </a:lnTo>
                <a:lnTo>
                  <a:pt x="645" y="471"/>
                </a:lnTo>
                <a:lnTo>
                  <a:pt x="642" y="471"/>
                </a:lnTo>
                <a:lnTo>
                  <a:pt x="641" y="471"/>
                </a:lnTo>
                <a:lnTo>
                  <a:pt x="640" y="471"/>
                </a:lnTo>
                <a:lnTo>
                  <a:pt x="640" y="474"/>
                </a:lnTo>
                <a:lnTo>
                  <a:pt x="640" y="474"/>
                </a:lnTo>
                <a:lnTo>
                  <a:pt x="640" y="476"/>
                </a:lnTo>
                <a:lnTo>
                  <a:pt x="640" y="480"/>
                </a:lnTo>
                <a:lnTo>
                  <a:pt x="637" y="480"/>
                </a:lnTo>
                <a:lnTo>
                  <a:pt x="637" y="481"/>
                </a:lnTo>
                <a:lnTo>
                  <a:pt x="637" y="481"/>
                </a:lnTo>
                <a:lnTo>
                  <a:pt x="637" y="484"/>
                </a:lnTo>
                <a:lnTo>
                  <a:pt x="637" y="487"/>
                </a:lnTo>
                <a:lnTo>
                  <a:pt x="634" y="487"/>
                </a:lnTo>
                <a:lnTo>
                  <a:pt x="633" y="487"/>
                </a:lnTo>
                <a:lnTo>
                  <a:pt x="630" y="487"/>
                </a:lnTo>
                <a:lnTo>
                  <a:pt x="630" y="488"/>
                </a:lnTo>
                <a:lnTo>
                  <a:pt x="630" y="488"/>
                </a:lnTo>
                <a:lnTo>
                  <a:pt x="630" y="491"/>
                </a:lnTo>
                <a:lnTo>
                  <a:pt x="630" y="495"/>
                </a:lnTo>
                <a:lnTo>
                  <a:pt x="627" y="495"/>
                </a:lnTo>
                <a:lnTo>
                  <a:pt x="626" y="495"/>
                </a:lnTo>
                <a:lnTo>
                  <a:pt x="624" y="495"/>
                </a:lnTo>
                <a:lnTo>
                  <a:pt x="622" y="495"/>
                </a:lnTo>
                <a:lnTo>
                  <a:pt x="622" y="497"/>
                </a:lnTo>
                <a:lnTo>
                  <a:pt x="622" y="497"/>
                </a:lnTo>
                <a:lnTo>
                  <a:pt x="622" y="499"/>
                </a:lnTo>
                <a:lnTo>
                  <a:pt x="622" y="501"/>
                </a:lnTo>
                <a:lnTo>
                  <a:pt x="620" y="501"/>
                </a:lnTo>
                <a:lnTo>
                  <a:pt x="617" y="501"/>
                </a:lnTo>
                <a:lnTo>
                  <a:pt x="615" y="501"/>
                </a:lnTo>
                <a:lnTo>
                  <a:pt x="613" y="501"/>
                </a:lnTo>
                <a:lnTo>
                  <a:pt x="606" y="501"/>
                </a:lnTo>
                <a:lnTo>
                  <a:pt x="605" y="501"/>
                </a:lnTo>
                <a:lnTo>
                  <a:pt x="602" y="501"/>
                </a:lnTo>
                <a:lnTo>
                  <a:pt x="601" y="501"/>
                </a:lnTo>
                <a:lnTo>
                  <a:pt x="598" y="501"/>
                </a:lnTo>
                <a:lnTo>
                  <a:pt x="595" y="501"/>
                </a:lnTo>
                <a:lnTo>
                  <a:pt x="594" y="501"/>
                </a:lnTo>
                <a:lnTo>
                  <a:pt x="594" y="504"/>
                </a:lnTo>
                <a:lnTo>
                  <a:pt x="594" y="505"/>
                </a:lnTo>
                <a:lnTo>
                  <a:pt x="594" y="508"/>
                </a:lnTo>
                <a:lnTo>
                  <a:pt x="591" y="508"/>
                </a:lnTo>
                <a:lnTo>
                  <a:pt x="591" y="508"/>
                </a:lnTo>
                <a:lnTo>
                  <a:pt x="590" y="508"/>
                </a:lnTo>
                <a:lnTo>
                  <a:pt x="587" y="508"/>
                </a:lnTo>
                <a:lnTo>
                  <a:pt x="587" y="508"/>
                </a:lnTo>
                <a:lnTo>
                  <a:pt x="584" y="508"/>
                </a:lnTo>
                <a:lnTo>
                  <a:pt x="583" y="508"/>
                </a:lnTo>
                <a:lnTo>
                  <a:pt x="580" y="508"/>
                </a:lnTo>
                <a:lnTo>
                  <a:pt x="580" y="508"/>
                </a:lnTo>
                <a:lnTo>
                  <a:pt x="577" y="508"/>
                </a:lnTo>
                <a:lnTo>
                  <a:pt x="576" y="508"/>
                </a:lnTo>
                <a:lnTo>
                  <a:pt x="574" y="508"/>
                </a:lnTo>
                <a:lnTo>
                  <a:pt x="572" y="508"/>
                </a:lnTo>
                <a:lnTo>
                  <a:pt x="569" y="508"/>
                </a:lnTo>
                <a:lnTo>
                  <a:pt x="568" y="508"/>
                </a:lnTo>
                <a:lnTo>
                  <a:pt x="565" y="508"/>
                </a:lnTo>
                <a:lnTo>
                  <a:pt x="563" y="508"/>
                </a:lnTo>
                <a:lnTo>
                  <a:pt x="563" y="509"/>
                </a:lnTo>
                <a:lnTo>
                  <a:pt x="563" y="509"/>
                </a:lnTo>
                <a:lnTo>
                  <a:pt x="563" y="512"/>
                </a:lnTo>
                <a:lnTo>
                  <a:pt x="563" y="514"/>
                </a:lnTo>
                <a:lnTo>
                  <a:pt x="561" y="514"/>
                </a:lnTo>
                <a:lnTo>
                  <a:pt x="561" y="516"/>
                </a:lnTo>
                <a:lnTo>
                  <a:pt x="561" y="518"/>
                </a:lnTo>
                <a:lnTo>
                  <a:pt x="561" y="520"/>
                </a:lnTo>
                <a:lnTo>
                  <a:pt x="552" y="520"/>
                </a:lnTo>
                <a:lnTo>
                  <a:pt x="550" y="520"/>
                </a:lnTo>
                <a:lnTo>
                  <a:pt x="548" y="520"/>
                </a:lnTo>
                <a:lnTo>
                  <a:pt x="544" y="520"/>
                </a:lnTo>
                <a:lnTo>
                  <a:pt x="541" y="520"/>
                </a:lnTo>
                <a:lnTo>
                  <a:pt x="540" y="520"/>
                </a:lnTo>
                <a:lnTo>
                  <a:pt x="537" y="520"/>
                </a:lnTo>
                <a:lnTo>
                  <a:pt x="536" y="520"/>
                </a:lnTo>
                <a:lnTo>
                  <a:pt x="533" y="520"/>
                </a:lnTo>
                <a:lnTo>
                  <a:pt x="530" y="520"/>
                </a:lnTo>
                <a:lnTo>
                  <a:pt x="529" y="520"/>
                </a:lnTo>
                <a:lnTo>
                  <a:pt x="526" y="520"/>
                </a:lnTo>
                <a:lnTo>
                  <a:pt x="525" y="520"/>
                </a:lnTo>
                <a:lnTo>
                  <a:pt x="522" y="520"/>
                </a:lnTo>
                <a:lnTo>
                  <a:pt x="520" y="520"/>
                </a:lnTo>
                <a:lnTo>
                  <a:pt x="520" y="522"/>
                </a:lnTo>
                <a:lnTo>
                  <a:pt x="520" y="522"/>
                </a:lnTo>
                <a:lnTo>
                  <a:pt x="520" y="525"/>
                </a:lnTo>
                <a:lnTo>
                  <a:pt x="520" y="526"/>
                </a:lnTo>
                <a:lnTo>
                  <a:pt x="518" y="526"/>
                </a:lnTo>
                <a:lnTo>
                  <a:pt x="518" y="529"/>
                </a:lnTo>
                <a:lnTo>
                  <a:pt x="518" y="529"/>
                </a:lnTo>
                <a:lnTo>
                  <a:pt x="518" y="531"/>
                </a:lnTo>
                <a:lnTo>
                  <a:pt x="518" y="533"/>
                </a:lnTo>
                <a:lnTo>
                  <a:pt x="516" y="533"/>
                </a:lnTo>
                <a:lnTo>
                  <a:pt x="514" y="533"/>
                </a:lnTo>
                <a:lnTo>
                  <a:pt x="514" y="535"/>
                </a:lnTo>
                <a:lnTo>
                  <a:pt x="514" y="537"/>
                </a:lnTo>
                <a:lnTo>
                  <a:pt x="514" y="539"/>
                </a:lnTo>
                <a:lnTo>
                  <a:pt x="514" y="542"/>
                </a:lnTo>
                <a:lnTo>
                  <a:pt x="514" y="542"/>
                </a:lnTo>
                <a:lnTo>
                  <a:pt x="514" y="543"/>
                </a:lnTo>
                <a:lnTo>
                  <a:pt x="511" y="543"/>
                </a:lnTo>
                <a:lnTo>
                  <a:pt x="509" y="543"/>
                </a:lnTo>
                <a:lnTo>
                  <a:pt x="509" y="546"/>
                </a:lnTo>
                <a:lnTo>
                  <a:pt x="509" y="546"/>
                </a:lnTo>
                <a:lnTo>
                  <a:pt x="509" y="547"/>
                </a:lnTo>
                <a:lnTo>
                  <a:pt x="509" y="550"/>
                </a:lnTo>
                <a:lnTo>
                  <a:pt x="508" y="550"/>
                </a:lnTo>
                <a:lnTo>
                  <a:pt x="505" y="550"/>
                </a:lnTo>
                <a:lnTo>
                  <a:pt x="505" y="552"/>
                </a:lnTo>
                <a:lnTo>
                  <a:pt x="505" y="552"/>
                </a:lnTo>
                <a:lnTo>
                  <a:pt x="505" y="554"/>
                </a:lnTo>
                <a:lnTo>
                  <a:pt x="505" y="556"/>
                </a:lnTo>
                <a:lnTo>
                  <a:pt x="498" y="556"/>
                </a:lnTo>
                <a:lnTo>
                  <a:pt x="497" y="556"/>
                </a:lnTo>
                <a:lnTo>
                  <a:pt x="494" y="556"/>
                </a:lnTo>
                <a:lnTo>
                  <a:pt x="494" y="559"/>
                </a:lnTo>
                <a:lnTo>
                  <a:pt x="494" y="559"/>
                </a:lnTo>
                <a:lnTo>
                  <a:pt x="494" y="560"/>
                </a:lnTo>
                <a:lnTo>
                  <a:pt x="494" y="563"/>
                </a:lnTo>
                <a:lnTo>
                  <a:pt x="494" y="563"/>
                </a:lnTo>
                <a:lnTo>
                  <a:pt x="491" y="563"/>
                </a:lnTo>
                <a:lnTo>
                  <a:pt x="491" y="563"/>
                </a:lnTo>
                <a:lnTo>
                  <a:pt x="490" y="563"/>
                </a:lnTo>
                <a:lnTo>
                  <a:pt x="490" y="564"/>
                </a:lnTo>
                <a:lnTo>
                  <a:pt x="490" y="567"/>
                </a:lnTo>
                <a:lnTo>
                  <a:pt x="487" y="567"/>
                </a:lnTo>
                <a:lnTo>
                  <a:pt x="487" y="567"/>
                </a:lnTo>
                <a:lnTo>
                  <a:pt x="486" y="567"/>
                </a:lnTo>
                <a:lnTo>
                  <a:pt x="483" y="567"/>
                </a:lnTo>
                <a:lnTo>
                  <a:pt x="480" y="567"/>
                </a:lnTo>
                <a:lnTo>
                  <a:pt x="479" y="567"/>
                </a:lnTo>
                <a:lnTo>
                  <a:pt x="476" y="567"/>
                </a:lnTo>
                <a:lnTo>
                  <a:pt x="476" y="570"/>
                </a:lnTo>
                <a:lnTo>
                  <a:pt x="476" y="570"/>
                </a:lnTo>
                <a:lnTo>
                  <a:pt x="476" y="571"/>
                </a:lnTo>
                <a:lnTo>
                  <a:pt x="476" y="574"/>
                </a:lnTo>
                <a:lnTo>
                  <a:pt x="475" y="574"/>
                </a:lnTo>
                <a:lnTo>
                  <a:pt x="475" y="575"/>
                </a:lnTo>
                <a:lnTo>
                  <a:pt x="475" y="575"/>
                </a:lnTo>
                <a:lnTo>
                  <a:pt x="475" y="577"/>
                </a:lnTo>
                <a:lnTo>
                  <a:pt x="475" y="580"/>
                </a:lnTo>
                <a:lnTo>
                  <a:pt x="472" y="580"/>
                </a:lnTo>
                <a:lnTo>
                  <a:pt x="471" y="580"/>
                </a:lnTo>
                <a:lnTo>
                  <a:pt x="471" y="581"/>
                </a:lnTo>
                <a:lnTo>
                  <a:pt x="471" y="584"/>
                </a:lnTo>
                <a:lnTo>
                  <a:pt x="468" y="584"/>
                </a:lnTo>
                <a:lnTo>
                  <a:pt x="468" y="585"/>
                </a:lnTo>
                <a:lnTo>
                  <a:pt x="468" y="585"/>
                </a:lnTo>
                <a:lnTo>
                  <a:pt x="468" y="588"/>
                </a:lnTo>
                <a:lnTo>
                  <a:pt x="468" y="591"/>
                </a:lnTo>
                <a:lnTo>
                  <a:pt x="466" y="591"/>
                </a:lnTo>
                <a:lnTo>
                  <a:pt x="466" y="592"/>
                </a:lnTo>
                <a:lnTo>
                  <a:pt x="466" y="592"/>
                </a:lnTo>
                <a:lnTo>
                  <a:pt x="466" y="595"/>
                </a:lnTo>
                <a:lnTo>
                  <a:pt x="466" y="595"/>
                </a:lnTo>
                <a:lnTo>
                  <a:pt x="464" y="595"/>
                </a:lnTo>
                <a:lnTo>
                  <a:pt x="461" y="595"/>
                </a:lnTo>
                <a:lnTo>
                  <a:pt x="460" y="595"/>
                </a:lnTo>
                <a:lnTo>
                  <a:pt x="458" y="595"/>
                </a:lnTo>
                <a:lnTo>
                  <a:pt x="458" y="597"/>
                </a:lnTo>
                <a:lnTo>
                  <a:pt x="458" y="599"/>
                </a:lnTo>
                <a:lnTo>
                  <a:pt x="458" y="601"/>
                </a:lnTo>
                <a:lnTo>
                  <a:pt x="455" y="601"/>
                </a:lnTo>
                <a:lnTo>
                  <a:pt x="453" y="601"/>
                </a:lnTo>
                <a:lnTo>
                  <a:pt x="451" y="601"/>
                </a:lnTo>
                <a:lnTo>
                  <a:pt x="448" y="601"/>
                </a:lnTo>
                <a:lnTo>
                  <a:pt x="447" y="601"/>
                </a:lnTo>
                <a:lnTo>
                  <a:pt x="447" y="602"/>
                </a:lnTo>
                <a:lnTo>
                  <a:pt x="447" y="602"/>
                </a:lnTo>
                <a:lnTo>
                  <a:pt x="447" y="605"/>
                </a:lnTo>
                <a:lnTo>
                  <a:pt x="444" y="605"/>
                </a:lnTo>
                <a:lnTo>
                  <a:pt x="442" y="605"/>
                </a:lnTo>
                <a:lnTo>
                  <a:pt x="440" y="605"/>
                </a:lnTo>
                <a:lnTo>
                  <a:pt x="439" y="605"/>
                </a:lnTo>
                <a:lnTo>
                  <a:pt x="436" y="605"/>
                </a:lnTo>
                <a:lnTo>
                  <a:pt x="433" y="605"/>
                </a:lnTo>
                <a:lnTo>
                  <a:pt x="432" y="605"/>
                </a:lnTo>
                <a:lnTo>
                  <a:pt x="429" y="605"/>
                </a:lnTo>
                <a:lnTo>
                  <a:pt x="428" y="605"/>
                </a:lnTo>
                <a:lnTo>
                  <a:pt x="425" y="605"/>
                </a:lnTo>
                <a:lnTo>
                  <a:pt x="425" y="608"/>
                </a:lnTo>
                <a:lnTo>
                  <a:pt x="425" y="608"/>
                </a:lnTo>
                <a:lnTo>
                  <a:pt x="425" y="609"/>
                </a:lnTo>
                <a:lnTo>
                  <a:pt x="425" y="612"/>
                </a:lnTo>
                <a:lnTo>
                  <a:pt x="424" y="612"/>
                </a:lnTo>
                <a:lnTo>
                  <a:pt x="424" y="613"/>
                </a:lnTo>
                <a:lnTo>
                  <a:pt x="424" y="616"/>
                </a:lnTo>
                <a:lnTo>
                  <a:pt x="424" y="618"/>
                </a:lnTo>
                <a:lnTo>
                  <a:pt x="424" y="618"/>
                </a:lnTo>
                <a:lnTo>
                  <a:pt x="424" y="620"/>
                </a:lnTo>
                <a:lnTo>
                  <a:pt x="424" y="622"/>
                </a:lnTo>
                <a:lnTo>
                  <a:pt x="421" y="622"/>
                </a:lnTo>
                <a:lnTo>
                  <a:pt x="419" y="622"/>
                </a:lnTo>
                <a:lnTo>
                  <a:pt x="412" y="622"/>
                </a:lnTo>
                <a:lnTo>
                  <a:pt x="410" y="622"/>
                </a:lnTo>
                <a:lnTo>
                  <a:pt x="408" y="622"/>
                </a:lnTo>
                <a:lnTo>
                  <a:pt x="408" y="625"/>
                </a:lnTo>
                <a:lnTo>
                  <a:pt x="408" y="625"/>
                </a:lnTo>
                <a:lnTo>
                  <a:pt x="408" y="626"/>
                </a:lnTo>
                <a:lnTo>
                  <a:pt x="408" y="626"/>
                </a:lnTo>
                <a:lnTo>
                  <a:pt x="406" y="626"/>
                </a:lnTo>
                <a:lnTo>
                  <a:pt x="404" y="626"/>
                </a:lnTo>
                <a:lnTo>
                  <a:pt x="401" y="626"/>
                </a:lnTo>
                <a:lnTo>
                  <a:pt x="400" y="626"/>
                </a:lnTo>
                <a:lnTo>
                  <a:pt x="397" y="626"/>
                </a:lnTo>
                <a:lnTo>
                  <a:pt x="397" y="629"/>
                </a:lnTo>
                <a:lnTo>
                  <a:pt x="397" y="630"/>
                </a:lnTo>
                <a:lnTo>
                  <a:pt x="394" y="630"/>
                </a:lnTo>
                <a:lnTo>
                  <a:pt x="393" y="630"/>
                </a:lnTo>
                <a:lnTo>
                  <a:pt x="393" y="630"/>
                </a:lnTo>
                <a:lnTo>
                  <a:pt x="390" y="630"/>
                </a:lnTo>
                <a:lnTo>
                  <a:pt x="390" y="633"/>
                </a:lnTo>
                <a:lnTo>
                  <a:pt x="390" y="633"/>
                </a:lnTo>
                <a:lnTo>
                  <a:pt x="390" y="635"/>
                </a:lnTo>
                <a:lnTo>
                  <a:pt x="390" y="637"/>
                </a:lnTo>
                <a:lnTo>
                  <a:pt x="389" y="637"/>
                </a:lnTo>
                <a:lnTo>
                  <a:pt x="386" y="637"/>
                </a:lnTo>
                <a:lnTo>
                  <a:pt x="386" y="639"/>
                </a:lnTo>
                <a:lnTo>
                  <a:pt x="386" y="639"/>
                </a:lnTo>
                <a:lnTo>
                  <a:pt x="386" y="641"/>
                </a:lnTo>
                <a:lnTo>
                  <a:pt x="386" y="641"/>
                </a:lnTo>
                <a:lnTo>
                  <a:pt x="383" y="641"/>
                </a:lnTo>
                <a:lnTo>
                  <a:pt x="383" y="643"/>
                </a:lnTo>
                <a:lnTo>
                  <a:pt x="383" y="646"/>
                </a:lnTo>
                <a:lnTo>
                  <a:pt x="383" y="647"/>
                </a:lnTo>
                <a:lnTo>
                  <a:pt x="383" y="650"/>
                </a:lnTo>
                <a:lnTo>
                  <a:pt x="383" y="652"/>
                </a:lnTo>
                <a:lnTo>
                  <a:pt x="383" y="652"/>
                </a:lnTo>
                <a:lnTo>
                  <a:pt x="383" y="654"/>
                </a:lnTo>
                <a:lnTo>
                  <a:pt x="383" y="656"/>
                </a:lnTo>
                <a:lnTo>
                  <a:pt x="382" y="656"/>
                </a:lnTo>
                <a:lnTo>
                  <a:pt x="379" y="656"/>
                </a:lnTo>
                <a:lnTo>
                  <a:pt x="379" y="658"/>
                </a:lnTo>
                <a:lnTo>
                  <a:pt x="379" y="660"/>
                </a:lnTo>
                <a:lnTo>
                  <a:pt x="378" y="660"/>
                </a:lnTo>
                <a:lnTo>
                  <a:pt x="375" y="660"/>
                </a:lnTo>
                <a:lnTo>
                  <a:pt x="374" y="660"/>
                </a:lnTo>
                <a:lnTo>
                  <a:pt x="371" y="660"/>
                </a:lnTo>
                <a:lnTo>
                  <a:pt x="370" y="660"/>
                </a:lnTo>
                <a:lnTo>
                  <a:pt x="367" y="660"/>
                </a:lnTo>
                <a:lnTo>
                  <a:pt x="367" y="663"/>
                </a:lnTo>
                <a:lnTo>
                  <a:pt x="367" y="664"/>
                </a:lnTo>
                <a:lnTo>
                  <a:pt x="364" y="664"/>
                </a:lnTo>
                <a:lnTo>
                  <a:pt x="364" y="667"/>
                </a:lnTo>
                <a:lnTo>
                  <a:pt x="364" y="667"/>
                </a:lnTo>
                <a:lnTo>
                  <a:pt x="364" y="668"/>
                </a:lnTo>
                <a:lnTo>
                  <a:pt x="364" y="671"/>
                </a:lnTo>
                <a:lnTo>
                  <a:pt x="364" y="673"/>
                </a:lnTo>
                <a:lnTo>
                  <a:pt x="364" y="673"/>
                </a:lnTo>
                <a:lnTo>
                  <a:pt x="364" y="675"/>
                </a:lnTo>
                <a:lnTo>
                  <a:pt x="363" y="675"/>
                </a:lnTo>
                <a:lnTo>
                  <a:pt x="363" y="677"/>
                </a:lnTo>
                <a:lnTo>
                  <a:pt x="363" y="679"/>
                </a:lnTo>
                <a:lnTo>
                  <a:pt x="360" y="679"/>
                </a:lnTo>
                <a:lnTo>
                  <a:pt x="358" y="679"/>
                </a:lnTo>
                <a:lnTo>
                  <a:pt x="356" y="679"/>
                </a:lnTo>
                <a:lnTo>
                  <a:pt x="354" y="679"/>
                </a:lnTo>
                <a:lnTo>
                  <a:pt x="354" y="681"/>
                </a:lnTo>
                <a:lnTo>
                  <a:pt x="354" y="681"/>
                </a:lnTo>
                <a:lnTo>
                  <a:pt x="354" y="684"/>
                </a:lnTo>
                <a:lnTo>
                  <a:pt x="352" y="684"/>
                </a:lnTo>
                <a:lnTo>
                  <a:pt x="350" y="684"/>
                </a:lnTo>
                <a:lnTo>
                  <a:pt x="350" y="685"/>
                </a:lnTo>
                <a:lnTo>
                  <a:pt x="350" y="685"/>
                </a:lnTo>
                <a:lnTo>
                  <a:pt x="350" y="688"/>
                </a:lnTo>
                <a:lnTo>
                  <a:pt x="350" y="691"/>
                </a:lnTo>
                <a:lnTo>
                  <a:pt x="347" y="691"/>
                </a:lnTo>
                <a:lnTo>
                  <a:pt x="345" y="691"/>
                </a:lnTo>
                <a:lnTo>
                  <a:pt x="343" y="691"/>
                </a:lnTo>
                <a:lnTo>
                  <a:pt x="343" y="692"/>
                </a:lnTo>
                <a:lnTo>
                  <a:pt x="343" y="695"/>
                </a:lnTo>
                <a:lnTo>
                  <a:pt x="342" y="695"/>
                </a:lnTo>
                <a:lnTo>
                  <a:pt x="339" y="695"/>
                </a:lnTo>
                <a:lnTo>
                  <a:pt x="336" y="695"/>
                </a:lnTo>
                <a:lnTo>
                  <a:pt x="336" y="696"/>
                </a:lnTo>
                <a:lnTo>
                  <a:pt x="336" y="696"/>
                </a:lnTo>
                <a:lnTo>
                  <a:pt x="336" y="698"/>
                </a:lnTo>
                <a:lnTo>
                  <a:pt x="335" y="698"/>
                </a:lnTo>
                <a:lnTo>
                  <a:pt x="332" y="698"/>
                </a:lnTo>
                <a:lnTo>
                  <a:pt x="331" y="698"/>
                </a:lnTo>
                <a:lnTo>
                  <a:pt x="331" y="701"/>
                </a:lnTo>
                <a:lnTo>
                  <a:pt x="331" y="701"/>
                </a:lnTo>
                <a:lnTo>
                  <a:pt x="331" y="702"/>
                </a:lnTo>
                <a:lnTo>
                  <a:pt x="331" y="702"/>
                </a:lnTo>
                <a:lnTo>
                  <a:pt x="328" y="702"/>
                </a:lnTo>
                <a:lnTo>
                  <a:pt x="328" y="705"/>
                </a:lnTo>
                <a:lnTo>
                  <a:pt x="328" y="706"/>
                </a:lnTo>
                <a:lnTo>
                  <a:pt x="325" y="706"/>
                </a:lnTo>
                <a:lnTo>
                  <a:pt x="324" y="706"/>
                </a:lnTo>
                <a:lnTo>
                  <a:pt x="322" y="706"/>
                </a:lnTo>
                <a:lnTo>
                  <a:pt x="320" y="706"/>
                </a:lnTo>
                <a:lnTo>
                  <a:pt x="317" y="706"/>
                </a:lnTo>
                <a:lnTo>
                  <a:pt x="316" y="706"/>
                </a:lnTo>
                <a:lnTo>
                  <a:pt x="313" y="706"/>
                </a:lnTo>
                <a:lnTo>
                  <a:pt x="311" y="706"/>
                </a:lnTo>
                <a:lnTo>
                  <a:pt x="309" y="706"/>
                </a:lnTo>
                <a:lnTo>
                  <a:pt x="309" y="706"/>
                </a:lnTo>
                <a:lnTo>
                  <a:pt x="307" y="706"/>
                </a:lnTo>
                <a:lnTo>
                  <a:pt x="304" y="706"/>
                </a:lnTo>
                <a:lnTo>
                  <a:pt x="304" y="706"/>
                </a:lnTo>
                <a:lnTo>
                  <a:pt x="303" y="706"/>
                </a:lnTo>
                <a:lnTo>
                  <a:pt x="302" y="706"/>
                </a:lnTo>
                <a:lnTo>
                  <a:pt x="299" y="706"/>
                </a:lnTo>
                <a:lnTo>
                  <a:pt x="299" y="706"/>
                </a:lnTo>
                <a:lnTo>
                  <a:pt x="298" y="706"/>
                </a:lnTo>
                <a:lnTo>
                  <a:pt x="298" y="709"/>
                </a:lnTo>
                <a:lnTo>
                  <a:pt x="298" y="712"/>
                </a:lnTo>
                <a:lnTo>
                  <a:pt x="295" y="712"/>
                </a:lnTo>
                <a:lnTo>
                  <a:pt x="293" y="712"/>
                </a:lnTo>
                <a:lnTo>
                  <a:pt x="292" y="712"/>
                </a:lnTo>
                <a:lnTo>
                  <a:pt x="289" y="712"/>
                </a:lnTo>
                <a:lnTo>
                  <a:pt x="286" y="712"/>
                </a:lnTo>
                <a:lnTo>
                  <a:pt x="285" y="712"/>
                </a:lnTo>
                <a:lnTo>
                  <a:pt x="282" y="712"/>
                </a:lnTo>
                <a:lnTo>
                  <a:pt x="282" y="713"/>
                </a:lnTo>
                <a:lnTo>
                  <a:pt x="282" y="713"/>
                </a:lnTo>
                <a:lnTo>
                  <a:pt x="282" y="716"/>
                </a:lnTo>
                <a:lnTo>
                  <a:pt x="282" y="718"/>
                </a:lnTo>
                <a:lnTo>
                  <a:pt x="280" y="718"/>
                </a:lnTo>
                <a:lnTo>
                  <a:pt x="278" y="718"/>
                </a:lnTo>
                <a:lnTo>
                  <a:pt x="275" y="718"/>
                </a:lnTo>
                <a:lnTo>
                  <a:pt x="275" y="720"/>
                </a:lnTo>
                <a:lnTo>
                  <a:pt x="275" y="720"/>
                </a:lnTo>
                <a:lnTo>
                  <a:pt x="275" y="722"/>
                </a:lnTo>
                <a:lnTo>
                  <a:pt x="275" y="722"/>
                </a:lnTo>
                <a:lnTo>
                  <a:pt x="274" y="722"/>
                </a:lnTo>
                <a:lnTo>
                  <a:pt x="274" y="723"/>
                </a:lnTo>
                <a:lnTo>
                  <a:pt x="274" y="726"/>
                </a:lnTo>
                <a:lnTo>
                  <a:pt x="273" y="726"/>
                </a:lnTo>
                <a:lnTo>
                  <a:pt x="273" y="729"/>
                </a:lnTo>
                <a:lnTo>
                  <a:pt x="273" y="729"/>
                </a:lnTo>
                <a:lnTo>
                  <a:pt x="273" y="730"/>
                </a:lnTo>
                <a:lnTo>
                  <a:pt x="270" y="730"/>
                </a:lnTo>
                <a:lnTo>
                  <a:pt x="270" y="733"/>
                </a:lnTo>
                <a:lnTo>
                  <a:pt x="270" y="733"/>
                </a:lnTo>
                <a:lnTo>
                  <a:pt x="270" y="734"/>
                </a:lnTo>
                <a:lnTo>
                  <a:pt x="270" y="734"/>
                </a:lnTo>
                <a:lnTo>
                  <a:pt x="267" y="734"/>
                </a:lnTo>
                <a:lnTo>
                  <a:pt x="266" y="734"/>
                </a:lnTo>
                <a:lnTo>
                  <a:pt x="266" y="737"/>
                </a:lnTo>
                <a:lnTo>
                  <a:pt x="266" y="739"/>
                </a:lnTo>
                <a:lnTo>
                  <a:pt x="263" y="739"/>
                </a:lnTo>
                <a:lnTo>
                  <a:pt x="263" y="741"/>
                </a:lnTo>
                <a:lnTo>
                  <a:pt x="263" y="743"/>
                </a:lnTo>
                <a:lnTo>
                  <a:pt x="260" y="743"/>
                </a:lnTo>
                <a:lnTo>
                  <a:pt x="259" y="743"/>
                </a:lnTo>
                <a:lnTo>
                  <a:pt x="257" y="743"/>
                </a:lnTo>
                <a:lnTo>
                  <a:pt x="255" y="743"/>
                </a:lnTo>
                <a:lnTo>
                  <a:pt x="253" y="743"/>
                </a:lnTo>
                <a:lnTo>
                  <a:pt x="253" y="745"/>
                </a:lnTo>
                <a:lnTo>
                  <a:pt x="253" y="745"/>
                </a:lnTo>
                <a:lnTo>
                  <a:pt x="253" y="747"/>
                </a:lnTo>
                <a:lnTo>
                  <a:pt x="253" y="750"/>
                </a:lnTo>
                <a:lnTo>
                  <a:pt x="253" y="750"/>
                </a:lnTo>
                <a:lnTo>
                  <a:pt x="253" y="751"/>
                </a:lnTo>
                <a:lnTo>
                  <a:pt x="250" y="751"/>
                </a:lnTo>
                <a:lnTo>
                  <a:pt x="250" y="754"/>
                </a:lnTo>
                <a:lnTo>
                  <a:pt x="250" y="756"/>
                </a:lnTo>
                <a:lnTo>
                  <a:pt x="248" y="756"/>
                </a:lnTo>
                <a:lnTo>
                  <a:pt x="246" y="756"/>
                </a:lnTo>
                <a:lnTo>
                  <a:pt x="244" y="756"/>
                </a:lnTo>
                <a:lnTo>
                  <a:pt x="242" y="756"/>
                </a:lnTo>
                <a:lnTo>
                  <a:pt x="242" y="758"/>
                </a:lnTo>
                <a:lnTo>
                  <a:pt x="242" y="760"/>
                </a:lnTo>
                <a:lnTo>
                  <a:pt x="242" y="762"/>
                </a:lnTo>
                <a:lnTo>
                  <a:pt x="242" y="762"/>
                </a:lnTo>
                <a:lnTo>
                  <a:pt x="242" y="764"/>
                </a:lnTo>
                <a:lnTo>
                  <a:pt x="239" y="764"/>
                </a:lnTo>
                <a:lnTo>
                  <a:pt x="238" y="764"/>
                </a:lnTo>
                <a:lnTo>
                  <a:pt x="238" y="767"/>
                </a:lnTo>
                <a:lnTo>
                  <a:pt x="238" y="767"/>
                </a:lnTo>
                <a:lnTo>
                  <a:pt x="238" y="768"/>
                </a:lnTo>
                <a:lnTo>
                  <a:pt x="238" y="772"/>
                </a:lnTo>
                <a:lnTo>
                  <a:pt x="238" y="775"/>
                </a:lnTo>
                <a:lnTo>
                  <a:pt x="238" y="775"/>
                </a:lnTo>
                <a:lnTo>
                  <a:pt x="238" y="777"/>
                </a:lnTo>
                <a:lnTo>
                  <a:pt x="235" y="777"/>
                </a:lnTo>
                <a:lnTo>
                  <a:pt x="234" y="777"/>
                </a:lnTo>
                <a:lnTo>
                  <a:pt x="231" y="777"/>
                </a:lnTo>
                <a:lnTo>
                  <a:pt x="231" y="779"/>
                </a:lnTo>
                <a:lnTo>
                  <a:pt x="231" y="779"/>
                </a:lnTo>
                <a:lnTo>
                  <a:pt x="231" y="781"/>
                </a:lnTo>
                <a:lnTo>
                  <a:pt x="223" y="781"/>
                </a:lnTo>
                <a:lnTo>
                  <a:pt x="220" y="781"/>
                </a:lnTo>
                <a:lnTo>
                  <a:pt x="219" y="781"/>
                </a:lnTo>
                <a:lnTo>
                  <a:pt x="219" y="784"/>
                </a:lnTo>
                <a:lnTo>
                  <a:pt x="219" y="784"/>
                </a:lnTo>
                <a:lnTo>
                  <a:pt x="219" y="785"/>
                </a:lnTo>
                <a:lnTo>
                  <a:pt x="219" y="785"/>
                </a:lnTo>
                <a:lnTo>
                  <a:pt x="219" y="788"/>
                </a:lnTo>
                <a:lnTo>
                  <a:pt x="219" y="788"/>
                </a:lnTo>
                <a:lnTo>
                  <a:pt x="219" y="789"/>
                </a:lnTo>
                <a:lnTo>
                  <a:pt x="216" y="789"/>
                </a:lnTo>
                <a:lnTo>
                  <a:pt x="216" y="792"/>
                </a:lnTo>
                <a:lnTo>
                  <a:pt x="216" y="792"/>
                </a:lnTo>
                <a:lnTo>
                  <a:pt x="216" y="794"/>
                </a:lnTo>
                <a:lnTo>
                  <a:pt x="216" y="796"/>
                </a:lnTo>
                <a:lnTo>
                  <a:pt x="216" y="796"/>
                </a:lnTo>
                <a:lnTo>
                  <a:pt x="216" y="798"/>
                </a:lnTo>
                <a:lnTo>
                  <a:pt x="214" y="798"/>
                </a:lnTo>
                <a:lnTo>
                  <a:pt x="214" y="800"/>
                </a:lnTo>
                <a:lnTo>
                  <a:pt x="214" y="802"/>
                </a:lnTo>
                <a:lnTo>
                  <a:pt x="209" y="802"/>
                </a:lnTo>
                <a:lnTo>
                  <a:pt x="208" y="802"/>
                </a:lnTo>
                <a:lnTo>
                  <a:pt x="208" y="802"/>
                </a:lnTo>
                <a:lnTo>
                  <a:pt x="208" y="802"/>
                </a:lnTo>
                <a:lnTo>
                  <a:pt x="205" y="802"/>
                </a:lnTo>
                <a:lnTo>
                  <a:pt x="205" y="802"/>
                </a:lnTo>
                <a:lnTo>
                  <a:pt x="202" y="802"/>
                </a:lnTo>
                <a:lnTo>
                  <a:pt x="201" y="802"/>
                </a:lnTo>
                <a:lnTo>
                  <a:pt x="198" y="802"/>
                </a:lnTo>
                <a:lnTo>
                  <a:pt x="198" y="805"/>
                </a:lnTo>
                <a:lnTo>
                  <a:pt x="198" y="806"/>
                </a:lnTo>
                <a:lnTo>
                  <a:pt x="196" y="806"/>
                </a:lnTo>
                <a:lnTo>
                  <a:pt x="194" y="806"/>
                </a:lnTo>
                <a:lnTo>
                  <a:pt x="192" y="806"/>
                </a:lnTo>
                <a:lnTo>
                  <a:pt x="192" y="809"/>
                </a:lnTo>
                <a:lnTo>
                  <a:pt x="192" y="809"/>
                </a:lnTo>
                <a:lnTo>
                  <a:pt x="192" y="812"/>
                </a:lnTo>
                <a:lnTo>
                  <a:pt x="190" y="812"/>
                </a:lnTo>
                <a:lnTo>
                  <a:pt x="188" y="812"/>
                </a:lnTo>
                <a:lnTo>
                  <a:pt x="185" y="812"/>
                </a:lnTo>
                <a:lnTo>
                  <a:pt x="185" y="813"/>
                </a:lnTo>
                <a:lnTo>
                  <a:pt x="185" y="813"/>
                </a:lnTo>
                <a:lnTo>
                  <a:pt x="185" y="816"/>
                </a:lnTo>
                <a:lnTo>
                  <a:pt x="185" y="816"/>
                </a:lnTo>
                <a:lnTo>
                  <a:pt x="183" y="816"/>
                </a:lnTo>
                <a:lnTo>
                  <a:pt x="183" y="817"/>
                </a:lnTo>
                <a:lnTo>
                  <a:pt x="183" y="819"/>
                </a:lnTo>
                <a:lnTo>
                  <a:pt x="181" y="819"/>
                </a:lnTo>
                <a:lnTo>
                  <a:pt x="178" y="819"/>
                </a:lnTo>
                <a:lnTo>
                  <a:pt x="178" y="822"/>
                </a:lnTo>
                <a:lnTo>
                  <a:pt x="178" y="823"/>
                </a:lnTo>
                <a:lnTo>
                  <a:pt x="178" y="826"/>
                </a:lnTo>
                <a:lnTo>
                  <a:pt x="178" y="826"/>
                </a:lnTo>
                <a:lnTo>
                  <a:pt x="178" y="827"/>
                </a:lnTo>
                <a:lnTo>
                  <a:pt x="177" y="827"/>
                </a:lnTo>
                <a:lnTo>
                  <a:pt x="176" y="827"/>
                </a:lnTo>
                <a:lnTo>
                  <a:pt x="173" y="827"/>
                </a:lnTo>
                <a:lnTo>
                  <a:pt x="173" y="830"/>
                </a:lnTo>
                <a:lnTo>
                  <a:pt x="173" y="830"/>
                </a:lnTo>
                <a:lnTo>
                  <a:pt x="173" y="833"/>
                </a:lnTo>
                <a:lnTo>
                  <a:pt x="173" y="833"/>
                </a:lnTo>
                <a:lnTo>
                  <a:pt x="170" y="833"/>
                </a:lnTo>
                <a:lnTo>
                  <a:pt x="169" y="833"/>
                </a:lnTo>
                <a:lnTo>
                  <a:pt x="169" y="834"/>
                </a:lnTo>
                <a:lnTo>
                  <a:pt x="169" y="837"/>
                </a:lnTo>
                <a:lnTo>
                  <a:pt x="166" y="837"/>
                </a:lnTo>
                <a:lnTo>
                  <a:pt x="163" y="837"/>
                </a:lnTo>
                <a:lnTo>
                  <a:pt x="162" y="837"/>
                </a:lnTo>
                <a:lnTo>
                  <a:pt x="159" y="837"/>
                </a:lnTo>
                <a:lnTo>
                  <a:pt x="158" y="837"/>
                </a:lnTo>
                <a:lnTo>
                  <a:pt x="156" y="837"/>
                </a:lnTo>
                <a:lnTo>
                  <a:pt x="156" y="838"/>
                </a:lnTo>
                <a:lnTo>
                  <a:pt x="156" y="838"/>
                </a:lnTo>
                <a:lnTo>
                  <a:pt x="156" y="841"/>
                </a:lnTo>
                <a:lnTo>
                  <a:pt x="154" y="841"/>
                </a:lnTo>
                <a:lnTo>
                  <a:pt x="154" y="843"/>
                </a:lnTo>
                <a:lnTo>
                  <a:pt x="154" y="843"/>
                </a:lnTo>
                <a:lnTo>
                  <a:pt x="154" y="844"/>
                </a:lnTo>
                <a:lnTo>
                  <a:pt x="154" y="844"/>
                </a:lnTo>
                <a:lnTo>
                  <a:pt x="151" y="844"/>
                </a:lnTo>
                <a:lnTo>
                  <a:pt x="149" y="844"/>
                </a:lnTo>
                <a:lnTo>
                  <a:pt x="147" y="844"/>
                </a:lnTo>
                <a:lnTo>
                  <a:pt x="147" y="847"/>
                </a:lnTo>
                <a:lnTo>
                  <a:pt x="147" y="850"/>
                </a:lnTo>
                <a:lnTo>
                  <a:pt x="144" y="850"/>
                </a:lnTo>
                <a:lnTo>
                  <a:pt x="142" y="850"/>
                </a:lnTo>
                <a:lnTo>
                  <a:pt x="142" y="851"/>
                </a:lnTo>
                <a:lnTo>
                  <a:pt x="142" y="854"/>
                </a:lnTo>
                <a:lnTo>
                  <a:pt x="141" y="854"/>
                </a:lnTo>
                <a:lnTo>
                  <a:pt x="138" y="854"/>
                </a:lnTo>
                <a:lnTo>
                  <a:pt x="138" y="855"/>
                </a:lnTo>
                <a:lnTo>
                  <a:pt x="138" y="855"/>
                </a:lnTo>
                <a:lnTo>
                  <a:pt x="138" y="858"/>
                </a:lnTo>
                <a:lnTo>
                  <a:pt x="138" y="860"/>
                </a:lnTo>
                <a:lnTo>
                  <a:pt x="137" y="860"/>
                </a:lnTo>
                <a:lnTo>
                  <a:pt x="134" y="860"/>
                </a:lnTo>
                <a:lnTo>
                  <a:pt x="131" y="860"/>
                </a:lnTo>
                <a:lnTo>
                  <a:pt x="130" y="860"/>
                </a:lnTo>
                <a:lnTo>
                  <a:pt x="127" y="860"/>
                </a:lnTo>
                <a:lnTo>
                  <a:pt x="127" y="862"/>
                </a:lnTo>
                <a:lnTo>
                  <a:pt x="127" y="862"/>
                </a:lnTo>
                <a:lnTo>
                  <a:pt x="127" y="864"/>
                </a:lnTo>
                <a:lnTo>
                  <a:pt x="127" y="864"/>
                </a:lnTo>
                <a:lnTo>
                  <a:pt x="126" y="864"/>
                </a:lnTo>
                <a:lnTo>
                  <a:pt x="123" y="864"/>
                </a:lnTo>
                <a:lnTo>
                  <a:pt x="122" y="864"/>
                </a:lnTo>
                <a:lnTo>
                  <a:pt x="122" y="866"/>
                </a:lnTo>
                <a:lnTo>
                  <a:pt x="122" y="868"/>
                </a:lnTo>
                <a:lnTo>
                  <a:pt x="119" y="868"/>
                </a:lnTo>
                <a:lnTo>
                  <a:pt x="116" y="868"/>
                </a:lnTo>
                <a:lnTo>
                  <a:pt x="115" y="868"/>
                </a:lnTo>
                <a:lnTo>
                  <a:pt x="115" y="871"/>
                </a:lnTo>
                <a:lnTo>
                  <a:pt x="115" y="871"/>
                </a:lnTo>
                <a:lnTo>
                  <a:pt x="115" y="872"/>
                </a:lnTo>
                <a:lnTo>
                  <a:pt x="115" y="872"/>
                </a:lnTo>
                <a:lnTo>
                  <a:pt x="112" y="872"/>
                </a:lnTo>
                <a:lnTo>
                  <a:pt x="112" y="872"/>
                </a:lnTo>
                <a:lnTo>
                  <a:pt x="109" y="872"/>
                </a:lnTo>
                <a:lnTo>
                  <a:pt x="109" y="875"/>
                </a:lnTo>
                <a:lnTo>
                  <a:pt x="109" y="875"/>
                </a:lnTo>
                <a:lnTo>
                  <a:pt x="109" y="877"/>
                </a:lnTo>
                <a:lnTo>
                  <a:pt x="109" y="877"/>
                </a:lnTo>
                <a:lnTo>
                  <a:pt x="108" y="877"/>
                </a:lnTo>
                <a:lnTo>
                  <a:pt x="108" y="877"/>
                </a:lnTo>
                <a:lnTo>
                  <a:pt x="105" y="877"/>
                </a:lnTo>
                <a:lnTo>
                  <a:pt x="105" y="879"/>
                </a:lnTo>
                <a:lnTo>
                  <a:pt x="105" y="881"/>
                </a:lnTo>
                <a:lnTo>
                  <a:pt x="104" y="881"/>
                </a:lnTo>
                <a:lnTo>
                  <a:pt x="104" y="883"/>
                </a:lnTo>
                <a:lnTo>
                  <a:pt x="104" y="885"/>
                </a:lnTo>
                <a:lnTo>
                  <a:pt x="101" y="885"/>
                </a:lnTo>
                <a:lnTo>
                  <a:pt x="99" y="885"/>
                </a:lnTo>
                <a:lnTo>
                  <a:pt x="99" y="888"/>
                </a:lnTo>
                <a:lnTo>
                  <a:pt x="99" y="888"/>
                </a:lnTo>
                <a:lnTo>
                  <a:pt x="99" y="889"/>
                </a:lnTo>
                <a:lnTo>
                  <a:pt x="99" y="892"/>
                </a:lnTo>
                <a:lnTo>
                  <a:pt x="99" y="892"/>
                </a:lnTo>
                <a:lnTo>
                  <a:pt x="99" y="893"/>
                </a:lnTo>
                <a:lnTo>
                  <a:pt x="88" y="893"/>
                </a:lnTo>
                <a:lnTo>
                  <a:pt x="86" y="893"/>
                </a:lnTo>
                <a:lnTo>
                  <a:pt x="84" y="893"/>
                </a:lnTo>
                <a:lnTo>
                  <a:pt x="84" y="896"/>
                </a:lnTo>
                <a:lnTo>
                  <a:pt x="84" y="898"/>
                </a:lnTo>
                <a:lnTo>
                  <a:pt x="81" y="898"/>
                </a:lnTo>
                <a:lnTo>
                  <a:pt x="81" y="900"/>
                </a:lnTo>
                <a:lnTo>
                  <a:pt x="80" y="900"/>
                </a:lnTo>
                <a:lnTo>
                  <a:pt x="80" y="902"/>
                </a:lnTo>
                <a:lnTo>
                  <a:pt x="80" y="902"/>
                </a:lnTo>
                <a:lnTo>
                  <a:pt x="80" y="905"/>
                </a:lnTo>
                <a:lnTo>
                  <a:pt x="77" y="905"/>
                </a:lnTo>
                <a:lnTo>
                  <a:pt x="76" y="905"/>
                </a:lnTo>
                <a:lnTo>
                  <a:pt x="76" y="906"/>
                </a:lnTo>
                <a:lnTo>
                  <a:pt x="76" y="906"/>
                </a:lnTo>
                <a:lnTo>
                  <a:pt x="76" y="909"/>
                </a:lnTo>
                <a:lnTo>
                  <a:pt x="76" y="909"/>
                </a:lnTo>
                <a:lnTo>
                  <a:pt x="73" y="909"/>
                </a:lnTo>
                <a:lnTo>
                  <a:pt x="73" y="910"/>
                </a:lnTo>
                <a:lnTo>
                  <a:pt x="73" y="913"/>
                </a:lnTo>
                <a:lnTo>
                  <a:pt x="66" y="913"/>
                </a:lnTo>
                <a:lnTo>
                  <a:pt x="65" y="913"/>
                </a:lnTo>
                <a:lnTo>
                  <a:pt x="62" y="913"/>
                </a:lnTo>
                <a:lnTo>
                  <a:pt x="62" y="915"/>
                </a:lnTo>
                <a:lnTo>
                  <a:pt x="62" y="917"/>
                </a:lnTo>
                <a:lnTo>
                  <a:pt x="61" y="917"/>
                </a:lnTo>
                <a:lnTo>
                  <a:pt x="61" y="919"/>
                </a:lnTo>
                <a:lnTo>
                  <a:pt x="61" y="919"/>
                </a:lnTo>
                <a:lnTo>
                  <a:pt x="61" y="921"/>
                </a:lnTo>
                <a:lnTo>
                  <a:pt x="57" y="921"/>
                </a:lnTo>
                <a:lnTo>
                  <a:pt x="54" y="921"/>
                </a:lnTo>
                <a:lnTo>
                  <a:pt x="52" y="921"/>
                </a:lnTo>
                <a:lnTo>
                  <a:pt x="52" y="923"/>
                </a:lnTo>
                <a:lnTo>
                  <a:pt x="52" y="923"/>
                </a:lnTo>
                <a:lnTo>
                  <a:pt x="52" y="926"/>
                </a:lnTo>
                <a:lnTo>
                  <a:pt x="52" y="926"/>
                </a:lnTo>
                <a:lnTo>
                  <a:pt x="50" y="926"/>
                </a:lnTo>
                <a:lnTo>
                  <a:pt x="50" y="927"/>
                </a:lnTo>
                <a:lnTo>
                  <a:pt x="50" y="930"/>
                </a:lnTo>
                <a:lnTo>
                  <a:pt x="3" y="930"/>
                </a:lnTo>
                <a:lnTo>
                  <a:pt x="0" y="930"/>
                </a:lnTo>
                <a:lnTo>
                  <a:pt x="0" y="931"/>
                </a:lnTo>
                <a:lnTo>
                  <a:pt x="0" y="934"/>
                </a:lnTo>
                <a:lnTo>
                  <a:pt x="3" y="937"/>
                </a:lnTo>
                <a:lnTo>
                  <a:pt x="52" y="937"/>
                </a:lnTo>
                <a:lnTo>
                  <a:pt x="54" y="934"/>
                </a:lnTo>
                <a:lnTo>
                  <a:pt x="57" y="931"/>
                </a:lnTo>
                <a:lnTo>
                  <a:pt x="57" y="930"/>
                </a:lnTo>
                <a:lnTo>
                  <a:pt x="58" y="927"/>
                </a:lnTo>
                <a:lnTo>
                  <a:pt x="62" y="927"/>
                </a:lnTo>
                <a:lnTo>
                  <a:pt x="65" y="926"/>
                </a:lnTo>
                <a:lnTo>
                  <a:pt x="65" y="926"/>
                </a:lnTo>
                <a:lnTo>
                  <a:pt x="66" y="923"/>
                </a:lnTo>
                <a:lnTo>
                  <a:pt x="66" y="921"/>
                </a:lnTo>
                <a:lnTo>
                  <a:pt x="66" y="921"/>
                </a:lnTo>
                <a:lnTo>
                  <a:pt x="69" y="919"/>
                </a:lnTo>
                <a:lnTo>
                  <a:pt x="76" y="919"/>
                </a:lnTo>
                <a:lnTo>
                  <a:pt x="77" y="917"/>
                </a:lnTo>
                <a:lnTo>
                  <a:pt x="80" y="915"/>
                </a:lnTo>
                <a:lnTo>
                  <a:pt x="80" y="913"/>
                </a:lnTo>
                <a:lnTo>
                  <a:pt x="81" y="910"/>
                </a:lnTo>
                <a:lnTo>
                  <a:pt x="81" y="910"/>
                </a:lnTo>
                <a:lnTo>
                  <a:pt x="84" y="909"/>
                </a:lnTo>
                <a:lnTo>
                  <a:pt x="84" y="909"/>
                </a:lnTo>
                <a:lnTo>
                  <a:pt x="86" y="906"/>
                </a:lnTo>
                <a:lnTo>
                  <a:pt x="86" y="905"/>
                </a:lnTo>
                <a:lnTo>
                  <a:pt x="88" y="902"/>
                </a:lnTo>
                <a:lnTo>
                  <a:pt x="91" y="900"/>
                </a:lnTo>
                <a:lnTo>
                  <a:pt x="101" y="900"/>
                </a:lnTo>
                <a:lnTo>
                  <a:pt x="104" y="898"/>
                </a:lnTo>
                <a:lnTo>
                  <a:pt x="105" y="896"/>
                </a:lnTo>
                <a:lnTo>
                  <a:pt x="105" y="892"/>
                </a:lnTo>
                <a:lnTo>
                  <a:pt x="105" y="892"/>
                </a:lnTo>
                <a:lnTo>
                  <a:pt x="105" y="892"/>
                </a:lnTo>
                <a:lnTo>
                  <a:pt x="108" y="889"/>
                </a:lnTo>
                <a:lnTo>
                  <a:pt x="109" y="888"/>
                </a:lnTo>
                <a:lnTo>
                  <a:pt x="109" y="885"/>
                </a:lnTo>
                <a:lnTo>
                  <a:pt x="112" y="883"/>
                </a:lnTo>
                <a:lnTo>
                  <a:pt x="112" y="883"/>
                </a:lnTo>
                <a:lnTo>
                  <a:pt x="115" y="881"/>
                </a:lnTo>
                <a:lnTo>
                  <a:pt x="115" y="881"/>
                </a:lnTo>
                <a:lnTo>
                  <a:pt x="116" y="879"/>
                </a:lnTo>
                <a:lnTo>
                  <a:pt x="116" y="879"/>
                </a:lnTo>
                <a:lnTo>
                  <a:pt x="119" y="877"/>
                </a:lnTo>
                <a:lnTo>
                  <a:pt x="119" y="877"/>
                </a:lnTo>
                <a:lnTo>
                  <a:pt x="122" y="875"/>
                </a:lnTo>
                <a:lnTo>
                  <a:pt x="122" y="875"/>
                </a:lnTo>
                <a:lnTo>
                  <a:pt x="123" y="875"/>
                </a:lnTo>
                <a:lnTo>
                  <a:pt x="126" y="872"/>
                </a:lnTo>
                <a:lnTo>
                  <a:pt x="127" y="871"/>
                </a:lnTo>
                <a:lnTo>
                  <a:pt x="130" y="871"/>
                </a:lnTo>
                <a:lnTo>
                  <a:pt x="131" y="868"/>
                </a:lnTo>
                <a:lnTo>
                  <a:pt x="134" y="866"/>
                </a:lnTo>
                <a:lnTo>
                  <a:pt x="137" y="866"/>
                </a:lnTo>
                <a:lnTo>
                  <a:pt x="141" y="866"/>
                </a:lnTo>
                <a:lnTo>
                  <a:pt x="142" y="864"/>
                </a:lnTo>
                <a:lnTo>
                  <a:pt x="142" y="864"/>
                </a:lnTo>
                <a:lnTo>
                  <a:pt x="144" y="862"/>
                </a:lnTo>
                <a:lnTo>
                  <a:pt x="144" y="860"/>
                </a:lnTo>
                <a:lnTo>
                  <a:pt x="144" y="860"/>
                </a:lnTo>
                <a:lnTo>
                  <a:pt x="144" y="860"/>
                </a:lnTo>
                <a:lnTo>
                  <a:pt x="147" y="858"/>
                </a:lnTo>
                <a:lnTo>
                  <a:pt x="149" y="855"/>
                </a:lnTo>
                <a:lnTo>
                  <a:pt x="151" y="854"/>
                </a:lnTo>
                <a:lnTo>
                  <a:pt x="154" y="851"/>
                </a:lnTo>
                <a:lnTo>
                  <a:pt x="156" y="851"/>
                </a:lnTo>
                <a:lnTo>
                  <a:pt x="158" y="850"/>
                </a:lnTo>
                <a:lnTo>
                  <a:pt x="159" y="847"/>
                </a:lnTo>
                <a:lnTo>
                  <a:pt x="159" y="844"/>
                </a:lnTo>
                <a:lnTo>
                  <a:pt x="162" y="843"/>
                </a:lnTo>
                <a:lnTo>
                  <a:pt x="162" y="843"/>
                </a:lnTo>
                <a:lnTo>
                  <a:pt x="163" y="843"/>
                </a:lnTo>
                <a:lnTo>
                  <a:pt x="170" y="843"/>
                </a:lnTo>
                <a:lnTo>
                  <a:pt x="173" y="841"/>
                </a:lnTo>
                <a:lnTo>
                  <a:pt x="176" y="838"/>
                </a:lnTo>
                <a:lnTo>
                  <a:pt x="177" y="837"/>
                </a:lnTo>
                <a:lnTo>
                  <a:pt x="178" y="834"/>
                </a:lnTo>
                <a:lnTo>
                  <a:pt x="181" y="834"/>
                </a:lnTo>
                <a:lnTo>
                  <a:pt x="183" y="833"/>
                </a:lnTo>
                <a:lnTo>
                  <a:pt x="183" y="833"/>
                </a:lnTo>
                <a:lnTo>
                  <a:pt x="185" y="830"/>
                </a:lnTo>
                <a:lnTo>
                  <a:pt x="185" y="826"/>
                </a:lnTo>
                <a:lnTo>
                  <a:pt x="185" y="826"/>
                </a:lnTo>
                <a:lnTo>
                  <a:pt x="185" y="826"/>
                </a:lnTo>
                <a:lnTo>
                  <a:pt x="188" y="823"/>
                </a:lnTo>
                <a:lnTo>
                  <a:pt x="190" y="822"/>
                </a:lnTo>
                <a:lnTo>
                  <a:pt x="190" y="819"/>
                </a:lnTo>
                <a:lnTo>
                  <a:pt x="191" y="817"/>
                </a:lnTo>
                <a:lnTo>
                  <a:pt x="194" y="817"/>
                </a:lnTo>
                <a:lnTo>
                  <a:pt x="196" y="816"/>
                </a:lnTo>
                <a:lnTo>
                  <a:pt x="196" y="816"/>
                </a:lnTo>
                <a:lnTo>
                  <a:pt x="198" y="813"/>
                </a:lnTo>
                <a:lnTo>
                  <a:pt x="201" y="813"/>
                </a:lnTo>
                <a:lnTo>
                  <a:pt x="202" y="812"/>
                </a:lnTo>
                <a:lnTo>
                  <a:pt x="202" y="812"/>
                </a:lnTo>
                <a:lnTo>
                  <a:pt x="205" y="809"/>
                </a:lnTo>
                <a:lnTo>
                  <a:pt x="205" y="809"/>
                </a:lnTo>
                <a:lnTo>
                  <a:pt x="205" y="809"/>
                </a:lnTo>
                <a:lnTo>
                  <a:pt x="208" y="809"/>
                </a:lnTo>
                <a:lnTo>
                  <a:pt x="208" y="809"/>
                </a:lnTo>
                <a:lnTo>
                  <a:pt x="216" y="809"/>
                </a:lnTo>
                <a:lnTo>
                  <a:pt x="219" y="806"/>
                </a:lnTo>
                <a:lnTo>
                  <a:pt x="220" y="805"/>
                </a:lnTo>
                <a:lnTo>
                  <a:pt x="220" y="802"/>
                </a:lnTo>
                <a:lnTo>
                  <a:pt x="223" y="800"/>
                </a:lnTo>
                <a:lnTo>
                  <a:pt x="223" y="796"/>
                </a:lnTo>
                <a:lnTo>
                  <a:pt x="223" y="796"/>
                </a:lnTo>
                <a:lnTo>
                  <a:pt x="223" y="794"/>
                </a:lnTo>
                <a:lnTo>
                  <a:pt x="226" y="792"/>
                </a:lnTo>
                <a:lnTo>
                  <a:pt x="226" y="788"/>
                </a:lnTo>
                <a:lnTo>
                  <a:pt x="234" y="788"/>
                </a:lnTo>
                <a:lnTo>
                  <a:pt x="235" y="785"/>
                </a:lnTo>
                <a:lnTo>
                  <a:pt x="235" y="785"/>
                </a:lnTo>
                <a:lnTo>
                  <a:pt x="238" y="784"/>
                </a:lnTo>
                <a:lnTo>
                  <a:pt x="239" y="784"/>
                </a:lnTo>
                <a:lnTo>
                  <a:pt x="242" y="781"/>
                </a:lnTo>
                <a:lnTo>
                  <a:pt x="242" y="781"/>
                </a:lnTo>
                <a:lnTo>
                  <a:pt x="244" y="779"/>
                </a:lnTo>
                <a:lnTo>
                  <a:pt x="244" y="775"/>
                </a:lnTo>
                <a:lnTo>
                  <a:pt x="244" y="775"/>
                </a:lnTo>
                <a:lnTo>
                  <a:pt x="244" y="775"/>
                </a:lnTo>
                <a:lnTo>
                  <a:pt x="244" y="771"/>
                </a:lnTo>
                <a:lnTo>
                  <a:pt x="246" y="768"/>
                </a:lnTo>
                <a:lnTo>
                  <a:pt x="246" y="768"/>
                </a:lnTo>
                <a:lnTo>
                  <a:pt x="248" y="767"/>
                </a:lnTo>
                <a:lnTo>
                  <a:pt x="248" y="762"/>
                </a:lnTo>
                <a:lnTo>
                  <a:pt x="248" y="762"/>
                </a:lnTo>
                <a:lnTo>
                  <a:pt x="248" y="762"/>
                </a:lnTo>
                <a:lnTo>
                  <a:pt x="253" y="762"/>
                </a:lnTo>
                <a:lnTo>
                  <a:pt x="255" y="760"/>
                </a:lnTo>
                <a:lnTo>
                  <a:pt x="257" y="758"/>
                </a:lnTo>
                <a:lnTo>
                  <a:pt x="257" y="756"/>
                </a:lnTo>
                <a:lnTo>
                  <a:pt x="259" y="754"/>
                </a:lnTo>
                <a:lnTo>
                  <a:pt x="259" y="750"/>
                </a:lnTo>
                <a:lnTo>
                  <a:pt x="259" y="750"/>
                </a:lnTo>
                <a:lnTo>
                  <a:pt x="259" y="750"/>
                </a:lnTo>
                <a:lnTo>
                  <a:pt x="266" y="750"/>
                </a:lnTo>
                <a:lnTo>
                  <a:pt x="267" y="747"/>
                </a:lnTo>
                <a:lnTo>
                  <a:pt x="270" y="745"/>
                </a:lnTo>
                <a:lnTo>
                  <a:pt x="270" y="743"/>
                </a:lnTo>
                <a:lnTo>
                  <a:pt x="273" y="741"/>
                </a:lnTo>
                <a:lnTo>
                  <a:pt x="274" y="739"/>
                </a:lnTo>
                <a:lnTo>
                  <a:pt x="275" y="737"/>
                </a:lnTo>
                <a:lnTo>
                  <a:pt x="275" y="734"/>
                </a:lnTo>
                <a:lnTo>
                  <a:pt x="278" y="733"/>
                </a:lnTo>
                <a:lnTo>
                  <a:pt x="278" y="730"/>
                </a:lnTo>
                <a:lnTo>
                  <a:pt x="280" y="729"/>
                </a:lnTo>
                <a:lnTo>
                  <a:pt x="280" y="726"/>
                </a:lnTo>
                <a:lnTo>
                  <a:pt x="282" y="723"/>
                </a:lnTo>
                <a:lnTo>
                  <a:pt x="285" y="723"/>
                </a:lnTo>
                <a:lnTo>
                  <a:pt x="286" y="722"/>
                </a:lnTo>
                <a:lnTo>
                  <a:pt x="286" y="722"/>
                </a:lnTo>
                <a:lnTo>
                  <a:pt x="289" y="720"/>
                </a:lnTo>
                <a:lnTo>
                  <a:pt x="289" y="718"/>
                </a:lnTo>
                <a:lnTo>
                  <a:pt x="292" y="718"/>
                </a:lnTo>
                <a:lnTo>
                  <a:pt x="298" y="718"/>
                </a:lnTo>
                <a:lnTo>
                  <a:pt x="299" y="718"/>
                </a:lnTo>
                <a:lnTo>
                  <a:pt x="302" y="716"/>
                </a:lnTo>
                <a:lnTo>
                  <a:pt x="303" y="716"/>
                </a:lnTo>
                <a:lnTo>
                  <a:pt x="304" y="713"/>
                </a:lnTo>
                <a:lnTo>
                  <a:pt x="309" y="713"/>
                </a:lnTo>
                <a:lnTo>
                  <a:pt x="309" y="713"/>
                </a:lnTo>
                <a:lnTo>
                  <a:pt x="309" y="713"/>
                </a:lnTo>
                <a:lnTo>
                  <a:pt x="316" y="713"/>
                </a:lnTo>
                <a:lnTo>
                  <a:pt x="320" y="713"/>
                </a:lnTo>
                <a:lnTo>
                  <a:pt x="322" y="713"/>
                </a:lnTo>
                <a:lnTo>
                  <a:pt x="324" y="713"/>
                </a:lnTo>
                <a:lnTo>
                  <a:pt x="331" y="713"/>
                </a:lnTo>
                <a:lnTo>
                  <a:pt x="332" y="712"/>
                </a:lnTo>
                <a:lnTo>
                  <a:pt x="335" y="709"/>
                </a:lnTo>
                <a:lnTo>
                  <a:pt x="335" y="706"/>
                </a:lnTo>
                <a:lnTo>
                  <a:pt x="336" y="705"/>
                </a:lnTo>
                <a:lnTo>
                  <a:pt x="336" y="705"/>
                </a:lnTo>
                <a:lnTo>
                  <a:pt x="339" y="705"/>
                </a:lnTo>
                <a:lnTo>
                  <a:pt x="340" y="702"/>
                </a:lnTo>
                <a:lnTo>
                  <a:pt x="342" y="702"/>
                </a:lnTo>
                <a:lnTo>
                  <a:pt x="343" y="701"/>
                </a:lnTo>
                <a:lnTo>
                  <a:pt x="343" y="701"/>
                </a:lnTo>
                <a:lnTo>
                  <a:pt x="345" y="701"/>
                </a:lnTo>
                <a:lnTo>
                  <a:pt x="347" y="698"/>
                </a:lnTo>
                <a:lnTo>
                  <a:pt x="350" y="696"/>
                </a:lnTo>
                <a:lnTo>
                  <a:pt x="352" y="696"/>
                </a:lnTo>
                <a:lnTo>
                  <a:pt x="354" y="695"/>
                </a:lnTo>
                <a:lnTo>
                  <a:pt x="356" y="692"/>
                </a:lnTo>
                <a:lnTo>
                  <a:pt x="356" y="691"/>
                </a:lnTo>
                <a:lnTo>
                  <a:pt x="358" y="688"/>
                </a:lnTo>
                <a:lnTo>
                  <a:pt x="358" y="688"/>
                </a:lnTo>
                <a:lnTo>
                  <a:pt x="360" y="685"/>
                </a:lnTo>
                <a:lnTo>
                  <a:pt x="360" y="685"/>
                </a:lnTo>
                <a:lnTo>
                  <a:pt x="364" y="685"/>
                </a:lnTo>
                <a:lnTo>
                  <a:pt x="367" y="684"/>
                </a:lnTo>
                <a:lnTo>
                  <a:pt x="370" y="681"/>
                </a:lnTo>
                <a:lnTo>
                  <a:pt x="370" y="679"/>
                </a:lnTo>
                <a:lnTo>
                  <a:pt x="371" y="677"/>
                </a:lnTo>
                <a:lnTo>
                  <a:pt x="371" y="673"/>
                </a:lnTo>
                <a:lnTo>
                  <a:pt x="371" y="673"/>
                </a:lnTo>
                <a:lnTo>
                  <a:pt x="371" y="673"/>
                </a:lnTo>
                <a:lnTo>
                  <a:pt x="371" y="668"/>
                </a:lnTo>
                <a:lnTo>
                  <a:pt x="371" y="668"/>
                </a:lnTo>
                <a:lnTo>
                  <a:pt x="374" y="667"/>
                </a:lnTo>
                <a:lnTo>
                  <a:pt x="378" y="667"/>
                </a:lnTo>
                <a:lnTo>
                  <a:pt x="382" y="667"/>
                </a:lnTo>
                <a:lnTo>
                  <a:pt x="383" y="664"/>
                </a:lnTo>
                <a:lnTo>
                  <a:pt x="386" y="663"/>
                </a:lnTo>
                <a:lnTo>
                  <a:pt x="389" y="660"/>
                </a:lnTo>
                <a:lnTo>
                  <a:pt x="390" y="658"/>
                </a:lnTo>
                <a:lnTo>
                  <a:pt x="390" y="652"/>
                </a:lnTo>
                <a:lnTo>
                  <a:pt x="390" y="652"/>
                </a:lnTo>
                <a:lnTo>
                  <a:pt x="390" y="652"/>
                </a:lnTo>
                <a:lnTo>
                  <a:pt x="390" y="647"/>
                </a:lnTo>
                <a:lnTo>
                  <a:pt x="390" y="646"/>
                </a:lnTo>
                <a:lnTo>
                  <a:pt x="392" y="643"/>
                </a:lnTo>
                <a:lnTo>
                  <a:pt x="392" y="643"/>
                </a:lnTo>
                <a:lnTo>
                  <a:pt x="394" y="641"/>
                </a:lnTo>
                <a:lnTo>
                  <a:pt x="394" y="641"/>
                </a:lnTo>
                <a:lnTo>
                  <a:pt x="397" y="639"/>
                </a:lnTo>
                <a:lnTo>
                  <a:pt x="397" y="637"/>
                </a:lnTo>
                <a:lnTo>
                  <a:pt x="400" y="637"/>
                </a:lnTo>
                <a:lnTo>
                  <a:pt x="401" y="635"/>
                </a:lnTo>
                <a:lnTo>
                  <a:pt x="404" y="633"/>
                </a:lnTo>
                <a:lnTo>
                  <a:pt x="406" y="633"/>
                </a:lnTo>
                <a:lnTo>
                  <a:pt x="408" y="633"/>
                </a:lnTo>
                <a:lnTo>
                  <a:pt x="410" y="633"/>
                </a:lnTo>
                <a:lnTo>
                  <a:pt x="412" y="630"/>
                </a:lnTo>
                <a:lnTo>
                  <a:pt x="414" y="629"/>
                </a:lnTo>
                <a:lnTo>
                  <a:pt x="421" y="629"/>
                </a:lnTo>
                <a:lnTo>
                  <a:pt x="425" y="629"/>
                </a:lnTo>
                <a:lnTo>
                  <a:pt x="428" y="626"/>
                </a:lnTo>
                <a:lnTo>
                  <a:pt x="428" y="626"/>
                </a:lnTo>
                <a:lnTo>
                  <a:pt x="429" y="625"/>
                </a:lnTo>
                <a:lnTo>
                  <a:pt x="429" y="618"/>
                </a:lnTo>
                <a:lnTo>
                  <a:pt x="429" y="618"/>
                </a:lnTo>
                <a:lnTo>
                  <a:pt x="429" y="618"/>
                </a:lnTo>
                <a:lnTo>
                  <a:pt x="429" y="616"/>
                </a:lnTo>
                <a:lnTo>
                  <a:pt x="432" y="613"/>
                </a:lnTo>
                <a:lnTo>
                  <a:pt x="432" y="612"/>
                </a:lnTo>
                <a:lnTo>
                  <a:pt x="433" y="612"/>
                </a:lnTo>
                <a:lnTo>
                  <a:pt x="439" y="612"/>
                </a:lnTo>
                <a:lnTo>
                  <a:pt x="440" y="612"/>
                </a:lnTo>
                <a:lnTo>
                  <a:pt x="442" y="612"/>
                </a:lnTo>
                <a:lnTo>
                  <a:pt x="444" y="612"/>
                </a:lnTo>
                <a:lnTo>
                  <a:pt x="447" y="612"/>
                </a:lnTo>
                <a:lnTo>
                  <a:pt x="448" y="612"/>
                </a:lnTo>
                <a:lnTo>
                  <a:pt x="451" y="609"/>
                </a:lnTo>
                <a:lnTo>
                  <a:pt x="451" y="609"/>
                </a:lnTo>
                <a:lnTo>
                  <a:pt x="453" y="608"/>
                </a:lnTo>
                <a:lnTo>
                  <a:pt x="453" y="608"/>
                </a:lnTo>
                <a:lnTo>
                  <a:pt x="460" y="608"/>
                </a:lnTo>
                <a:lnTo>
                  <a:pt x="461" y="605"/>
                </a:lnTo>
                <a:lnTo>
                  <a:pt x="464" y="602"/>
                </a:lnTo>
                <a:lnTo>
                  <a:pt x="464" y="601"/>
                </a:lnTo>
                <a:lnTo>
                  <a:pt x="468" y="601"/>
                </a:lnTo>
                <a:lnTo>
                  <a:pt x="471" y="599"/>
                </a:lnTo>
                <a:lnTo>
                  <a:pt x="472" y="597"/>
                </a:lnTo>
                <a:lnTo>
                  <a:pt x="472" y="595"/>
                </a:lnTo>
                <a:lnTo>
                  <a:pt x="475" y="592"/>
                </a:lnTo>
                <a:lnTo>
                  <a:pt x="475" y="588"/>
                </a:lnTo>
                <a:lnTo>
                  <a:pt x="476" y="585"/>
                </a:lnTo>
                <a:lnTo>
                  <a:pt x="479" y="584"/>
                </a:lnTo>
                <a:lnTo>
                  <a:pt x="480" y="581"/>
                </a:lnTo>
                <a:lnTo>
                  <a:pt x="480" y="577"/>
                </a:lnTo>
                <a:lnTo>
                  <a:pt x="483" y="575"/>
                </a:lnTo>
                <a:lnTo>
                  <a:pt x="483" y="574"/>
                </a:lnTo>
                <a:lnTo>
                  <a:pt x="487" y="574"/>
                </a:lnTo>
                <a:lnTo>
                  <a:pt x="487" y="574"/>
                </a:lnTo>
                <a:lnTo>
                  <a:pt x="487" y="574"/>
                </a:lnTo>
                <a:lnTo>
                  <a:pt x="490" y="574"/>
                </a:lnTo>
                <a:lnTo>
                  <a:pt x="490" y="574"/>
                </a:lnTo>
                <a:lnTo>
                  <a:pt x="491" y="574"/>
                </a:lnTo>
                <a:lnTo>
                  <a:pt x="494" y="571"/>
                </a:lnTo>
                <a:lnTo>
                  <a:pt x="494" y="571"/>
                </a:lnTo>
                <a:lnTo>
                  <a:pt x="497" y="570"/>
                </a:lnTo>
                <a:lnTo>
                  <a:pt x="498" y="567"/>
                </a:lnTo>
                <a:lnTo>
                  <a:pt x="501" y="564"/>
                </a:lnTo>
                <a:lnTo>
                  <a:pt x="501" y="563"/>
                </a:lnTo>
                <a:lnTo>
                  <a:pt x="508" y="563"/>
                </a:lnTo>
                <a:lnTo>
                  <a:pt x="509" y="560"/>
                </a:lnTo>
                <a:lnTo>
                  <a:pt x="509" y="560"/>
                </a:lnTo>
                <a:lnTo>
                  <a:pt x="511" y="559"/>
                </a:lnTo>
                <a:lnTo>
                  <a:pt x="511" y="556"/>
                </a:lnTo>
                <a:lnTo>
                  <a:pt x="514" y="554"/>
                </a:lnTo>
                <a:lnTo>
                  <a:pt x="516" y="552"/>
                </a:lnTo>
                <a:lnTo>
                  <a:pt x="516" y="550"/>
                </a:lnTo>
                <a:lnTo>
                  <a:pt x="518" y="547"/>
                </a:lnTo>
                <a:lnTo>
                  <a:pt x="518" y="547"/>
                </a:lnTo>
                <a:lnTo>
                  <a:pt x="520" y="546"/>
                </a:lnTo>
                <a:lnTo>
                  <a:pt x="520" y="542"/>
                </a:lnTo>
                <a:lnTo>
                  <a:pt x="520" y="542"/>
                </a:lnTo>
                <a:lnTo>
                  <a:pt x="520" y="542"/>
                </a:lnTo>
                <a:lnTo>
                  <a:pt x="520" y="539"/>
                </a:lnTo>
                <a:lnTo>
                  <a:pt x="522" y="537"/>
                </a:lnTo>
                <a:lnTo>
                  <a:pt x="525" y="535"/>
                </a:lnTo>
                <a:lnTo>
                  <a:pt x="525" y="531"/>
                </a:lnTo>
                <a:lnTo>
                  <a:pt x="526" y="529"/>
                </a:lnTo>
                <a:lnTo>
                  <a:pt x="526" y="526"/>
                </a:lnTo>
                <a:lnTo>
                  <a:pt x="529" y="526"/>
                </a:lnTo>
                <a:lnTo>
                  <a:pt x="530" y="526"/>
                </a:lnTo>
                <a:lnTo>
                  <a:pt x="533" y="526"/>
                </a:lnTo>
                <a:lnTo>
                  <a:pt x="536" y="526"/>
                </a:lnTo>
                <a:lnTo>
                  <a:pt x="541" y="526"/>
                </a:lnTo>
                <a:lnTo>
                  <a:pt x="550" y="526"/>
                </a:lnTo>
                <a:lnTo>
                  <a:pt x="563" y="526"/>
                </a:lnTo>
                <a:lnTo>
                  <a:pt x="565" y="525"/>
                </a:lnTo>
                <a:lnTo>
                  <a:pt x="568" y="522"/>
                </a:lnTo>
                <a:lnTo>
                  <a:pt x="568" y="518"/>
                </a:lnTo>
                <a:lnTo>
                  <a:pt x="569" y="516"/>
                </a:lnTo>
                <a:lnTo>
                  <a:pt x="569" y="514"/>
                </a:lnTo>
                <a:lnTo>
                  <a:pt x="572" y="514"/>
                </a:lnTo>
                <a:lnTo>
                  <a:pt x="577" y="514"/>
                </a:lnTo>
                <a:lnTo>
                  <a:pt x="580" y="514"/>
                </a:lnTo>
                <a:lnTo>
                  <a:pt x="580" y="514"/>
                </a:lnTo>
                <a:lnTo>
                  <a:pt x="580" y="514"/>
                </a:lnTo>
                <a:lnTo>
                  <a:pt x="587" y="514"/>
                </a:lnTo>
                <a:lnTo>
                  <a:pt x="587" y="514"/>
                </a:lnTo>
                <a:lnTo>
                  <a:pt x="591" y="514"/>
                </a:lnTo>
                <a:lnTo>
                  <a:pt x="591" y="514"/>
                </a:lnTo>
                <a:lnTo>
                  <a:pt x="591" y="514"/>
                </a:lnTo>
                <a:lnTo>
                  <a:pt x="595" y="514"/>
                </a:lnTo>
                <a:lnTo>
                  <a:pt x="598" y="512"/>
                </a:lnTo>
                <a:lnTo>
                  <a:pt x="598" y="512"/>
                </a:lnTo>
                <a:lnTo>
                  <a:pt x="601" y="509"/>
                </a:lnTo>
                <a:lnTo>
                  <a:pt x="601" y="508"/>
                </a:lnTo>
                <a:lnTo>
                  <a:pt x="605" y="508"/>
                </a:lnTo>
                <a:lnTo>
                  <a:pt x="615" y="508"/>
                </a:lnTo>
                <a:lnTo>
                  <a:pt x="617" y="508"/>
                </a:lnTo>
                <a:lnTo>
                  <a:pt x="624" y="508"/>
                </a:lnTo>
                <a:lnTo>
                  <a:pt x="626" y="505"/>
                </a:lnTo>
                <a:lnTo>
                  <a:pt x="627" y="504"/>
                </a:lnTo>
                <a:lnTo>
                  <a:pt x="627" y="501"/>
                </a:lnTo>
                <a:lnTo>
                  <a:pt x="630" y="501"/>
                </a:lnTo>
                <a:lnTo>
                  <a:pt x="633" y="501"/>
                </a:lnTo>
                <a:lnTo>
                  <a:pt x="634" y="499"/>
                </a:lnTo>
                <a:lnTo>
                  <a:pt x="634" y="499"/>
                </a:lnTo>
                <a:lnTo>
                  <a:pt x="637" y="497"/>
                </a:lnTo>
                <a:lnTo>
                  <a:pt x="637" y="492"/>
                </a:lnTo>
                <a:lnTo>
                  <a:pt x="640" y="492"/>
                </a:lnTo>
                <a:lnTo>
                  <a:pt x="641" y="491"/>
                </a:lnTo>
                <a:lnTo>
                  <a:pt x="642" y="488"/>
                </a:lnTo>
                <a:lnTo>
                  <a:pt x="642" y="484"/>
                </a:lnTo>
                <a:lnTo>
                  <a:pt x="645" y="481"/>
                </a:lnTo>
                <a:lnTo>
                  <a:pt x="645" y="478"/>
                </a:lnTo>
                <a:lnTo>
                  <a:pt x="646" y="478"/>
                </a:lnTo>
                <a:lnTo>
                  <a:pt x="649" y="476"/>
                </a:lnTo>
                <a:lnTo>
                  <a:pt x="652" y="474"/>
                </a:lnTo>
                <a:lnTo>
                  <a:pt x="652" y="471"/>
                </a:lnTo>
                <a:lnTo>
                  <a:pt x="653" y="471"/>
                </a:lnTo>
                <a:lnTo>
                  <a:pt x="658" y="471"/>
                </a:lnTo>
                <a:lnTo>
                  <a:pt x="660" y="471"/>
                </a:lnTo>
                <a:lnTo>
                  <a:pt x="662" y="471"/>
                </a:lnTo>
                <a:lnTo>
                  <a:pt x="664" y="471"/>
                </a:lnTo>
                <a:lnTo>
                  <a:pt x="666" y="470"/>
                </a:lnTo>
                <a:lnTo>
                  <a:pt x="666" y="470"/>
                </a:lnTo>
                <a:lnTo>
                  <a:pt x="669" y="467"/>
                </a:lnTo>
                <a:lnTo>
                  <a:pt x="669" y="463"/>
                </a:lnTo>
                <a:lnTo>
                  <a:pt x="671" y="460"/>
                </a:lnTo>
                <a:lnTo>
                  <a:pt x="673" y="459"/>
                </a:lnTo>
                <a:lnTo>
                  <a:pt x="673" y="454"/>
                </a:lnTo>
                <a:lnTo>
                  <a:pt x="674" y="453"/>
                </a:lnTo>
                <a:lnTo>
                  <a:pt x="674" y="449"/>
                </a:lnTo>
                <a:lnTo>
                  <a:pt x="677" y="449"/>
                </a:lnTo>
                <a:lnTo>
                  <a:pt x="677" y="447"/>
                </a:lnTo>
                <a:lnTo>
                  <a:pt x="678" y="449"/>
                </a:lnTo>
                <a:lnTo>
                  <a:pt x="680" y="449"/>
                </a:lnTo>
                <a:lnTo>
                  <a:pt x="680" y="449"/>
                </a:lnTo>
                <a:lnTo>
                  <a:pt x="684" y="449"/>
                </a:lnTo>
                <a:lnTo>
                  <a:pt x="687" y="446"/>
                </a:lnTo>
                <a:lnTo>
                  <a:pt x="689" y="443"/>
                </a:lnTo>
                <a:lnTo>
                  <a:pt x="689" y="439"/>
                </a:lnTo>
                <a:lnTo>
                  <a:pt x="702" y="439"/>
                </a:lnTo>
                <a:lnTo>
                  <a:pt x="703" y="439"/>
                </a:lnTo>
                <a:lnTo>
                  <a:pt x="706" y="439"/>
                </a:lnTo>
                <a:lnTo>
                  <a:pt x="712" y="439"/>
                </a:lnTo>
                <a:lnTo>
                  <a:pt x="737" y="439"/>
                </a:lnTo>
                <a:lnTo>
                  <a:pt x="742" y="439"/>
                </a:lnTo>
                <a:lnTo>
                  <a:pt x="750" y="439"/>
                </a:lnTo>
                <a:lnTo>
                  <a:pt x="753" y="439"/>
                </a:lnTo>
                <a:lnTo>
                  <a:pt x="761" y="439"/>
                </a:lnTo>
                <a:lnTo>
                  <a:pt x="761" y="439"/>
                </a:lnTo>
                <a:lnTo>
                  <a:pt x="761" y="439"/>
                </a:lnTo>
                <a:lnTo>
                  <a:pt x="779" y="439"/>
                </a:lnTo>
                <a:lnTo>
                  <a:pt x="779" y="439"/>
                </a:lnTo>
                <a:lnTo>
                  <a:pt x="779" y="439"/>
                </a:lnTo>
                <a:lnTo>
                  <a:pt x="803" y="439"/>
                </a:lnTo>
                <a:lnTo>
                  <a:pt x="828" y="439"/>
                </a:lnTo>
                <a:lnTo>
                  <a:pt x="850" y="439"/>
                </a:lnTo>
                <a:lnTo>
                  <a:pt x="851" y="438"/>
                </a:lnTo>
                <a:lnTo>
                  <a:pt x="853" y="438"/>
                </a:lnTo>
                <a:lnTo>
                  <a:pt x="854" y="435"/>
                </a:lnTo>
                <a:lnTo>
                  <a:pt x="854" y="429"/>
                </a:lnTo>
                <a:lnTo>
                  <a:pt x="858" y="429"/>
                </a:lnTo>
                <a:lnTo>
                  <a:pt x="861" y="426"/>
                </a:lnTo>
                <a:lnTo>
                  <a:pt x="863" y="425"/>
                </a:lnTo>
                <a:lnTo>
                  <a:pt x="863" y="421"/>
                </a:lnTo>
                <a:lnTo>
                  <a:pt x="881" y="421"/>
                </a:lnTo>
                <a:lnTo>
                  <a:pt x="881" y="421"/>
                </a:lnTo>
                <a:lnTo>
                  <a:pt x="881" y="421"/>
                </a:lnTo>
                <a:lnTo>
                  <a:pt x="883" y="421"/>
                </a:lnTo>
                <a:lnTo>
                  <a:pt x="885" y="418"/>
                </a:lnTo>
                <a:lnTo>
                  <a:pt x="885" y="418"/>
                </a:lnTo>
                <a:lnTo>
                  <a:pt x="887" y="416"/>
                </a:lnTo>
                <a:lnTo>
                  <a:pt x="887" y="410"/>
                </a:lnTo>
                <a:lnTo>
                  <a:pt x="903" y="410"/>
                </a:lnTo>
                <a:lnTo>
                  <a:pt x="904" y="408"/>
                </a:lnTo>
                <a:lnTo>
                  <a:pt x="907" y="405"/>
                </a:lnTo>
                <a:lnTo>
                  <a:pt x="907" y="401"/>
                </a:lnTo>
                <a:lnTo>
                  <a:pt x="911" y="401"/>
                </a:lnTo>
                <a:lnTo>
                  <a:pt x="919" y="401"/>
                </a:lnTo>
                <a:lnTo>
                  <a:pt x="922" y="400"/>
                </a:lnTo>
                <a:lnTo>
                  <a:pt x="923" y="397"/>
                </a:lnTo>
                <a:lnTo>
                  <a:pt x="923" y="387"/>
                </a:lnTo>
                <a:lnTo>
                  <a:pt x="923" y="387"/>
                </a:lnTo>
                <a:lnTo>
                  <a:pt x="923" y="380"/>
                </a:lnTo>
                <a:lnTo>
                  <a:pt x="950" y="380"/>
                </a:lnTo>
                <a:lnTo>
                  <a:pt x="955" y="380"/>
                </a:lnTo>
                <a:lnTo>
                  <a:pt x="958" y="378"/>
                </a:lnTo>
                <a:lnTo>
                  <a:pt x="959" y="376"/>
                </a:lnTo>
                <a:lnTo>
                  <a:pt x="959" y="370"/>
                </a:lnTo>
                <a:lnTo>
                  <a:pt x="962" y="370"/>
                </a:lnTo>
                <a:lnTo>
                  <a:pt x="962" y="370"/>
                </a:lnTo>
                <a:lnTo>
                  <a:pt x="966" y="370"/>
                </a:lnTo>
                <a:lnTo>
                  <a:pt x="969" y="367"/>
                </a:lnTo>
                <a:lnTo>
                  <a:pt x="972" y="366"/>
                </a:lnTo>
                <a:lnTo>
                  <a:pt x="972" y="359"/>
                </a:lnTo>
                <a:lnTo>
                  <a:pt x="973" y="359"/>
                </a:lnTo>
                <a:lnTo>
                  <a:pt x="990" y="359"/>
                </a:lnTo>
                <a:lnTo>
                  <a:pt x="1012" y="359"/>
                </a:lnTo>
                <a:lnTo>
                  <a:pt x="1029" y="359"/>
                </a:lnTo>
                <a:lnTo>
                  <a:pt x="1033" y="359"/>
                </a:lnTo>
                <a:lnTo>
                  <a:pt x="1033" y="359"/>
                </a:lnTo>
                <a:lnTo>
                  <a:pt x="1033" y="359"/>
                </a:lnTo>
                <a:lnTo>
                  <a:pt x="1058" y="359"/>
                </a:lnTo>
                <a:lnTo>
                  <a:pt x="1059" y="357"/>
                </a:lnTo>
                <a:lnTo>
                  <a:pt x="1062" y="355"/>
                </a:lnTo>
                <a:lnTo>
                  <a:pt x="1062" y="346"/>
                </a:lnTo>
                <a:lnTo>
                  <a:pt x="1066" y="346"/>
                </a:lnTo>
                <a:lnTo>
                  <a:pt x="1069" y="345"/>
                </a:lnTo>
                <a:lnTo>
                  <a:pt x="1070" y="342"/>
                </a:lnTo>
                <a:lnTo>
                  <a:pt x="1070" y="333"/>
                </a:lnTo>
                <a:lnTo>
                  <a:pt x="1090" y="333"/>
                </a:lnTo>
                <a:lnTo>
                  <a:pt x="1101" y="333"/>
                </a:lnTo>
                <a:lnTo>
                  <a:pt x="1110" y="333"/>
                </a:lnTo>
                <a:lnTo>
                  <a:pt x="1123" y="333"/>
                </a:lnTo>
                <a:lnTo>
                  <a:pt x="1133" y="333"/>
                </a:lnTo>
                <a:lnTo>
                  <a:pt x="1139" y="333"/>
                </a:lnTo>
                <a:lnTo>
                  <a:pt x="1148" y="333"/>
                </a:lnTo>
                <a:lnTo>
                  <a:pt x="1148" y="333"/>
                </a:lnTo>
                <a:lnTo>
                  <a:pt x="1148" y="333"/>
                </a:lnTo>
                <a:lnTo>
                  <a:pt x="1174" y="333"/>
                </a:lnTo>
                <a:lnTo>
                  <a:pt x="1174" y="333"/>
                </a:lnTo>
                <a:lnTo>
                  <a:pt x="1174" y="333"/>
                </a:lnTo>
                <a:lnTo>
                  <a:pt x="1187" y="333"/>
                </a:lnTo>
                <a:lnTo>
                  <a:pt x="1191" y="333"/>
                </a:lnTo>
                <a:lnTo>
                  <a:pt x="1213" y="333"/>
                </a:lnTo>
                <a:lnTo>
                  <a:pt x="1214" y="332"/>
                </a:lnTo>
                <a:lnTo>
                  <a:pt x="1217" y="329"/>
                </a:lnTo>
                <a:lnTo>
                  <a:pt x="1217" y="317"/>
                </a:lnTo>
                <a:lnTo>
                  <a:pt x="1223" y="317"/>
                </a:lnTo>
                <a:lnTo>
                  <a:pt x="1225" y="317"/>
                </a:lnTo>
                <a:lnTo>
                  <a:pt x="1225" y="317"/>
                </a:lnTo>
                <a:lnTo>
                  <a:pt x="1225" y="317"/>
                </a:lnTo>
                <a:lnTo>
                  <a:pt x="1259" y="317"/>
                </a:lnTo>
                <a:lnTo>
                  <a:pt x="1260" y="314"/>
                </a:lnTo>
                <a:lnTo>
                  <a:pt x="1263" y="312"/>
                </a:lnTo>
                <a:lnTo>
                  <a:pt x="1263" y="297"/>
                </a:lnTo>
                <a:lnTo>
                  <a:pt x="1267" y="297"/>
                </a:lnTo>
                <a:lnTo>
                  <a:pt x="1283" y="297"/>
                </a:lnTo>
                <a:lnTo>
                  <a:pt x="1295" y="297"/>
                </a:lnTo>
                <a:lnTo>
                  <a:pt x="1307" y="297"/>
                </a:lnTo>
                <a:lnTo>
                  <a:pt x="1310" y="295"/>
                </a:lnTo>
                <a:lnTo>
                  <a:pt x="1310" y="295"/>
                </a:lnTo>
                <a:lnTo>
                  <a:pt x="1311" y="293"/>
                </a:lnTo>
                <a:lnTo>
                  <a:pt x="1311" y="276"/>
                </a:lnTo>
                <a:lnTo>
                  <a:pt x="1311" y="276"/>
                </a:lnTo>
                <a:lnTo>
                  <a:pt x="1314" y="274"/>
                </a:lnTo>
                <a:lnTo>
                  <a:pt x="1314" y="257"/>
                </a:lnTo>
                <a:lnTo>
                  <a:pt x="1317" y="257"/>
                </a:lnTo>
                <a:lnTo>
                  <a:pt x="1322" y="257"/>
                </a:lnTo>
                <a:lnTo>
                  <a:pt x="1325" y="257"/>
                </a:lnTo>
                <a:lnTo>
                  <a:pt x="1326" y="255"/>
                </a:lnTo>
                <a:lnTo>
                  <a:pt x="1329" y="253"/>
                </a:lnTo>
                <a:lnTo>
                  <a:pt x="1329" y="234"/>
                </a:lnTo>
                <a:lnTo>
                  <a:pt x="1398" y="234"/>
                </a:lnTo>
                <a:lnTo>
                  <a:pt x="1407" y="234"/>
                </a:lnTo>
                <a:lnTo>
                  <a:pt x="1407" y="234"/>
                </a:lnTo>
                <a:lnTo>
                  <a:pt x="1407" y="234"/>
                </a:lnTo>
                <a:lnTo>
                  <a:pt x="1433" y="234"/>
                </a:lnTo>
                <a:lnTo>
                  <a:pt x="1436" y="232"/>
                </a:lnTo>
                <a:lnTo>
                  <a:pt x="1436" y="232"/>
                </a:lnTo>
                <a:lnTo>
                  <a:pt x="1437" y="229"/>
                </a:lnTo>
                <a:lnTo>
                  <a:pt x="1437" y="211"/>
                </a:lnTo>
                <a:lnTo>
                  <a:pt x="1444" y="211"/>
                </a:lnTo>
                <a:lnTo>
                  <a:pt x="1444" y="211"/>
                </a:lnTo>
                <a:lnTo>
                  <a:pt x="1444" y="211"/>
                </a:lnTo>
                <a:lnTo>
                  <a:pt x="1464" y="211"/>
                </a:lnTo>
                <a:lnTo>
                  <a:pt x="1504" y="211"/>
                </a:lnTo>
                <a:lnTo>
                  <a:pt x="1504" y="211"/>
                </a:lnTo>
                <a:lnTo>
                  <a:pt x="1504" y="211"/>
                </a:lnTo>
                <a:lnTo>
                  <a:pt x="1527" y="211"/>
                </a:lnTo>
                <a:lnTo>
                  <a:pt x="1529" y="211"/>
                </a:lnTo>
                <a:lnTo>
                  <a:pt x="1573" y="211"/>
                </a:lnTo>
                <a:lnTo>
                  <a:pt x="1587" y="211"/>
                </a:lnTo>
                <a:lnTo>
                  <a:pt x="1588" y="208"/>
                </a:lnTo>
                <a:lnTo>
                  <a:pt x="1590" y="207"/>
                </a:lnTo>
                <a:lnTo>
                  <a:pt x="1590" y="172"/>
                </a:lnTo>
                <a:lnTo>
                  <a:pt x="1599" y="172"/>
                </a:lnTo>
                <a:lnTo>
                  <a:pt x="1649" y="172"/>
                </a:lnTo>
                <a:lnTo>
                  <a:pt x="1706" y="172"/>
                </a:lnTo>
                <a:lnTo>
                  <a:pt x="1716" y="172"/>
                </a:lnTo>
                <a:lnTo>
                  <a:pt x="1716" y="172"/>
                </a:lnTo>
                <a:lnTo>
                  <a:pt x="1716" y="172"/>
                </a:lnTo>
                <a:lnTo>
                  <a:pt x="1735" y="172"/>
                </a:lnTo>
                <a:lnTo>
                  <a:pt x="1735" y="172"/>
                </a:lnTo>
                <a:lnTo>
                  <a:pt x="1735" y="172"/>
                </a:lnTo>
                <a:lnTo>
                  <a:pt x="1804" y="172"/>
                </a:lnTo>
                <a:lnTo>
                  <a:pt x="1804" y="172"/>
                </a:lnTo>
                <a:lnTo>
                  <a:pt x="1804" y="172"/>
                </a:lnTo>
                <a:lnTo>
                  <a:pt x="1836" y="172"/>
                </a:lnTo>
                <a:lnTo>
                  <a:pt x="1836" y="172"/>
                </a:lnTo>
                <a:lnTo>
                  <a:pt x="1836" y="172"/>
                </a:lnTo>
                <a:lnTo>
                  <a:pt x="1860" y="172"/>
                </a:lnTo>
                <a:lnTo>
                  <a:pt x="1864" y="172"/>
                </a:lnTo>
                <a:lnTo>
                  <a:pt x="1919" y="172"/>
                </a:lnTo>
                <a:lnTo>
                  <a:pt x="1961" y="172"/>
                </a:lnTo>
                <a:lnTo>
                  <a:pt x="1963" y="170"/>
                </a:lnTo>
                <a:lnTo>
                  <a:pt x="1966" y="168"/>
                </a:lnTo>
                <a:lnTo>
                  <a:pt x="1966" y="7"/>
                </a:lnTo>
                <a:lnTo>
                  <a:pt x="1972" y="7"/>
                </a:lnTo>
                <a:lnTo>
                  <a:pt x="2033" y="7"/>
                </a:lnTo>
                <a:lnTo>
                  <a:pt x="2035" y="4"/>
                </a:lnTo>
                <a:lnTo>
                  <a:pt x="2035" y="3"/>
                </a:lnTo>
                <a:lnTo>
                  <a:pt x="2035" y="0"/>
                </a:lnTo>
                <a:lnTo>
                  <a:pt x="2033" y="0"/>
                </a:lnTo>
                <a:close/>
              </a:path>
            </a:pathLst>
          </a:custGeom>
          <a:solidFill>
            <a:schemeClr val="accent2"/>
          </a:solidFill>
          <a:ln w="19050">
            <a:solidFill>
              <a:schemeClr val="accent2"/>
            </a:solidFill>
            <a:round/>
            <a:headEnd/>
            <a:tailEnd/>
          </a:ln>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467" name="Freeform 28"/>
          <p:cNvSpPr>
            <a:spLocks/>
          </p:cNvSpPr>
          <p:nvPr/>
        </p:nvSpPr>
        <p:spPr bwMode="auto">
          <a:xfrm>
            <a:off x="3464297" y="2026829"/>
            <a:ext cx="2277045" cy="2035959"/>
          </a:xfrm>
          <a:custGeom>
            <a:avLst/>
            <a:gdLst>
              <a:gd name="T0" fmla="*/ 1465 w 2132"/>
              <a:gd name="T1" fmla="*/ 27 h 1076"/>
              <a:gd name="T2" fmla="*/ 1329 w 2132"/>
              <a:gd name="T3" fmla="*/ 50 h 1076"/>
              <a:gd name="T4" fmla="*/ 1133 w 2132"/>
              <a:gd name="T5" fmla="*/ 110 h 1076"/>
              <a:gd name="T6" fmla="*/ 1000 w 2132"/>
              <a:gd name="T7" fmla="*/ 121 h 1076"/>
              <a:gd name="T8" fmla="*/ 932 w 2132"/>
              <a:gd name="T9" fmla="*/ 146 h 1076"/>
              <a:gd name="T10" fmla="*/ 861 w 2132"/>
              <a:gd name="T11" fmla="*/ 169 h 1076"/>
              <a:gd name="T12" fmla="*/ 784 w 2132"/>
              <a:gd name="T13" fmla="*/ 194 h 1076"/>
              <a:gd name="T14" fmla="*/ 738 w 2132"/>
              <a:gd name="T15" fmla="*/ 219 h 1076"/>
              <a:gd name="T16" fmla="*/ 689 w 2132"/>
              <a:gd name="T17" fmla="*/ 239 h 1076"/>
              <a:gd name="T18" fmla="*/ 649 w 2132"/>
              <a:gd name="T19" fmla="*/ 263 h 1076"/>
              <a:gd name="T20" fmla="*/ 590 w 2132"/>
              <a:gd name="T21" fmla="*/ 273 h 1076"/>
              <a:gd name="T22" fmla="*/ 556 w 2132"/>
              <a:gd name="T23" fmla="*/ 292 h 1076"/>
              <a:gd name="T24" fmla="*/ 522 w 2132"/>
              <a:gd name="T25" fmla="*/ 315 h 1076"/>
              <a:gd name="T26" fmla="*/ 494 w 2132"/>
              <a:gd name="T27" fmla="*/ 336 h 1076"/>
              <a:gd name="T28" fmla="*/ 466 w 2132"/>
              <a:gd name="T29" fmla="*/ 360 h 1076"/>
              <a:gd name="T30" fmla="*/ 433 w 2132"/>
              <a:gd name="T31" fmla="*/ 384 h 1076"/>
              <a:gd name="T32" fmla="*/ 404 w 2132"/>
              <a:gd name="T33" fmla="*/ 405 h 1076"/>
              <a:gd name="T34" fmla="*/ 374 w 2132"/>
              <a:gd name="T35" fmla="*/ 428 h 1076"/>
              <a:gd name="T36" fmla="*/ 347 w 2132"/>
              <a:gd name="T37" fmla="*/ 456 h 1076"/>
              <a:gd name="T38" fmla="*/ 317 w 2132"/>
              <a:gd name="T39" fmla="*/ 478 h 1076"/>
              <a:gd name="T40" fmla="*/ 298 w 2132"/>
              <a:gd name="T41" fmla="*/ 506 h 1076"/>
              <a:gd name="T42" fmla="*/ 278 w 2132"/>
              <a:gd name="T43" fmla="*/ 536 h 1076"/>
              <a:gd name="T44" fmla="*/ 257 w 2132"/>
              <a:gd name="T45" fmla="*/ 570 h 1076"/>
              <a:gd name="T46" fmla="*/ 238 w 2132"/>
              <a:gd name="T47" fmla="*/ 602 h 1076"/>
              <a:gd name="T48" fmla="*/ 220 w 2132"/>
              <a:gd name="T49" fmla="*/ 631 h 1076"/>
              <a:gd name="T50" fmla="*/ 205 w 2132"/>
              <a:gd name="T51" fmla="*/ 665 h 1076"/>
              <a:gd name="T52" fmla="*/ 183 w 2132"/>
              <a:gd name="T53" fmla="*/ 693 h 1076"/>
              <a:gd name="T54" fmla="*/ 169 w 2132"/>
              <a:gd name="T55" fmla="*/ 727 h 1076"/>
              <a:gd name="T56" fmla="*/ 156 w 2132"/>
              <a:gd name="T57" fmla="*/ 764 h 1076"/>
              <a:gd name="T58" fmla="*/ 142 w 2132"/>
              <a:gd name="T59" fmla="*/ 795 h 1076"/>
              <a:gd name="T60" fmla="*/ 130 w 2132"/>
              <a:gd name="T61" fmla="*/ 827 h 1076"/>
              <a:gd name="T62" fmla="*/ 116 w 2132"/>
              <a:gd name="T63" fmla="*/ 861 h 1076"/>
              <a:gd name="T64" fmla="*/ 101 w 2132"/>
              <a:gd name="T65" fmla="*/ 893 h 1076"/>
              <a:gd name="T66" fmla="*/ 88 w 2132"/>
              <a:gd name="T67" fmla="*/ 927 h 1076"/>
              <a:gd name="T68" fmla="*/ 73 w 2132"/>
              <a:gd name="T69" fmla="*/ 962 h 1076"/>
              <a:gd name="T70" fmla="*/ 58 w 2132"/>
              <a:gd name="T71" fmla="*/ 994 h 1076"/>
              <a:gd name="T72" fmla="*/ 47 w 2132"/>
              <a:gd name="T73" fmla="*/ 1031 h 1076"/>
              <a:gd name="T74" fmla="*/ 26 w 2132"/>
              <a:gd name="T75" fmla="*/ 1062 h 1076"/>
              <a:gd name="T76" fmla="*/ 45 w 2132"/>
              <a:gd name="T77" fmla="*/ 1052 h 1076"/>
              <a:gd name="T78" fmla="*/ 65 w 2132"/>
              <a:gd name="T79" fmla="*/ 999 h 1076"/>
              <a:gd name="T80" fmla="*/ 81 w 2132"/>
              <a:gd name="T81" fmla="*/ 955 h 1076"/>
              <a:gd name="T82" fmla="*/ 101 w 2132"/>
              <a:gd name="T83" fmla="*/ 901 h 1076"/>
              <a:gd name="T84" fmla="*/ 127 w 2132"/>
              <a:gd name="T85" fmla="*/ 857 h 1076"/>
              <a:gd name="T86" fmla="*/ 144 w 2132"/>
              <a:gd name="T87" fmla="*/ 806 h 1076"/>
              <a:gd name="T88" fmla="*/ 162 w 2132"/>
              <a:gd name="T89" fmla="*/ 764 h 1076"/>
              <a:gd name="T90" fmla="*/ 183 w 2132"/>
              <a:gd name="T91" fmla="*/ 713 h 1076"/>
              <a:gd name="T92" fmla="*/ 214 w 2132"/>
              <a:gd name="T93" fmla="*/ 661 h 1076"/>
              <a:gd name="T94" fmla="*/ 238 w 2132"/>
              <a:gd name="T95" fmla="*/ 610 h 1076"/>
              <a:gd name="T96" fmla="*/ 273 w 2132"/>
              <a:gd name="T97" fmla="*/ 560 h 1076"/>
              <a:gd name="T98" fmla="*/ 304 w 2132"/>
              <a:gd name="T99" fmla="*/ 511 h 1076"/>
              <a:gd name="T100" fmla="*/ 342 w 2132"/>
              <a:gd name="T101" fmla="*/ 468 h 1076"/>
              <a:gd name="T102" fmla="*/ 382 w 2132"/>
              <a:gd name="T103" fmla="*/ 434 h 1076"/>
              <a:gd name="T104" fmla="*/ 424 w 2132"/>
              <a:gd name="T105" fmla="*/ 402 h 1076"/>
              <a:gd name="T106" fmla="*/ 466 w 2132"/>
              <a:gd name="T107" fmla="*/ 367 h 1076"/>
              <a:gd name="T108" fmla="*/ 520 w 2132"/>
              <a:gd name="T109" fmla="*/ 328 h 1076"/>
              <a:gd name="T110" fmla="*/ 583 w 2132"/>
              <a:gd name="T111" fmla="*/ 292 h 1076"/>
              <a:gd name="T112" fmla="*/ 641 w 2132"/>
              <a:gd name="T113" fmla="*/ 269 h 1076"/>
              <a:gd name="T114" fmla="*/ 707 w 2132"/>
              <a:gd name="T115" fmla="*/ 232 h 1076"/>
              <a:gd name="T116" fmla="*/ 791 w 2132"/>
              <a:gd name="T117" fmla="*/ 197 h 1076"/>
              <a:gd name="T118" fmla="*/ 923 w 2132"/>
              <a:gd name="T119" fmla="*/ 160 h 1076"/>
              <a:gd name="T120" fmla="*/ 1065 w 2132"/>
              <a:gd name="T121" fmla="*/ 115 h 1076"/>
              <a:gd name="T122" fmla="*/ 1347 w 2132"/>
              <a:gd name="T123" fmla="*/ 55 h 1076"/>
              <a:gd name="T124" fmla="*/ 2132 w 2132"/>
              <a:gd name="T125" fmla="*/ 1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2" h="1076">
                <a:moveTo>
                  <a:pt x="2130" y="0"/>
                </a:moveTo>
                <a:lnTo>
                  <a:pt x="1887" y="0"/>
                </a:lnTo>
                <a:lnTo>
                  <a:pt x="1886" y="0"/>
                </a:lnTo>
                <a:lnTo>
                  <a:pt x="1883" y="0"/>
                </a:lnTo>
                <a:lnTo>
                  <a:pt x="1782" y="0"/>
                </a:lnTo>
                <a:lnTo>
                  <a:pt x="1781" y="0"/>
                </a:lnTo>
                <a:lnTo>
                  <a:pt x="1778" y="0"/>
                </a:lnTo>
                <a:lnTo>
                  <a:pt x="1727" y="0"/>
                </a:lnTo>
                <a:lnTo>
                  <a:pt x="1724" y="0"/>
                </a:lnTo>
                <a:lnTo>
                  <a:pt x="1724" y="0"/>
                </a:lnTo>
                <a:lnTo>
                  <a:pt x="1722" y="0"/>
                </a:lnTo>
                <a:lnTo>
                  <a:pt x="1709" y="0"/>
                </a:lnTo>
                <a:lnTo>
                  <a:pt x="1706" y="0"/>
                </a:lnTo>
                <a:lnTo>
                  <a:pt x="1706" y="0"/>
                </a:lnTo>
                <a:lnTo>
                  <a:pt x="1704" y="0"/>
                </a:lnTo>
                <a:lnTo>
                  <a:pt x="1634" y="0"/>
                </a:lnTo>
                <a:lnTo>
                  <a:pt x="1631" y="0"/>
                </a:lnTo>
                <a:lnTo>
                  <a:pt x="1630" y="0"/>
                </a:lnTo>
                <a:lnTo>
                  <a:pt x="1549" y="0"/>
                </a:lnTo>
                <a:lnTo>
                  <a:pt x="1548" y="0"/>
                </a:lnTo>
                <a:lnTo>
                  <a:pt x="1545" y="0"/>
                </a:lnTo>
                <a:lnTo>
                  <a:pt x="1493" y="0"/>
                </a:lnTo>
                <a:lnTo>
                  <a:pt x="1491" y="0"/>
                </a:lnTo>
                <a:lnTo>
                  <a:pt x="1488" y="0"/>
                </a:lnTo>
                <a:lnTo>
                  <a:pt x="1488" y="1"/>
                </a:lnTo>
                <a:lnTo>
                  <a:pt x="1488" y="1"/>
                </a:lnTo>
                <a:lnTo>
                  <a:pt x="1488" y="4"/>
                </a:lnTo>
                <a:lnTo>
                  <a:pt x="1488" y="27"/>
                </a:lnTo>
                <a:lnTo>
                  <a:pt x="1465" y="27"/>
                </a:lnTo>
                <a:lnTo>
                  <a:pt x="1464" y="27"/>
                </a:lnTo>
                <a:lnTo>
                  <a:pt x="1461" y="27"/>
                </a:lnTo>
                <a:lnTo>
                  <a:pt x="1441" y="27"/>
                </a:lnTo>
                <a:lnTo>
                  <a:pt x="1439" y="27"/>
                </a:lnTo>
                <a:lnTo>
                  <a:pt x="1439" y="27"/>
                </a:lnTo>
                <a:lnTo>
                  <a:pt x="1437" y="27"/>
                </a:lnTo>
                <a:lnTo>
                  <a:pt x="1418" y="27"/>
                </a:lnTo>
                <a:lnTo>
                  <a:pt x="1415" y="27"/>
                </a:lnTo>
                <a:lnTo>
                  <a:pt x="1415" y="27"/>
                </a:lnTo>
                <a:lnTo>
                  <a:pt x="1414" y="27"/>
                </a:lnTo>
                <a:lnTo>
                  <a:pt x="1414" y="29"/>
                </a:lnTo>
                <a:lnTo>
                  <a:pt x="1414" y="29"/>
                </a:lnTo>
                <a:lnTo>
                  <a:pt x="1414" y="31"/>
                </a:lnTo>
                <a:lnTo>
                  <a:pt x="1414" y="48"/>
                </a:lnTo>
                <a:lnTo>
                  <a:pt x="1411" y="48"/>
                </a:lnTo>
                <a:lnTo>
                  <a:pt x="1408" y="48"/>
                </a:lnTo>
                <a:lnTo>
                  <a:pt x="1361" y="48"/>
                </a:lnTo>
                <a:lnTo>
                  <a:pt x="1360" y="48"/>
                </a:lnTo>
                <a:lnTo>
                  <a:pt x="1357" y="48"/>
                </a:lnTo>
                <a:lnTo>
                  <a:pt x="1349" y="48"/>
                </a:lnTo>
                <a:lnTo>
                  <a:pt x="1347" y="48"/>
                </a:lnTo>
                <a:lnTo>
                  <a:pt x="1347" y="48"/>
                </a:lnTo>
                <a:lnTo>
                  <a:pt x="1344" y="48"/>
                </a:lnTo>
                <a:lnTo>
                  <a:pt x="1333" y="48"/>
                </a:lnTo>
                <a:lnTo>
                  <a:pt x="1331" y="48"/>
                </a:lnTo>
                <a:lnTo>
                  <a:pt x="1331" y="48"/>
                </a:lnTo>
                <a:lnTo>
                  <a:pt x="1329" y="48"/>
                </a:lnTo>
                <a:lnTo>
                  <a:pt x="1329" y="50"/>
                </a:lnTo>
                <a:lnTo>
                  <a:pt x="1329" y="50"/>
                </a:lnTo>
                <a:lnTo>
                  <a:pt x="1329" y="52"/>
                </a:lnTo>
                <a:lnTo>
                  <a:pt x="1329" y="65"/>
                </a:lnTo>
                <a:lnTo>
                  <a:pt x="1270" y="65"/>
                </a:lnTo>
                <a:lnTo>
                  <a:pt x="1267" y="65"/>
                </a:lnTo>
                <a:lnTo>
                  <a:pt x="1264" y="65"/>
                </a:lnTo>
                <a:lnTo>
                  <a:pt x="1264" y="67"/>
                </a:lnTo>
                <a:lnTo>
                  <a:pt x="1264" y="67"/>
                </a:lnTo>
                <a:lnTo>
                  <a:pt x="1264" y="69"/>
                </a:lnTo>
                <a:lnTo>
                  <a:pt x="1264" y="80"/>
                </a:lnTo>
                <a:lnTo>
                  <a:pt x="1263" y="80"/>
                </a:lnTo>
                <a:lnTo>
                  <a:pt x="1260" y="80"/>
                </a:lnTo>
                <a:lnTo>
                  <a:pt x="1207" y="80"/>
                </a:lnTo>
                <a:lnTo>
                  <a:pt x="1206" y="80"/>
                </a:lnTo>
                <a:lnTo>
                  <a:pt x="1205" y="80"/>
                </a:lnTo>
                <a:lnTo>
                  <a:pt x="1166" y="80"/>
                </a:lnTo>
                <a:lnTo>
                  <a:pt x="1163" y="80"/>
                </a:lnTo>
                <a:lnTo>
                  <a:pt x="1162" y="80"/>
                </a:lnTo>
                <a:lnTo>
                  <a:pt x="1162" y="83"/>
                </a:lnTo>
                <a:lnTo>
                  <a:pt x="1162" y="83"/>
                </a:lnTo>
                <a:lnTo>
                  <a:pt x="1162" y="84"/>
                </a:lnTo>
                <a:lnTo>
                  <a:pt x="1162" y="94"/>
                </a:lnTo>
                <a:lnTo>
                  <a:pt x="1159" y="94"/>
                </a:lnTo>
                <a:lnTo>
                  <a:pt x="1156" y="94"/>
                </a:lnTo>
                <a:lnTo>
                  <a:pt x="1155" y="94"/>
                </a:lnTo>
                <a:lnTo>
                  <a:pt x="1155" y="97"/>
                </a:lnTo>
                <a:lnTo>
                  <a:pt x="1155" y="97"/>
                </a:lnTo>
                <a:lnTo>
                  <a:pt x="1155" y="100"/>
                </a:lnTo>
                <a:lnTo>
                  <a:pt x="1155" y="110"/>
                </a:lnTo>
                <a:lnTo>
                  <a:pt x="1133" y="110"/>
                </a:lnTo>
                <a:lnTo>
                  <a:pt x="1130" y="110"/>
                </a:lnTo>
                <a:lnTo>
                  <a:pt x="1130" y="110"/>
                </a:lnTo>
                <a:lnTo>
                  <a:pt x="1128" y="110"/>
                </a:lnTo>
                <a:lnTo>
                  <a:pt x="1117" y="110"/>
                </a:lnTo>
                <a:lnTo>
                  <a:pt x="1116" y="110"/>
                </a:lnTo>
                <a:lnTo>
                  <a:pt x="1113" y="110"/>
                </a:lnTo>
                <a:lnTo>
                  <a:pt x="1084" y="110"/>
                </a:lnTo>
                <a:lnTo>
                  <a:pt x="1081" y="110"/>
                </a:lnTo>
                <a:lnTo>
                  <a:pt x="1079" y="110"/>
                </a:lnTo>
                <a:lnTo>
                  <a:pt x="1062" y="110"/>
                </a:lnTo>
                <a:lnTo>
                  <a:pt x="1059" y="110"/>
                </a:lnTo>
                <a:lnTo>
                  <a:pt x="1058" y="110"/>
                </a:lnTo>
                <a:lnTo>
                  <a:pt x="1058" y="111"/>
                </a:lnTo>
                <a:lnTo>
                  <a:pt x="1058" y="111"/>
                </a:lnTo>
                <a:lnTo>
                  <a:pt x="1058" y="114"/>
                </a:lnTo>
                <a:lnTo>
                  <a:pt x="1058" y="121"/>
                </a:lnTo>
                <a:lnTo>
                  <a:pt x="1055" y="121"/>
                </a:lnTo>
                <a:lnTo>
                  <a:pt x="1052" y="121"/>
                </a:lnTo>
                <a:lnTo>
                  <a:pt x="1052" y="121"/>
                </a:lnTo>
                <a:lnTo>
                  <a:pt x="1051" y="121"/>
                </a:lnTo>
                <a:lnTo>
                  <a:pt x="1048" y="121"/>
                </a:lnTo>
                <a:lnTo>
                  <a:pt x="1036" y="121"/>
                </a:lnTo>
                <a:lnTo>
                  <a:pt x="1033" y="121"/>
                </a:lnTo>
                <a:lnTo>
                  <a:pt x="1031" y="121"/>
                </a:lnTo>
                <a:lnTo>
                  <a:pt x="1027" y="121"/>
                </a:lnTo>
                <a:lnTo>
                  <a:pt x="1025" y="121"/>
                </a:lnTo>
                <a:lnTo>
                  <a:pt x="1023" y="121"/>
                </a:lnTo>
                <a:lnTo>
                  <a:pt x="1001" y="121"/>
                </a:lnTo>
                <a:lnTo>
                  <a:pt x="1000" y="121"/>
                </a:lnTo>
                <a:lnTo>
                  <a:pt x="997" y="121"/>
                </a:lnTo>
                <a:lnTo>
                  <a:pt x="994" y="121"/>
                </a:lnTo>
                <a:lnTo>
                  <a:pt x="993" y="121"/>
                </a:lnTo>
                <a:lnTo>
                  <a:pt x="993" y="122"/>
                </a:lnTo>
                <a:lnTo>
                  <a:pt x="993" y="122"/>
                </a:lnTo>
                <a:lnTo>
                  <a:pt x="993" y="125"/>
                </a:lnTo>
                <a:lnTo>
                  <a:pt x="993" y="131"/>
                </a:lnTo>
                <a:lnTo>
                  <a:pt x="990" y="131"/>
                </a:lnTo>
                <a:lnTo>
                  <a:pt x="989" y="131"/>
                </a:lnTo>
                <a:lnTo>
                  <a:pt x="986" y="131"/>
                </a:lnTo>
                <a:lnTo>
                  <a:pt x="977" y="131"/>
                </a:lnTo>
                <a:lnTo>
                  <a:pt x="975" y="131"/>
                </a:lnTo>
                <a:lnTo>
                  <a:pt x="973" y="131"/>
                </a:lnTo>
                <a:lnTo>
                  <a:pt x="973" y="133"/>
                </a:lnTo>
                <a:lnTo>
                  <a:pt x="973" y="133"/>
                </a:lnTo>
                <a:lnTo>
                  <a:pt x="973" y="135"/>
                </a:lnTo>
                <a:lnTo>
                  <a:pt x="973" y="142"/>
                </a:lnTo>
                <a:lnTo>
                  <a:pt x="950" y="142"/>
                </a:lnTo>
                <a:lnTo>
                  <a:pt x="947" y="142"/>
                </a:lnTo>
                <a:lnTo>
                  <a:pt x="947" y="142"/>
                </a:lnTo>
                <a:lnTo>
                  <a:pt x="944" y="142"/>
                </a:lnTo>
                <a:lnTo>
                  <a:pt x="940" y="142"/>
                </a:lnTo>
                <a:lnTo>
                  <a:pt x="939" y="142"/>
                </a:lnTo>
                <a:lnTo>
                  <a:pt x="936" y="142"/>
                </a:lnTo>
                <a:lnTo>
                  <a:pt x="935" y="142"/>
                </a:lnTo>
                <a:lnTo>
                  <a:pt x="932" y="142"/>
                </a:lnTo>
                <a:lnTo>
                  <a:pt x="932" y="143"/>
                </a:lnTo>
                <a:lnTo>
                  <a:pt x="932" y="143"/>
                </a:lnTo>
                <a:lnTo>
                  <a:pt x="932" y="146"/>
                </a:lnTo>
                <a:lnTo>
                  <a:pt x="932" y="150"/>
                </a:lnTo>
                <a:lnTo>
                  <a:pt x="925" y="150"/>
                </a:lnTo>
                <a:lnTo>
                  <a:pt x="923" y="150"/>
                </a:lnTo>
                <a:lnTo>
                  <a:pt x="922" y="150"/>
                </a:lnTo>
                <a:lnTo>
                  <a:pt x="919" y="150"/>
                </a:lnTo>
                <a:lnTo>
                  <a:pt x="917" y="150"/>
                </a:lnTo>
                <a:lnTo>
                  <a:pt x="917" y="152"/>
                </a:lnTo>
                <a:lnTo>
                  <a:pt x="917" y="154"/>
                </a:lnTo>
                <a:lnTo>
                  <a:pt x="917" y="159"/>
                </a:lnTo>
                <a:lnTo>
                  <a:pt x="915" y="159"/>
                </a:lnTo>
                <a:lnTo>
                  <a:pt x="912" y="159"/>
                </a:lnTo>
                <a:lnTo>
                  <a:pt x="897" y="159"/>
                </a:lnTo>
                <a:lnTo>
                  <a:pt x="896" y="159"/>
                </a:lnTo>
                <a:lnTo>
                  <a:pt x="893" y="159"/>
                </a:lnTo>
                <a:lnTo>
                  <a:pt x="893" y="160"/>
                </a:lnTo>
                <a:lnTo>
                  <a:pt x="893" y="160"/>
                </a:lnTo>
                <a:lnTo>
                  <a:pt x="893" y="163"/>
                </a:lnTo>
                <a:lnTo>
                  <a:pt x="893" y="167"/>
                </a:lnTo>
                <a:lnTo>
                  <a:pt x="892" y="167"/>
                </a:lnTo>
                <a:lnTo>
                  <a:pt x="889" y="167"/>
                </a:lnTo>
                <a:lnTo>
                  <a:pt x="881" y="167"/>
                </a:lnTo>
                <a:lnTo>
                  <a:pt x="878" y="167"/>
                </a:lnTo>
                <a:lnTo>
                  <a:pt x="878" y="167"/>
                </a:lnTo>
                <a:lnTo>
                  <a:pt x="876" y="167"/>
                </a:lnTo>
                <a:lnTo>
                  <a:pt x="865" y="167"/>
                </a:lnTo>
                <a:lnTo>
                  <a:pt x="863" y="167"/>
                </a:lnTo>
                <a:lnTo>
                  <a:pt x="863" y="167"/>
                </a:lnTo>
                <a:lnTo>
                  <a:pt x="861" y="167"/>
                </a:lnTo>
                <a:lnTo>
                  <a:pt x="861" y="169"/>
                </a:lnTo>
                <a:lnTo>
                  <a:pt x="861" y="169"/>
                </a:lnTo>
                <a:lnTo>
                  <a:pt x="861" y="171"/>
                </a:lnTo>
                <a:lnTo>
                  <a:pt x="861" y="176"/>
                </a:lnTo>
                <a:lnTo>
                  <a:pt x="858" y="176"/>
                </a:lnTo>
                <a:lnTo>
                  <a:pt x="857" y="176"/>
                </a:lnTo>
                <a:lnTo>
                  <a:pt x="854" y="176"/>
                </a:lnTo>
                <a:lnTo>
                  <a:pt x="854" y="177"/>
                </a:lnTo>
                <a:lnTo>
                  <a:pt x="854" y="177"/>
                </a:lnTo>
                <a:lnTo>
                  <a:pt x="854" y="180"/>
                </a:lnTo>
                <a:lnTo>
                  <a:pt x="854" y="181"/>
                </a:lnTo>
                <a:lnTo>
                  <a:pt x="839" y="181"/>
                </a:lnTo>
                <a:lnTo>
                  <a:pt x="838" y="181"/>
                </a:lnTo>
                <a:lnTo>
                  <a:pt x="835" y="181"/>
                </a:lnTo>
                <a:lnTo>
                  <a:pt x="835" y="184"/>
                </a:lnTo>
                <a:lnTo>
                  <a:pt x="835" y="184"/>
                </a:lnTo>
                <a:lnTo>
                  <a:pt x="835" y="186"/>
                </a:lnTo>
                <a:lnTo>
                  <a:pt x="835" y="190"/>
                </a:lnTo>
                <a:lnTo>
                  <a:pt x="822" y="190"/>
                </a:lnTo>
                <a:lnTo>
                  <a:pt x="820" y="190"/>
                </a:lnTo>
                <a:lnTo>
                  <a:pt x="818" y="190"/>
                </a:lnTo>
                <a:lnTo>
                  <a:pt x="799" y="190"/>
                </a:lnTo>
                <a:lnTo>
                  <a:pt x="796" y="190"/>
                </a:lnTo>
                <a:lnTo>
                  <a:pt x="795" y="190"/>
                </a:lnTo>
                <a:lnTo>
                  <a:pt x="788" y="190"/>
                </a:lnTo>
                <a:lnTo>
                  <a:pt x="786" y="190"/>
                </a:lnTo>
                <a:lnTo>
                  <a:pt x="784" y="190"/>
                </a:lnTo>
                <a:lnTo>
                  <a:pt x="784" y="193"/>
                </a:lnTo>
                <a:lnTo>
                  <a:pt x="784" y="193"/>
                </a:lnTo>
                <a:lnTo>
                  <a:pt x="784" y="194"/>
                </a:lnTo>
                <a:lnTo>
                  <a:pt x="784" y="198"/>
                </a:lnTo>
                <a:lnTo>
                  <a:pt x="781" y="198"/>
                </a:lnTo>
                <a:lnTo>
                  <a:pt x="781" y="198"/>
                </a:lnTo>
                <a:lnTo>
                  <a:pt x="779" y="198"/>
                </a:lnTo>
                <a:lnTo>
                  <a:pt x="775" y="198"/>
                </a:lnTo>
                <a:lnTo>
                  <a:pt x="773" y="198"/>
                </a:lnTo>
                <a:lnTo>
                  <a:pt x="773" y="198"/>
                </a:lnTo>
                <a:lnTo>
                  <a:pt x="770" y="198"/>
                </a:lnTo>
                <a:lnTo>
                  <a:pt x="770" y="201"/>
                </a:lnTo>
                <a:lnTo>
                  <a:pt x="770" y="204"/>
                </a:lnTo>
                <a:lnTo>
                  <a:pt x="770" y="205"/>
                </a:lnTo>
                <a:lnTo>
                  <a:pt x="768" y="205"/>
                </a:lnTo>
                <a:lnTo>
                  <a:pt x="768" y="205"/>
                </a:lnTo>
                <a:lnTo>
                  <a:pt x="766" y="205"/>
                </a:lnTo>
                <a:lnTo>
                  <a:pt x="763" y="205"/>
                </a:lnTo>
                <a:lnTo>
                  <a:pt x="763" y="207"/>
                </a:lnTo>
                <a:lnTo>
                  <a:pt x="763" y="207"/>
                </a:lnTo>
                <a:lnTo>
                  <a:pt x="763" y="209"/>
                </a:lnTo>
                <a:lnTo>
                  <a:pt x="763" y="211"/>
                </a:lnTo>
                <a:lnTo>
                  <a:pt x="761" y="211"/>
                </a:lnTo>
                <a:lnTo>
                  <a:pt x="759" y="211"/>
                </a:lnTo>
                <a:lnTo>
                  <a:pt x="757" y="211"/>
                </a:lnTo>
                <a:lnTo>
                  <a:pt x="757" y="214"/>
                </a:lnTo>
                <a:lnTo>
                  <a:pt x="757" y="215"/>
                </a:lnTo>
                <a:lnTo>
                  <a:pt x="757" y="218"/>
                </a:lnTo>
                <a:lnTo>
                  <a:pt x="742" y="218"/>
                </a:lnTo>
                <a:lnTo>
                  <a:pt x="741" y="218"/>
                </a:lnTo>
                <a:lnTo>
                  <a:pt x="738" y="218"/>
                </a:lnTo>
                <a:lnTo>
                  <a:pt x="738" y="219"/>
                </a:lnTo>
                <a:lnTo>
                  <a:pt x="738" y="219"/>
                </a:lnTo>
                <a:lnTo>
                  <a:pt x="738" y="222"/>
                </a:lnTo>
                <a:lnTo>
                  <a:pt x="738" y="226"/>
                </a:lnTo>
                <a:lnTo>
                  <a:pt x="737" y="226"/>
                </a:lnTo>
                <a:lnTo>
                  <a:pt x="734" y="226"/>
                </a:lnTo>
                <a:lnTo>
                  <a:pt x="731" y="226"/>
                </a:lnTo>
                <a:lnTo>
                  <a:pt x="730" y="226"/>
                </a:lnTo>
                <a:lnTo>
                  <a:pt x="727" y="226"/>
                </a:lnTo>
                <a:lnTo>
                  <a:pt x="724" y="226"/>
                </a:lnTo>
                <a:lnTo>
                  <a:pt x="723" y="226"/>
                </a:lnTo>
                <a:lnTo>
                  <a:pt x="721" y="226"/>
                </a:lnTo>
                <a:lnTo>
                  <a:pt x="718" y="226"/>
                </a:lnTo>
                <a:lnTo>
                  <a:pt x="710" y="226"/>
                </a:lnTo>
                <a:lnTo>
                  <a:pt x="707" y="226"/>
                </a:lnTo>
                <a:lnTo>
                  <a:pt x="706" y="226"/>
                </a:lnTo>
                <a:lnTo>
                  <a:pt x="702" y="226"/>
                </a:lnTo>
                <a:lnTo>
                  <a:pt x="699" y="226"/>
                </a:lnTo>
                <a:lnTo>
                  <a:pt x="698" y="226"/>
                </a:lnTo>
                <a:lnTo>
                  <a:pt x="698" y="229"/>
                </a:lnTo>
                <a:lnTo>
                  <a:pt x="698" y="231"/>
                </a:lnTo>
                <a:lnTo>
                  <a:pt x="695" y="231"/>
                </a:lnTo>
                <a:lnTo>
                  <a:pt x="692" y="231"/>
                </a:lnTo>
                <a:lnTo>
                  <a:pt x="691" y="231"/>
                </a:lnTo>
                <a:lnTo>
                  <a:pt x="691" y="232"/>
                </a:lnTo>
                <a:lnTo>
                  <a:pt x="691" y="235"/>
                </a:lnTo>
                <a:lnTo>
                  <a:pt x="691" y="236"/>
                </a:lnTo>
                <a:lnTo>
                  <a:pt x="689" y="236"/>
                </a:lnTo>
                <a:lnTo>
                  <a:pt x="689" y="239"/>
                </a:lnTo>
                <a:lnTo>
                  <a:pt x="689" y="239"/>
                </a:lnTo>
                <a:lnTo>
                  <a:pt x="689" y="242"/>
                </a:lnTo>
                <a:lnTo>
                  <a:pt x="689" y="243"/>
                </a:lnTo>
                <a:lnTo>
                  <a:pt x="684" y="243"/>
                </a:lnTo>
                <a:lnTo>
                  <a:pt x="681" y="243"/>
                </a:lnTo>
                <a:lnTo>
                  <a:pt x="681" y="243"/>
                </a:lnTo>
                <a:lnTo>
                  <a:pt x="680" y="243"/>
                </a:lnTo>
                <a:lnTo>
                  <a:pt x="680" y="246"/>
                </a:lnTo>
                <a:lnTo>
                  <a:pt x="680" y="247"/>
                </a:lnTo>
                <a:lnTo>
                  <a:pt x="680" y="250"/>
                </a:lnTo>
                <a:lnTo>
                  <a:pt x="673" y="250"/>
                </a:lnTo>
                <a:lnTo>
                  <a:pt x="671" y="250"/>
                </a:lnTo>
                <a:lnTo>
                  <a:pt x="671" y="250"/>
                </a:lnTo>
                <a:lnTo>
                  <a:pt x="669" y="250"/>
                </a:lnTo>
                <a:lnTo>
                  <a:pt x="666" y="250"/>
                </a:lnTo>
                <a:lnTo>
                  <a:pt x="664" y="250"/>
                </a:lnTo>
                <a:lnTo>
                  <a:pt x="664" y="252"/>
                </a:lnTo>
                <a:lnTo>
                  <a:pt x="664" y="252"/>
                </a:lnTo>
                <a:lnTo>
                  <a:pt x="664" y="254"/>
                </a:lnTo>
                <a:lnTo>
                  <a:pt x="664" y="256"/>
                </a:lnTo>
                <a:lnTo>
                  <a:pt x="662" y="256"/>
                </a:lnTo>
                <a:lnTo>
                  <a:pt x="658" y="256"/>
                </a:lnTo>
                <a:lnTo>
                  <a:pt x="656" y="256"/>
                </a:lnTo>
                <a:lnTo>
                  <a:pt x="653" y="256"/>
                </a:lnTo>
                <a:lnTo>
                  <a:pt x="653" y="259"/>
                </a:lnTo>
                <a:lnTo>
                  <a:pt x="653" y="259"/>
                </a:lnTo>
                <a:lnTo>
                  <a:pt x="653" y="260"/>
                </a:lnTo>
                <a:lnTo>
                  <a:pt x="653" y="263"/>
                </a:lnTo>
                <a:lnTo>
                  <a:pt x="652" y="263"/>
                </a:lnTo>
                <a:lnTo>
                  <a:pt x="649" y="263"/>
                </a:lnTo>
                <a:lnTo>
                  <a:pt x="646" y="263"/>
                </a:lnTo>
                <a:lnTo>
                  <a:pt x="641" y="263"/>
                </a:lnTo>
                <a:lnTo>
                  <a:pt x="640" y="263"/>
                </a:lnTo>
                <a:lnTo>
                  <a:pt x="637" y="263"/>
                </a:lnTo>
                <a:lnTo>
                  <a:pt x="634" y="263"/>
                </a:lnTo>
                <a:lnTo>
                  <a:pt x="634" y="264"/>
                </a:lnTo>
                <a:lnTo>
                  <a:pt x="634" y="267"/>
                </a:lnTo>
                <a:lnTo>
                  <a:pt x="633" y="267"/>
                </a:lnTo>
                <a:lnTo>
                  <a:pt x="630" y="267"/>
                </a:lnTo>
                <a:lnTo>
                  <a:pt x="622" y="267"/>
                </a:lnTo>
                <a:lnTo>
                  <a:pt x="620" y="267"/>
                </a:lnTo>
                <a:lnTo>
                  <a:pt x="617" y="267"/>
                </a:lnTo>
                <a:lnTo>
                  <a:pt x="615" y="267"/>
                </a:lnTo>
                <a:lnTo>
                  <a:pt x="613" y="267"/>
                </a:lnTo>
                <a:lnTo>
                  <a:pt x="610" y="267"/>
                </a:lnTo>
                <a:lnTo>
                  <a:pt x="608" y="267"/>
                </a:lnTo>
                <a:lnTo>
                  <a:pt x="606" y="267"/>
                </a:lnTo>
                <a:lnTo>
                  <a:pt x="605" y="267"/>
                </a:lnTo>
                <a:lnTo>
                  <a:pt x="605" y="269"/>
                </a:lnTo>
                <a:lnTo>
                  <a:pt x="605" y="269"/>
                </a:lnTo>
                <a:lnTo>
                  <a:pt x="605" y="271"/>
                </a:lnTo>
                <a:lnTo>
                  <a:pt x="605" y="273"/>
                </a:lnTo>
                <a:lnTo>
                  <a:pt x="601" y="273"/>
                </a:lnTo>
                <a:lnTo>
                  <a:pt x="598" y="273"/>
                </a:lnTo>
                <a:lnTo>
                  <a:pt x="595" y="273"/>
                </a:lnTo>
                <a:lnTo>
                  <a:pt x="594" y="273"/>
                </a:lnTo>
                <a:lnTo>
                  <a:pt x="591" y="273"/>
                </a:lnTo>
                <a:lnTo>
                  <a:pt x="591" y="273"/>
                </a:lnTo>
                <a:lnTo>
                  <a:pt x="590" y="273"/>
                </a:lnTo>
                <a:lnTo>
                  <a:pt x="588" y="273"/>
                </a:lnTo>
                <a:lnTo>
                  <a:pt x="587" y="273"/>
                </a:lnTo>
                <a:lnTo>
                  <a:pt x="587" y="273"/>
                </a:lnTo>
                <a:lnTo>
                  <a:pt x="584" y="273"/>
                </a:lnTo>
                <a:lnTo>
                  <a:pt x="584" y="275"/>
                </a:lnTo>
                <a:lnTo>
                  <a:pt x="584" y="275"/>
                </a:lnTo>
                <a:lnTo>
                  <a:pt x="584" y="277"/>
                </a:lnTo>
                <a:lnTo>
                  <a:pt x="584" y="277"/>
                </a:lnTo>
                <a:lnTo>
                  <a:pt x="583" y="277"/>
                </a:lnTo>
                <a:lnTo>
                  <a:pt x="583" y="280"/>
                </a:lnTo>
                <a:lnTo>
                  <a:pt x="583" y="281"/>
                </a:lnTo>
                <a:lnTo>
                  <a:pt x="580" y="281"/>
                </a:lnTo>
                <a:lnTo>
                  <a:pt x="577" y="281"/>
                </a:lnTo>
                <a:lnTo>
                  <a:pt x="577" y="284"/>
                </a:lnTo>
                <a:lnTo>
                  <a:pt x="577" y="284"/>
                </a:lnTo>
                <a:lnTo>
                  <a:pt x="577" y="285"/>
                </a:lnTo>
                <a:lnTo>
                  <a:pt x="577" y="288"/>
                </a:lnTo>
                <a:lnTo>
                  <a:pt x="572" y="288"/>
                </a:lnTo>
                <a:lnTo>
                  <a:pt x="569" y="288"/>
                </a:lnTo>
                <a:lnTo>
                  <a:pt x="568" y="288"/>
                </a:lnTo>
                <a:lnTo>
                  <a:pt x="565" y="288"/>
                </a:lnTo>
                <a:lnTo>
                  <a:pt x="563" y="288"/>
                </a:lnTo>
                <a:lnTo>
                  <a:pt x="561" y="288"/>
                </a:lnTo>
                <a:lnTo>
                  <a:pt x="561" y="290"/>
                </a:lnTo>
                <a:lnTo>
                  <a:pt x="561" y="290"/>
                </a:lnTo>
                <a:lnTo>
                  <a:pt x="561" y="292"/>
                </a:lnTo>
                <a:lnTo>
                  <a:pt x="561" y="292"/>
                </a:lnTo>
                <a:lnTo>
                  <a:pt x="558" y="292"/>
                </a:lnTo>
                <a:lnTo>
                  <a:pt x="556" y="292"/>
                </a:lnTo>
                <a:lnTo>
                  <a:pt x="555" y="292"/>
                </a:lnTo>
                <a:lnTo>
                  <a:pt x="555" y="294"/>
                </a:lnTo>
                <a:lnTo>
                  <a:pt x="555" y="297"/>
                </a:lnTo>
                <a:lnTo>
                  <a:pt x="555" y="298"/>
                </a:lnTo>
                <a:lnTo>
                  <a:pt x="555" y="298"/>
                </a:lnTo>
                <a:lnTo>
                  <a:pt x="555" y="301"/>
                </a:lnTo>
                <a:lnTo>
                  <a:pt x="552" y="301"/>
                </a:lnTo>
                <a:lnTo>
                  <a:pt x="550" y="301"/>
                </a:lnTo>
                <a:lnTo>
                  <a:pt x="548" y="301"/>
                </a:lnTo>
                <a:lnTo>
                  <a:pt x="548" y="302"/>
                </a:lnTo>
                <a:lnTo>
                  <a:pt x="548" y="302"/>
                </a:lnTo>
                <a:lnTo>
                  <a:pt x="548" y="305"/>
                </a:lnTo>
                <a:lnTo>
                  <a:pt x="548" y="307"/>
                </a:lnTo>
                <a:lnTo>
                  <a:pt x="548" y="309"/>
                </a:lnTo>
                <a:lnTo>
                  <a:pt x="548" y="309"/>
                </a:lnTo>
                <a:lnTo>
                  <a:pt x="548" y="311"/>
                </a:lnTo>
                <a:lnTo>
                  <a:pt x="544" y="311"/>
                </a:lnTo>
                <a:lnTo>
                  <a:pt x="541" y="311"/>
                </a:lnTo>
                <a:lnTo>
                  <a:pt x="540" y="311"/>
                </a:lnTo>
                <a:lnTo>
                  <a:pt x="537" y="311"/>
                </a:lnTo>
                <a:lnTo>
                  <a:pt x="536" y="311"/>
                </a:lnTo>
                <a:lnTo>
                  <a:pt x="533" y="311"/>
                </a:lnTo>
                <a:lnTo>
                  <a:pt x="530" y="311"/>
                </a:lnTo>
                <a:lnTo>
                  <a:pt x="529" y="311"/>
                </a:lnTo>
                <a:lnTo>
                  <a:pt x="526" y="311"/>
                </a:lnTo>
                <a:lnTo>
                  <a:pt x="525" y="311"/>
                </a:lnTo>
                <a:lnTo>
                  <a:pt x="525" y="313"/>
                </a:lnTo>
                <a:lnTo>
                  <a:pt x="525" y="315"/>
                </a:lnTo>
                <a:lnTo>
                  <a:pt x="522" y="315"/>
                </a:lnTo>
                <a:lnTo>
                  <a:pt x="520" y="315"/>
                </a:lnTo>
                <a:lnTo>
                  <a:pt x="518" y="315"/>
                </a:lnTo>
                <a:lnTo>
                  <a:pt x="516" y="315"/>
                </a:lnTo>
                <a:lnTo>
                  <a:pt x="516" y="318"/>
                </a:lnTo>
                <a:lnTo>
                  <a:pt x="516" y="318"/>
                </a:lnTo>
                <a:lnTo>
                  <a:pt x="516" y="319"/>
                </a:lnTo>
                <a:lnTo>
                  <a:pt x="516" y="319"/>
                </a:lnTo>
                <a:lnTo>
                  <a:pt x="516" y="322"/>
                </a:lnTo>
                <a:lnTo>
                  <a:pt x="516" y="322"/>
                </a:lnTo>
                <a:lnTo>
                  <a:pt x="516" y="325"/>
                </a:lnTo>
                <a:lnTo>
                  <a:pt x="514" y="325"/>
                </a:lnTo>
                <a:lnTo>
                  <a:pt x="511" y="325"/>
                </a:lnTo>
                <a:lnTo>
                  <a:pt x="509" y="325"/>
                </a:lnTo>
                <a:lnTo>
                  <a:pt x="508" y="325"/>
                </a:lnTo>
                <a:lnTo>
                  <a:pt x="505" y="325"/>
                </a:lnTo>
                <a:lnTo>
                  <a:pt x="505" y="326"/>
                </a:lnTo>
                <a:lnTo>
                  <a:pt x="505" y="328"/>
                </a:lnTo>
                <a:lnTo>
                  <a:pt x="502" y="328"/>
                </a:lnTo>
                <a:lnTo>
                  <a:pt x="501" y="328"/>
                </a:lnTo>
                <a:lnTo>
                  <a:pt x="498" y="328"/>
                </a:lnTo>
                <a:lnTo>
                  <a:pt x="498" y="330"/>
                </a:lnTo>
                <a:lnTo>
                  <a:pt x="498" y="330"/>
                </a:lnTo>
                <a:lnTo>
                  <a:pt x="498" y="332"/>
                </a:lnTo>
                <a:lnTo>
                  <a:pt x="497" y="332"/>
                </a:lnTo>
                <a:lnTo>
                  <a:pt x="497" y="335"/>
                </a:lnTo>
                <a:lnTo>
                  <a:pt x="497" y="335"/>
                </a:lnTo>
                <a:lnTo>
                  <a:pt x="497" y="336"/>
                </a:lnTo>
                <a:lnTo>
                  <a:pt x="497" y="336"/>
                </a:lnTo>
                <a:lnTo>
                  <a:pt x="494" y="336"/>
                </a:lnTo>
                <a:lnTo>
                  <a:pt x="494" y="339"/>
                </a:lnTo>
                <a:lnTo>
                  <a:pt x="494" y="340"/>
                </a:lnTo>
                <a:lnTo>
                  <a:pt x="494" y="343"/>
                </a:lnTo>
                <a:lnTo>
                  <a:pt x="491" y="343"/>
                </a:lnTo>
                <a:lnTo>
                  <a:pt x="491" y="346"/>
                </a:lnTo>
                <a:lnTo>
                  <a:pt x="491" y="347"/>
                </a:lnTo>
                <a:lnTo>
                  <a:pt x="491" y="347"/>
                </a:lnTo>
                <a:lnTo>
                  <a:pt x="490" y="347"/>
                </a:lnTo>
                <a:lnTo>
                  <a:pt x="490" y="350"/>
                </a:lnTo>
                <a:lnTo>
                  <a:pt x="490" y="350"/>
                </a:lnTo>
                <a:lnTo>
                  <a:pt x="490" y="352"/>
                </a:lnTo>
                <a:lnTo>
                  <a:pt x="487" y="352"/>
                </a:lnTo>
                <a:lnTo>
                  <a:pt x="487" y="352"/>
                </a:lnTo>
                <a:lnTo>
                  <a:pt x="486" y="352"/>
                </a:lnTo>
                <a:lnTo>
                  <a:pt x="486" y="353"/>
                </a:lnTo>
                <a:lnTo>
                  <a:pt x="486" y="353"/>
                </a:lnTo>
                <a:lnTo>
                  <a:pt x="486" y="356"/>
                </a:lnTo>
                <a:lnTo>
                  <a:pt x="486" y="356"/>
                </a:lnTo>
                <a:lnTo>
                  <a:pt x="483" y="356"/>
                </a:lnTo>
                <a:lnTo>
                  <a:pt x="480" y="356"/>
                </a:lnTo>
                <a:lnTo>
                  <a:pt x="479" y="356"/>
                </a:lnTo>
                <a:lnTo>
                  <a:pt x="476" y="356"/>
                </a:lnTo>
                <a:lnTo>
                  <a:pt x="475" y="356"/>
                </a:lnTo>
                <a:lnTo>
                  <a:pt x="472" y="356"/>
                </a:lnTo>
                <a:lnTo>
                  <a:pt x="471" y="356"/>
                </a:lnTo>
                <a:lnTo>
                  <a:pt x="471" y="357"/>
                </a:lnTo>
                <a:lnTo>
                  <a:pt x="471" y="360"/>
                </a:lnTo>
                <a:lnTo>
                  <a:pt x="468" y="360"/>
                </a:lnTo>
                <a:lnTo>
                  <a:pt x="466" y="360"/>
                </a:lnTo>
                <a:lnTo>
                  <a:pt x="464" y="360"/>
                </a:lnTo>
                <a:lnTo>
                  <a:pt x="461" y="360"/>
                </a:lnTo>
                <a:lnTo>
                  <a:pt x="460" y="360"/>
                </a:lnTo>
                <a:lnTo>
                  <a:pt x="458" y="360"/>
                </a:lnTo>
                <a:lnTo>
                  <a:pt x="455" y="360"/>
                </a:lnTo>
                <a:lnTo>
                  <a:pt x="453" y="360"/>
                </a:lnTo>
                <a:lnTo>
                  <a:pt x="451" y="360"/>
                </a:lnTo>
                <a:lnTo>
                  <a:pt x="451" y="363"/>
                </a:lnTo>
                <a:lnTo>
                  <a:pt x="451" y="363"/>
                </a:lnTo>
                <a:lnTo>
                  <a:pt x="451" y="364"/>
                </a:lnTo>
                <a:lnTo>
                  <a:pt x="451" y="367"/>
                </a:lnTo>
                <a:lnTo>
                  <a:pt x="451" y="367"/>
                </a:lnTo>
                <a:lnTo>
                  <a:pt x="451" y="368"/>
                </a:lnTo>
                <a:lnTo>
                  <a:pt x="448" y="368"/>
                </a:lnTo>
                <a:lnTo>
                  <a:pt x="448" y="371"/>
                </a:lnTo>
                <a:lnTo>
                  <a:pt x="447" y="371"/>
                </a:lnTo>
                <a:lnTo>
                  <a:pt x="447" y="373"/>
                </a:lnTo>
                <a:lnTo>
                  <a:pt x="447" y="375"/>
                </a:lnTo>
                <a:lnTo>
                  <a:pt x="447" y="377"/>
                </a:lnTo>
                <a:lnTo>
                  <a:pt x="447" y="378"/>
                </a:lnTo>
                <a:lnTo>
                  <a:pt x="444" y="378"/>
                </a:lnTo>
                <a:lnTo>
                  <a:pt x="442" y="378"/>
                </a:lnTo>
                <a:lnTo>
                  <a:pt x="440" y="378"/>
                </a:lnTo>
                <a:lnTo>
                  <a:pt x="439" y="378"/>
                </a:lnTo>
                <a:lnTo>
                  <a:pt x="436" y="378"/>
                </a:lnTo>
                <a:lnTo>
                  <a:pt x="436" y="381"/>
                </a:lnTo>
                <a:lnTo>
                  <a:pt x="436" y="381"/>
                </a:lnTo>
                <a:lnTo>
                  <a:pt x="436" y="384"/>
                </a:lnTo>
                <a:lnTo>
                  <a:pt x="433" y="384"/>
                </a:lnTo>
                <a:lnTo>
                  <a:pt x="433" y="385"/>
                </a:lnTo>
                <a:lnTo>
                  <a:pt x="433" y="385"/>
                </a:lnTo>
                <a:lnTo>
                  <a:pt x="433" y="388"/>
                </a:lnTo>
                <a:lnTo>
                  <a:pt x="433" y="388"/>
                </a:lnTo>
                <a:lnTo>
                  <a:pt x="432" y="388"/>
                </a:lnTo>
                <a:lnTo>
                  <a:pt x="432" y="390"/>
                </a:lnTo>
                <a:lnTo>
                  <a:pt x="432" y="392"/>
                </a:lnTo>
                <a:lnTo>
                  <a:pt x="429" y="392"/>
                </a:lnTo>
                <a:lnTo>
                  <a:pt x="428" y="392"/>
                </a:lnTo>
                <a:lnTo>
                  <a:pt x="428" y="394"/>
                </a:lnTo>
                <a:lnTo>
                  <a:pt x="428" y="394"/>
                </a:lnTo>
                <a:lnTo>
                  <a:pt x="428" y="396"/>
                </a:lnTo>
                <a:lnTo>
                  <a:pt x="425" y="396"/>
                </a:lnTo>
                <a:lnTo>
                  <a:pt x="424" y="396"/>
                </a:lnTo>
                <a:lnTo>
                  <a:pt x="421" y="396"/>
                </a:lnTo>
                <a:lnTo>
                  <a:pt x="419" y="396"/>
                </a:lnTo>
                <a:lnTo>
                  <a:pt x="417" y="396"/>
                </a:lnTo>
                <a:lnTo>
                  <a:pt x="414" y="396"/>
                </a:lnTo>
                <a:lnTo>
                  <a:pt x="412" y="396"/>
                </a:lnTo>
                <a:lnTo>
                  <a:pt x="412" y="398"/>
                </a:lnTo>
                <a:lnTo>
                  <a:pt x="410" y="398"/>
                </a:lnTo>
                <a:lnTo>
                  <a:pt x="408" y="398"/>
                </a:lnTo>
                <a:lnTo>
                  <a:pt x="406" y="398"/>
                </a:lnTo>
                <a:lnTo>
                  <a:pt x="406" y="401"/>
                </a:lnTo>
                <a:lnTo>
                  <a:pt x="406" y="401"/>
                </a:lnTo>
                <a:lnTo>
                  <a:pt x="406" y="402"/>
                </a:lnTo>
                <a:lnTo>
                  <a:pt x="406" y="402"/>
                </a:lnTo>
                <a:lnTo>
                  <a:pt x="404" y="402"/>
                </a:lnTo>
                <a:lnTo>
                  <a:pt x="404" y="405"/>
                </a:lnTo>
                <a:lnTo>
                  <a:pt x="404" y="406"/>
                </a:lnTo>
                <a:lnTo>
                  <a:pt x="401" y="406"/>
                </a:lnTo>
                <a:lnTo>
                  <a:pt x="400" y="406"/>
                </a:lnTo>
                <a:lnTo>
                  <a:pt x="397" y="406"/>
                </a:lnTo>
                <a:lnTo>
                  <a:pt x="397" y="409"/>
                </a:lnTo>
                <a:lnTo>
                  <a:pt x="397" y="411"/>
                </a:lnTo>
                <a:lnTo>
                  <a:pt x="397" y="411"/>
                </a:lnTo>
                <a:lnTo>
                  <a:pt x="394" y="411"/>
                </a:lnTo>
                <a:lnTo>
                  <a:pt x="394" y="413"/>
                </a:lnTo>
                <a:lnTo>
                  <a:pt x="392" y="413"/>
                </a:lnTo>
                <a:lnTo>
                  <a:pt x="392" y="415"/>
                </a:lnTo>
                <a:lnTo>
                  <a:pt x="392" y="415"/>
                </a:lnTo>
                <a:lnTo>
                  <a:pt x="392" y="418"/>
                </a:lnTo>
                <a:lnTo>
                  <a:pt x="392" y="418"/>
                </a:lnTo>
                <a:lnTo>
                  <a:pt x="390" y="418"/>
                </a:lnTo>
                <a:lnTo>
                  <a:pt x="390" y="419"/>
                </a:lnTo>
                <a:lnTo>
                  <a:pt x="390" y="422"/>
                </a:lnTo>
                <a:lnTo>
                  <a:pt x="389" y="422"/>
                </a:lnTo>
                <a:lnTo>
                  <a:pt x="386" y="422"/>
                </a:lnTo>
                <a:lnTo>
                  <a:pt x="386" y="423"/>
                </a:lnTo>
                <a:lnTo>
                  <a:pt x="383" y="423"/>
                </a:lnTo>
                <a:lnTo>
                  <a:pt x="382" y="423"/>
                </a:lnTo>
                <a:lnTo>
                  <a:pt x="379" y="423"/>
                </a:lnTo>
                <a:lnTo>
                  <a:pt x="379" y="426"/>
                </a:lnTo>
                <a:lnTo>
                  <a:pt x="379" y="426"/>
                </a:lnTo>
                <a:lnTo>
                  <a:pt x="379" y="428"/>
                </a:lnTo>
                <a:lnTo>
                  <a:pt x="378" y="428"/>
                </a:lnTo>
                <a:lnTo>
                  <a:pt x="375" y="428"/>
                </a:lnTo>
                <a:lnTo>
                  <a:pt x="374" y="428"/>
                </a:lnTo>
                <a:lnTo>
                  <a:pt x="374" y="430"/>
                </a:lnTo>
                <a:lnTo>
                  <a:pt x="374" y="430"/>
                </a:lnTo>
                <a:lnTo>
                  <a:pt x="374" y="432"/>
                </a:lnTo>
                <a:lnTo>
                  <a:pt x="374" y="432"/>
                </a:lnTo>
                <a:lnTo>
                  <a:pt x="371" y="432"/>
                </a:lnTo>
                <a:lnTo>
                  <a:pt x="370" y="432"/>
                </a:lnTo>
                <a:lnTo>
                  <a:pt x="370" y="434"/>
                </a:lnTo>
                <a:lnTo>
                  <a:pt x="367" y="434"/>
                </a:lnTo>
                <a:lnTo>
                  <a:pt x="367" y="436"/>
                </a:lnTo>
                <a:lnTo>
                  <a:pt x="367" y="439"/>
                </a:lnTo>
                <a:lnTo>
                  <a:pt x="367" y="440"/>
                </a:lnTo>
                <a:lnTo>
                  <a:pt x="367" y="440"/>
                </a:lnTo>
                <a:lnTo>
                  <a:pt x="367" y="443"/>
                </a:lnTo>
                <a:lnTo>
                  <a:pt x="367" y="446"/>
                </a:lnTo>
                <a:lnTo>
                  <a:pt x="363" y="446"/>
                </a:lnTo>
                <a:lnTo>
                  <a:pt x="360" y="446"/>
                </a:lnTo>
                <a:lnTo>
                  <a:pt x="358" y="446"/>
                </a:lnTo>
                <a:lnTo>
                  <a:pt x="356" y="446"/>
                </a:lnTo>
                <a:lnTo>
                  <a:pt x="354" y="446"/>
                </a:lnTo>
                <a:lnTo>
                  <a:pt x="354" y="447"/>
                </a:lnTo>
                <a:lnTo>
                  <a:pt x="354" y="447"/>
                </a:lnTo>
                <a:lnTo>
                  <a:pt x="354" y="449"/>
                </a:lnTo>
                <a:lnTo>
                  <a:pt x="354" y="449"/>
                </a:lnTo>
                <a:lnTo>
                  <a:pt x="352" y="449"/>
                </a:lnTo>
                <a:lnTo>
                  <a:pt x="350" y="449"/>
                </a:lnTo>
                <a:lnTo>
                  <a:pt x="350" y="451"/>
                </a:lnTo>
                <a:lnTo>
                  <a:pt x="350" y="453"/>
                </a:lnTo>
                <a:lnTo>
                  <a:pt x="350" y="456"/>
                </a:lnTo>
                <a:lnTo>
                  <a:pt x="347" y="456"/>
                </a:lnTo>
                <a:lnTo>
                  <a:pt x="345" y="456"/>
                </a:lnTo>
                <a:lnTo>
                  <a:pt x="345" y="457"/>
                </a:lnTo>
                <a:lnTo>
                  <a:pt x="345" y="457"/>
                </a:lnTo>
                <a:lnTo>
                  <a:pt x="345" y="460"/>
                </a:lnTo>
                <a:lnTo>
                  <a:pt x="342" y="460"/>
                </a:lnTo>
                <a:lnTo>
                  <a:pt x="339" y="460"/>
                </a:lnTo>
                <a:lnTo>
                  <a:pt x="336" y="460"/>
                </a:lnTo>
                <a:lnTo>
                  <a:pt x="336" y="461"/>
                </a:lnTo>
                <a:lnTo>
                  <a:pt x="335" y="461"/>
                </a:lnTo>
                <a:lnTo>
                  <a:pt x="335" y="464"/>
                </a:lnTo>
                <a:lnTo>
                  <a:pt x="335" y="464"/>
                </a:lnTo>
                <a:lnTo>
                  <a:pt x="335" y="467"/>
                </a:lnTo>
                <a:lnTo>
                  <a:pt x="335" y="467"/>
                </a:lnTo>
                <a:lnTo>
                  <a:pt x="335" y="468"/>
                </a:lnTo>
                <a:lnTo>
                  <a:pt x="335" y="468"/>
                </a:lnTo>
                <a:lnTo>
                  <a:pt x="335" y="471"/>
                </a:lnTo>
                <a:lnTo>
                  <a:pt x="332" y="471"/>
                </a:lnTo>
                <a:lnTo>
                  <a:pt x="331" y="471"/>
                </a:lnTo>
                <a:lnTo>
                  <a:pt x="328" y="471"/>
                </a:lnTo>
                <a:lnTo>
                  <a:pt x="325" y="471"/>
                </a:lnTo>
                <a:lnTo>
                  <a:pt x="324" y="471"/>
                </a:lnTo>
                <a:lnTo>
                  <a:pt x="324" y="472"/>
                </a:lnTo>
                <a:lnTo>
                  <a:pt x="322" y="472"/>
                </a:lnTo>
                <a:lnTo>
                  <a:pt x="322" y="474"/>
                </a:lnTo>
                <a:lnTo>
                  <a:pt x="322" y="474"/>
                </a:lnTo>
                <a:lnTo>
                  <a:pt x="322" y="477"/>
                </a:lnTo>
                <a:lnTo>
                  <a:pt x="320" y="477"/>
                </a:lnTo>
                <a:lnTo>
                  <a:pt x="317" y="477"/>
                </a:lnTo>
                <a:lnTo>
                  <a:pt x="317" y="478"/>
                </a:lnTo>
                <a:lnTo>
                  <a:pt x="317" y="478"/>
                </a:lnTo>
                <a:lnTo>
                  <a:pt x="317" y="481"/>
                </a:lnTo>
                <a:lnTo>
                  <a:pt x="317" y="481"/>
                </a:lnTo>
                <a:lnTo>
                  <a:pt x="317" y="484"/>
                </a:lnTo>
                <a:lnTo>
                  <a:pt x="316" y="484"/>
                </a:lnTo>
                <a:lnTo>
                  <a:pt x="313" y="484"/>
                </a:lnTo>
                <a:lnTo>
                  <a:pt x="311" y="484"/>
                </a:lnTo>
                <a:lnTo>
                  <a:pt x="311" y="485"/>
                </a:lnTo>
                <a:lnTo>
                  <a:pt x="309" y="485"/>
                </a:lnTo>
                <a:lnTo>
                  <a:pt x="309" y="488"/>
                </a:lnTo>
                <a:lnTo>
                  <a:pt x="309" y="489"/>
                </a:lnTo>
                <a:lnTo>
                  <a:pt x="307" y="489"/>
                </a:lnTo>
                <a:lnTo>
                  <a:pt x="307" y="492"/>
                </a:lnTo>
                <a:lnTo>
                  <a:pt x="307" y="492"/>
                </a:lnTo>
                <a:lnTo>
                  <a:pt x="307" y="494"/>
                </a:lnTo>
                <a:lnTo>
                  <a:pt x="306" y="494"/>
                </a:lnTo>
                <a:lnTo>
                  <a:pt x="304" y="494"/>
                </a:lnTo>
                <a:lnTo>
                  <a:pt x="304" y="494"/>
                </a:lnTo>
                <a:lnTo>
                  <a:pt x="302" y="494"/>
                </a:lnTo>
                <a:lnTo>
                  <a:pt x="302" y="496"/>
                </a:lnTo>
                <a:lnTo>
                  <a:pt x="302" y="496"/>
                </a:lnTo>
                <a:lnTo>
                  <a:pt x="299" y="496"/>
                </a:lnTo>
                <a:lnTo>
                  <a:pt x="299" y="498"/>
                </a:lnTo>
                <a:lnTo>
                  <a:pt x="299" y="499"/>
                </a:lnTo>
                <a:lnTo>
                  <a:pt x="299" y="502"/>
                </a:lnTo>
                <a:lnTo>
                  <a:pt x="299" y="505"/>
                </a:lnTo>
                <a:lnTo>
                  <a:pt x="299" y="505"/>
                </a:lnTo>
                <a:lnTo>
                  <a:pt x="299" y="506"/>
                </a:lnTo>
                <a:lnTo>
                  <a:pt x="298" y="506"/>
                </a:lnTo>
                <a:lnTo>
                  <a:pt x="298" y="509"/>
                </a:lnTo>
                <a:lnTo>
                  <a:pt x="295" y="509"/>
                </a:lnTo>
                <a:lnTo>
                  <a:pt x="295" y="511"/>
                </a:lnTo>
                <a:lnTo>
                  <a:pt x="295" y="511"/>
                </a:lnTo>
                <a:lnTo>
                  <a:pt x="295" y="513"/>
                </a:lnTo>
                <a:lnTo>
                  <a:pt x="295" y="513"/>
                </a:lnTo>
                <a:lnTo>
                  <a:pt x="293" y="513"/>
                </a:lnTo>
                <a:lnTo>
                  <a:pt x="292" y="513"/>
                </a:lnTo>
                <a:lnTo>
                  <a:pt x="292" y="515"/>
                </a:lnTo>
                <a:lnTo>
                  <a:pt x="292" y="517"/>
                </a:lnTo>
                <a:lnTo>
                  <a:pt x="289" y="517"/>
                </a:lnTo>
                <a:lnTo>
                  <a:pt x="289" y="519"/>
                </a:lnTo>
                <a:lnTo>
                  <a:pt x="289" y="522"/>
                </a:lnTo>
                <a:lnTo>
                  <a:pt x="289" y="522"/>
                </a:lnTo>
                <a:lnTo>
                  <a:pt x="289" y="523"/>
                </a:lnTo>
                <a:lnTo>
                  <a:pt x="286" y="523"/>
                </a:lnTo>
                <a:lnTo>
                  <a:pt x="286" y="526"/>
                </a:lnTo>
                <a:lnTo>
                  <a:pt x="285" y="526"/>
                </a:lnTo>
                <a:lnTo>
                  <a:pt x="282" y="526"/>
                </a:lnTo>
                <a:lnTo>
                  <a:pt x="280" y="526"/>
                </a:lnTo>
                <a:lnTo>
                  <a:pt x="280" y="527"/>
                </a:lnTo>
                <a:lnTo>
                  <a:pt x="280" y="527"/>
                </a:lnTo>
                <a:lnTo>
                  <a:pt x="280" y="530"/>
                </a:lnTo>
                <a:lnTo>
                  <a:pt x="280" y="530"/>
                </a:lnTo>
                <a:lnTo>
                  <a:pt x="278" y="530"/>
                </a:lnTo>
                <a:lnTo>
                  <a:pt x="278" y="532"/>
                </a:lnTo>
                <a:lnTo>
                  <a:pt x="278" y="534"/>
                </a:lnTo>
                <a:lnTo>
                  <a:pt x="278" y="534"/>
                </a:lnTo>
                <a:lnTo>
                  <a:pt x="278" y="536"/>
                </a:lnTo>
                <a:lnTo>
                  <a:pt x="278" y="543"/>
                </a:lnTo>
                <a:lnTo>
                  <a:pt x="278" y="544"/>
                </a:lnTo>
                <a:lnTo>
                  <a:pt x="278" y="544"/>
                </a:lnTo>
                <a:lnTo>
                  <a:pt x="278" y="547"/>
                </a:lnTo>
                <a:lnTo>
                  <a:pt x="275" y="547"/>
                </a:lnTo>
                <a:lnTo>
                  <a:pt x="275" y="549"/>
                </a:lnTo>
                <a:lnTo>
                  <a:pt x="274" y="549"/>
                </a:lnTo>
                <a:lnTo>
                  <a:pt x="274" y="551"/>
                </a:lnTo>
                <a:lnTo>
                  <a:pt x="274" y="551"/>
                </a:lnTo>
                <a:lnTo>
                  <a:pt x="274" y="553"/>
                </a:lnTo>
                <a:lnTo>
                  <a:pt x="273" y="553"/>
                </a:lnTo>
                <a:lnTo>
                  <a:pt x="270" y="553"/>
                </a:lnTo>
                <a:lnTo>
                  <a:pt x="267" y="553"/>
                </a:lnTo>
                <a:lnTo>
                  <a:pt x="267" y="555"/>
                </a:lnTo>
                <a:lnTo>
                  <a:pt x="266" y="555"/>
                </a:lnTo>
                <a:lnTo>
                  <a:pt x="266" y="557"/>
                </a:lnTo>
                <a:lnTo>
                  <a:pt x="266" y="557"/>
                </a:lnTo>
                <a:lnTo>
                  <a:pt x="266" y="560"/>
                </a:lnTo>
                <a:lnTo>
                  <a:pt x="266" y="560"/>
                </a:lnTo>
                <a:lnTo>
                  <a:pt x="263" y="560"/>
                </a:lnTo>
                <a:lnTo>
                  <a:pt x="263" y="561"/>
                </a:lnTo>
                <a:lnTo>
                  <a:pt x="260" y="561"/>
                </a:lnTo>
                <a:lnTo>
                  <a:pt x="260" y="564"/>
                </a:lnTo>
                <a:lnTo>
                  <a:pt x="260" y="565"/>
                </a:lnTo>
                <a:lnTo>
                  <a:pt x="259" y="565"/>
                </a:lnTo>
                <a:lnTo>
                  <a:pt x="259" y="568"/>
                </a:lnTo>
                <a:lnTo>
                  <a:pt x="259" y="568"/>
                </a:lnTo>
                <a:lnTo>
                  <a:pt x="259" y="570"/>
                </a:lnTo>
                <a:lnTo>
                  <a:pt x="257" y="570"/>
                </a:lnTo>
                <a:lnTo>
                  <a:pt x="257" y="572"/>
                </a:lnTo>
                <a:lnTo>
                  <a:pt x="257" y="572"/>
                </a:lnTo>
                <a:lnTo>
                  <a:pt x="257" y="574"/>
                </a:lnTo>
                <a:lnTo>
                  <a:pt x="257" y="574"/>
                </a:lnTo>
                <a:lnTo>
                  <a:pt x="257" y="577"/>
                </a:lnTo>
                <a:lnTo>
                  <a:pt x="255" y="577"/>
                </a:lnTo>
                <a:lnTo>
                  <a:pt x="255" y="578"/>
                </a:lnTo>
                <a:lnTo>
                  <a:pt x="253" y="578"/>
                </a:lnTo>
                <a:lnTo>
                  <a:pt x="253" y="581"/>
                </a:lnTo>
                <a:lnTo>
                  <a:pt x="253" y="582"/>
                </a:lnTo>
                <a:lnTo>
                  <a:pt x="253" y="585"/>
                </a:lnTo>
                <a:lnTo>
                  <a:pt x="253" y="585"/>
                </a:lnTo>
                <a:lnTo>
                  <a:pt x="253" y="588"/>
                </a:lnTo>
                <a:lnTo>
                  <a:pt x="253" y="588"/>
                </a:lnTo>
                <a:lnTo>
                  <a:pt x="253" y="588"/>
                </a:lnTo>
                <a:lnTo>
                  <a:pt x="253" y="589"/>
                </a:lnTo>
                <a:lnTo>
                  <a:pt x="248" y="589"/>
                </a:lnTo>
                <a:lnTo>
                  <a:pt x="246" y="589"/>
                </a:lnTo>
                <a:lnTo>
                  <a:pt x="244" y="589"/>
                </a:lnTo>
                <a:lnTo>
                  <a:pt x="244" y="592"/>
                </a:lnTo>
                <a:lnTo>
                  <a:pt x="242" y="592"/>
                </a:lnTo>
                <a:lnTo>
                  <a:pt x="242" y="593"/>
                </a:lnTo>
                <a:lnTo>
                  <a:pt x="242" y="595"/>
                </a:lnTo>
                <a:lnTo>
                  <a:pt x="239" y="595"/>
                </a:lnTo>
                <a:lnTo>
                  <a:pt x="239" y="598"/>
                </a:lnTo>
                <a:lnTo>
                  <a:pt x="238" y="598"/>
                </a:lnTo>
                <a:lnTo>
                  <a:pt x="238" y="599"/>
                </a:lnTo>
                <a:lnTo>
                  <a:pt x="238" y="599"/>
                </a:lnTo>
                <a:lnTo>
                  <a:pt x="238" y="602"/>
                </a:lnTo>
                <a:lnTo>
                  <a:pt x="238" y="605"/>
                </a:lnTo>
                <a:lnTo>
                  <a:pt x="235" y="605"/>
                </a:lnTo>
                <a:lnTo>
                  <a:pt x="234" y="605"/>
                </a:lnTo>
                <a:lnTo>
                  <a:pt x="231" y="605"/>
                </a:lnTo>
                <a:lnTo>
                  <a:pt x="231" y="606"/>
                </a:lnTo>
                <a:lnTo>
                  <a:pt x="231" y="606"/>
                </a:lnTo>
                <a:lnTo>
                  <a:pt x="231" y="609"/>
                </a:lnTo>
                <a:lnTo>
                  <a:pt x="231" y="609"/>
                </a:lnTo>
                <a:lnTo>
                  <a:pt x="231" y="610"/>
                </a:lnTo>
                <a:lnTo>
                  <a:pt x="231" y="610"/>
                </a:lnTo>
                <a:lnTo>
                  <a:pt x="228" y="610"/>
                </a:lnTo>
                <a:lnTo>
                  <a:pt x="228" y="613"/>
                </a:lnTo>
                <a:lnTo>
                  <a:pt x="228" y="615"/>
                </a:lnTo>
                <a:lnTo>
                  <a:pt x="228" y="617"/>
                </a:lnTo>
                <a:lnTo>
                  <a:pt x="228" y="617"/>
                </a:lnTo>
                <a:lnTo>
                  <a:pt x="228" y="619"/>
                </a:lnTo>
                <a:lnTo>
                  <a:pt x="228" y="619"/>
                </a:lnTo>
                <a:lnTo>
                  <a:pt x="228" y="619"/>
                </a:lnTo>
                <a:lnTo>
                  <a:pt x="228" y="620"/>
                </a:lnTo>
                <a:lnTo>
                  <a:pt x="228" y="623"/>
                </a:lnTo>
                <a:lnTo>
                  <a:pt x="228" y="623"/>
                </a:lnTo>
                <a:lnTo>
                  <a:pt x="227" y="623"/>
                </a:lnTo>
                <a:lnTo>
                  <a:pt x="226" y="623"/>
                </a:lnTo>
                <a:lnTo>
                  <a:pt x="223" y="623"/>
                </a:lnTo>
                <a:lnTo>
                  <a:pt x="223" y="626"/>
                </a:lnTo>
                <a:lnTo>
                  <a:pt x="223" y="627"/>
                </a:lnTo>
                <a:lnTo>
                  <a:pt x="220" y="627"/>
                </a:lnTo>
                <a:lnTo>
                  <a:pt x="220" y="630"/>
                </a:lnTo>
                <a:lnTo>
                  <a:pt x="220" y="631"/>
                </a:lnTo>
                <a:lnTo>
                  <a:pt x="220" y="631"/>
                </a:lnTo>
                <a:lnTo>
                  <a:pt x="220" y="634"/>
                </a:lnTo>
                <a:lnTo>
                  <a:pt x="220" y="636"/>
                </a:lnTo>
                <a:lnTo>
                  <a:pt x="220" y="636"/>
                </a:lnTo>
                <a:lnTo>
                  <a:pt x="220" y="638"/>
                </a:lnTo>
                <a:lnTo>
                  <a:pt x="219" y="638"/>
                </a:lnTo>
                <a:lnTo>
                  <a:pt x="219" y="640"/>
                </a:lnTo>
                <a:lnTo>
                  <a:pt x="216" y="640"/>
                </a:lnTo>
                <a:lnTo>
                  <a:pt x="216" y="643"/>
                </a:lnTo>
                <a:lnTo>
                  <a:pt x="216" y="644"/>
                </a:lnTo>
                <a:lnTo>
                  <a:pt x="214" y="644"/>
                </a:lnTo>
                <a:lnTo>
                  <a:pt x="212" y="644"/>
                </a:lnTo>
                <a:lnTo>
                  <a:pt x="212" y="647"/>
                </a:lnTo>
                <a:lnTo>
                  <a:pt x="212" y="648"/>
                </a:lnTo>
                <a:lnTo>
                  <a:pt x="212" y="648"/>
                </a:lnTo>
                <a:lnTo>
                  <a:pt x="212" y="651"/>
                </a:lnTo>
                <a:lnTo>
                  <a:pt x="209" y="651"/>
                </a:lnTo>
                <a:lnTo>
                  <a:pt x="209" y="653"/>
                </a:lnTo>
                <a:lnTo>
                  <a:pt x="209" y="653"/>
                </a:lnTo>
                <a:lnTo>
                  <a:pt x="209" y="655"/>
                </a:lnTo>
                <a:lnTo>
                  <a:pt x="209" y="655"/>
                </a:lnTo>
                <a:lnTo>
                  <a:pt x="209" y="657"/>
                </a:lnTo>
                <a:lnTo>
                  <a:pt x="209" y="657"/>
                </a:lnTo>
                <a:lnTo>
                  <a:pt x="208" y="657"/>
                </a:lnTo>
                <a:lnTo>
                  <a:pt x="208" y="659"/>
                </a:lnTo>
                <a:lnTo>
                  <a:pt x="208" y="661"/>
                </a:lnTo>
                <a:lnTo>
                  <a:pt x="208" y="664"/>
                </a:lnTo>
                <a:lnTo>
                  <a:pt x="205" y="664"/>
                </a:lnTo>
                <a:lnTo>
                  <a:pt x="205" y="665"/>
                </a:lnTo>
                <a:lnTo>
                  <a:pt x="205" y="665"/>
                </a:lnTo>
                <a:lnTo>
                  <a:pt x="205" y="668"/>
                </a:lnTo>
                <a:lnTo>
                  <a:pt x="205" y="668"/>
                </a:lnTo>
                <a:lnTo>
                  <a:pt x="205" y="670"/>
                </a:lnTo>
                <a:lnTo>
                  <a:pt x="202" y="670"/>
                </a:lnTo>
                <a:lnTo>
                  <a:pt x="202" y="672"/>
                </a:lnTo>
                <a:lnTo>
                  <a:pt x="202" y="674"/>
                </a:lnTo>
                <a:lnTo>
                  <a:pt x="202" y="676"/>
                </a:lnTo>
                <a:lnTo>
                  <a:pt x="201" y="676"/>
                </a:lnTo>
                <a:lnTo>
                  <a:pt x="198" y="676"/>
                </a:lnTo>
                <a:lnTo>
                  <a:pt x="196" y="676"/>
                </a:lnTo>
                <a:lnTo>
                  <a:pt x="194" y="676"/>
                </a:lnTo>
                <a:lnTo>
                  <a:pt x="194" y="678"/>
                </a:lnTo>
                <a:lnTo>
                  <a:pt x="192" y="678"/>
                </a:lnTo>
                <a:lnTo>
                  <a:pt x="192" y="681"/>
                </a:lnTo>
                <a:lnTo>
                  <a:pt x="192" y="681"/>
                </a:lnTo>
                <a:lnTo>
                  <a:pt x="192" y="682"/>
                </a:lnTo>
                <a:lnTo>
                  <a:pt x="192" y="682"/>
                </a:lnTo>
                <a:lnTo>
                  <a:pt x="192" y="685"/>
                </a:lnTo>
                <a:lnTo>
                  <a:pt x="192" y="685"/>
                </a:lnTo>
                <a:lnTo>
                  <a:pt x="192" y="685"/>
                </a:lnTo>
                <a:lnTo>
                  <a:pt x="190" y="685"/>
                </a:lnTo>
                <a:lnTo>
                  <a:pt x="188" y="685"/>
                </a:lnTo>
                <a:lnTo>
                  <a:pt x="188" y="686"/>
                </a:lnTo>
                <a:lnTo>
                  <a:pt x="188" y="689"/>
                </a:lnTo>
                <a:lnTo>
                  <a:pt x="185" y="689"/>
                </a:lnTo>
                <a:lnTo>
                  <a:pt x="185" y="691"/>
                </a:lnTo>
                <a:lnTo>
                  <a:pt x="183" y="691"/>
                </a:lnTo>
                <a:lnTo>
                  <a:pt x="183" y="693"/>
                </a:lnTo>
                <a:lnTo>
                  <a:pt x="183" y="693"/>
                </a:lnTo>
                <a:lnTo>
                  <a:pt x="183" y="695"/>
                </a:lnTo>
                <a:lnTo>
                  <a:pt x="183" y="698"/>
                </a:lnTo>
                <a:lnTo>
                  <a:pt x="181" y="698"/>
                </a:lnTo>
                <a:lnTo>
                  <a:pt x="181" y="699"/>
                </a:lnTo>
                <a:lnTo>
                  <a:pt x="181" y="699"/>
                </a:lnTo>
                <a:lnTo>
                  <a:pt x="181" y="702"/>
                </a:lnTo>
                <a:lnTo>
                  <a:pt x="181" y="703"/>
                </a:lnTo>
                <a:lnTo>
                  <a:pt x="178" y="703"/>
                </a:lnTo>
                <a:lnTo>
                  <a:pt x="177" y="703"/>
                </a:lnTo>
                <a:lnTo>
                  <a:pt x="177" y="706"/>
                </a:lnTo>
                <a:lnTo>
                  <a:pt x="177" y="709"/>
                </a:lnTo>
                <a:lnTo>
                  <a:pt x="177" y="710"/>
                </a:lnTo>
                <a:lnTo>
                  <a:pt x="176" y="710"/>
                </a:lnTo>
                <a:lnTo>
                  <a:pt x="176" y="713"/>
                </a:lnTo>
                <a:lnTo>
                  <a:pt x="176" y="713"/>
                </a:lnTo>
                <a:lnTo>
                  <a:pt x="176" y="714"/>
                </a:lnTo>
                <a:lnTo>
                  <a:pt x="173" y="714"/>
                </a:lnTo>
                <a:lnTo>
                  <a:pt x="173" y="716"/>
                </a:lnTo>
                <a:lnTo>
                  <a:pt x="173" y="716"/>
                </a:lnTo>
                <a:lnTo>
                  <a:pt x="173" y="719"/>
                </a:lnTo>
                <a:lnTo>
                  <a:pt x="173" y="719"/>
                </a:lnTo>
                <a:lnTo>
                  <a:pt x="173" y="720"/>
                </a:lnTo>
                <a:lnTo>
                  <a:pt x="173" y="723"/>
                </a:lnTo>
                <a:lnTo>
                  <a:pt x="173" y="724"/>
                </a:lnTo>
                <a:lnTo>
                  <a:pt x="173" y="724"/>
                </a:lnTo>
                <a:lnTo>
                  <a:pt x="173" y="727"/>
                </a:lnTo>
                <a:lnTo>
                  <a:pt x="170" y="727"/>
                </a:lnTo>
                <a:lnTo>
                  <a:pt x="169" y="727"/>
                </a:lnTo>
                <a:lnTo>
                  <a:pt x="169" y="730"/>
                </a:lnTo>
                <a:lnTo>
                  <a:pt x="166" y="730"/>
                </a:lnTo>
                <a:lnTo>
                  <a:pt x="166" y="731"/>
                </a:lnTo>
                <a:lnTo>
                  <a:pt x="166" y="731"/>
                </a:lnTo>
                <a:lnTo>
                  <a:pt x="166" y="734"/>
                </a:lnTo>
                <a:lnTo>
                  <a:pt x="166" y="734"/>
                </a:lnTo>
                <a:lnTo>
                  <a:pt x="163" y="734"/>
                </a:lnTo>
                <a:lnTo>
                  <a:pt x="162" y="734"/>
                </a:lnTo>
                <a:lnTo>
                  <a:pt x="162" y="736"/>
                </a:lnTo>
                <a:lnTo>
                  <a:pt x="162" y="738"/>
                </a:lnTo>
                <a:lnTo>
                  <a:pt x="162" y="740"/>
                </a:lnTo>
                <a:lnTo>
                  <a:pt x="162" y="741"/>
                </a:lnTo>
                <a:lnTo>
                  <a:pt x="162" y="744"/>
                </a:lnTo>
                <a:lnTo>
                  <a:pt x="159" y="744"/>
                </a:lnTo>
                <a:lnTo>
                  <a:pt x="159" y="747"/>
                </a:lnTo>
                <a:lnTo>
                  <a:pt x="159" y="747"/>
                </a:lnTo>
                <a:lnTo>
                  <a:pt x="159" y="748"/>
                </a:lnTo>
                <a:lnTo>
                  <a:pt x="159" y="748"/>
                </a:lnTo>
                <a:lnTo>
                  <a:pt x="158" y="748"/>
                </a:lnTo>
                <a:lnTo>
                  <a:pt x="158" y="751"/>
                </a:lnTo>
                <a:lnTo>
                  <a:pt x="158" y="752"/>
                </a:lnTo>
                <a:lnTo>
                  <a:pt x="158" y="755"/>
                </a:lnTo>
                <a:lnTo>
                  <a:pt x="158" y="757"/>
                </a:lnTo>
                <a:lnTo>
                  <a:pt x="156" y="757"/>
                </a:lnTo>
                <a:lnTo>
                  <a:pt x="156" y="759"/>
                </a:lnTo>
                <a:lnTo>
                  <a:pt x="156" y="759"/>
                </a:lnTo>
                <a:lnTo>
                  <a:pt x="156" y="761"/>
                </a:lnTo>
                <a:lnTo>
                  <a:pt x="156" y="761"/>
                </a:lnTo>
                <a:lnTo>
                  <a:pt x="156" y="764"/>
                </a:lnTo>
                <a:lnTo>
                  <a:pt x="156" y="764"/>
                </a:lnTo>
                <a:lnTo>
                  <a:pt x="156" y="764"/>
                </a:lnTo>
                <a:lnTo>
                  <a:pt x="156" y="765"/>
                </a:lnTo>
                <a:lnTo>
                  <a:pt x="156" y="765"/>
                </a:lnTo>
                <a:lnTo>
                  <a:pt x="156" y="768"/>
                </a:lnTo>
                <a:lnTo>
                  <a:pt x="154" y="768"/>
                </a:lnTo>
                <a:lnTo>
                  <a:pt x="154" y="769"/>
                </a:lnTo>
                <a:lnTo>
                  <a:pt x="151" y="769"/>
                </a:lnTo>
                <a:lnTo>
                  <a:pt x="151" y="772"/>
                </a:lnTo>
                <a:lnTo>
                  <a:pt x="151" y="774"/>
                </a:lnTo>
                <a:lnTo>
                  <a:pt x="149" y="774"/>
                </a:lnTo>
                <a:lnTo>
                  <a:pt x="149" y="776"/>
                </a:lnTo>
                <a:lnTo>
                  <a:pt x="149" y="776"/>
                </a:lnTo>
                <a:lnTo>
                  <a:pt x="149" y="778"/>
                </a:lnTo>
                <a:lnTo>
                  <a:pt x="147" y="778"/>
                </a:lnTo>
                <a:lnTo>
                  <a:pt x="147" y="780"/>
                </a:lnTo>
                <a:lnTo>
                  <a:pt x="147" y="780"/>
                </a:lnTo>
                <a:lnTo>
                  <a:pt x="147" y="782"/>
                </a:lnTo>
                <a:lnTo>
                  <a:pt x="147" y="782"/>
                </a:lnTo>
                <a:lnTo>
                  <a:pt x="147" y="785"/>
                </a:lnTo>
                <a:lnTo>
                  <a:pt x="147" y="785"/>
                </a:lnTo>
                <a:lnTo>
                  <a:pt x="147" y="786"/>
                </a:lnTo>
                <a:lnTo>
                  <a:pt x="147" y="789"/>
                </a:lnTo>
                <a:lnTo>
                  <a:pt x="147" y="791"/>
                </a:lnTo>
                <a:lnTo>
                  <a:pt x="144" y="791"/>
                </a:lnTo>
                <a:lnTo>
                  <a:pt x="142" y="791"/>
                </a:lnTo>
                <a:lnTo>
                  <a:pt x="142" y="793"/>
                </a:lnTo>
                <a:lnTo>
                  <a:pt x="142" y="793"/>
                </a:lnTo>
                <a:lnTo>
                  <a:pt x="142" y="795"/>
                </a:lnTo>
                <a:lnTo>
                  <a:pt x="142" y="795"/>
                </a:lnTo>
                <a:lnTo>
                  <a:pt x="141" y="795"/>
                </a:lnTo>
                <a:lnTo>
                  <a:pt x="141" y="797"/>
                </a:lnTo>
                <a:lnTo>
                  <a:pt x="138" y="797"/>
                </a:lnTo>
                <a:lnTo>
                  <a:pt x="138" y="799"/>
                </a:lnTo>
                <a:lnTo>
                  <a:pt x="138" y="802"/>
                </a:lnTo>
                <a:lnTo>
                  <a:pt x="138" y="803"/>
                </a:lnTo>
                <a:lnTo>
                  <a:pt x="138" y="806"/>
                </a:lnTo>
                <a:lnTo>
                  <a:pt x="137" y="806"/>
                </a:lnTo>
                <a:lnTo>
                  <a:pt x="137" y="807"/>
                </a:lnTo>
                <a:lnTo>
                  <a:pt x="137" y="807"/>
                </a:lnTo>
                <a:lnTo>
                  <a:pt x="137" y="810"/>
                </a:lnTo>
                <a:lnTo>
                  <a:pt x="137" y="810"/>
                </a:lnTo>
                <a:lnTo>
                  <a:pt x="137" y="812"/>
                </a:lnTo>
                <a:lnTo>
                  <a:pt x="137" y="812"/>
                </a:lnTo>
                <a:lnTo>
                  <a:pt x="137" y="814"/>
                </a:lnTo>
                <a:lnTo>
                  <a:pt x="137" y="816"/>
                </a:lnTo>
                <a:lnTo>
                  <a:pt x="137" y="818"/>
                </a:lnTo>
                <a:lnTo>
                  <a:pt x="134" y="818"/>
                </a:lnTo>
                <a:lnTo>
                  <a:pt x="131" y="818"/>
                </a:lnTo>
                <a:lnTo>
                  <a:pt x="131" y="820"/>
                </a:lnTo>
                <a:lnTo>
                  <a:pt x="131" y="820"/>
                </a:lnTo>
                <a:lnTo>
                  <a:pt x="131" y="823"/>
                </a:lnTo>
                <a:lnTo>
                  <a:pt x="130" y="823"/>
                </a:lnTo>
                <a:lnTo>
                  <a:pt x="130" y="824"/>
                </a:lnTo>
                <a:lnTo>
                  <a:pt x="130" y="824"/>
                </a:lnTo>
                <a:lnTo>
                  <a:pt x="130" y="827"/>
                </a:lnTo>
                <a:lnTo>
                  <a:pt x="130" y="827"/>
                </a:lnTo>
                <a:lnTo>
                  <a:pt x="130" y="827"/>
                </a:lnTo>
                <a:lnTo>
                  <a:pt x="127" y="827"/>
                </a:lnTo>
                <a:lnTo>
                  <a:pt x="127" y="830"/>
                </a:lnTo>
                <a:lnTo>
                  <a:pt x="127" y="831"/>
                </a:lnTo>
                <a:lnTo>
                  <a:pt x="126" y="831"/>
                </a:lnTo>
                <a:lnTo>
                  <a:pt x="126" y="834"/>
                </a:lnTo>
                <a:lnTo>
                  <a:pt x="126" y="835"/>
                </a:lnTo>
                <a:lnTo>
                  <a:pt x="126" y="835"/>
                </a:lnTo>
                <a:lnTo>
                  <a:pt x="126" y="837"/>
                </a:lnTo>
                <a:lnTo>
                  <a:pt x="126" y="840"/>
                </a:lnTo>
                <a:lnTo>
                  <a:pt x="126" y="840"/>
                </a:lnTo>
                <a:lnTo>
                  <a:pt x="126" y="840"/>
                </a:lnTo>
                <a:lnTo>
                  <a:pt x="126" y="841"/>
                </a:lnTo>
                <a:lnTo>
                  <a:pt x="126" y="841"/>
                </a:lnTo>
                <a:lnTo>
                  <a:pt x="126" y="841"/>
                </a:lnTo>
                <a:lnTo>
                  <a:pt x="126" y="844"/>
                </a:lnTo>
                <a:lnTo>
                  <a:pt x="123" y="844"/>
                </a:lnTo>
                <a:lnTo>
                  <a:pt x="123" y="845"/>
                </a:lnTo>
                <a:lnTo>
                  <a:pt x="123" y="848"/>
                </a:lnTo>
                <a:lnTo>
                  <a:pt x="123" y="851"/>
                </a:lnTo>
                <a:lnTo>
                  <a:pt x="123" y="852"/>
                </a:lnTo>
                <a:lnTo>
                  <a:pt x="122" y="852"/>
                </a:lnTo>
                <a:lnTo>
                  <a:pt x="122" y="855"/>
                </a:lnTo>
                <a:lnTo>
                  <a:pt x="122" y="855"/>
                </a:lnTo>
                <a:lnTo>
                  <a:pt x="122" y="857"/>
                </a:lnTo>
                <a:lnTo>
                  <a:pt x="122" y="857"/>
                </a:lnTo>
                <a:lnTo>
                  <a:pt x="122" y="859"/>
                </a:lnTo>
                <a:lnTo>
                  <a:pt x="119" y="859"/>
                </a:lnTo>
                <a:lnTo>
                  <a:pt x="116" y="859"/>
                </a:lnTo>
                <a:lnTo>
                  <a:pt x="116" y="861"/>
                </a:lnTo>
                <a:lnTo>
                  <a:pt x="116" y="862"/>
                </a:lnTo>
                <a:lnTo>
                  <a:pt x="116" y="865"/>
                </a:lnTo>
                <a:lnTo>
                  <a:pt x="115" y="865"/>
                </a:lnTo>
                <a:lnTo>
                  <a:pt x="112" y="865"/>
                </a:lnTo>
                <a:lnTo>
                  <a:pt x="112" y="865"/>
                </a:lnTo>
                <a:lnTo>
                  <a:pt x="109" y="865"/>
                </a:lnTo>
                <a:lnTo>
                  <a:pt x="109" y="868"/>
                </a:lnTo>
                <a:lnTo>
                  <a:pt x="109" y="869"/>
                </a:lnTo>
                <a:lnTo>
                  <a:pt x="109" y="869"/>
                </a:lnTo>
                <a:lnTo>
                  <a:pt x="109" y="872"/>
                </a:lnTo>
                <a:lnTo>
                  <a:pt x="109" y="873"/>
                </a:lnTo>
                <a:lnTo>
                  <a:pt x="109" y="873"/>
                </a:lnTo>
                <a:lnTo>
                  <a:pt x="109" y="873"/>
                </a:lnTo>
                <a:lnTo>
                  <a:pt x="108" y="873"/>
                </a:lnTo>
                <a:lnTo>
                  <a:pt x="108" y="876"/>
                </a:lnTo>
                <a:lnTo>
                  <a:pt x="105" y="876"/>
                </a:lnTo>
                <a:lnTo>
                  <a:pt x="105" y="878"/>
                </a:lnTo>
                <a:lnTo>
                  <a:pt x="105" y="880"/>
                </a:lnTo>
                <a:lnTo>
                  <a:pt x="105" y="882"/>
                </a:lnTo>
                <a:lnTo>
                  <a:pt x="105" y="884"/>
                </a:lnTo>
                <a:lnTo>
                  <a:pt x="105" y="884"/>
                </a:lnTo>
                <a:lnTo>
                  <a:pt x="105" y="886"/>
                </a:lnTo>
                <a:lnTo>
                  <a:pt x="105" y="889"/>
                </a:lnTo>
                <a:lnTo>
                  <a:pt x="104" y="889"/>
                </a:lnTo>
                <a:lnTo>
                  <a:pt x="101" y="889"/>
                </a:lnTo>
                <a:lnTo>
                  <a:pt x="101" y="890"/>
                </a:lnTo>
                <a:lnTo>
                  <a:pt x="101" y="890"/>
                </a:lnTo>
                <a:lnTo>
                  <a:pt x="101" y="893"/>
                </a:lnTo>
                <a:lnTo>
                  <a:pt x="101" y="893"/>
                </a:lnTo>
                <a:lnTo>
                  <a:pt x="99" y="893"/>
                </a:lnTo>
                <a:lnTo>
                  <a:pt x="99" y="895"/>
                </a:lnTo>
                <a:lnTo>
                  <a:pt x="97" y="895"/>
                </a:lnTo>
                <a:lnTo>
                  <a:pt x="97" y="897"/>
                </a:lnTo>
                <a:lnTo>
                  <a:pt x="94" y="897"/>
                </a:lnTo>
                <a:lnTo>
                  <a:pt x="94" y="899"/>
                </a:lnTo>
                <a:lnTo>
                  <a:pt x="94" y="899"/>
                </a:lnTo>
                <a:lnTo>
                  <a:pt x="94" y="901"/>
                </a:lnTo>
                <a:lnTo>
                  <a:pt x="94" y="903"/>
                </a:lnTo>
                <a:lnTo>
                  <a:pt x="94" y="903"/>
                </a:lnTo>
                <a:lnTo>
                  <a:pt x="94" y="903"/>
                </a:lnTo>
                <a:lnTo>
                  <a:pt x="94" y="906"/>
                </a:lnTo>
                <a:lnTo>
                  <a:pt x="94" y="906"/>
                </a:lnTo>
                <a:lnTo>
                  <a:pt x="94" y="906"/>
                </a:lnTo>
                <a:lnTo>
                  <a:pt x="94" y="907"/>
                </a:lnTo>
                <a:lnTo>
                  <a:pt x="93" y="907"/>
                </a:lnTo>
                <a:lnTo>
                  <a:pt x="93" y="910"/>
                </a:lnTo>
                <a:lnTo>
                  <a:pt x="93" y="911"/>
                </a:lnTo>
                <a:lnTo>
                  <a:pt x="93" y="914"/>
                </a:lnTo>
                <a:lnTo>
                  <a:pt x="93" y="916"/>
                </a:lnTo>
                <a:lnTo>
                  <a:pt x="93" y="918"/>
                </a:lnTo>
                <a:lnTo>
                  <a:pt x="93" y="918"/>
                </a:lnTo>
                <a:lnTo>
                  <a:pt x="93" y="920"/>
                </a:lnTo>
                <a:lnTo>
                  <a:pt x="91" y="920"/>
                </a:lnTo>
                <a:lnTo>
                  <a:pt x="91" y="923"/>
                </a:lnTo>
                <a:lnTo>
                  <a:pt x="91" y="923"/>
                </a:lnTo>
                <a:lnTo>
                  <a:pt x="88" y="923"/>
                </a:lnTo>
                <a:lnTo>
                  <a:pt x="88" y="924"/>
                </a:lnTo>
                <a:lnTo>
                  <a:pt x="88" y="927"/>
                </a:lnTo>
                <a:lnTo>
                  <a:pt x="88" y="928"/>
                </a:lnTo>
                <a:lnTo>
                  <a:pt x="86" y="928"/>
                </a:lnTo>
                <a:lnTo>
                  <a:pt x="86" y="931"/>
                </a:lnTo>
                <a:lnTo>
                  <a:pt x="86" y="933"/>
                </a:lnTo>
                <a:lnTo>
                  <a:pt x="86" y="933"/>
                </a:lnTo>
                <a:lnTo>
                  <a:pt x="86" y="935"/>
                </a:lnTo>
                <a:lnTo>
                  <a:pt x="84" y="935"/>
                </a:lnTo>
                <a:lnTo>
                  <a:pt x="84" y="937"/>
                </a:lnTo>
                <a:lnTo>
                  <a:pt x="84" y="937"/>
                </a:lnTo>
                <a:lnTo>
                  <a:pt x="81" y="937"/>
                </a:lnTo>
                <a:lnTo>
                  <a:pt x="81" y="939"/>
                </a:lnTo>
                <a:lnTo>
                  <a:pt x="81" y="941"/>
                </a:lnTo>
                <a:lnTo>
                  <a:pt x="80" y="941"/>
                </a:lnTo>
                <a:lnTo>
                  <a:pt x="80" y="944"/>
                </a:lnTo>
                <a:lnTo>
                  <a:pt x="80" y="945"/>
                </a:lnTo>
                <a:lnTo>
                  <a:pt x="77" y="945"/>
                </a:lnTo>
                <a:lnTo>
                  <a:pt x="77" y="948"/>
                </a:lnTo>
                <a:lnTo>
                  <a:pt x="77" y="948"/>
                </a:lnTo>
                <a:lnTo>
                  <a:pt x="77" y="951"/>
                </a:lnTo>
                <a:lnTo>
                  <a:pt x="76" y="951"/>
                </a:lnTo>
                <a:lnTo>
                  <a:pt x="76" y="952"/>
                </a:lnTo>
                <a:lnTo>
                  <a:pt x="76" y="952"/>
                </a:lnTo>
                <a:lnTo>
                  <a:pt x="76" y="955"/>
                </a:lnTo>
                <a:lnTo>
                  <a:pt x="76" y="955"/>
                </a:lnTo>
                <a:lnTo>
                  <a:pt x="76" y="956"/>
                </a:lnTo>
                <a:lnTo>
                  <a:pt x="76" y="958"/>
                </a:lnTo>
                <a:lnTo>
                  <a:pt x="73" y="958"/>
                </a:lnTo>
                <a:lnTo>
                  <a:pt x="73" y="961"/>
                </a:lnTo>
                <a:lnTo>
                  <a:pt x="73" y="962"/>
                </a:lnTo>
                <a:lnTo>
                  <a:pt x="73" y="965"/>
                </a:lnTo>
                <a:lnTo>
                  <a:pt x="72" y="965"/>
                </a:lnTo>
                <a:lnTo>
                  <a:pt x="72" y="966"/>
                </a:lnTo>
                <a:lnTo>
                  <a:pt x="69" y="966"/>
                </a:lnTo>
                <a:lnTo>
                  <a:pt x="69" y="969"/>
                </a:lnTo>
                <a:lnTo>
                  <a:pt x="69" y="969"/>
                </a:lnTo>
                <a:lnTo>
                  <a:pt x="69" y="972"/>
                </a:lnTo>
                <a:lnTo>
                  <a:pt x="69" y="972"/>
                </a:lnTo>
                <a:lnTo>
                  <a:pt x="69" y="973"/>
                </a:lnTo>
                <a:lnTo>
                  <a:pt x="69" y="973"/>
                </a:lnTo>
                <a:lnTo>
                  <a:pt x="66" y="973"/>
                </a:lnTo>
                <a:lnTo>
                  <a:pt x="66" y="976"/>
                </a:lnTo>
                <a:lnTo>
                  <a:pt x="66" y="977"/>
                </a:lnTo>
                <a:lnTo>
                  <a:pt x="66" y="980"/>
                </a:lnTo>
                <a:lnTo>
                  <a:pt x="66" y="980"/>
                </a:lnTo>
                <a:lnTo>
                  <a:pt x="66" y="982"/>
                </a:lnTo>
                <a:lnTo>
                  <a:pt x="66" y="982"/>
                </a:lnTo>
                <a:lnTo>
                  <a:pt x="66" y="982"/>
                </a:lnTo>
                <a:lnTo>
                  <a:pt x="66" y="983"/>
                </a:lnTo>
                <a:lnTo>
                  <a:pt x="66" y="986"/>
                </a:lnTo>
                <a:lnTo>
                  <a:pt x="66" y="986"/>
                </a:lnTo>
                <a:lnTo>
                  <a:pt x="65" y="986"/>
                </a:lnTo>
                <a:lnTo>
                  <a:pt x="65" y="989"/>
                </a:lnTo>
                <a:lnTo>
                  <a:pt x="65" y="990"/>
                </a:lnTo>
                <a:lnTo>
                  <a:pt x="62" y="990"/>
                </a:lnTo>
                <a:lnTo>
                  <a:pt x="62" y="993"/>
                </a:lnTo>
                <a:lnTo>
                  <a:pt x="61" y="993"/>
                </a:lnTo>
                <a:lnTo>
                  <a:pt x="61" y="994"/>
                </a:lnTo>
                <a:lnTo>
                  <a:pt x="58" y="994"/>
                </a:lnTo>
                <a:lnTo>
                  <a:pt x="58" y="997"/>
                </a:lnTo>
                <a:lnTo>
                  <a:pt x="58" y="997"/>
                </a:lnTo>
                <a:lnTo>
                  <a:pt x="58" y="999"/>
                </a:lnTo>
                <a:lnTo>
                  <a:pt x="57" y="999"/>
                </a:lnTo>
                <a:lnTo>
                  <a:pt x="57" y="1001"/>
                </a:lnTo>
                <a:lnTo>
                  <a:pt x="57" y="1001"/>
                </a:lnTo>
                <a:lnTo>
                  <a:pt x="57" y="1003"/>
                </a:lnTo>
                <a:lnTo>
                  <a:pt x="57" y="1003"/>
                </a:lnTo>
                <a:lnTo>
                  <a:pt x="57" y="1005"/>
                </a:lnTo>
                <a:lnTo>
                  <a:pt x="57" y="1007"/>
                </a:lnTo>
                <a:lnTo>
                  <a:pt x="57" y="1007"/>
                </a:lnTo>
                <a:lnTo>
                  <a:pt x="57" y="1010"/>
                </a:lnTo>
                <a:lnTo>
                  <a:pt x="57" y="1011"/>
                </a:lnTo>
                <a:lnTo>
                  <a:pt x="54" y="1011"/>
                </a:lnTo>
                <a:lnTo>
                  <a:pt x="54" y="1014"/>
                </a:lnTo>
                <a:lnTo>
                  <a:pt x="54" y="1014"/>
                </a:lnTo>
                <a:lnTo>
                  <a:pt x="54" y="1016"/>
                </a:lnTo>
                <a:lnTo>
                  <a:pt x="54" y="1016"/>
                </a:lnTo>
                <a:lnTo>
                  <a:pt x="54" y="1016"/>
                </a:lnTo>
                <a:lnTo>
                  <a:pt x="52" y="1016"/>
                </a:lnTo>
                <a:lnTo>
                  <a:pt x="52" y="1018"/>
                </a:lnTo>
                <a:lnTo>
                  <a:pt x="52" y="1020"/>
                </a:lnTo>
                <a:lnTo>
                  <a:pt x="52" y="1022"/>
                </a:lnTo>
                <a:lnTo>
                  <a:pt x="50" y="1022"/>
                </a:lnTo>
                <a:lnTo>
                  <a:pt x="50" y="1024"/>
                </a:lnTo>
                <a:lnTo>
                  <a:pt x="50" y="1027"/>
                </a:lnTo>
                <a:lnTo>
                  <a:pt x="50" y="1028"/>
                </a:lnTo>
                <a:lnTo>
                  <a:pt x="47" y="1028"/>
                </a:lnTo>
                <a:lnTo>
                  <a:pt x="47" y="1031"/>
                </a:lnTo>
                <a:lnTo>
                  <a:pt x="47" y="1031"/>
                </a:lnTo>
                <a:lnTo>
                  <a:pt x="47" y="1032"/>
                </a:lnTo>
                <a:lnTo>
                  <a:pt x="47" y="1032"/>
                </a:lnTo>
                <a:lnTo>
                  <a:pt x="45" y="1032"/>
                </a:lnTo>
                <a:lnTo>
                  <a:pt x="45" y="1035"/>
                </a:lnTo>
                <a:lnTo>
                  <a:pt x="43" y="1035"/>
                </a:lnTo>
                <a:lnTo>
                  <a:pt x="43" y="1037"/>
                </a:lnTo>
                <a:lnTo>
                  <a:pt x="43" y="1039"/>
                </a:lnTo>
                <a:lnTo>
                  <a:pt x="43" y="1041"/>
                </a:lnTo>
                <a:lnTo>
                  <a:pt x="41" y="1041"/>
                </a:lnTo>
                <a:lnTo>
                  <a:pt x="41" y="1044"/>
                </a:lnTo>
                <a:lnTo>
                  <a:pt x="39" y="1044"/>
                </a:lnTo>
                <a:lnTo>
                  <a:pt x="39" y="1045"/>
                </a:lnTo>
                <a:lnTo>
                  <a:pt x="39" y="1045"/>
                </a:lnTo>
                <a:lnTo>
                  <a:pt x="39" y="1048"/>
                </a:lnTo>
                <a:lnTo>
                  <a:pt x="39" y="1048"/>
                </a:lnTo>
                <a:lnTo>
                  <a:pt x="39" y="1049"/>
                </a:lnTo>
                <a:lnTo>
                  <a:pt x="39" y="1049"/>
                </a:lnTo>
                <a:lnTo>
                  <a:pt x="39" y="1052"/>
                </a:lnTo>
                <a:lnTo>
                  <a:pt x="39" y="1054"/>
                </a:lnTo>
                <a:lnTo>
                  <a:pt x="39" y="1056"/>
                </a:lnTo>
                <a:lnTo>
                  <a:pt x="39" y="1058"/>
                </a:lnTo>
                <a:lnTo>
                  <a:pt x="37" y="1058"/>
                </a:lnTo>
                <a:lnTo>
                  <a:pt x="37" y="1060"/>
                </a:lnTo>
                <a:lnTo>
                  <a:pt x="37" y="1060"/>
                </a:lnTo>
                <a:lnTo>
                  <a:pt x="37" y="1062"/>
                </a:lnTo>
                <a:lnTo>
                  <a:pt x="37" y="1062"/>
                </a:lnTo>
                <a:lnTo>
                  <a:pt x="27" y="1062"/>
                </a:lnTo>
                <a:lnTo>
                  <a:pt x="26" y="1062"/>
                </a:lnTo>
                <a:lnTo>
                  <a:pt x="25" y="1062"/>
                </a:lnTo>
                <a:lnTo>
                  <a:pt x="25" y="1065"/>
                </a:lnTo>
                <a:lnTo>
                  <a:pt x="23" y="1065"/>
                </a:lnTo>
                <a:lnTo>
                  <a:pt x="22" y="1065"/>
                </a:lnTo>
                <a:lnTo>
                  <a:pt x="22" y="1065"/>
                </a:lnTo>
                <a:lnTo>
                  <a:pt x="19" y="1065"/>
                </a:lnTo>
                <a:lnTo>
                  <a:pt x="19" y="1066"/>
                </a:lnTo>
                <a:lnTo>
                  <a:pt x="19" y="1069"/>
                </a:lnTo>
                <a:lnTo>
                  <a:pt x="3" y="1069"/>
                </a:lnTo>
                <a:lnTo>
                  <a:pt x="0" y="1069"/>
                </a:lnTo>
                <a:lnTo>
                  <a:pt x="0" y="1070"/>
                </a:lnTo>
                <a:lnTo>
                  <a:pt x="0" y="1073"/>
                </a:lnTo>
                <a:lnTo>
                  <a:pt x="3" y="1076"/>
                </a:lnTo>
                <a:lnTo>
                  <a:pt x="22" y="1076"/>
                </a:lnTo>
                <a:lnTo>
                  <a:pt x="25" y="1073"/>
                </a:lnTo>
                <a:lnTo>
                  <a:pt x="25" y="1073"/>
                </a:lnTo>
                <a:lnTo>
                  <a:pt x="26" y="1070"/>
                </a:lnTo>
                <a:lnTo>
                  <a:pt x="26" y="1070"/>
                </a:lnTo>
                <a:lnTo>
                  <a:pt x="27" y="1069"/>
                </a:lnTo>
                <a:lnTo>
                  <a:pt x="39" y="1069"/>
                </a:lnTo>
                <a:lnTo>
                  <a:pt x="41" y="1066"/>
                </a:lnTo>
                <a:lnTo>
                  <a:pt x="43" y="1065"/>
                </a:lnTo>
                <a:lnTo>
                  <a:pt x="43" y="1062"/>
                </a:lnTo>
                <a:lnTo>
                  <a:pt x="45" y="1060"/>
                </a:lnTo>
                <a:lnTo>
                  <a:pt x="45" y="1058"/>
                </a:lnTo>
                <a:lnTo>
                  <a:pt x="45" y="1058"/>
                </a:lnTo>
                <a:lnTo>
                  <a:pt x="45" y="1058"/>
                </a:lnTo>
                <a:lnTo>
                  <a:pt x="45" y="1056"/>
                </a:lnTo>
                <a:lnTo>
                  <a:pt x="45" y="1052"/>
                </a:lnTo>
                <a:lnTo>
                  <a:pt x="45" y="1049"/>
                </a:lnTo>
                <a:lnTo>
                  <a:pt x="45" y="1049"/>
                </a:lnTo>
                <a:lnTo>
                  <a:pt x="45" y="1049"/>
                </a:lnTo>
                <a:lnTo>
                  <a:pt x="45" y="1048"/>
                </a:lnTo>
                <a:lnTo>
                  <a:pt x="47" y="1045"/>
                </a:lnTo>
                <a:lnTo>
                  <a:pt x="47" y="1045"/>
                </a:lnTo>
                <a:lnTo>
                  <a:pt x="50" y="1044"/>
                </a:lnTo>
                <a:lnTo>
                  <a:pt x="50" y="1039"/>
                </a:lnTo>
                <a:lnTo>
                  <a:pt x="52" y="1037"/>
                </a:lnTo>
                <a:lnTo>
                  <a:pt x="54" y="1035"/>
                </a:lnTo>
                <a:lnTo>
                  <a:pt x="54" y="1032"/>
                </a:lnTo>
                <a:lnTo>
                  <a:pt x="57" y="1031"/>
                </a:lnTo>
                <a:lnTo>
                  <a:pt x="57" y="1028"/>
                </a:lnTo>
                <a:lnTo>
                  <a:pt x="57" y="1028"/>
                </a:lnTo>
                <a:lnTo>
                  <a:pt x="57" y="1028"/>
                </a:lnTo>
                <a:lnTo>
                  <a:pt x="57" y="1027"/>
                </a:lnTo>
                <a:lnTo>
                  <a:pt x="58" y="1024"/>
                </a:lnTo>
                <a:lnTo>
                  <a:pt x="58" y="1022"/>
                </a:lnTo>
                <a:lnTo>
                  <a:pt x="58" y="1020"/>
                </a:lnTo>
                <a:lnTo>
                  <a:pt x="61" y="1018"/>
                </a:lnTo>
                <a:lnTo>
                  <a:pt x="61" y="1016"/>
                </a:lnTo>
                <a:lnTo>
                  <a:pt x="62" y="1014"/>
                </a:lnTo>
                <a:lnTo>
                  <a:pt x="62" y="1007"/>
                </a:lnTo>
                <a:lnTo>
                  <a:pt x="62" y="1007"/>
                </a:lnTo>
                <a:lnTo>
                  <a:pt x="62" y="1007"/>
                </a:lnTo>
                <a:lnTo>
                  <a:pt x="62" y="1003"/>
                </a:lnTo>
                <a:lnTo>
                  <a:pt x="65" y="1001"/>
                </a:lnTo>
                <a:lnTo>
                  <a:pt x="65" y="999"/>
                </a:lnTo>
                <a:lnTo>
                  <a:pt x="65" y="999"/>
                </a:lnTo>
                <a:lnTo>
                  <a:pt x="66" y="997"/>
                </a:lnTo>
                <a:lnTo>
                  <a:pt x="69" y="994"/>
                </a:lnTo>
                <a:lnTo>
                  <a:pt x="72" y="993"/>
                </a:lnTo>
                <a:lnTo>
                  <a:pt x="72" y="990"/>
                </a:lnTo>
                <a:lnTo>
                  <a:pt x="73" y="989"/>
                </a:lnTo>
                <a:lnTo>
                  <a:pt x="73" y="986"/>
                </a:lnTo>
                <a:lnTo>
                  <a:pt x="73" y="986"/>
                </a:lnTo>
                <a:lnTo>
                  <a:pt x="73" y="986"/>
                </a:lnTo>
                <a:lnTo>
                  <a:pt x="73" y="982"/>
                </a:lnTo>
                <a:lnTo>
                  <a:pt x="73" y="982"/>
                </a:lnTo>
                <a:lnTo>
                  <a:pt x="73" y="980"/>
                </a:lnTo>
                <a:lnTo>
                  <a:pt x="73" y="980"/>
                </a:lnTo>
                <a:lnTo>
                  <a:pt x="73" y="980"/>
                </a:lnTo>
                <a:lnTo>
                  <a:pt x="73" y="977"/>
                </a:lnTo>
                <a:lnTo>
                  <a:pt x="76" y="976"/>
                </a:lnTo>
                <a:lnTo>
                  <a:pt x="76" y="973"/>
                </a:lnTo>
                <a:lnTo>
                  <a:pt x="75" y="973"/>
                </a:lnTo>
                <a:lnTo>
                  <a:pt x="76" y="973"/>
                </a:lnTo>
                <a:lnTo>
                  <a:pt x="76" y="972"/>
                </a:lnTo>
                <a:lnTo>
                  <a:pt x="77" y="969"/>
                </a:lnTo>
                <a:lnTo>
                  <a:pt x="77" y="969"/>
                </a:lnTo>
                <a:lnTo>
                  <a:pt x="80" y="966"/>
                </a:lnTo>
                <a:lnTo>
                  <a:pt x="80" y="965"/>
                </a:lnTo>
                <a:lnTo>
                  <a:pt x="80" y="965"/>
                </a:lnTo>
                <a:lnTo>
                  <a:pt x="80" y="965"/>
                </a:lnTo>
                <a:lnTo>
                  <a:pt x="80" y="962"/>
                </a:lnTo>
                <a:lnTo>
                  <a:pt x="81" y="961"/>
                </a:lnTo>
                <a:lnTo>
                  <a:pt x="81" y="958"/>
                </a:lnTo>
                <a:lnTo>
                  <a:pt x="81" y="955"/>
                </a:lnTo>
                <a:lnTo>
                  <a:pt x="84" y="952"/>
                </a:lnTo>
                <a:lnTo>
                  <a:pt x="84" y="951"/>
                </a:lnTo>
                <a:lnTo>
                  <a:pt x="84" y="951"/>
                </a:lnTo>
                <a:lnTo>
                  <a:pt x="86" y="948"/>
                </a:lnTo>
                <a:lnTo>
                  <a:pt x="86" y="945"/>
                </a:lnTo>
                <a:lnTo>
                  <a:pt x="88" y="944"/>
                </a:lnTo>
                <a:lnTo>
                  <a:pt x="88" y="941"/>
                </a:lnTo>
                <a:lnTo>
                  <a:pt x="90" y="939"/>
                </a:lnTo>
                <a:lnTo>
                  <a:pt x="91" y="939"/>
                </a:lnTo>
                <a:lnTo>
                  <a:pt x="93" y="937"/>
                </a:lnTo>
                <a:lnTo>
                  <a:pt x="93" y="933"/>
                </a:lnTo>
                <a:lnTo>
                  <a:pt x="93" y="933"/>
                </a:lnTo>
                <a:lnTo>
                  <a:pt x="93" y="933"/>
                </a:lnTo>
                <a:lnTo>
                  <a:pt x="94" y="931"/>
                </a:lnTo>
                <a:lnTo>
                  <a:pt x="94" y="927"/>
                </a:lnTo>
                <a:lnTo>
                  <a:pt x="97" y="924"/>
                </a:lnTo>
                <a:lnTo>
                  <a:pt x="97" y="924"/>
                </a:lnTo>
                <a:lnTo>
                  <a:pt x="99" y="923"/>
                </a:lnTo>
                <a:lnTo>
                  <a:pt x="99" y="918"/>
                </a:lnTo>
                <a:lnTo>
                  <a:pt x="99" y="918"/>
                </a:lnTo>
                <a:lnTo>
                  <a:pt x="99" y="918"/>
                </a:lnTo>
                <a:lnTo>
                  <a:pt x="99" y="916"/>
                </a:lnTo>
                <a:lnTo>
                  <a:pt x="99" y="911"/>
                </a:lnTo>
                <a:lnTo>
                  <a:pt x="101" y="910"/>
                </a:lnTo>
                <a:lnTo>
                  <a:pt x="101" y="906"/>
                </a:lnTo>
                <a:lnTo>
                  <a:pt x="101" y="906"/>
                </a:lnTo>
                <a:lnTo>
                  <a:pt x="101" y="903"/>
                </a:lnTo>
                <a:lnTo>
                  <a:pt x="101" y="903"/>
                </a:lnTo>
                <a:lnTo>
                  <a:pt x="101" y="901"/>
                </a:lnTo>
                <a:lnTo>
                  <a:pt x="104" y="899"/>
                </a:lnTo>
                <a:lnTo>
                  <a:pt x="105" y="897"/>
                </a:lnTo>
                <a:lnTo>
                  <a:pt x="108" y="895"/>
                </a:lnTo>
                <a:lnTo>
                  <a:pt x="108" y="895"/>
                </a:lnTo>
                <a:lnTo>
                  <a:pt x="109" y="893"/>
                </a:lnTo>
                <a:lnTo>
                  <a:pt x="109" y="893"/>
                </a:lnTo>
                <a:lnTo>
                  <a:pt x="112" y="890"/>
                </a:lnTo>
                <a:lnTo>
                  <a:pt x="112" y="889"/>
                </a:lnTo>
                <a:lnTo>
                  <a:pt x="112" y="889"/>
                </a:lnTo>
                <a:lnTo>
                  <a:pt x="112" y="884"/>
                </a:lnTo>
                <a:lnTo>
                  <a:pt x="112" y="884"/>
                </a:lnTo>
                <a:lnTo>
                  <a:pt x="112" y="884"/>
                </a:lnTo>
                <a:lnTo>
                  <a:pt x="112" y="882"/>
                </a:lnTo>
                <a:lnTo>
                  <a:pt x="112" y="880"/>
                </a:lnTo>
                <a:lnTo>
                  <a:pt x="112" y="880"/>
                </a:lnTo>
                <a:lnTo>
                  <a:pt x="115" y="878"/>
                </a:lnTo>
                <a:lnTo>
                  <a:pt x="115" y="878"/>
                </a:lnTo>
                <a:lnTo>
                  <a:pt x="116" y="876"/>
                </a:lnTo>
                <a:lnTo>
                  <a:pt x="116" y="873"/>
                </a:lnTo>
                <a:lnTo>
                  <a:pt x="116" y="873"/>
                </a:lnTo>
                <a:lnTo>
                  <a:pt x="116" y="872"/>
                </a:lnTo>
                <a:lnTo>
                  <a:pt x="119" y="872"/>
                </a:lnTo>
                <a:lnTo>
                  <a:pt x="122" y="869"/>
                </a:lnTo>
                <a:lnTo>
                  <a:pt x="123" y="868"/>
                </a:lnTo>
                <a:lnTo>
                  <a:pt x="123" y="865"/>
                </a:lnTo>
                <a:lnTo>
                  <a:pt x="126" y="862"/>
                </a:lnTo>
                <a:lnTo>
                  <a:pt x="127" y="861"/>
                </a:lnTo>
                <a:lnTo>
                  <a:pt x="127" y="857"/>
                </a:lnTo>
                <a:lnTo>
                  <a:pt x="127" y="857"/>
                </a:lnTo>
                <a:lnTo>
                  <a:pt x="127" y="857"/>
                </a:lnTo>
                <a:lnTo>
                  <a:pt x="130" y="855"/>
                </a:lnTo>
                <a:lnTo>
                  <a:pt x="130" y="852"/>
                </a:lnTo>
                <a:lnTo>
                  <a:pt x="130" y="848"/>
                </a:lnTo>
                <a:lnTo>
                  <a:pt x="131" y="845"/>
                </a:lnTo>
                <a:lnTo>
                  <a:pt x="131" y="841"/>
                </a:lnTo>
                <a:lnTo>
                  <a:pt x="131" y="841"/>
                </a:lnTo>
                <a:lnTo>
                  <a:pt x="131" y="840"/>
                </a:lnTo>
                <a:lnTo>
                  <a:pt x="131" y="840"/>
                </a:lnTo>
                <a:lnTo>
                  <a:pt x="131" y="835"/>
                </a:lnTo>
                <a:lnTo>
                  <a:pt x="131" y="835"/>
                </a:lnTo>
                <a:lnTo>
                  <a:pt x="131" y="835"/>
                </a:lnTo>
                <a:lnTo>
                  <a:pt x="134" y="834"/>
                </a:lnTo>
                <a:lnTo>
                  <a:pt x="134" y="831"/>
                </a:lnTo>
                <a:lnTo>
                  <a:pt x="137" y="830"/>
                </a:lnTo>
                <a:lnTo>
                  <a:pt x="137" y="827"/>
                </a:lnTo>
                <a:lnTo>
                  <a:pt x="138" y="824"/>
                </a:lnTo>
                <a:lnTo>
                  <a:pt x="138" y="824"/>
                </a:lnTo>
                <a:lnTo>
                  <a:pt x="141" y="823"/>
                </a:lnTo>
                <a:lnTo>
                  <a:pt x="142" y="820"/>
                </a:lnTo>
                <a:lnTo>
                  <a:pt x="142" y="818"/>
                </a:lnTo>
                <a:lnTo>
                  <a:pt x="142" y="814"/>
                </a:lnTo>
                <a:lnTo>
                  <a:pt x="142" y="812"/>
                </a:lnTo>
                <a:lnTo>
                  <a:pt x="142" y="812"/>
                </a:lnTo>
                <a:lnTo>
                  <a:pt x="142" y="812"/>
                </a:lnTo>
                <a:lnTo>
                  <a:pt x="142" y="810"/>
                </a:lnTo>
                <a:lnTo>
                  <a:pt x="144" y="807"/>
                </a:lnTo>
                <a:lnTo>
                  <a:pt x="144" y="806"/>
                </a:lnTo>
                <a:lnTo>
                  <a:pt x="144" y="806"/>
                </a:lnTo>
                <a:lnTo>
                  <a:pt x="144" y="806"/>
                </a:lnTo>
                <a:lnTo>
                  <a:pt x="144" y="803"/>
                </a:lnTo>
                <a:lnTo>
                  <a:pt x="144" y="802"/>
                </a:lnTo>
                <a:lnTo>
                  <a:pt x="147" y="799"/>
                </a:lnTo>
                <a:lnTo>
                  <a:pt x="149" y="797"/>
                </a:lnTo>
                <a:lnTo>
                  <a:pt x="149" y="797"/>
                </a:lnTo>
                <a:lnTo>
                  <a:pt x="151" y="795"/>
                </a:lnTo>
                <a:lnTo>
                  <a:pt x="151" y="795"/>
                </a:lnTo>
                <a:lnTo>
                  <a:pt x="154" y="793"/>
                </a:lnTo>
                <a:lnTo>
                  <a:pt x="154" y="791"/>
                </a:lnTo>
                <a:lnTo>
                  <a:pt x="154" y="791"/>
                </a:lnTo>
                <a:lnTo>
                  <a:pt x="154" y="791"/>
                </a:lnTo>
                <a:lnTo>
                  <a:pt x="154" y="786"/>
                </a:lnTo>
                <a:lnTo>
                  <a:pt x="154" y="785"/>
                </a:lnTo>
                <a:lnTo>
                  <a:pt x="154" y="785"/>
                </a:lnTo>
                <a:lnTo>
                  <a:pt x="154" y="785"/>
                </a:lnTo>
                <a:lnTo>
                  <a:pt x="154" y="782"/>
                </a:lnTo>
                <a:lnTo>
                  <a:pt x="156" y="780"/>
                </a:lnTo>
                <a:lnTo>
                  <a:pt x="156" y="778"/>
                </a:lnTo>
                <a:lnTo>
                  <a:pt x="156" y="778"/>
                </a:lnTo>
                <a:lnTo>
                  <a:pt x="156" y="778"/>
                </a:lnTo>
                <a:lnTo>
                  <a:pt x="158" y="776"/>
                </a:lnTo>
                <a:lnTo>
                  <a:pt x="158" y="774"/>
                </a:lnTo>
                <a:lnTo>
                  <a:pt x="159" y="772"/>
                </a:lnTo>
                <a:lnTo>
                  <a:pt x="162" y="769"/>
                </a:lnTo>
                <a:lnTo>
                  <a:pt x="162" y="765"/>
                </a:lnTo>
                <a:lnTo>
                  <a:pt x="162" y="765"/>
                </a:lnTo>
                <a:lnTo>
                  <a:pt x="162" y="765"/>
                </a:lnTo>
                <a:lnTo>
                  <a:pt x="162" y="764"/>
                </a:lnTo>
                <a:lnTo>
                  <a:pt x="162" y="764"/>
                </a:lnTo>
                <a:lnTo>
                  <a:pt x="162" y="761"/>
                </a:lnTo>
                <a:lnTo>
                  <a:pt x="162" y="761"/>
                </a:lnTo>
                <a:lnTo>
                  <a:pt x="163" y="759"/>
                </a:lnTo>
                <a:lnTo>
                  <a:pt x="163" y="757"/>
                </a:lnTo>
                <a:lnTo>
                  <a:pt x="163" y="752"/>
                </a:lnTo>
                <a:lnTo>
                  <a:pt x="166" y="751"/>
                </a:lnTo>
                <a:lnTo>
                  <a:pt x="166" y="748"/>
                </a:lnTo>
                <a:lnTo>
                  <a:pt x="169" y="747"/>
                </a:lnTo>
                <a:lnTo>
                  <a:pt x="169" y="744"/>
                </a:lnTo>
                <a:lnTo>
                  <a:pt x="169" y="744"/>
                </a:lnTo>
                <a:lnTo>
                  <a:pt x="169" y="744"/>
                </a:lnTo>
                <a:lnTo>
                  <a:pt x="169" y="740"/>
                </a:lnTo>
                <a:lnTo>
                  <a:pt x="170" y="738"/>
                </a:lnTo>
                <a:lnTo>
                  <a:pt x="173" y="736"/>
                </a:lnTo>
                <a:lnTo>
                  <a:pt x="173" y="734"/>
                </a:lnTo>
                <a:lnTo>
                  <a:pt x="176" y="734"/>
                </a:lnTo>
                <a:lnTo>
                  <a:pt x="177" y="731"/>
                </a:lnTo>
                <a:lnTo>
                  <a:pt x="177" y="731"/>
                </a:lnTo>
                <a:lnTo>
                  <a:pt x="178" y="730"/>
                </a:lnTo>
                <a:lnTo>
                  <a:pt x="178" y="724"/>
                </a:lnTo>
                <a:lnTo>
                  <a:pt x="178" y="724"/>
                </a:lnTo>
                <a:lnTo>
                  <a:pt x="178" y="724"/>
                </a:lnTo>
                <a:lnTo>
                  <a:pt x="178" y="723"/>
                </a:lnTo>
                <a:lnTo>
                  <a:pt x="178" y="719"/>
                </a:lnTo>
                <a:lnTo>
                  <a:pt x="181" y="716"/>
                </a:lnTo>
                <a:lnTo>
                  <a:pt x="181" y="714"/>
                </a:lnTo>
                <a:lnTo>
                  <a:pt x="181" y="714"/>
                </a:lnTo>
                <a:lnTo>
                  <a:pt x="183" y="713"/>
                </a:lnTo>
                <a:lnTo>
                  <a:pt x="183" y="710"/>
                </a:lnTo>
                <a:lnTo>
                  <a:pt x="185" y="709"/>
                </a:lnTo>
                <a:lnTo>
                  <a:pt x="188" y="706"/>
                </a:lnTo>
                <a:lnTo>
                  <a:pt x="188" y="702"/>
                </a:lnTo>
                <a:lnTo>
                  <a:pt x="190" y="699"/>
                </a:lnTo>
                <a:lnTo>
                  <a:pt x="190" y="698"/>
                </a:lnTo>
                <a:lnTo>
                  <a:pt x="190" y="698"/>
                </a:lnTo>
                <a:lnTo>
                  <a:pt x="190" y="695"/>
                </a:lnTo>
                <a:lnTo>
                  <a:pt x="192" y="693"/>
                </a:lnTo>
                <a:lnTo>
                  <a:pt x="194" y="691"/>
                </a:lnTo>
                <a:lnTo>
                  <a:pt x="196" y="689"/>
                </a:lnTo>
                <a:lnTo>
                  <a:pt x="198" y="686"/>
                </a:lnTo>
                <a:lnTo>
                  <a:pt x="198" y="685"/>
                </a:lnTo>
                <a:lnTo>
                  <a:pt x="198" y="685"/>
                </a:lnTo>
                <a:lnTo>
                  <a:pt x="198" y="682"/>
                </a:lnTo>
                <a:lnTo>
                  <a:pt x="198" y="682"/>
                </a:lnTo>
                <a:lnTo>
                  <a:pt x="202" y="682"/>
                </a:lnTo>
                <a:lnTo>
                  <a:pt x="205" y="682"/>
                </a:lnTo>
                <a:lnTo>
                  <a:pt x="208" y="681"/>
                </a:lnTo>
                <a:lnTo>
                  <a:pt x="208" y="681"/>
                </a:lnTo>
                <a:lnTo>
                  <a:pt x="209" y="678"/>
                </a:lnTo>
                <a:lnTo>
                  <a:pt x="209" y="674"/>
                </a:lnTo>
                <a:lnTo>
                  <a:pt x="209" y="674"/>
                </a:lnTo>
                <a:lnTo>
                  <a:pt x="212" y="672"/>
                </a:lnTo>
                <a:lnTo>
                  <a:pt x="212" y="668"/>
                </a:lnTo>
                <a:lnTo>
                  <a:pt x="212" y="668"/>
                </a:lnTo>
                <a:lnTo>
                  <a:pt x="212" y="667"/>
                </a:lnTo>
                <a:lnTo>
                  <a:pt x="214" y="665"/>
                </a:lnTo>
                <a:lnTo>
                  <a:pt x="214" y="661"/>
                </a:lnTo>
                <a:lnTo>
                  <a:pt x="216" y="659"/>
                </a:lnTo>
                <a:lnTo>
                  <a:pt x="216" y="655"/>
                </a:lnTo>
                <a:lnTo>
                  <a:pt x="219" y="653"/>
                </a:lnTo>
                <a:lnTo>
                  <a:pt x="219" y="651"/>
                </a:lnTo>
                <a:lnTo>
                  <a:pt x="220" y="648"/>
                </a:lnTo>
                <a:lnTo>
                  <a:pt x="223" y="647"/>
                </a:lnTo>
                <a:lnTo>
                  <a:pt x="223" y="644"/>
                </a:lnTo>
                <a:lnTo>
                  <a:pt x="226" y="643"/>
                </a:lnTo>
                <a:lnTo>
                  <a:pt x="227" y="640"/>
                </a:lnTo>
                <a:lnTo>
                  <a:pt x="227" y="636"/>
                </a:lnTo>
                <a:lnTo>
                  <a:pt x="227" y="636"/>
                </a:lnTo>
                <a:lnTo>
                  <a:pt x="227" y="631"/>
                </a:lnTo>
                <a:lnTo>
                  <a:pt x="227" y="631"/>
                </a:lnTo>
                <a:lnTo>
                  <a:pt x="227" y="631"/>
                </a:lnTo>
                <a:lnTo>
                  <a:pt x="228" y="630"/>
                </a:lnTo>
                <a:lnTo>
                  <a:pt x="231" y="630"/>
                </a:lnTo>
                <a:lnTo>
                  <a:pt x="234" y="627"/>
                </a:lnTo>
                <a:lnTo>
                  <a:pt x="235" y="626"/>
                </a:lnTo>
                <a:lnTo>
                  <a:pt x="235" y="623"/>
                </a:lnTo>
                <a:lnTo>
                  <a:pt x="235" y="623"/>
                </a:lnTo>
                <a:lnTo>
                  <a:pt x="235" y="623"/>
                </a:lnTo>
                <a:lnTo>
                  <a:pt x="235" y="619"/>
                </a:lnTo>
                <a:lnTo>
                  <a:pt x="235" y="619"/>
                </a:lnTo>
                <a:lnTo>
                  <a:pt x="235" y="617"/>
                </a:lnTo>
                <a:lnTo>
                  <a:pt x="235" y="617"/>
                </a:lnTo>
                <a:lnTo>
                  <a:pt x="235" y="617"/>
                </a:lnTo>
                <a:lnTo>
                  <a:pt x="235" y="615"/>
                </a:lnTo>
                <a:lnTo>
                  <a:pt x="238" y="613"/>
                </a:lnTo>
                <a:lnTo>
                  <a:pt x="238" y="610"/>
                </a:lnTo>
                <a:lnTo>
                  <a:pt x="239" y="610"/>
                </a:lnTo>
                <a:lnTo>
                  <a:pt x="241" y="609"/>
                </a:lnTo>
                <a:lnTo>
                  <a:pt x="242" y="609"/>
                </a:lnTo>
                <a:lnTo>
                  <a:pt x="244" y="606"/>
                </a:lnTo>
                <a:lnTo>
                  <a:pt x="244" y="605"/>
                </a:lnTo>
                <a:lnTo>
                  <a:pt x="244" y="605"/>
                </a:lnTo>
                <a:lnTo>
                  <a:pt x="244" y="602"/>
                </a:lnTo>
                <a:lnTo>
                  <a:pt x="246" y="599"/>
                </a:lnTo>
                <a:lnTo>
                  <a:pt x="248" y="598"/>
                </a:lnTo>
                <a:lnTo>
                  <a:pt x="248" y="595"/>
                </a:lnTo>
                <a:lnTo>
                  <a:pt x="255" y="595"/>
                </a:lnTo>
                <a:lnTo>
                  <a:pt x="257" y="593"/>
                </a:lnTo>
                <a:lnTo>
                  <a:pt x="259" y="592"/>
                </a:lnTo>
                <a:lnTo>
                  <a:pt x="259" y="588"/>
                </a:lnTo>
                <a:lnTo>
                  <a:pt x="259" y="588"/>
                </a:lnTo>
                <a:lnTo>
                  <a:pt x="259" y="585"/>
                </a:lnTo>
                <a:lnTo>
                  <a:pt x="259" y="585"/>
                </a:lnTo>
                <a:lnTo>
                  <a:pt x="259" y="585"/>
                </a:lnTo>
                <a:lnTo>
                  <a:pt x="259" y="582"/>
                </a:lnTo>
                <a:lnTo>
                  <a:pt x="260" y="581"/>
                </a:lnTo>
                <a:lnTo>
                  <a:pt x="263" y="578"/>
                </a:lnTo>
                <a:lnTo>
                  <a:pt x="263" y="574"/>
                </a:lnTo>
                <a:lnTo>
                  <a:pt x="266" y="572"/>
                </a:lnTo>
                <a:lnTo>
                  <a:pt x="266" y="570"/>
                </a:lnTo>
                <a:lnTo>
                  <a:pt x="267" y="568"/>
                </a:lnTo>
                <a:lnTo>
                  <a:pt x="267" y="565"/>
                </a:lnTo>
                <a:lnTo>
                  <a:pt x="270" y="564"/>
                </a:lnTo>
                <a:lnTo>
                  <a:pt x="273" y="561"/>
                </a:lnTo>
                <a:lnTo>
                  <a:pt x="273" y="560"/>
                </a:lnTo>
                <a:lnTo>
                  <a:pt x="275" y="560"/>
                </a:lnTo>
                <a:lnTo>
                  <a:pt x="278" y="557"/>
                </a:lnTo>
                <a:lnTo>
                  <a:pt x="278" y="557"/>
                </a:lnTo>
                <a:lnTo>
                  <a:pt x="280" y="555"/>
                </a:lnTo>
                <a:lnTo>
                  <a:pt x="280" y="553"/>
                </a:lnTo>
                <a:lnTo>
                  <a:pt x="282" y="551"/>
                </a:lnTo>
                <a:lnTo>
                  <a:pt x="285" y="549"/>
                </a:lnTo>
                <a:lnTo>
                  <a:pt x="285" y="544"/>
                </a:lnTo>
                <a:lnTo>
                  <a:pt x="285" y="544"/>
                </a:lnTo>
                <a:lnTo>
                  <a:pt x="285" y="544"/>
                </a:lnTo>
                <a:lnTo>
                  <a:pt x="285" y="534"/>
                </a:lnTo>
                <a:lnTo>
                  <a:pt x="285" y="534"/>
                </a:lnTo>
                <a:lnTo>
                  <a:pt x="285" y="534"/>
                </a:lnTo>
                <a:lnTo>
                  <a:pt x="286" y="532"/>
                </a:lnTo>
                <a:lnTo>
                  <a:pt x="289" y="532"/>
                </a:lnTo>
                <a:lnTo>
                  <a:pt x="291" y="530"/>
                </a:lnTo>
                <a:lnTo>
                  <a:pt x="292" y="530"/>
                </a:lnTo>
                <a:lnTo>
                  <a:pt x="293" y="527"/>
                </a:lnTo>
                <a:lnTo>
                  <a:pt x="293" y="527"/>
                </a:lnTo>
                <a:lnTo>
                  <a:pt x="295" y="526"/>
                </a:lnTo>
                <a:lnTo>
                  <a:pt x="295" y="522"/>
                </a:lnTo>
                <a:lnTo>
                  <a:pt x="295" y="522"/>
                </a:lnTo>
                <a:lnTo>
                  <a:pt x="295" y="522"/>
                </a:lnTo>
                <a:lnTo>
                  <a:pt x="298" y="519"/>
                </a:lnTo>
                <a:lnTo>
                  <a:pt x="299" y="517"/>
                </a:lnTo>
                <a:lnTo>
                  <a:pt x="302" y="515"/>
                </a:lnTo>
                <a:lnTo>
                  <a:pt x="302" y="513"/>
                </a:lnTo>
                <a:lnTo>
                  <a:pt x="303" y="513"/>
                </a:lnTo>
                <a:lnTo>
                  <a:pt x="304" y="511"/>
                </a:lnTo>
                <a:lnTo>
                  <a:pt x="304" y="511"/>
                </a:lnTo>
                <a:lnTo>
                  <a:pt x="307" y="509"/>
                </a:lnTo>
                <a:lnTo>
                  <a:pt x="307" y="505"/>
                </a:lnTo>
                <a:lnTo>
                  <a:pt x="306" y="505"/>
                </a:lnTo>
                <a:lnTo>
                  <a:pt x="307" y="505"/>
                </a:lnTo>
                <a:lnTo>
                  <a:pt x="307" y="502"/>
                </a:lnTo>
                <a:lnTo>
                  <a:pt x="307" y="499"/>
                </a:lnTo>
                <a:lnTo>
                  <a:pt x="309" y="499"/>
                </a:lnTo>
                <a:lnTo>
                  <a:pt x="311" y="498"/>
                </a:lnTo>
                <a:lnTo>
                  <a:pt x="311" y="498"/>
                </a:lnTo>
                <a:lnTo>
                  <a:pt x="313" y="496"/>
                </a:lnTo>
                <a:lnTo>
                  <a:pt x="313" y="494"/>
                </a:lnTo>
                <a:lnTo>
                  <a:pt x="313" y="494"/>
                </a:lnTo>
                <a:lnTo>
                  <a:pt x="316" y="492"/>
                </a:lnTo>
                <a:lnTo>
                  <a:pt x="316" y="489"/>
                </a:lnTo>
                <a:lnTo>
                  <a:pt x="320" y="489"/>
                </a:lnTo>
                <a:lnTo>
                  <a:pt x="322" y="488"/>
                </a:lnTo>
                <a:lnTo>
                  <a:pt x="324" y="485"/>
                </a:lnTo>
                <a:lnTo>
                  <a:pt x="324" y="484"/>
                </a:lnTo>
                <a:lnTo>
                  <a:pt x="325" y="481"/>
                </a:lnTo>
                <a:lnTo>
                  <a:pt x="325" y="481"/>
                </a:lnTo>
                <a:lnTo>
                  <a:pt x="328" y="478"/>
                </a:lnTo>
                <a:lnTo>
                  <a:pt x="328" y="477"/>
                </a:lnTo>
                <a:lnTo>
                  <a:pt x="328" y="477"/>
                </a:lnTo>
                <a:lnTo>
                  <a:pt x="331" y="477"/>
                </a:lnTo>
                <a:lnTo>
                  <a:pt x="336" y="477"/>
                </a:lnTo>
                <a:lnTo>
                  <a:pt x="339" y="474"/>
                </a:lnTo>
                <a:lnTo>
                  <a:pt x="342" y="472"/>
                </a:lnTo>
                <a:lnTo>
                  <a:pt x="342" y="468"/>
                </a:lnTo>
                <a:lnTo>
                  <a:pt x="340" y="468"/>
                </a:lnTo>
                <a:lnTo>
                  <a:pt x="342" y="468"/>
                </a:lnTo>
                <a:lnTo>
                  <a:pt x="342" y="467"/>
                </a:lnTo>
                <a:lnTo>
                  <a:pt x="347" y="467"/>
                </a:lnTo>
                <a:lnTo>
                  <a:pt x="350" y="464"/>
                </a:lnTo>
                <a:lnTo>
                  <a:pt x="350" y="464"/>
                </a:lnTo>
                <a:lnTo>
                  <a:pt x="352" y="461"/>
                </a:lnTo>
                <a:lnTo>
                  <a:pt x="352" y="461"/>
                </a:lnTo>
                <a:lnTo>
                  <a:pt x="354" y="460"/>
                </a:lnTo>
                <a:lnTo>
                  <a:pt x="356" y="457"/>
                </a:lnTo>
                <a:lnTo>
                  <a:pt x="356" y="456"/>
                </a:lnTo>
                <a:lnTo>
                  <a:pt x="358" y="453"/>
                </a:lnTo>
                <a:lnTo>
                  <a:pt x="360" y="451"/>
                </a:lnTo>
                <a:lnTo>
                  <a:pt x="360" y="451"/>
                </a:lnTo>
                <a:lnTo>
                  <a:pt x="370" y="451"/>
                </a:lnTo>
                <a:lnTo>
                  <a:pt x="371" y="449"/>
                </a:lnTo>
                <a:lnTo>
                  <a:pt x="371" y="449"/>
                </a:lnTo>
                <a:lnTo>
                  <a:pt x="374" y="447"/>
                </a:lnTo>
                <a:lnTo>
                  <a:pt x="374" y="446"/>
                </a:lnTo>
                <a:lnTo>
                  <a:pt x="374" y="446"/>
                </a:lnTo>
                <a:lnTo>
                  <a:pt x="374" y="440"/>
                </a:lnTo>
                <a:lnTo>
                  <a:pt x="374" y="440"/>
                </a:lnTo>
                <a:lnTo>
                  <a:pt x="374" y="440"/>
                </a:lnTo>
                <a:lnTo>
                  <a:pt x="374" y="439"/>
                </a:lnTo>
                <a:lnTo>
                  <a:pt x="375" y="439"/>
                </a:lnTo>
                <a:lnTo>
                  <a:pt x="378" y="436"/>
                </a:lnTo>
                <a:lnTo>
                  <a:pt x="379" y="434"/>
                </a:lnTo>
                <a:lnTo>
                  <a:pt x="379" y="434"/>
                </a:lnTo>
                <a:lnTo>
                  <a:pt x="382" y="434"/>
                </a:lnTo>
                <a:lnTo>
                  <a:pt x="383" y="432"/>
                </a:lnTo>
                <a:lnTo>
                  <a:pt x="383" y="432"/>
                </a:lnTo>
                <a:lnTo>
                  <a:pt x="386" y="430"/>
                </a:lnTo>
                <a:lnTo>
                  <a:pt x="386" y="430"/>
                </a:lnTo>
                <a:lnTo>
                  <a:pt x="389" y="430"/>
                </a:lnTo>
                <a:lnTo>
                  <a:pt x="390" y="428"/>
                </a:lnTo>
                <a:lnTo>
                  <a:pt x="392" y="428"/>
                </a:lnTo>
                <a:lnTo>
                  <a:pt x="394" y="426"/>
                </a:lnTo>
                <a:lnTo>
                  <a:pt x="394" y="426"/>
                </a:lnTo>
                <a:lnTo>
                  <a:pt x="397" y="423"/>
                </a:lnTo>
                <a:lnTo>
                  <a:pt x="397" y="422"/>
                </a:lnTo>
                <a:lnTo>
                  <a:pt x="397" y="422"/>
                </a:lnTo>
                <a:lnTo>
                  <a:pt x="400" y="419"/>
                </a:lnTo>
                <a:lnTo>
                  <a:pt x="400" y="418"/>
                </a:lnTo>
                <a:lnTo>
                  <a:pt x="400" y="418"/>
                </a:lnTo>
                <a:lnTo>
                  <a:pt x="401" y="415"/>
                </a:lnTo>
                <a:lnTo>
                  <a:pt x="401" y="415"/>
                </a:lnTo>
                <a:lnTo>
                  <a:pt x="404" y="413"/>
                </a:lnTo>
                <a:lnTo>
                  <a:pt x="406" y="413"/>
                </a:lnTo>
                <a:lnTo>
                  <a:pt x="408" y="411"/>
                </a:lnTo>
                <a:lnTo>
                  <a:pt x="410" y="409"/>
                </a:lnTo>
                <a:lnTo>
                  <a:pt x="410" y="406"/>
                </a:lnTo>
                <a:lnTo>
                  <a:pt x="412" y="405"/>
                </a:lnTo>
                <a:lnTo>
                  <a:pt x="412" y="405"/>
                </a:lnTo>
                <a:lnTo>
                  <a:pt x="414" y="405"/>
                </a:lnTo>
                <a:lnTo>
                  <a:pt x="417" y="402"/>
                </a:lnTo>
                <a:lnTo>
                  <a:pt x="417" y="402"/>
                </a:lnTo>
                <a:lnTo>
                  <a:pt x="419" y="402"/>
                </a:lnTo>
                <a:lnTo>
                  <a:pt x="424" y="402"/>
                </a:lnTo>
                <a:lnTo>
                  <a:pt x="425" y="402"/>
                </a:lnTo>
                <a:lnTo>
                  <a:pt x="429" y="402"/>
                </a:lnTo>
                <a:lnTo>
                  <a:pt x="432" y="401"/>
                </a:lnTo>
                <a:lnTo>
                  <a:pt x="432" y="401"/>
                </a:lnTo>
                <a:lnTo>
                  <a:pt x="433" y="398"/>
                </a:lnTo>
                <a:lnTo>
                  <a:pt x="433" y="398"/>
                </a:lnTo>
                <a:lnTo>
                  <a:pt x="436" y="396"/>
                </a:lnTo>
                <a:lnTo>
                  <a:pt x="439" y="394"/>
                </a:lnTo>
                <a:lnTo>
                  <a:pt x="439" y="392"/>
                </a:lnTo>
                <a:lnTo>
                  <a:pt x="440" y="390"/>
                </a:lnTo>
                <a:lnTo>
                  <a:pt x="440" y="388"/>
                </a:lnTo>
                <a:lnTo>
                  <a:pt x="442" y="385"/>
                </a:lnTo>
                <a:lnTo>
                  <a:pt x="442" y="385"/>
                </a:lnTo>
                <a:lnTo>
                  <a:pt x="444" y="385"/>
                </a:lnTo>
                <a:lnTo>
                  <a:pt x="447" y="385"/>
                </a:lnTo>
                <a:lnTo>
                  <a:pt x="448" y="385"/>
                </a:lnTo>
                <a:lnTo>
                  <a:pt x="451" y="384"/>
                </a:lnTo>
                <a:lnTo>
                  <a:pt x="451" y="384"/>
                </a:lnTo>
                <a:lnTo>
                  <a:pt x="453" y="381"/>
                </a:lnTo>
                <a:lnTo>
                  <a:pt x="453" y="377"/>
                </a:lnTo>
                <a:lnTo>
                  <a:pt x="453" y="375"/>
                </a:lnTo>
                <a:lnTo>
                  <a:pt x="455" y="373"/>
                </a:lnTo>
                <a:lnTo>
                  <a:pt x="458" y="371"/>
                </a:lnTo>
                <a:lnTo>
                  <a:pt x="458" y="367"/>
                </a:lnTo>
                <a:lnTo>
                  <a:pt x="458" y="367"/>
                </a:lnTo>
                <a:lnTo>
                  <a:pt x="458" y="367"/>
                </a:lnTo>
                <a:lnTo>
                  <a:pt x="460" y="367"/>
                </a:lnTo>
                <a:lnTo>
                  <a:pt x="464" y="367"/>
                </a:lnTo>
                <a:lnTo>
                  <a:pt x="466" y="367"/>
                </a:lnTo>
                <a:lnTo>
                  <a:pt x="468" y="367"/>
                </a:lnTo>
                <a:lnTo>
                  <a:pt x="472" y="367"/>
                </a:lnTo>
                <a:lnTo>
                  <a:pt x="475" y="364"/>
                </a:lnTo>
                <a:lnTo>
                  <a:pt x="476" y="363"/>
                </a:lnTo>
                <a:lnTo>
                  <a:pt x="483" y="363"/>
                </a:lnTo>
                <a:lnTo>
                  <a:pt x="487" y="363"/>
                </a:lnTo>
                <a:lnTo>
                  <a:pt x="490" y="360"/>
                </a:lnTo>
                <a:lnTo>
                  <a:pt x="490" y="360"/>
                </a:lnTo>
                <a:lnTo>
                  <a:pt x="491" y="357"/>
                </a:lnTo>
                <a:lnTo>
                  <a:pt x="491" y="357"/>
                </a:lnTo>
                <a:lnTo>
                  <a:pt x="494" y="356"/>
                </a:lnTo>
                <a:lnTo>
                  <a:pt x="494" y="356"/>
                </a:lnTo>
                <a:lnTo>
                  <a:pt x="497" y="353"/>
                </a:lnTo>
                <a:lnTo>
                  <a:pt x="497" y="352"/>
                </a:lnTo>
                <a:lnTo>
                  <a:pt x="497" y="352"/>
                </a:lnTo>
                <a:lnTo>
                  <a:pt x="498" y="350"/>
                </a:lnTo>
                <a:lnTo>
                  <a:pt x="498" y="347"/>
                </a:lnTo>
                <a:lnTo>
                  <a:pt x="501" y="346"/>
                </a:lnTo>
                <a:lnTo>
                  <a:pt x="501" y="340"/>
                </a:lnTo>
                <a:lnTo>
                  <a:pt x="502" y="339"/>
                </a:lnTo>
                <a:lnTo>
                  <a:pt x="502" y="336"/>
                </a:lnTo>
                <a:lnTo>
                  <a:pt x="505" y="335"/>
                </a:lnTo>
                <a:lnTo>
                  <a:pt x="505" y="335"/>
                </a:lnTo>
                <a:lnTo>
                  <a:pt x="508" y="335"/>
                </a:lnTo>
                <a:lnTo>
                  <a:pt x="509" y="332"/>
                </a:lnTo>
                <a:lnTo>
                  <a:pt x="511" y="330"/>
                </a:lnTo>
                <a:lnTo>
                  <a:pt x="514" y="330"/>
                </a:lnTo>
                <a:lnTo>
                  <a:pt x="518" y="330"/>
                </a:lnTo>
                <a:lnTo>
                  <a:pt x="520" y="328"/>
                </a:lnTo>
                <a:lnTo>
                  <a:pt x="522" y="326"/>
                </a:lnTo>
                <a:lnTo>
                  <a:pt x="522" y="322"/>
                </a:lnTo>
                <a:lnTo>
                  <a:pt x="525" y="322"/>
                </a:lnTo>
                <a:lnTo>
                  <a:pt x="526" y="322"/>
                </a:lnTo>
                <a:lnTo>
                  <a:pt x="529" y="319"/>
                </a:lnTo>
                <a:lnTo>
                  <a:pt x="529" y="319"/>
                </a:lnTo>
                <a:lnTo>
                  <a:pt x="530" y="318"/>
                </a:lnTo>
                <a:lnTo>
                  <a:pt x="536" y="318"/>
                </a:lnTo>
                <a:lnTo>
                  <a:pt x="541" y="318"/>
                </a:lnTo>
                <a:lnTo>
                  <a:pt x="550" y="318"/>
                </a:lnTo>
                <a:lnTo>
                  <a:pt x="552" y="315"/>
                </a:lnTo>
                <a:lnTo>
                  <a:pt x="555" y="313"/>
                </a:lnTo>
                <a:lnTo>
                  <a:pt x="555" y="309"/>
                </a:lnTo>
                <a:lnTo>
                  <a:pt x="555" y="309"/>
                </a:lnTo>
                <a:lnTo>
                  <a:pt x="555" y="309"/>
                </a:lnTo>
                <a:lnTo>
                  <a:pt x="555" y="307"/>
                </a:lnTo>
                <a:lnTo>
                  <a:pt x="556" y="307"/>
                </a:lnTo>
                <a:lnTo>
                  <a:pt x="558" y="305"/>
                </a:lnTo>
                <a:lnTo>
                  <a:pt x="558" y="305"/>
                </a:lnTo>
                <a:lnTo>
                  <a:pt x="561" y="302"/>
                </a:lnTo>
                <a:lnTo>
                  <a:pt x="561" y="298"/>
                </a:lnTo>
                <a:lnTo>
                  <a:pt x="561" y="298"/>
                </a:lnTo>
                <a:lnTo>
                  <a:pt x="561" y="298"/>
                </a:lnTo>
                <a:lnTo>
                  <a:pt x="563" y="298"/>
                </a:lnTo>
                <a:lnTo>
                  <a:pt x="565" y="297"/>
                </a:lnTo>
                <a:lnTo>
                  <a:pt x="568" y="294"/>
                </a:lnTo>
                <a:lnTo>
                  <a:pt x="569" y="294"/>
                </a:lnTo>
                <a:lnTo>
                  <a:pt x="580" y="294"/>
                </a:lnTo>
                <a:lnTo>
                  <a:pt x="583" y="292"/>
                </a:lnTo>
                <a:lnTo>
                  <a:pt x="583" y="292"/>
                </a:lnTo>
                <a:lnTo>
                  <a:pt x="584" y="290"/>
                </a:lnTo>
                <a:lnTo>
                  <a:pt x="584" y="288"/>
                </a:lnTo>
                <a:lnTo>
                  <a:pt x="586" y="288"/>
                </a:lnTo>
                <a:lnTo>
                  <a:pt x="587" y="285"/>
                </a:lnTo>
                <a:lnTo>
                  <a:pt x="587" y="285"/>
                </a:lnTo>
                <a:lnTo>
                  <a:pt x="590" y="284"/>
                </a:lnTo>
                <a:lnTo>
                  <a:pt x="590" y="281"/>
                </a:lnTo>
                <a:lnTo>
                  <a:pt x="590" y="281"/>
                </a:lnTo>
                <a:lnTo>
                  <a:pt x="591" y="280"/>
                </a:lnTo>
                <a:lnTo>
                  <a:pt x="591" y="280"/>
                </a:lnTo>
                <a:lnTo>
                  <a:pt x="591" y="280"/>
                </a:lnTo>
                <a:lnTo>
                  <a:pt x="591" y="280"/>
                </a:lnTo>
                <a:lnTo>
                  <a:pt x="594" y="280"/>
                </a:lnTo>
                <a:lnTo>
                  <a:pt x="595" y="280"/>
                </a:lnTo>
                <a:lnTo>
                  <a:pt x="598" y="280"/>
                </a:lnTo>
                <a:lnTo>
                  <a:pt x="606" y="280"/>
                </a:lnTo>
                <a:lnTo>
                  <a:pt x="608" y="277"/>
                </a:lnTo>
                <a:lnTo>
                  <a:pt x="608" y="277"/>
                </a:lnTo>
                <a:lnTo>
                  <a:pt x="610" y="275"/>
                </a:lnTo>
                <a:lnTo>
                  <a:pt x="610" y="273"/>
                </a:lnTo>
                <a:lnTo>
                  <a:pt x="613" y="273"/>
                </a:lnTo>
                <a:lnTo>
                  <a:pt x="615" y="273"/>
                </a:lnTo>
                <a:lnTo>
                  <a:pt x="617" y="273"/>
                </a:lnTo>
                <a:lnTo>
                  <a:pt x="620" y="273"/>
                </a:lnTo>
                <a:lnTo>
                  <a:pt x="633" y="273"/>
                </a:lnTo>
                <a:lnTo>
                  <a:pt x="637" y="273"/>
                </a:lnTo>
                <a:lnTo>
                  <a:pt x="640" y="271"/>
                </a:lnTo>
                <a:lnTo>
                  <a:pt x="641" y="269"/>
                </a:lnTo>
                <a:lnTo>
                  <a:pt x="649" y="269"/>
                </a:lnTo>
                <a:lnTo>
                  <a:pt x="656" y="269"/>
                </a:lnTo>
                <a:lnTo>
                  <a:pt x="658" y="267"/>
                </a:lnTo>
                <a:lnTo>
                  <a:pt x="660" y="264"/>
                </a:lnTo>
                <a:lnTo>
                  <a:pt x="660" y="263"/>
                </a:lnTo>
                <a:lnTo>
                  <a:pt x="664" y="263"/>
                </a:lnTo>
                <a:lnTo>
                  <a:pt x="666" y="263"/>
                </a:lnTo>
                <a:lnTo>
                  <a:pt x="669" y="260"/>
                </a:lnTo>
                <a:lnTo>
                  <a:pt x="669" y="260"/>
                </a:lnTo>
                <a:lnTo>
                  <a:pt x="671" y="259"/>
                </a:lnTo>
                <a:lnTo>
                  <a:pt x="671" y="256"/>
                </a:lnTo>
                <a:lnTo>
                  <a:pt x="671" y="256"/>
                </a:lnTo>
                <a:lnTo>
                  <a:pt x="671" y="256"/>
                </a:lnTo>
                <a:lnTo>
                  <a:pt x="682" y="256"/>
                </a:lnTo>
                <a:lnTo>
                  <a:pt x="684" y="254"/>
                </a:lnTo>
                <a:lnTo>
                  <a:pt x="684" y="254"/>
                </a:lnTo>
                <a:lnTo>
                  <a:pt x="687" y="252"/>
                </a:lnTo>
                <a:lnTo>
                  <a:pt x="687" y="250"/>
                </a:lnTo>
                <a:lnTo>
                  <a:pt x="691" y="250"/>
                </a:lnTo>
                <a:lnTo>
                  <a:pt x="692" y="247"/>
                </a:lnTo>
                <a:lnTo>
                  <a:pt x="695" y="246"/>
                </a:lnTo>
                <a:lnTo>
                  <a:pt x="695" y="242"/>
                </a:lnTo>
                <a:lnTo>
                  <a:pt x="695" y="242"/>
                </a:lnTo>
                <a:lnTo>
                  <a:pt x="698" y="239"/>
                </a:lnTo>
                <a:lnTo>
                  <a:pt x="698" y="236"/>
                </a:lnTo>
                <a:lnTo>
                  <a:pt x="699" y="236"/>
                </a:lnTo>
                <a:lnTo>
                  <a:pt x="702" y="235"/>
                </a:lnTo>
                <a:lnTo>
                  <a:pt x="703" y="232"/>
                </a:lnTo>
                <a:lnTo>
                  <a:pt x="707" y="232"/>
                </a:lnTo>
                <a:lnTo>
                  <a:pt x="721" y="232"/>
                </a:lnTo>
                <a:lnTo>
                  <a:pt x="723" y="232"/>
                </a:lnTo>
                <a:lnTo>
                  <a:pt x="727" y="232"/>
                </a:lnTo>
                <a:lnTo>
                  <a:pt x="731" y="232"/>
                </a:lnTo>
                <a:lnTo>
                  <a:pt x="738" y="232"/>
                </a:lnTo>
                <a:lnTo>
                  <a:pt x="741" y="232"/>
                </a:lnTo>
                <a:lnTo>
                  <a:pt x="742" y="231"/>
                </a:lnTo>
                <a:lnTo>
                  <a:pt x="743" y="229"/>
                </a:lnTo>
                <a:lnTo>
                  <a:pt x="743" y="225"/>
                </a:lnTo>
                <a:lnTo>
                  <a:pt x="759" y="225"/>
                </a:lnTo>
                <a:lnTo>
                  <a:pt x="761" y="222"/>
                </a:lnTo>
                <a:lnTo>
                  <a:pt x="763" y="219"/>
                </a:lnTo>
                <a:lnTo>
                  <a:pt x="763" y="218"/>
                </a:lnTo>
                <a:lnTo>
                  <a:pt x="766" y="218"/>
                </a:lnTo>
                <a:lnTo>
                  <a:pt x="768" y="215"/>
                </a:lnTo>
                <a:lnTo>
                  <a:pt x="770" y="214"/>
                </a:lnTo>
                <a:lnTo>
                  <a:pt x="770" y="211"/>
                </a:lnTo>
                <a:lnTo>
                  <a:pt x="773" y="211"/>
                </a:lnTo>
                <a:lnTo>
                  <a:pt x="775" y="209"/>
                </a:lnTo>
                <a:lnTo>
                  <a:pt x="775" y="209"/>
                </a:lnTo>
                <a:lnTo>
                  <a:pt x="777" y="207"/>
                </a:lnTo>
                <a:lnTo>
                  <a:pt x="777" y="205"/>
                </a:lnTo>
                <a:lnTo>
                  <a:pt x="781" y="205"/>
                </a:lnTo>
                <a:lnTo>
                  <a:pt x="781" y="205"/>
                </a:lnTo>
                <a:lnTo>
                  <a:pt x="781" y="205"/>
                </a:lnTo>
                <a:lnTo>
                  <a:pt x="786" y="205"/>
                </a:lnTo>
                <a:lnTo>
                  <a:pt x="788" y="204"/>
                </a:lnTo>
                <a:lnTo>
                  <a:pt x="791" y="201"/>
                </a:lnTo>
                <a:lnTo>
                  <a:pt x="791" y="197"/>
                </a:lnTo>
                <a:lnTo>
                  <a:pt x="796" y="197"/>
                </a:lnTo>
                <a:lnTo>
                  <a:pt x="820" y="197"/>
                </a:lnTo>
                <a:lnTo>
                  <a:pt x="838" y="197"/>
                </a:lnTo>
                <a:lnTo>
                  <a:pt x="839" y="194"/>
                </a:lnTo>
                <a:lnTo>
                  <a:pt x="839" y="194"/>
                </a:lnTo>
                <a:lnTo>
                  <a:pt x="842" y="193"/>
                </a:lnTo>
                <a:lnTo>
                  <a:pt x="842" y="188"/>
                </a:lnTo>
                <a:lnTo>
                  <a:pt x="857" y="188"/>
                </a:lnTo>
                <a:lnTo>
                  <a:pt x="858" y="186"/>
                </a:lnTo>
                <a:lnTo>
                  <a:pt x="861" y="184"/>
                </a:lnTo>
                <a:lnTo>
                  <a:pt x="861" y="181"/>
                </a:lnTo>
                <a:lnTo>
                  <a:pt x="863" y="181"/>
                </a:lnTo>
                <a:lnTo>
                  <a:pt x="865" y="180"/>
                </a:lnTo>
                <a:lnTo>
                  <a:pt x="865" y="180"/>
                </a:lnTo>
                <a:lnTo>
                  <a:pt x="867" y="177"/>
                </a:lnTo>
                <a:lnTo>
                  <a:pt x="867" y="173"/>
                </a:lnTo>
                <a:lnTo>
                  <a:pt x="878" y="173"/>
                </a:lnTo>
                <a:lnTo>
                  <a:pt x="878" y="173"/>
                </a:lnTo>
                <a:lnTo>
                  <a:pt x="878" y="173"/>
                </a:lnTo>
                <a:lnTo>
                  <a:pt x="892" y="173"/>
                </a:lnTo>
                <a:lnTo>
                  <a:pt x="896" y="173"/>
                </a:lnTo>
                <a:lnTo>
                  <a:pt x="897" y="171"/>
                </a:lnTo>
                <a:lnTo>
                  <a:pt x="900" y="169"/>
                </a:lnTo>
                <a:lnTo>
                  <a:pt x="900" y="165"/>
                </a:lnTo>
                <a:lnTo>
                  <a:pt x="915" y="165"/>
                </a:lnTo>
                <a:lnTo>
                  <a:pt x="919" y="165"/>
                </a:lnTo>
                <a:lnTo>
                  <a:pt x="922" y="163"/>
                </a:lnTo>
                <a:lnTo>
                  <a:pt x="922" y="163"/>
                </a:lnTo>
                <a:lnTo>
                  <a:pt x="923" y="160"/>
                </a:lnTo>
                <a:lnTo>
                  <a:pt x="923" y="156"/>
                </a:lnTo>
                <a:lnTo>
                  <a:pt x="935" y="156"/>
                </a:lnTo>
                <a:lnTo>
                  <a:pt x="936" y="154"/>
                </a:lnTo>
                <a:lnTo>
                  <a:pt x="939" y="152"/>
                </a:lnTo>
                <a:lnTo>
                  <a:pt x="939" y="148"/>
                </a:lnTo>
                <a:lnTo>
                  <a:pt x="947" y="148"/>
                </a:lnTo>
                <a:lnTo>
                  <a:pt x="947" y="148"/>
                </a:lnTo>
                <a:lnTo>
                  <a:pt x="947" y="148"/>
                </a:lnTo>
                <a:lnTo>
                  <a:pt x="975" y="148"/>
                </a:lnTo>
                <a:lnTo>
                  <a:pt x="977" y="146"/>
                </a:lnTo>
                <a:lnTo>
                  <a:pt x="977" y="146"/>
                </a:lnTo>
                <a:lnTo>
                  <a:pt x="980" y="143"/>
                </a:lnTo>
                <a:lnTo>
                  <a:pt x="980" y="138"/>
                </a:lnTo>
                <a:lnTo>
                  <a:pt x="989" y="138"/>
                </a:lnTo>
                <a:lnTo>
                  <a:pt x="994" y="138"/>
                </a:lnTo>
                <a:lnTo>
                  <a:pt x="997" y="135"/>
                </a:lnTo>
                <a:lnTo>
                  <a:pt x="997" y="135"/>
                </a:lnTo>
                <a:lnTo>
                  <a:pt x="1000" y="133"/>
                </a:lnTo>
                <a:lnTo>
                  <a:pt x="1000" y="126"/>
                </a:lnTo>
                <a:lnTo>
                  <a:pt x="1025" y="126"/>
                </a:lnTo>
                <a:lnTo>
                  <a:pt x="1033" y="126"/>
                </a:lnTo>
                <a:lnTo>
                  <a:pt x="1051" y="126"/>
                </a:lnTo>
                <a:lnTo>
                  <a:pt x="1052" y="126"/>
                </a:lnTo>
                <a:lnTo>
                  <a:pt x="1052" y="126"/>
                </a:lnTo>
                <a:lnTo>
                  <a:pt x="1052" y="126"/>
                </a:lnTo>
                <a:lnTo>
                  <a:pt x="1059" y="126"/>
                </a:lnTo>
                <a:lnTo>
                  <a:pt x="1062" y="125"/>
                </a:lnTo>
                <a:lnTo>
                  <a:pt x="1065" y="122"/>
                </a:lnTo>
                <a:lnTo>
                  <a:pt x="1065" y="115"/>
                </a:lnTo>
                <a:lnTo>
                  <a:pt x="1081" y="115"/>
                </a:lnTo>
                <a:lnTo>
                  <a:pt x="1116" y="115"/>
                </a:lnTo>
                <a:lnTo>
                  <a:pt x="1130" y="115"/>
                </a:lnTo>
                <a:lnTo>
                  <a:pt x="1130" y="115"/>
                </a:lnTo>
                <a:lnTo>
                  <a:pt x="1130" y="115"/>
                </a:lnTo>
                <a:lnTo>
                  <a:pt x="1156" y="115"/>
                </a:lnTo>
                <a:lnTo>
                  <a:pt x="1159" y="114"/>
                </a:lnTo>
                <a:lnTo>
                  <a:pt x="1159" y="114"/>
                </a:lnTo>
                <a:lnTo>
                  <a:pt x="1162" y="111"/>
                </a:lnTo>
                <a:lnTo>
                  <a:pt x="1162" y="101"/>
                </a:lnTo>
                <a:lnTo>
                  <a:pt x="1163" y="101"/>
                </a:lnTo>
                <a:lnTo>
                  <a:pt x="1166" y="100"/>
                </a:lnTo>
                <a:lnTo>
                  <a:pt x="1166" y="100"/>
                </a:lnTo>
                <a:lnTo>
                  <a:pt x="1167" y="97"/>
                </a:lnTo>
                <a:lnTo>
                  <a:pt x="1167" y="86"/>
                </a:lnTo>
                <a:lnTo>
                  <a:pt x="1206" y="86"/>
                </a:lnTo>
                <a:lnTo>
                  <a:pt x="1263" y="86"/>
                </a:lnTo>
                <a:lnTo>
                  <a:pt x="1267" y="86"/>
                </a:lnTo>
                <a:lnTo>
                  <a:pt x="1268" y="84"/>
                </a:lnTo>
                <a:lnTo>
                  <a:pt x="1270" y="84"/>
                </a:lnTo>
                <a:lnTo>
                  <a:pt x="1271" y="83"/>
                </a:lnTo>
                <a:lnTo>
                  <a:pt x="1271" y="72"/>
                </a:lnTo>
                <a:lnTo>
                  <a:pt x="1331" y="72"/>
                </a:lnTo>
                <a:lnTo>
                  <a:pt x="1333" y="69"/>
                </a:lnTo>
                <a:lnTo>
                  <a:pt x="1333" y="69"/>
                </a:lnTo>
                <a:lnTo>
                  <a:pt x="1336" y="67"/>
                </a:lnTo>
                <a:lnTo>
                  <a:pt x="1336" y="55"/>
                </a:lnTo>
                <a:lnTo>
                  <a:pt x="1347" y="55"/>
                </a:lnTo>
                <a:lnTo>
                  <a:pt x="1347" y="55"/>
                </a:lnTo>
                <a:lnTo>
                  <a:pt x="1347" y="55"/>
                </a:lnTo>
                <a:lnTo>
                  <a:pt x="1360" y="55"/>
                </a:lnTo>
                <a:lnTo>
                  <a:pt x="1411" y="55"/>
                </a:lnTo>
                <a:lnTo>
                  <a:pt x="1415" y="55"/>
                </a:lnTo>
                <a:lnTo>
                  <a:pt x="1416" y="52"/>
                </a:lnTo>
                <a:lnTo>
                  <a:pt x="1418" y="52"/>
                </a:lnTo>
                <a:lnTo>
                  <a:pt x="1419" y="50"/>
                </a:lnTo>
                <a:lnTo>
                  <a:pt x="1419" y="33"/>
                </a:lnTo>
                <a:lnTo>
                  <a:pt x="1439" y="33"/>
                </a:lnTo>
                <a:lnTo>
                  <a:pt x="1439" y="33"/>
                </a:lnTo>
                <a:lnTo>
                  <a:pt x="1439" y="33"/>
                </a:lnTo>
                <a:lnTo>
                  <a:pt x="1464" y="33"/>
                </a:lnTo>
                <a:lnTo>
                  <a:pt x="1491" y="33"/>
                </a:lnTo>
                <a:lnTo>
                  <a:pt x="1493" y="31"/>
                </a:lnTo>
                <a:lnTo>
                  <a:pt x="1495" y="29"/>
                </a:lnTo>
                <a:lnTo>
                  <a:pt x="1495" y="6"/>
                </a:lnTo>
                <a:lnTo>
                  <a:pt x="1548" y="6"/>
                </a:lnTo>
                <a:lnTo>
                  <a:pt x="1631" y="6"/>
                </a:lnTo>
                <a:lnTo>
                  <a:pt x="1706" y="6"/>
                </a:lnTo>
                <a:lnTo>
                  <a:pt x="1706" y="6"/>
                </a:lnTo>
                <a:lnTo>
                  <a:pt x="1706" y="6"/>
                </a:lnTo>
                <a:lnTo>
                  <a:pt x="1724" y="6"/>
                </a:lnTo>
                <a:lnTo>
                  <a:pt x="1724" y="6"/>
                </a:lnTo>
                <a:lnTo>
                  <a:pt x="1724" y="6"/>
                </a:lnTo>
                <a:lnTo>
                  <a:pt x="1781" y="6"/>
                </a:lnTo>
                <a:lnTo>
                  <a:pt x="1886" y="6"/>
                </a:lnTo>
                <a:lnTo>
                  <a:pt x="2130" y="6"/>
                </a:lnTo>
                <a:lnTo>
                  <a:pt x="2132" y="4"/>
                </a:lnTo>
                <a:lnTo>
                  <a:pt x="2132" y="1"/>
                </a:lnTo>
                <a:lnTo>
                  <a:pt x="2132" y="0"/>
                </a:lnTo>
                <a:lnTo>
                  <a:pt x="2130" y="0"/>
                </a:lnTo>
                <a:close/>
              </a:path>
            </a:pathLst>
          </a:custGeom>
          <a:solidFill>
            <a:schemeClr val="tx1"/>
          </a:solid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grpSp>
        <p:nvGrpSpPr>
          <p:cNvPr id="2513" name="Group 2512"/>
          <p:cNvGrpSpPr/>
          <p:nvPr/>
        </p:nvGrpSpPr>
        <p:grpSpPr>
          <a:xfrm>
            <a:off x="3288072" y="1570819"/>
            <a:ext cx="3209438" cy="2565762"/>
            <a:chOff x="650875" y="1285875"/>
            <a:chExt cx="4770438" cy="2152651"/>
          </a:xfrm>
        </p:grpSpPr>
        <p:sp>
          <p:nvSpPr>
            <p:cNvPr id="9" name="Line 5"/>
            <p:cNvSpPr>
              <a:spLocks noChangeShapeType="1"/>
            </p:cNvSpPr>
            <p:nvPr/>
          </p:nvSpPr>
          <p:spPr bwMode="auto">
            <a:xfrm flipH="1">
              <a:off x="650875" y="3367088"/>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0" name="Line 6"/>
            <p:cNvSpPr>
              <a:spLocks noChangeShapeType="1"/>
            </p:cNvSpPr>
            <p:nvPr/>
          </p:nvSpPr>
          <p:spPr bwMode="auto">
            <a:xfrm flipH="1">
              <a:off x="650875" y="3167063"/>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1" name="Line 7"/>
            <p:cNvSpPr>
              <a:spLocks noChangeShapeType="1"/>
            </p:cNvSpPr>
            <p:nvPr/>
          </p:nvSpPr>
          <p:spPr bwMode="auto">
            <a:xfrm flipH="1">
              <a:off x="650875" y="2967038"/>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2" name="Line 8"/>
            <p:cNvSpPr>
              <a:spLocks noChangeShapeType="1"/>
            </p:cNvSpPr>
            <p:nvPr/>
          </p:nvSpPr>
          <p:spPr bwMode="auto">
            <a:xfrm flipH="1">
              <a:off x="650875" y="2768600"/>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3" name="Line 9"/>
            <p:cNvSpPr>
              <a:spLocks noChangeShapeType="1"/>
            </p:cNvSpPr>
            <p:nvPr/>
          </p:nvSpPr>
          <p:spPr bwMode="auto">
            <a:xfrm flipH="1">
              <a:off x="650875" y="2565400"/>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4" name="Line 10"/>
            <p:cNvSpPr>
              <a:spLocks noChangeShapeType="1"/>
            </p:cNvSpPr>
            <p:nvPr/>
          </p:nvSpPr>
          <p:spPr bwMode="auto">
            <a:xfrm flipH="1">
              <a:off x="650875" y="2366963"/>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5" name="Line 11"/>
            <p:cNvSpPr>
              <a:spLocks noChangeShapeType="1"/>
            </p:cNvSpPr>
            <p:nvPr/>
          </p:nvSpPr>
          <p:spPr bwMode="auto">
            <a:xfrm flipH="1">
              <a:off x="650875" y="2168525"/>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6" name="Line 12"/>
            <p:cNvSpPr>
              <a:spLocks noChangeShapeType="1"/>
            </p:cNvSpPr>
            <p:nvPr/>
          </p:nvSpPr>
          <p:spPr bwMode="auto">
            <a:xfrm flipH="1">
              <a:off x="650875" y="1966913"/>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7" name="Line 13"/>
            <p:cNvSpPr>
              <a:spLocks noChangeShapeType="1"/>
            </p:cNvSpPr>
            <p:nvPr/>
          </p:nvSpPr>
          <p:spPr bwMode="auto">
            <a:xfrm flipH="1">
              <a:off x="650875" y="1768475"/>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8" name="Line 14"/>
            <p:cNvSpPr>
              <a:spLocks noChangeShapeType="1"/>
            </p:cNvSpPr>
            <p:nvPr/>
          </p:nvSpPr>
          <p:spPr bwMode="auto">
            <a:xfrm flipH="1">
              <a:off x="650875" y="1565275"/>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19" name="Line 15"/>
            <p:cNvSpPr>
              <a:spLocks noChangeShapeType="1"/>
            </p:cNvSpPr>
            <p:nvPr/>
          </p:nvSpPr>
          <p:spPr bwMode="auto">
            <a:xfrm flipH="1">
              <a:off x="650875" y="1366838"/>
              <a:ext cx="57150"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0" name="Line 16"/>
            <p:cNvSpPr>
              <a:spLocks noChangeShapeType="1"/>
            </p:cNvSpPr>
            <p:nvPr/>
          </p:nvSpPr>
          <p:spPr bwMode="auto">
            <a:xfrm>
              <a:off x="917575"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1" name="Line 17"/>
            <p:cNvSpPr>
              <a:spLocks noChangeShapeType="1"/>
            </p:cNvSpPr>
            <p:nvPr/>
          </p:nvSpPr>
          <p:spPr bwMode="auto">
            <a:xfrm>
              <a:off x="1403350"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2" name="Line 18"/>
            <p:cNvSpPr>
              <a:spLocks noChangeShapeType="1"/>
            </p:cNvSpPr>
            <p:nvPr/>
          </p:nvSpPr>
          <p:spPr bwMode="auto">
            <a:xfrm>
              <a:off x="1890713"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3" name="Line 19"/>
            <p:cNvSpPr>
              <a:spLocks noChangeShapeType="1"/>
            </p:cNvSpPr>
            <p:nvPr/>
          </p:nvSpPr>
          <p:spPr bwMode="auto">
            <a:xfrm>
              <a:off x="2371725"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4" name="Line 20"/>
            <p:cNvSpPr>
              <a:spLocks noChangeShapeType="1"/>
            </p:cNvSpPr>
            <p:nvPr/>
          </p:nvSpPr>
          <p:spPr bwMode="auto">
            <a:xfrm>
              <a:off x="2857500"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5" name="Line 21"/>
            <p:cNvSpPr>
              <a:spLocks noChangeShapeType="1"/>
            </p:cNvSpPr>
            <p:nvPr/>
          </p:nvSpPr>
          <p:spPr bwMode="auto">
            <a:xfrm>
              <a:off x="3346450"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6" name="Line 22"/>
            <p:cNvSpPr>
              <a:spLocks noChangeShapeType="1"/>
            </p:cNvSpPr>
            <p:nvPr/>
          </p:nvSpPr>
          <p:spPr bwMode="auto">
            <a:xfrm>
              <a:off x="3832225"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7" name="Line 23"/>
            <p:cNvSpPr>
              <a:spLocks noChangeShapeType="1"/>
            </p:cNvSpPr>
            <p:nvPr/>
          </p:nvSpPr>
          <p:spPr bwMode="auto">
            <a:xfrm>
              <a:off x="4318000"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8" name="Line 24"/>
            <p:cNvSpPr>
              <a:spLocks noChangeShapeType="1"/>
            </p:cNvSpPr>
            <p:nvPr/>
          </p:nvSpPr>
          <p:spPr bwMode="auto">
            <a:xfrm>
              <a:off x="4803775"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9" name="Line 25"/>
            <p:cNvSpPr>
              <a:spLocks noChangeShapeType="1"/>
            </p:cNvSpPr>
            <p:nvPr/>
          </p:nvSpPr>
          <p:spPr bwMode="auto">
            <a:xfrm>
              <a:off x="5291138" y="3392488"/>
              <a:ext cx="0" cy="460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sp>
          <p:nvSpPr>
            <p:cNvPr id="2468" name="Freeform 29"/>
            <p:cNvSpPr>
              <a:spLocks/>
            </p:cNvSpPr>
            <p:nvPr/>
          </p:nvSpPr>
          <p:spPr bwMode="auto">
            <a:xfrm>
              <a:off x="708025" y="1285875"/>
              <a:ext cx="4713288" cy="2101850"/>
            </a:xfrm>
            <a:custGeom>
              <a:avLst/>
              <a:gdLst>
                <a:gd name="T0" fmla="*/ 2969 w 2969"/>
                <a:gd name="T1" fmla="*/ 1324 h 1324"/>
                <a:gd name="T2" fmla="*/ 0 w 2969"/>
                <a:gd name="T3" fmla="*/ 1324 h 1324"/>
                <a:gd name="T4" fmla="*/ 0 w 2969"/>
                <a:gd name="T5" fmla="*/ 1322 h 1324"/>
                <a:gd name="T6" fmla="*/ 0 w 2969"/>
                <a:gd name="T7" fmla="*/ 1324 h 1324"/>
                <a:gd name="T8" fmla="*/ 0 w 2969"/>
                <a:gd name="T9" fmla="*/ 0 h 1324"/>
              </a:gdLst>
              <a:ahLst/>
              <a:cxnLst>
                <a:cxn ang="0">
                  <a:pos x="T0" y="T1"/>
                </a:cxn>
                <a:cxn ang="0">
                  <a:pos x="T2" y="T3"/>
                </a:cxn>
                <a:cxn ang="0">
                  <a:pos x="T4" y="T5"/>
                </a:cxn>
                <a:cxn ang="0">
                  <a:pos x="T6" y="T7"/>
                </a:cxn>
                <a:cxn ang="0">
                  <a:pos x="T8" y="T9"/>
                </a:cxn>
              </a:cxnLst>
              <a:rect l="0" t="0" r="r" b="b"/>
              <a:pathLst>
                <a:path w="2969" h="1324">
                  <a:moveTo>
                    <a:pt x="2969" y="1324"/>
                  </a:moveTo>
                  <a:lnTo>
                    <a:pt x="0" y="1324"/>
                  </a:lnTo>
                  <a:lnTo>
                    <a:pt x="0" y="1322"/>
                  </a:lnTo>
                  <a:lnTo>
                    <a:pt x="0" y="1324"/>
                  </a:lnTo>
                  <a:lnTo>
                    <a:pt x="0" y="0"/>
                  </a:ln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en-US" sz="1400">
                <a:solidFill>
                  <a:prstClr val="black"/>
                </a:solidFill>
                <a:latin typeface="Arial" panose="020B0604020202020204" pitchFamily="34" charset="0"/>
                <a:cs typeface="Arial" panose="020B0604020202020204" pitchFamily="34" charset="0"/>
              </a:endParaRPr>
            </a:p>
          </p:txBody>
        </p:sp>
      </p:grpSp>
      <p:sp>
        <p:nvSpPr>
          <p:cNvPr id="2515" name="TextBox 2514"/>
          <p:cNvSpPr txBox="1"/>
          <p:nvPr/>
        </p:nvSpPr>
        <p:spPr>
          <a:xfrm rot="16200000">
            <a:off x="2044677" y="2736266"/>
            <a:ext cx="1808508"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Probability of progression, %</a:t>
            </a:r>
          </a:p>
        </p:txBody>
      </p:sp>
      <p:sp>
        <p:nvSpPr>
          <p:cNvPr id="2516" name="TextBox 2515"/>
          <p:cNvSpPr txBox="1"/>
          <p:nvPr/>
        </p:nvSpPr>
        <p:spPr>
          <a:xfrm>
            <a:off x="3007561" y="1783756"/>
            <a:ext cx="325730"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90</a:t>
            </a:r>
          </a:p>
        </p:txBody>
      </p:sp>
      <p:sp>
        <p:nvSpPr>
          <p:cNvPr id="2517" name="TextBox 2516"/>
          <p:cNvSpPr txBox="1"/>
          <p:nvPr/>
        </p:nvSpPr>
        <p:spPr>
          <a:xfrm>
            <a:off x="3007561" y="2023303"/>
            <a:ext cx="325730"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80</a:t>
            </a:r>
          </a:p>
        </p:txBody>
      </p:sp>
      <p:sp>
        <p:nvSpPr>
          <p:cNvPr id="2518" name="TextBox 2517"/>
          <p:cNvSpPr txBox="1"/>
          <p:nvPr/>
        </p:nvSpPr>
        <p:spPr>
          <a:xfrm>
            <a:off x="3007561" y="2262850"/>
            <a:ext cx="325730"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70</a:t>
            </a:r>
          </a:p>
        </p:txBody>
      </p:sp>
      <p:sp>
        <p:nvSpPr>
          <p:cNvPr id="2519" name="TextBox 2518"/>
          <p:cNvSpPr txBox="1"/>
          <p:nvPr/>
        </p:nvSpPr>
        <p:spPr>
          <a:xfrm>
            <a:off x="3007561" y="2502398"/>
            <a:ext cx="325730"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60</a:t>
            </a:r>
          </a:p>
        </p:txBody>
      </p:sp>
      <p:sp>
        <p:nvSpPr>
          <p:cNvPr id="2670" name="TextBox 2669"/>
          <p:cNvSpPr txBox="1"/>
          <p:nvPr/>
        </p:nvSpPr>
        <p:spPr>
          <a:xfrm>
            <a:off x="3007561" y="2741944"/>
            <a:ext cx="325730"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50</a:t>
            </a:r>
          </a:p>
        </p:txBody>
      </p:sp>
      <p:sp>
        <p:nvSpPr>
          <p:cNvPr id="2671" name="TextBox 2670"/>
          <p:cNvSpPr txBox="1"/>
          <p:nvPr/>
        </p:nvSpPr>
        <p:spPr>
          <a:xfrm>
            <a:off x="3007561" y="2981493"/>
            <a:ext cx="325730"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40</a:t>
            </a:r>
          </a:p>
        </p:txBody>
      </p:sp>
      <p:sp>
        <p:nvSpPr>
          <p:cNvPr id="2672" name="TextBox 2671"/>
          <p:cNvSpPr txBox="1"/>
          <p:nvPr/>
        </p:nvSpPr>
        <p:spPr>
          <a:xfrm>
            <a:off x="3007561" y="3221039"/>
            <a:ext cx="325730"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30</a:t>
            </a:r>
          </a:p>
        </p:txBody>
      </p:sp>
      <p:sp>
        <p:nvSpPr>
          <p:cNvPr id="2673" name="TextBox 2672"/>
          <p:cNvSpPr txBox="1"/>
          <p:nvPr/>
        </p:nvSpPr>
        <p:spPr>
          <a:xfrm>
            <a:off x="3007561" y="3460585"/>
            <a:ext cx="325730"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20</a:t>
            </a:r>
          </a:p>
        </p:txBody>
      </p:sp>
      <p:sp>
        <p:nvSpPr>
          <p:cNvPr id="2674" name="TextBox 2673"/>
          <p:cNvSpPr txBox="1"/>
          <p:nvPr/>
        </p:nvSpPr>
        <p:spPr>
          <a:xfrm>
            <a:off x="3007561" y="3700135"/>
            <a:ext cx="325730"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10</a:t>
            </a:r>
          </a:p>
        </p:txBody>
      </p:sp>
      <p:sp>
        <p:nvSpPr>
          <p:cNvPr id="2675" name="TextBox 2674"/>
          <p:cNvSpPr txBox="1"/>
          <p:nvPr/>
        </p:nvSpPr>
        <p:spPr>
          <a:xfrm>
            <a:off x="3078092" y="3939675"/>
            <a:ext cx="255199" cy="246221"/>
          </a:xfrm>
          <a:prstGeom prst="rect">
            <a:avLst/>
          </a:prstGeom>
          <a:noFill/>
        </p:spPr>
        <p:txBody>
          <a:bodyPr wrap="none" rtlCol="0" anchor="ctr">
            <a:spAutoFit/>
          </a:bodyPr>
          <a:lstStyle/>
          <a:p>
            <a:pPr algn="r" defTabSz="685800"/>
            <a:r>
              <a:rPr lang="en-US" sz="1000">
                <a:solidFill>
                  <a:prstClr val="black"/>
                </a:solidFill>
                <a:latin typeface="Arial" panose="020B0604020202020204" pitchFamily="34" charset="0"/>
                <a:cs typeface="Arial" panose="020B0604020202020204" pitchFamily="34" charset="0"/>
              </a:rPr>
              <a:t>0</a:t>
            </a:r>
          </a:p>
        </p:txBody>
      </p:sp>
      <p:sp>
        <p:nvSpPr>
          <p:cNvPr id="2676" name="TextBox 2675"/>
          <p:cNvSpPr txBox="1"/>
          <p:nvPr/>
        </p:nvSpPr>
        <p:spPr>
          <a:xfrm>
            <a:off x="3341864" y="4102110"/>
            <a:ext cx="255199"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0</a:t>
            </a:r>
          </a:p>
        </p:txBody>
      </p:sp>
      <p:sp>
        <p:nvSpPr>
          <p:cNvPr id="2677" name="TextBox 2676"/>
          <p:cNvSpPr txBox="1"/>
          <p:nvPr/>
        </p:nvSpPr>
        <p:spPr>
          <a:xfrm>
            <a:off x="3668583" y="4102110"/>
            <a:ext cx="255199"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2</a:t>
            </a:r>
          </a:p>
        </p:txBody>
      </p:sp>
      <p:sp>
        <p:nvSpPr>
          <p:cNvPr id="2678" name="TextBox 2677"/>
          <p:cNvSpPr txBox="1"/>
          <p:nvPr/>
        </p:nvSpPr>
        <p:spPr>
          <a:xfrm>
            <a:off x="3995301" y="4102110"/>
            <a:ext cx="255199"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4</a:t>
            </a:r>
          </a:p>
        </p:txBody>
      </p:sp>
      <p:sp>
        <p:nvSpPr>
          <p:cNvPr id="2679" name="TextBox 2678"/>
          <p:cNvSpPr txBox="1"/>
          <p:nvPr/>
        </p:nvSpPr>
        <p:spPr>
          <a:xfrm>
            <a:off x="4322019" y="4102110"/>
            <a:ext cx="255199"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6</a:t>
            </a:r>
          </a:p>
        </p:txBody>
      </p:sp>
      <p:sp>
        <p:nvSpPr>
          <p:cNvPr id="2680" name="TextBox 2679"/>
          <p:cNvSpPr txBox="1"/>
          <p:nvPr/>
        </p:nvSpPr>
        <p:spPr>
          <a:xfrm>
            <a:off x="4648739" y="4102110"/>
            <a:ext cx="255199"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8</a:t>
            </a:r>
          </a:p>
        </p:txBody>
      </p:sp>
      <p:sp>
        <p:nvSpPr>
          <p:cNvPr id="2681" name="TextBox 2680"/>
          <p:cNvSpPr txBox="1"/>
          <p:nvPr/>
        </p:nvSpPr>
        <p:spPr>
          <a:xfrm>
            <a:off x="4940192" y="4102110"/>
            <a:ext cx="325731"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10</a:t>
            </a:r>
          </a:p>
        </p:txBody>
      </p:sp>
      <p:sp>
        <p:nvSpPr>
          <p:cNvPr id="2682" name="TextBox 2681"/>
          <p:cNvSpPr txBox="1"/>
          <p:nvPr/>
        </p:nvSpPr>
        <p:spPr>
          <a:xfrm>
            <a:off x="5266910" y="4102110"/>
            <a:ext cx="325731"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12</a:t>
            </a:r>
          </a:p>
        </p:txBody>
      </p:sp>
      <p:sp>
        <p:nvSpPr>
          <p:cNvPr id="2683" name="TextBox 2682"/>
          <p:cNvSpPr txBox="1"/>
          <p:nvPr/>
        </p:nvSpPr>
        <p:spPr>
          <a:xfrm>
            <a:off x="5593629" y="4102110"/>
            <a:ext cx="325731"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14</a:t>
            </a:r>
          </a:p>
        </p:txBody>
      </p:sp>
      <p:sp>
        <p:nvSpPr>
          <p:cNvPr id="2684" name="TextBox 2683"/>
          <p:cNvSpPr txBox="1"/>
          <p:nvPr/>
        </p:nvSpPr>
        <p:spPr>
          <a:xfrm>
            <a:off x="5920348" y="4102110"/>
            <a:ext cx="325731"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16</a:t>
            </a:r>
          </a:p>
        </p:txBody>
      </p:sp>
      <p:sp>
        <p:nvSpPr>
          <p:cNvPr id="2685" name="TextBox 2684"/>
          <p:cNvSpPr txBox="1"/>
          <p:nvPr/>
        </p:nvSpPr>
        <p:spPr>
          <a:xfrm>
            <a:off x="6247067" y="4102110"/>
            <a:ext cx="325731" cy="246221"/>
          </a:xfrm>
          <a:prstGeom prst="rect">
            <a:avLst/>
          </a:prstGeom>
          <a:noFill/>
        </p:spPr>
        <p:txBody>
          <a:bodyPr wrap="none" rtlCol="0" anchor="ctr">
            <a:spAutoFit/>
          </a:bodyPr>
          <a:lstStyle/>
          <a:p>
            <a:pPr algn="ctr" defTabSz="685800"/>
            <a:r>
              <a:rPr lang="en-US" sz="1000">
                <a:solidFill>
                  <a:prstClr val="black"/>
                </a:solidFill>
                <a:latin typeface="Arial" panose="020B0604020202020204" pitchFamily="34" charset="0"/>
                <a:cs typeface="Arial" panose="020B0604020202020204" pitchFamily="34" charset="0"/>
              </a:rPr>
              <a:t>18</a:t>
            </a:r>
          </a:p>
        </p:txBody>
      </p:sp>
      <p:sp>
        <p:nvSpPr>
          <p:cNvPr id="2687" name="TextBox 2686"/>
          <p:cNvSpPr txBox="1"/>
          <p:nvPr/>
        </p:nvSpPr>
        <p:spPr>
          <a:xfrm>
            <a:off x="5642234" y="2862251"/>
            <a:ext cx="1066318" cy="400110"/>
          </a:xfrm>
          <a:prstGeom prst="rect">
            <a:avLst/>
          </a:prstGeom>
          <a:noFill/>
        </p:spPr>
        <p:txBody>
          <a:bodyPr wrap="none" rtlCol="0" anchor="ctr">
            <a:spAutoFit/>
          </a:bodyPr>
          <a:lstStyle/>
          <a:p>
            <a:pPr defTabSz="685800"/>
            <a:r>
              <a:rPr lang="en-US" sz="1000">
                <a:solidFill>
                  <a:prstClr val="black"/>
                </a:solidFill>
                <a:latin typeface="Arial" panose="020B0604020202020204" pitchFamily="34" charset="0"/>
                <a:cs typeface="Arial" panose="020B0604020202020204" pitchFamily="34" charset="0"/>
              </a:rPr>
              <a:t>Low-risk group</a:t>
            </a:r>
            <a:br>
              <a:rPr lang="en-US" sz="1000">
                <a:solidFill>
                  <a:prstClr val="black"/>
                </a:solidFill>
                <a:latin typeface="Arial" panose="020B0604020202020204" pitchFamily="34" charset="0"/>
                <a:cs typeface="Arial" panose="020B0604020202020204" pitchFamily="34" charset="0"/>
              </a:rPr>
            </a:br>
            <a:r>
              <a:rPr lang="en-US" sz="1000">
                <a:solidFill>
                  <a:prstClr val="black"/>
                </a:solidFill>
                <a:latin typeface="Arial" panose="020B0604020202020204" pitchFamily="34" charset="0"/>
                <a:cs typeface="Arial" panose="020B0604020202020204" pitchFamily="34" charset="0"/>
              </a:rPr>
              <a:t>(no risk factors)</a:t>
            </a:r>
          </a:p>
        </p:txBody>
      </p:sp>
      <p:sp>
        <p:nvSpPr>
          <p:cNvPr id="2688" name="TextBox 2687"/>
          <p:cNvSpPr txBox="1"/>
          <p:nvPr/>
        </p:nvSpPr>
        <p:spPr>
          <a:xfrm>
            <a:off x="5740276" y="1753021"/>
            <a:ext cx="1109599" cy="400110"/>
          </a:xfrm>
          <a:prstGeom prst="rect">
            <a:avLst/>
          </a:prstGeom>
          <a:noFill/>
        </p:spPr>
        <p:txBody>
          <a:bodyPr wrap="none" rtlCol="0" anchor="ctr">
            <a:spAutoFit/>
          </a:bodyPr>
          <a:lstStyle/>
          <a:p>
            <a:pPr defTabSz="685800"/>
            <a:r>
              <a:rPr lang="en-US" sz="1000">
                <a:solidFill>
                  <a:prstClr val="black"/>
                </a:solidFill>
                <a:latin typeface="Arial" panose="020B0604020202020204" pitchFamily="34" charset="0"/>
                <a:cs typeface="Arial" panose="020B0604020202020204" pitchFamily="34" charset="0"/>
              </a:rPr>
              <a:t>High-risk group</a:t>
            </a:r>
            <a:br>
              <a:rPr lang="en-US" sz="1000">
                <a:solidFill>
                  <a:prstClr val="black"/>
                </a:solidFill>
                <a:latin typeface="Arial" panose="020B0604020202020204" pitchFamily="34" charset="0"/>
                <a:cs typeface="Arial" panose="020B0604020202020204" pitchFamily="34" charset="0"/>
              </a:rPr>
            </a:br>
            <a:r>
              <a:rPr lang="en-US" sz="1000">
                <a:solidFill>
                  <a:prstClr val="black"/>
                </a:solidFill>
                <a:latin typeface="Arial" panose="020B0604020202020204" pitchFamily="34" charset="0"/>
                <a:cs typeface="Arial" panose="020B0604020202020204" pitchFamily="34" charset="0"/>
              </a:rPr>
              <a:t>(2-3 risk factors)</a:t>
            </a:r>
          </a:p>
        </p:txBody>
      </p:sp>
      <p:sp>
        <p:nvSpPr>
          <p:cNvPr id="2689" name="TextBox 2688"/>
          <p:cNvSpPr txBox="1"/>
          <p:nvPr/>
        </p:nvSpPr>
        <p:spPr>
          <a:xfrm>
            <a:off x="5641680" y="2179910"/>
            <a:ext cx="1497526" cy="400110"/>
          </a:xfrm>
          <a:prstGeom prst="rect">
            <a:avLst/>
          </a:prstGeom>
          <a:noFill/>
        </p:spPr>
        <p:txBody>
          <a:bodyPr wrap="none" rtlCol="0" anchor="ctr">
            <a:spAutoFit/>
          </a:bodyPr>
          <a:lstStyle/>
          <a:p>
            <a:pPr defTabSz="685800"/>
            <a:r>
              <a:rPr lang="en-US" sz="1000">
                <a:solidFill>
                  <a:prstClr val="black"/>
                </a:solidFill>
                <a:latin typeface="Arial" panose="020B0604020202020204" pitchFamily="34" charset="0"/>
                <a:cs typeface="Arial" panose="020B0604020202020204" pitchFamily="34" charset="0"/>
              </a:rPr>
              <a:t>Intermediate-risk group</a:t>
            </a:r>
            <a:br>
              <a:rPr lang="en-US" sz="1000">
                <a:solidFill>
                  <a:prstClr val="black"/>
                </a:solidFill>
                <a:latin typeface="Arial" panose="020B0604020202020204" pitchFamily="34" charset="0"/>
                <a:cs typeface="Arial" panose="020B0604020202020204" pitchFamily="34" charset="0"/>
              </a:rPr>
            </a:br>
            <a:r>
              <a:rPr lang="en-US" sz="1000">
                <a:solidFill>
                  <a:prstClr val="black"/>
                </a:solidFill>
                <a:latin typeface="Arial" panose="020B0604020202020204" pitchFamily="34" charset="0"/>
                <a:cs typeface="Arial" panose="020B0604020202020204" pitchFamily="34" charset="0"/>
              </a:rPr>
              <a:t>(1 risk factor)</a:t>
            </a:r>
          </a:p>
        </p:txBody>
      </p:sp>
      <p:sp>
        <p:nvSpPr>
          <p:cNvPr id="6" name="TextBox 5">
            <a:extLst>
              <a:ext uri="{FF2B5EF4-FFF2-40B4-BE49-F238E27FC236}">
                <a16:creationId xmlns:a16="http://schemas.microsoft.com/office/drawing/2014/main" id="{F92F7A71-93CE-4F45-9ADE-1B585E88DB72}"/>
              </a:ext>
            </a:extLst>
          </p:cNvPr>
          <p:cNvSpPr txBox="1"/>
          <p:nvPr/>
        </p:nvSpPr>
        <p:spPr>
          <a:xfrm>
            <a:off x="7124144" y="1345729"/>
            <a:ext cx="1805436" cy="406265"/>
          </a:xfrm>
          <a:prstGeom prst="rect">
            <a:avLst/>
          </a:prstGeom>
          <a:noFill/>
        </p:spPr>
        <p:txBody>
          <a:bodyPr wrap="square" rtlCol="0">
            <a:spAutoFit/>
          </a:bodyPr>
          <a:lstStyle/>
          <a:p>
            <a:pPr algn="ctr" defTabSz="685800">
              <a:lnSpc>
                <a:spcPct val="85000"/>
              </a:lnSpc>
            </a:pPr>
            <a:r>
              <a:rPr lang="en-CA" sz="1200" b="1">
                <a:solidFill>
                  <a:prstClr val="black"/>
                </a:solidFill>
                <a:latin typeface="Arial" panose="020B0604020202020204" pitchFamily="34" charset="0"/>
                <a:cs typeface="Arial" panose="020B0604020202020204" pitchFamily="34" charset="0"/>
              </a:rPr>
              <a:t>Risk of progression </a:t>
            </a:r>
            <a:br>
              <a:rPr lang="en-CA" sz="1200" b="1">
                <a:solidFill>
                  <a:prstClr val="black"/>
                </a:solidFill>
                <a:latin typeface="Arial" panose="020B0604020202020204" pitchFamily="34" charset="0"/>
                <a:cs typeface="Arial" panose="020B0604020202020204" pitchFamily="34" charset="0"/>
              </a:rPr>
            </a:br>
            <a:r>
              <a:rPr lang="en-CA" sz="1200" b="1">
                <a:solidFill>
                  <a:prstClr val="black"/>
                </a:solidFill>
                <a:latin typeface="Arial" panose="020B0604020202020204" pitchFamily="34" charset="0"/>
                <a:cs typeface="Arial" panose="020B0604020202020204" pitchFamily="34" charset="0"/>
              </a:rPr>
              <a:t>at 2 years</a:t>
            </a:r>
            <a:endParaRPr lang="en-US" sz="1200" b="1">
              <a:solidFill>
                <a:prstClr val="black"/>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4C2CA046-5C38-4B41-931B-FE3F8F1D9773}"/>
              </a:ext>
            </a:extLst>
          </p:cNvPr>
          <p:cNvSpPr txBox="1"/>
          <p:nvPr/>
        </p:nvSpPr>
        <p:spPr>
          <a:xfrm>
            <a:off x="7753925" y="2762799"/>
            <a:ext cx="652743" cy="338554"/>
          </a:xfrm>
          <a:prstGeom prst="rect">
            <a:avLst/>
          </a:prstGeom>
          <a:noFill/>
        </p:spPr>
        <p:txBody>
          <a:bodyPr wrap="none" rtlCol="0">
            <a:spAutoFit/>
          </a:bodyPr>
          <a:lstStyle/>
          <a:p>
            <a:pPr defTabSz="685800"/>
            <a:r>
              <a:rPr lang="en-US" sz="1600">
                <a:solidFill>
                  <a:prstClr val="black"/>
                </a:solidFill>
                <a:latin typeface="Arial" panose="020B0604020202020204" pitchFamily="34" charset="0"/>
                <a:cs typeface="Arial" panose="020B0604020202020204" pitchFamily="34" charset="0"/>
              </a:rPr>
              <a:t>6.2%</a:t>
            </a:r>
          </a:p>
        </p:txBody>
      </p:sp>
      <p:sp>
        <p:nvSpPr>
          <p:cNvPr id="65" name="TextBox 64">
            <a:extLst>
              <a:ext uri="{FF2B5EF4-FFF2-40B4-BE49-F238E27FC236}">
                <a16:creationId xmlns:a16="http://schemas.microsoft.com/office/drawing/2014/main" id="{23C6FEEF-E29E-40F1-AFBB-B2C7A948EB13}"/>
              </a:ext>
            </a:extLst>
          </p:cNvPr>
          <p:cNvSpPr txBox="1"/>
          <p:nvPr/>
        </p:nvSpPr>
        <p:spPr>
          <a:xfrm>
            <a:off x="7697019" y="2208553"/>
            <a:ext cx="766557" cy="338554"/>
          </a:xfrm>
          <a:prstGeom prst="rect">
            <a:avLst/>
          </a:prstGeom>
          <a:noFill/>
        </p:spPr>
        <p:txBody>
          <a:bodyPr wrap="none" rtlCol="0">
            <a:spAutoFit/>
          </a:bodyPr>
          <a:lstStyle/>
          <a:p>
            <a:pPr defTabSz="685800"/>
            <a:r>
              <a:rPr lang="en-US" sz="1600">
                <a:solidFill>
                  <a:prstClr val="black"/>
                </a:solidFill>
                <a:latin typeface="Arial" panose="020B0604020202020204" pitchFamily="34" charset="0"/>
                <a:cs typeface="Arial" panose="020B0604020202020204" pitchFamily="34" charset="0"/>
              </a:rPr>
              <a:t>17.9%</a:t>
            </a:r>
          </a:p>
        </p:txBody>
      </p:sp>
      <p:sp>
        <p:nvSpPr>
          <p:cNvPr id="66" name="TextBox 65">
            <a:extLst>
              <a:ext uri="{FF2B5EF4-FFF2-40B4-BE49-F238E27FC236}">
                <a16:creationId xmlns:a16="http://schemas.microsoft.com/office/drawing/2014/main" id="{439C46DE-B523-471C-8725-CCDF40496884}"/>
              </a:ext>
            </a:extLst>
          </p:cNvPr>
          <p:cNvSpPr txBox="1"/>
          <p:nvPr/>
        </p:nvSpPr>
        <p:spPr>
          <a:xfrm>
            <a:off x="7697020" y="1766488"/>
            <a:ext cx="766557" cy="338554"/>
          </a:xfrm>
          <a:prstGeom prst="rect">
            <a:avLst/>
          </a:prstGeom>
          <a:noFill/>
        </p:spPr>
        <p:txBody>
          <a:bodyPr wrap="none" rtlCol="0">
            <a:spAutoFit/>
          </a:bodyPr>
          <a:lstStyle/>
          <a:p>
            <a:pPr defTabSz="685800"/>
            <a:r>
              <a:rPr lang="en-US" sz="1600">
                <a:solidFill>
                  <a:prstClr val="black"/>
                </a:solidFill>
                <a:latin typeface="Arial" panose="020B0604020202020204" pitchFamily="34" charset="0"/>
                <a:cs typeface="Arial" panose="020B0604020202020204" pitchFamily="34" charset="0"/>
              </a:rPr>
              <a:t>44.2%</a:t>
            </a:r>
          </a:p>
        </p:txBody>
      </p:sp>
      <p:cxnSp>
        <p:nvCxnSpPr>
          <p:cNvPr id="2690" name="Straight Connector 2689">
            <a:extLst>
              <a:ext uri="{FF2B5EF4-FFF2-40B4-BE49-F238E27FC236}">
                <a16:creationId xmlns:a16="http://schemas.microsoft.com/office/drawing/2014/main" id="{2B8617AC-C1F6-421F-A7CF-345A1E2ECF11}"/>
              </a:ext>
            </a:extLst>
          </p:cNvPr>
          <p:cNvCxnSpPr>
            <a:cxnSpLocks/>
          </p:cNvCxnSpPr>
          <p:nvPr/>
        </p:nvCxnSpPr>
        <p:spPr>
          <a:xfrm>
            <a:off x="7182081" y="1742255"/>
            <a:ext cx="1693501"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7B56D627-E320-4386-AD89-BBDE1DC401F5}"/>
              </a:ext>
            </a:extLst>
          </p:cNvPr>
          <p:cNvSpPr txBox="1"/>
          <p:nvPr/>
        </p:nvSpPr>
        <p:spPr>
          <a:xfrm>
            <a:off x="855816" y="1667542"/>
            <a:ext cx="1457380" cy="1875898"/>
          </a:xfrm>
          <a:prstGeom prst="rect">
            <a:avLst/>
          </a:prstGeom>
          <a:solidFill>
            <a:schemeClr val="bg1"/>
          </a:solidFill>
        </p:spPr>
        <p:txBody>
          <a:bodyPr wrap="square" tIns="182880" bIns="274320" rtlCol="0">
            <a:spAutoFit/>
          </a:bodyPr>
          <a:lstStyle/>
          <a:p>
            <a:pPr algn="ctr" defTabSz="685800">
              <a:lnSpc>
                <a:spcPct val="85000"/>
              </a:lnSpc>
              <a:spcAft>
                <a:spcPts val="600"/>
              </a:spcAft>
            </a:pPr>
            <a:r>
              <a:rPr lang="en-US" sz="1000" b="1">
                <a:solidFill>
                  <a:srgbClr val="4F81BD"/>
                </a:solidFill>
                <a:latin typeface="Arial" panose="020B0604020202020204" pitchFamily="34" charset="0"/>
                <a:cs typeface="Arial" panose="020B0604020202020204" pitchFamily="34" charset="0"/>
              </a:rPr>
              <a:t>2/20/20</a:t>
            </a:r>
            <a:br>
              <a:rPr lang="en-US" sz="1000" b="1">
                <a:solidFill>
                  <a:srgbClr val="4F81BD"/>
                </a:solidFill>
                <a:latin typeface="Arial" panose="020B0604020202020204" pitchFamily="34" charset="0"/>
                <a:cs typeface="Arial" panose="020B0604020202020204" pitchFamily="34" charset="0"/>
              </a:rPr>
            </a:br>
            <a:r>
              <a:rPr lang="en-US" sz="1000" b="1">
                <a:solidFill>
                  <a:srgbClr val="4F81BD"/>
                </a:solidFill>
                <a:latin typeface="Arial" panose="020B0604020202020204" pitchFamily="34" charset="0"/>
                <a:cs typeface="Arial" panose="020B0604020202020204" pitchFamily="34" charset="0"/>
              </a:rPr>
              <a:t>risk assessment for SMM</a:t>
            </a:r>
          </a:p>
          <a:p>
            <a:pPr marL="687371" indent="-687371" defTabSz="685800">
              <a:lnSpc>
                <a:spcPct val="90000"/>
              </a:lnSpc>
              <a:spcAft>
                <a:spcPts val="1200"/>
              </a:spcAft>
              <a:tabLst>
                <a:tab pos="514337" algn="r"/>
                <a:tab pos="687371" algn="l"/>
              </a:tabLst>
            </a:pPr>
            <a:r>
              <a:rPr lang="en-US" sz="1000" b="1">
                <a:solidFill>
                  <a:srgbClr val="4F81BD"/>
                </a:solidFill>
                <a:latin typeface="Arial" panose="020B0604020202020204" pitchFamily="34" charset="0"/>
                <a:cs typeface="Arial" panose="020B0604020202020204" pitchFamily="34" charset="0"/>
              </a:rPr>
              <a:t>2</a:t>
            </a:r>
            <a:r>
              <a:rPr lang="en-US" sz="800">
                <a:solidFill>
                  <a:srgbClr val="4F81BD"/>
                </a:solidFill>
                <a:latin typeface="Arial" panose="020B0604020202020204" pitchFamily="34" charset="0"/>
                <a:cs typeface="Arial" panose="020B0604020202020204" pitchFamily="34" charset="0"/>
              </a:rPr>
              <a:t> </a:t>
            </a:r>
            <a:r>
              <a:rPr lang="en-US" sz="800">
                <a:solidFill>
                  <a:prstClr val="black"/>
                </a:solidFill>
                <a:latin typeface="Arial" panose="020B0604020202020204" pitchFamily="34" charset="0"/>
                <a:cs typeface="Arial" panose="020B0604020202020204" pitchFamily="34" charset="0"/>
              </a:rPr>
              <a:t>	     &gt;2 g/dL protein</a:t>
            </a:r>
          </a:p>
          <a:p>
            <a:pPr marL="227007" indent="-227007" defTabSz="685800">
              <a:lnSpc>
                <a:spcPct val="90000"/>
              </a:lnSpc>
              <a:spcAft>
                <a:spcPts val="1200"/>
              </a:spcAft>
              <a:tabLst>
                <a:tab pos="227007" algn="l"/>
                <a:tab pos="514337" algn="r"/>
              </a:tabLst>
            </a:pPr>
            <a:r>
              <a:rPr lang="en-US" sz="1000" b="1">
                <a:solidFill>
                  <a:srgbClr val="4F81BD"/>
                </a:solidFill>
                <a:latin typeface="Arial" panose="020B0604020202020204" pitchFamily="34" charset="0"/>
                <a:cs typeface="Arial" panose="020B0604020202020204" pitchFamily="34" charset="0"/>
              </a:rPr>
              <a:t>20  </a:t>
            </a:r>
            <a:r>
              <a:rPr lang="en-US" sz="800">
                <a:solidFill>
                  <a:prstClr val="black"/>
                </a:solidFill>
                <a:latin typeface="Arial" panose="020B0604020202020204" pitchFamily="34" charset="0"/>
                <a:cs typeface="Arial" panose="020B0604020202020204" pitchFamily="34" charset="0"/>
              </a:rPr>
              <a:t>	&gt;20 free light chain ratio</a:t>
            </a:r>
          </a:p>
          <a:p>
            <a:pPr marL="227007" indent="-227007" defTabSz="685800">
              <a:lnSpc>
                <a:spcPct val="90000"/>
              </a:lnSpc>
              <a:spcAft>
                <a:spcPts val="1200"/>
              </a:spcAft>
              <a:tabLst>
                <a:tab pos="514337" algn="r"/>
                <a:tab pos="687371" algn="l"/>
              </a:tabLst>
            </a:pPr>
            <a:r>
              <a:rPr lang="en-US" sz="1000" b="1">
                <a:solidFill>
                  <a:srgbClr val="4F81BD"/>
                </a:solidFill>
                <a:latin typeface="Arial" panose="020B0604020202020204" pitchFamily="34" charset="0"/>
                <a:cs typeface="Arial" panose="020B0604020202020204" pitchFamily="34" charset="0"/>
              </a:rPr>
              <a:t>20  </a:t>
            </a:r>
            <a:r>
              <a:rPr lang="en-US" sz="800">
                <a:solidFill>
                  <a:prstClr val="black"/>
                </a:solidFill>
                <a:latin typeface="Arial" panose="020B0604020202020204" pitchFamily="34" charset="0"/>
                <a:cs typeface="Arial" panose="020B0604020202020204" pitchFamily="34" charset="0"/>
              </a:rPr>
              <a:t>	&gt;20% bone marrow plasma cells</a:t>
            </a:r>
          </a:p>
        </p:txBody>
      </p:sp>
      <p:sp>
        <p:nvSpPr>
          <p:cNvPr id="67" name="Content Placeholder 8">
            <a:extLst>
              <a:ext uri="{FF2B5EF4-FFF2-40B4-BE49-F238E27FC236}">
                <a16:creationId xmlns:a16="http://schemas.microsoft.com/office/drawing/2014/main" id="{7674F367-8E74-4FBB-AA25-5AC48D457C36}"/>
              </a:ext>
            </a:extLst>
          </p:cNvPr>
          <p:cNvSpPr txBox="1">
            <a:spLocks/>
          </p:cNvSpPr>
          <p:nvPr/>
        </p:nvSpPr>
        <p:spPr>
          <a:xfrm>
            <a:off x="782141" y="3556989"/>
            <a:ext cx="1582580" cy="528766"/>
          </a:xfrm>
          <a:prstGeom prst="rect">
            <a:avLst/>
          </a:prstGeom>
        </p:spPr>
        <p:txBody>
          <a:bodyPr vert="horz" lIns="91440" tIns="45720" rIns="91440" bIns="45720" rtlCol="0">
            <a:noAutofit/>
          </a:bodyPr>
          <a:lstStyle>
            <a:lvl1pPr marL="284163" indent="-284163" algn="l" defTabSz="914400" rtl="0" eaLnBrk="1" latinLnBrk="0" hangingPunct="1">
              <a:lnSpc>
                <a:spcPct val="90000"/>
              </a:lnSpc>
              <a:spcBef>
                <a:spcPts val="0"/>
              </a:spcBef>
              <a:spcAft>
                <a:spcPts val="300"/>
              </a:spcAft>
              <a:buClr>
                <a:schemeClr val="accent1"/>
              </a:buClr>
              <a:buFont typeface="Arial" panose="020B0604020202020204" pitchFamily="34" charset="0"/>
              <a:buChar char="•"/>
              <a:defRPr sz="32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4213" indent="-400050"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28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914400" indent="-230188"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198563" indent="-2841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1482725" indent="-2841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685800">
              <a:spcAft>
                <a:spcPts val="225"/>
              </a:spcAft>
              <a:buClr>
                <a:srgbClr val="4F81BD"/>
              </a:buClr>
              <a:buNone/>
            </a:pPr>
            <a:r>
              <a:rPr lang="en-US" sz="825">
                <a:solidFill>
                  <a:prstClr val="black"/>
                </a:solidFill>
              </a:rPr>
              <a:t>Model does not include any biologic or immune factors that may account for interpatient heterogeneity.</a:t>
            </a:r>
          </a:p>
        </p:txBody>
      </p:sp>
      <p:sp>
        <p:nvSpPr>
          <p:cNvPr id="64" name="TextBox 68">
            <a:extLst>
              <a:ext uri="{FF2B5EF4-FFF2-40B4-BE49-F238E27FC236}">
                <a16:creationId xmlns:a16="http://schemas.microsoft.com/office/drawing/2014/main" id="{D0A3241D-1A61-43FE-89BB-C16AB64EEFE9}"/>
              </a:ext>
            </a:extLst>
          </p:cNvPr>
          <p:cNvSpPr txBox="1">
            <a:spLocks noChangeArrowheads="1"/>
          </p:cNvSpPr>
          <p:nvPr/>
        </p:nvSpPr>
        <p:spPr bwMode="auto">
          <a:xfrm>
            <a:off x="4065367" y="4898429"/>
            <a:ext cx="507863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eaLnBrk="0" hangingPunct="0">
              <a:spcAft>
                <a:spcPts val="200"/>
              </a:spcAft>
              <a:buClr>
                <a:schemeClr val="accent1"/>
              </a:buClr>
              <a:buFont typeface="Arial" charset="0"/>
              <a:buChar char="•"/>
              <a:defRPr sz="2800" b="1">
                <a:solidFill>
                  <a:schemeClr val="tx1"/>
                </a:solidFill>
                <a:latin typeface="Arial" charset="0"/>
              </a:defRPr>
            </a:lvl1pPr>
            <a:lvl2pPr marL="742950" indent="-285750" eaLnBrk="0" hangingPunct="0">
              <a:spcAft>
                <a:spcPts val="200"/>
              </a:spcAft>
              <a:buClr>
                <a:schemeClr val="accent1"/>
              </a:buClr>
              <a:buFont typeface="Arial" charset="0"/>
              <a:buChar char="–"/>
              <a:defRPr sz="2400" b="1">
                <a:solidFill>
                  <a:schemeClr val="tx1"/>
                </a:solidFill>
                <a:latin typeface="Arial" charset="0"/>
              </a:defRPr>
            </a:lvl2pPr>
            <a:lvl3pPr marL="1143000" indent="-228600" eaLnBrk="0" hangingPunct="0">
              <a:spcAft>
                <a:spcPts val="200"/>
              </a:spcAft>
              <a:buClr>
                <a:schemeClr val="accent1"/>
              </a:buClr>
              <a:buFont typeface="Arial" charset="0"/>
              <a:buChar char="•"/>
              <a:defRPr sz="2200" b="1">
                <a:solidFill>
                  <a:schemeClr val="tx1"/>
                </a:solidFill>
                <a:latin typeface="Arial" charset="0"/>
              </a:defRPr>
            </a:lvl3pPr>
            <a:lvl4pPr marL="1600200" indent="-228600" eaLnBrk="0" hangingPunct="0">
              <a:spcAft>
                <a:spcPts val="200"/>
              </a:spcAft>
              <a:buClr>
                <a:schemeClr val="accent1"/>
              </a:buClr>
              <a:buFont typeface="Arial" charset="0"/>
              <a:buChar char="–"/>
              <a:defRPr sz="2000" b="1">
                <a:solidFill>
                  <a:schemeClr val="tx1"/>
                </a:solidFill>
                <a:latin typeface="Arial" charset="0"/>
              </a:defRPr>
            </a:lvl4pPr>
            <a:lvl5pPr marL="2057400" indent="-228600" eaLnBrk="0" hangingPunct="0">
              <a:spcAft>
                <a:spcPts val="200"/>
              </a:spcAft>
              <a:buClr>
                <a:schemeClr val="accent1"/>
              </a:buClr>
              <a:buFont typeface="Arial" charset="0"/>
              <a:buChar char="»"/>
              <a:defRPr sz="2000" b="1">
                <a:solidFill>
                  <a:schemeClr val="tx1"/>
                </a:solidFill>
                <a:latin typeface="Arial" charset="0"/>
              </a:defRPr>
            </a:lvl5pPr>
            <a:lvl6pPr marL="25146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6pPr>
            <a:lvl7pPr marL="29718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7pPr>
            <a:lvl8pPr marL="34290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8pPr>
            <a:lvl9pPr marL="38862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9pPr>
          </a:lstStyle>
          <a:p>
            <a:pPr algn="r" defTabSz="685800" eaLnBrk="1" hangingPunct="1">
              <a:spcAft>
                <a:spcPct val="0"/>
              </a:spcAft>
              <a:buClrTx/>
              <a:buNone/>
            </a:pPr>
            <a:r>
              <a:rPr lang="en-US" altLang="en-US" sz="1000" b="0">
                <a:solidFill>
                  <a:prstClr val="black"/>
                </a:solidFill>
                <a:ea typeface="ＭＳ Ｐゴシック" pitchFamily="34" charset="-128"/>
                <a:cs typeface="Arial" charset="0"/>
              </a:rPr>
              <a:t>IMWG SMM Risk-Stratification Model. Mateos MV, et al. </a:t>
            </a:r>
            <a:r>
              <a:rPr lang="en-US" altLang="en-US" sz="1000" b="0" i="1">
                <a:solidFill>
                  <a:prstClr val="black"/>
                </a:solidFill>
                <a:ea typeface="ＭＳ Ｐゴシック" pitchFamily="34" charset="-128"/>
                <a:cs typeface="Arial" charset="0"/>
              </a:rPr>
              <a:t>Blood Cancer J</a:t>
            </a:r>
            <a:r>
              <a:rPr lang="en-US" altLang="en-US" sz="1000" b="0">
                <a:solidFill>
                  <a:prstClr val="black"/>
                </a:solidFill>
                <a:ea typeface="ＭＳ Ｐゴシック" pitchFamily="34" charset="-128"/>
                <a:cs typeface="Arial" charset="0"/>
              </a:rPr>
              <a:t>. 2020;10:102.</a:t>
            </a:r>
          </a:p>
        </p:txBody>
      </p:sp>
    </p:spTree>
    <p:extLst>
      <p:ext uri="{BB962C8B-B14F-4D97-AF65-F5344CB8AC3E}">
        <p14:creationId xmlns:p14="http://schemas.microsoft.com/office/powerpoint/2010/main" val="19206229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FC755B9-8DEB-794A-A5E1-80AAFA3C521F}"/>
              </a:ext>
            </a:extLst>
          </p:cNvPr>
          <p:cNvPicPr/>
          <p:nvPr/>
        </p:nvPicPr>
        <p:blipFill>
          <a:blip r:embed="rId2" cstate="screen">
            <a:extLst>
              <a:ext uri="{28A0092B-C50C-407E-A947-70E740481C1C}">
                <a14:useLocalDpi xmlns:a14="http://schemas.microsoft.com/office/drawing/2010/main"/>
              </a:ext>
            </a:extLst>
          </a:blip>
          <a:stretch>
            <a:fillRect/>
          </a:stretch>
        </p:blipFill>
        <p:spPr>
          <a:xfrm>
            <a:off x="4211053" y="1167063"/>
            <a:ext cx="4779800" cy="3092116"/>
          </a:xfrm>
          <a:prstGeom prst="rect">
            <a:avLst/>
          </a:prstGeom>
        </p:spPr>
      </p:pic>
      <p:pic>
        <p:nvPicPr>
          <p:cNvPr id="10" name="Picture 9">
            <a:extLst>
              <a:ext uri="{FF2B5EF4-FFF2-40B4-BE49-F238E27FC236}">
                <a16:creationId xmlns:a16="http://schemas.microsoft.com/office/drawing/2014/main" id="{94E3DDAB-C2C9-BB47-BC90-DAAB08458644}"/>
              </a:ext>
            </a:extLst>
          </p:cNvPr>
          <p:cNvPicPr/>
          <p:nvPr/>
        </p:nvPicPr>
        <p:blipFill>
          <a:blip r:embed="rId3" cstate="screen">
            <a:extLst>
              <a:ext uri="{28A0092B-C50C-407E-A947-70E740481C1C}">
                <a14:useLocalDpi xmlns:a14="http://schemas.microsoft.com/office/drawing/2010/main"/>
              </a:ext>
            </a:extLst>
          </a:blip>
          <a:stretch>
            <a:fillRect/>
          </a:stretch>
        </p:blipFill>
        <p:spPr>
          <a:xfrm>
            <a:off x="153149" y="1258329"/>
            <a:ext cx="4057905" cy="3000851"/>
          </a:xfrm>
          <a:prstGeom prst="rect">
            <a:avLst/>
          </a:prstGeom>
        </p:spPr>
      </p:pic>
      <p:sp>
        <p:nvSpPr>
          <p:cNvPr id="7" name="TextBox 68">
            <a:extLst>
              <a:ext uri="{FF2B5EF4-FFF2-40B4-BE49-F238E27FC236}">
                <a16:creationId xmlns:a16="http://schemas.microsoft.com/office/drawing/2014/main" id="{53E03980-5416-468F-8259-0AFB744E27D1}"/>
              </a:ext>
            </a:extLst>
          </p:cNvPr>
          <p:cNvSpPr txBox="1">
            <a:spLocks noChangeArrowheads="1"/>
          </p:cNvSpPr>
          <p:nvPr/>
        </p:nvSpPr>
        <p:spPr bwMode="auto">
          <a:xfrm>
            <a:off x="6248656" y="4898429"/>
            <a:ext cx="28953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eaLnBrk="0" hangingPunct="0">
              <a:spcAft>
                <a:spcPts val="200"/>
              </a:spcAft>
              <a:buClr>
                <a:schemeClr val="accent1"/>
              </a:buClr>
              <a:buFont typeface="Arial" charset="0"/>
              <a:buChar char="•"/>
              <a:defRPr sz="2800" b="1">
                <a:solidFill>
                  <a:schemeClr val="tx1"/>
                </a:solidFill>
                <a:latin typeface="Arial" charset="0"/>
              </a:defRPr>
            </a:lvl1pPr>
            <a:lvl2pPr marL="742950" indent="-285750" eaLnBrk="0" hangingPunct="0">
              <a:spcAft>
                <a:spcPts val="200"/>
              </a:spcAft>
              <a:buClr>
                <a:schemeClr val="accent1"/>
              </a:buClr>
              <a:buFont typeface="Arial" charset="0"/>
              <a:buChar char="–"/>
              <a:defRPr sz="2400" b="1">
                <a:solidFill>
                  <a:schemeClr val="tx1"/>
                </a:solidFill>
                <a:latin typeface="Arial" charset="0"/>
              </a:defRPr>
            </a:lvl2pPr>
            <a:lvl3pPr marL="1143000" indent="-228600" eaLnBrk="0" hangingPunct="0">
              <a:spcAft>
                <a:spcPts val="200"/>
              </a:spcAft>
              <a:buClr>
                <a:schemeClr val="accent1"/>
              </a:buClr>
              <a:buFont typeface="Arial" charset="0"/>
              <a:buChar char="•"/>
              <a:defRPr sz="2200" b="1">
                <a:solidFill>
                  <a:schemeClr val="tx1"/>
                </a:solidFill>
                <a:latin typeface="Arial" charset="0"/>
              </a:defRPr>
            </a:lvl3pPr>
            <a:lvl4pPr marL="1600200" indent="-228600" eaLnBrk="0" hangingPunct="0">
              <a:spcAft>
                <a:spcPts val="200"/>
              </a:spcAft>
              <a:buClr>
                <a:schemeClr val="accent1"/>
              </a:buClr>
              <a:buFont typeface="Arial" charset="0"/>
              <a:buChar char="–"/>
              <a:defRPr sz="2000" b="1">
                <a:solidFill>
                  <a:schemeClr val="tx1"/>
                </a:solidFill>
                <a:latin typeface="Arial" charset="0"/>
              </a:defRPr>
            </a:lvl4pPr>
            <a:lvl5pPr marL="2057400" indent="-228600" eaLnBrk="0" hangingPunct="0">
              <a:spcAft>
                <a:spcPts val="200"/>
              </a:spcAft>
              <a:buClr>
                <a:schemeClr val="accent1"/>
              </a:buClr>
              <a:buFont typeface="Arial" charset="0"/>
              <a:buChar char="»"/>
              <a:defRPr sz="2000" b="1">
                <a:solidFill>
                  <a:schemeClr val="tx1"/>
                </a:solidFill>
                <a:latin typeface="Arial" charset="0"/>
              </a:defRPr>
            </a:lvl5pPr>
            <a:lvl6pPr marL="25146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6pPr>
            <a:lvl7pPr marL="29718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7pPr>
            <a:lvl8pPr marL="34290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8pPr>
            <a:lvl9pPr marL="38862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9pPr>
          </a:lstStyle>
          <a:p>
            <a:pPr algn="r" defTabSz="685800" eaLnBrk="1" hangingPunct="1">
              <a:spcAft>
                <a:spcPct val="0"/>
              </a:spcAft>
              <a:buClrTx/>
              <a:buNone/>
            </a:pPr>
            <a:r>
              <a:rPr lang="en-US" altLang="en-US" sz="1000" b="0">
                <a:solidFill>
                  <a:prstClr val="black"/>
                </a:solidFill>
                <a:ea typeface="ＭＳ Ｐゴシック" pitchFamily="34" charset="-128"/>
                <a:cs typeface="Arial" charset="0"/>
              </a:rPr>
              <a:t>Mateos MV, et al. </a:t>
            </a:r>
            <a:r>
              <a:rPr lang="en-US" altLang="en-US" sz="1000" b="0" i="1">
                <a:solidFill>
                  <a:prstClr val="black"/>
                </a:solidFill>
                <a:ea typeface="ＭＳ Ｐゴシック" pitchFamily="34" charset="-128"/>
                <a:cs typeface="Arial" charset="0"/>
              </a:rPr>
              <a:t>Blood Cancer J</a:t>
            </a:r>
            <a:r>
              <a:rPr lang="en-US" altLang="en-US" sz="1000" b="0">
                <a:solidFill>
                  <a:prstClr val="black"/>
                </a:solidFill>
                <a:ea typeface="ＭＳ Ｐゴシック" pitchFamily="34" charset="-128"/>
                <a:cs typeface="Arial" charset="0"/>
              </a:rPr>
              <a:t>. 2020;10:102.</a:t>
            </a:r>
          </a:p>
        </p:txBody>
      </p:sp>
    </p:spTree>
    <p:extLst>
      <p:ext uri="{BB962C8B-B14F-4D97-AF65-F5344CB8AC3E}">
        <p14:creationId xmlns:p14="http://schemas.microsoft.com/office/powerpoint/2010/main" val="592083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898BF-BA4F-2C41-9942-9542C29C7346}"/>
              </a:ext>
            </a:extLst>
          </p:cNvPr>
          <p:cNvSpPr>
            <a:spLocks noGrp="1"/>
          </p:cNvSpPr>
          <p:nvPr>
            <p:ph type="title"/>
          </p:nvPr>
        </p:nvSpPr>
        <p:spPr>
          <a:xfrm>
            <a:off x="185048" y="137709"/>
            <a:ext cx="8877837" cy="596127"/>
          </a:xfrm>
        </p:spPr>
        <p:txBody>
          <a:bodyPr>
            <a:noAutofit/>
          </a:bodyPr>
          <a:lstStyle/>
          <a:p>
            <a:pPr>
              <a:tabLst>
                <a:tab pos="1490626" algn="l"/>
              </a:tabLst>
            </a:pPr>
            <a:r>
              <a:rPr lang="en-US" noProof="0"/>
              <a:t>Faculty</a:t>
            </a:r>
            <a:endParaRPr lang="en-US" sz="2800" noProof="0"/>
          </a:p>
        </p:txBody>
      </p:sp>
      <p:sp>
        <p:nvSpPr>
          <p:cNvPr id="41" name="Content Placeholder 2">
            <a:extLst>
              <a:ext uri="{FF2B5EF4-FFF2-40B4-BE49-F238E27FC236}">
                <a16:creationId xmlns:a16="http://schemas.microsoft.com/office/drawing/2014/main" id="{361DAD7C-0BC5-4F29-A8DB-6E33429EC40B}"/>
              </a:ext>
            </a:extLst>
          </p:cNvPr>
          <p:cNvSpPr>
            <a:spLocks noGrp="1"/>
          </p:cNvSpPr>
          <p:nvPr>
            <p:ph idx="1"/>
          </p:nvPr>
        </p:nvSpPr>
        <p:spPr>
          <a:xfrm>
            <a:off x="3876657" y="2040732"/>
            <a:ext cx="1806507" cy="768654"/>
          </a:xfrm>
        </p:spPr>
        <p:txBody>
          <a:bodyPr vert="horz" lIns="0" tIns="0" rIns="0" bIns="0" rtlCol="0">
            <a:noAutofit/>
          </a:bodyPr>
          <a:lstStyle/>
          <a:p>
            <a:pPr marL="0" indent="0" fontAlgn="base">
              <a:lnSpc>
                <a:spcPct val="100000"/>
              </a:lnSpc>
              <a:spcBef>
                <a:spcPts val="0"/>
              </a:spcBef>
              <a:buNone/>
            </a:pPr>
            <a:r>
              <a:rPr lang="en-US" sz="1050" b="1" spc="-30" noProof="0"/>
              <a:t>Keith Stewart, MBChB, MBA</a:t>
            </a:r>
          </a:p>
          <a:p>
            <a:pPr marL="0" indent="0" fontAlgn="base">
              <a:lnSpc>
                <a:spcPct val="100000"/>
              </a:lnSpc>
              <a:spcBef>
                <a:spcPts val="0"/>
              </a:spcBef>
              <a:buNone/>
            </a:pPr>
            <a:r>
              <a:rPr lang="en-US" sz="1050" noProof="0"/>
              <a:t>Princess Margaret Cancer Centre, Canada</a:t>
            </a:r>
          </a:p>
        </p:txBody>
      </p:sp>
      <p:pic>
        <p:nvPicPr>
          <p:cNvPr id="35" name="Picture 34">
            <a:extLst>
              <a:ext uri="{FF2B5EF4-FFF2-40B4-BE49-F238E27FC236}">
                <a16:creationId xmlns:a16="http://schemas.microsoft.com/office/drawing/2014/main" id="{32FA3379-3235-4EC7-8389-23C52D21ABC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1967276" y="763351"/>
            <a:ext cx="1179576" cy="1179576"/>
          </a:xfrm>
          <a:prstGeom prst="teardrop">
            <a:avLst/>
          </a:prstGeom>
          <a:solidFill>
            <a:schemeClr val="tx2"/>
          </a:solidFill>
        </p:spPr>
      </p:pic>
      <p:pic>
        <p:nvPicPr>
          <p:cNvPr id="37" name="Picture 36">
            <a:extLst>
              <a:ext uri="{FF2B5EF4-FFF2-40B4-BE49-F238E27FC236}">
                <a16:creationId xmlns:a16="http://schemas.microsoft.com/office/drawing/2014/main" id="{6CA285A3-2948-4977-9A4E-2605E2D03D6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rot="5400000">
            <a:off x="3876657" y="763351"/>
            <a:ext cx="1179576" cy="1179576"/>
          </a:xfrm>
          <a:prstGeom prst="teardrop">
            <a:avLst/>
          </a:prstGeom>
          <a:solidFill>
            <a:schemeClr val="tx2"/>
          </a:solidFill>
        </p:spPr>
      </p:pic>
      <p:pic>
        <p:nvPicPr>
          <p:cNvPr id="39" name="Picture 38">
            <a:extLst>
              <a:ext uri="{FF2B5EF4-FFF2-40B4-BE49-F238E27FC236}">
                <a16:creationId xmlns:a16="http://schemas.microsoft.com/office/drawing/2014/main" id="{9E129F2F-1A01-485E-BDB7-B54A1BA01620}"/>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5400000">
            <a:off x="5824330" y="763351"/>
            <a:ext cx="1179576" cy="1179576"/>
          </a:xfrm>
          <a:prstGeom prst="teardrop">
            <a:avLst/>
          </a:prstGeom>
        </p:spPr>
      </p:pic>
      <p:sp>
        <p:nvSpPr>
          <p:cNvPr id="28" name="Rectangle 27">
            <a:extLst>
              <a:ext uri="{FF2B5EF4-FFF2-40B4-BE49-F238E27FC236}">
                <a16:creationId xmlns:a16="http://schemas.microsoft.com/office/drawing/2014/main" id="{36CEB36F-F4AE-4D9F-A2AE-0754670B03B7}"/>
              </a:ext>
            </a:extLst>
          </p:cNvPr>
          <p:cNvSpPr/>
          <p:nvPr/>
        </p:nvSpPr>
        <p:spPr>
          <a:xfrm>
            <a:off x="1967276" y="2040732"/>
            <a:ext cx="1574603" cy="484748"/>
          </a:xfrm>
          <a:prstGeom prst="rect">
            <a:avLst/>
          </a:prstGeom>
        </p:spPr>
        <p:txBody>
          <a:bodyPr wrap="square" lIns="0" tIns="0" rIns="0" bIns="0">
            <a:spAutoFit/>
          </a:bodyPr>
          <a:lstStyle/>
          <a:p>
            <a:pPr defTabSz="457189" fontAlgn="base">
              <a:buClr>
                <a:srgbClr val="44546A"/>
              </a:buClr>
              <a:tabLst>
                <a:tab pos="200020" algn="l"/>
              </a:tabLst>
              <a:defRPr/>
            </a:pPr>
            <a:r>
              <a:rPr lang="en-US" sz="1050" b="1">
                <a:solidFill>
                  <a:srgbClr val="000000">
                    <a:lumMod val="85000"/>
                    <a:lumOff val="15000"/>
                  </a:srgbClr>
                </a:solidFill>
                <a:latin typeface="Arial" panose="020B0604020202020204" pitchFamily="34" charset="0"/>
                <a:cs typeface="Arial" panose="020B0604020202020204" pitchFamily="34" charset="0"/>
              </a:rPr>
              <a:t>Irene Ghobrial, MD</a:t>
            </a:r>
          </a:p>
          <a:p>
            <a:pPr defTabSz="457189" fontAlgn="base">
              <a:buClr>
                <a:srgbClr val="44546A"/>
              </a:buClr>
              <a:tabLst>
                <a:tab pos="200020" algn="l"/>
              </a:tabLst>
              <a:defRPr/>
            </a:pPr>
            <a:r>
              <a:rPr lang="en-US" sz="1050">
                <a:solidFill>
                  <a:srgbClr val="000000">
                    <a:lumMod val="85000"/>
                    <a:lumOff val="15000"/>
                  </a:srgbClr>
                </a:solidFill>
                <a:latin typeface="Arial" panose="020B0604020202020204" pitchFamily="34" charset="0"/>
                <a:cs typeface="Arial" panose="020B0604020202020204" pitchFamily="34" charset="0"/>
              </a:rPr>
              <a:t>Dana-Farber Cancer Institute, USA</a:t>
            </a:r>
            <a:endParaRPr lang="en-US" sz="1050">
              <a:solidFill>
                <a:srgbClr val="58595B"/>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F83A4FBC-B834-4966-B679-B9CFBEFC6230}"/>
              </a:ext>
            </a:extLst>
          </p:cNvPr>
          <p:cNvSpPr/>
          <p:nvPr/>
        </p:nvSpPr>
        <p:spPr>
          <a:xfrm>
            <a:off x="7608867" y="2040732"/>
            <a:ext cx="1454017" cy="484748"/>
          </a:xfrm>
          <a:prstGeom prst="rect">
            <a:avLst/>
          </a:prstGeom>
        </p:spPr>
        <p:txBody>
          <a:bodyPr wrap="square" lIns="0" tIns="0" rIns="0" bIns="0">
            <a:spAutoFit/>
          </a:bodyPr>
          <a:lstStyle/>
          <a:p>
            <a:pPr defTabSz="685783" fontAlgn="base">
              <a:buClr>
                <a:srgbClr val="00A9B7"/>
              </a:buClr>
              <a:defRPr/>
            </a:pPr>
            <a:r>
              <a:rPr lang="en-US" sz="1050" b="1">
                <a:solidFill>
                  <a:srgbClr val="000000">
                    <a:lumMod val="85000"/>
                    <a:lumOff val="15000"/>
                  </a:srgbClr>
                </a:solidFill>
                <a:latin typeface="Arial" panose="020B0604020202020204" pitchFamily="34" charset="0"/>
                <a:cs typeface="Arial" panose="020B0604020202020204" pitchFamily="34" charset="0"/>
              </a:rPr>
              <a:t>Xavier Leleu, MD, PhD</a:t>
            </a:r>
          </a:p>
          <a:p>
            <a:pPr defTabSz="685783" fontAlgn="base">
              <a:buClr>
                <a:srgbClr val="00A9B7"/>
              </a:buClr>
              <a:defRPr/>
            </a:pPr>
            <a:r>
              <a:rPr lang="en-US" sz="1050">
                <a:solidFill>
                  <a:srgbClr val="262626"/>
                </a:solidFill>
                <a:latin typeface="Arial" panose="020B0604020202020204" pitchFamily="34" charset="0"/>
                <a:cs typeface="Arial" panose="020B0604020202020204" pitchFamily="34" charset="0"/>
              </a:rPr>
              <a:t>Hôpital La Miletrie, France</a:t>
            </a:r>
          </a:p>
        </p:txBody>
      </p:sp>
      <p:sp>
        <p:nvSpPr>
          <p:cNvPr id="33" name="Rectangle 32">
            <a:extLst>
              <a:ext uri="{FF2B5EF4-FFF2-40B4-BE49-F238E27FC236}">
                <a16:creationId xmlns:a16="http://schemas.microsoft.com/office/drawing/2014/main" id="{DEBB9D60-D2C9-4F5C-828E-550AFA0FDAEC}"/>
              </a:ext>
            </a:extLst>
          </p:cNvPr>
          <p:cNvSpPr/>
          <p:nvPr/>
        </p:nvSpPr>
        <p:spPr>
          <a:xfrm>
            <a:off x="5824330" y="2040732"/>
            <a:ext cx="1572768" cy="646331"/>
          </a:xfrm>
          <a:prstGeom prst="rect">
            <a:avLst/>
          </a:prstGeom>
        </p:spPr>
        <p:txBody>
          <a:bodyPr wrap="square" lIns="0" tIns="0" rIns="0" bIns="0">
            <a:spAutoFit/>
          </a:bodyPr>
          <a:lstStyle/>
          <a:p>
            <a:pPr defTabSz="685783" fontAlgn="base">
              <a:buClr>
                <a:srgbClr val="00A9B7"/>
              </a:buClr>
              <a:defRPr/>
            </a:pPr>
            <a:r>
              <a:rPr lang="en-US" sz="1050" b="1">
                <a:solidFill>
                  <a:srgbClr val="262626"/>
                </a:solidFill>
                <a:latin typeface="Arial" panose="020B0604020202020204" pitchFamily="34" charset="0"/>
                <a:cs typeface="Arial" panose="020B0604020202020204" pitchFamily="34" charset="0"/>
              </a:rPr>
              <a:t>María-Victoria Mateos, MD, PhD</a:t>
            </a:r>
          </a:p>
          <a:p>
            <a:pPr defTabSz="685783" fontAlgn="base">
              <a:buClr>
                <a:srgbClr val="00A9B7"/>
              </a:buClr>
              <a:defRPr/>
            </a:pPr>
            <a:r>
              <a:rPr lang="en-US" sz="1050">
                <a:solidFill>
                  <a:srgbClr val="000000">
                    <a:lumMod val="85000"/>
                    <a:lumOff val="15000"/>
                  </a:srgbClr>
                </a:solidFill>
                <a:latin typeface="Arial" panose="020B0604020202020204" pitchFamily="34" charset="0"/>
                <a:cs typeface="Arial" panose="020B0604020202020204" pitchFamily="34" charset="0"/>
              </a:rPr>
              <a:t>University of Salamanca, Spain</a:t>
            </a:r>
          </a:p>
        </p:txBody>
      </p:sp>
      <p:pic>
        <p:nvPicPr>
          <p:cNvPr id="36" name="Picture 35">
            <a:extLst>
              <a:ext uri="{FF2B5EF4-FFF2-40B4-BE49-F238E27FC236}">
                <a16:creationId xmlns:a16="http://schemas.microsoft.com/office/drawing/2014/main" id="{67AD1D24-1BD9-4B8A-9945-05640D9D31E9}"/>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rot="5400000">
            <a:off x="267862" y="1941608"/>
            <a:ext cx="1180425" cy="1180425"/>
          </a:xfrm>
          <a:prstGeom prst="teardrop">
            <a:avLst/>
          </a:prstGeom>
        </p:spPr>
      </p:pic>
      <p:sp>
        <p:nvSpPr>
          <p:cNvPr id="38" name="Title 1">
            <a:extLst>
              <a:ext uri="{FF2B5EF4-FFF2-40B4-BE49-F238E27FC236}">
                <a16:creationId xmlns:a16="http://schemas.microsoft.com/office/drawing/2014/main" id="{4111D161-3866-46E2-A42E-D4F017CDE52B}"/>
              </a:ext>
            </a:extLst>
          </p:cNvPr>
          <p:cNvSpPr txBox="1">
            <a:spLocks/>
          </p:cNvSpPr>
          <p:nvPr/>
        </p:nvSpPr>
        <p:spPr>
          <a:xfrm>
            <a:off x="266163" y="1483614"/>
            <a:ext cx="1179576" cy="34826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cap="all" baseline="0">
                <a:solidFill>
                  <a:schemeClr val="tx2"/>
                </a:solidFill>
                <a:latin typeface="Arial" panose="020B0604020202020204" pitchFamily="34" charset="0"/>
                <a:ea typeface="+mj-ea"/>
                <a:cs typeface="Arial" panose="020B0604020202020204" pitchFamily="34" charset="0"/>
              </a:defRPr>
            </a:lvl1pPr>
          </a:lstStyle>
          <a:p>
            <a:pPr algn="ctr" defTabSz="914378">
              <a:defRPr/>
            </a:pPr>
            <a:r>
              <a:rPr lang="en-US" sz="2400" cap="none">
                <a:solidFill>
                  <a:srgbClr val="000000">
                    <a:lumMod val="85000"/>
                    <a:lumOff val="15000"/>
                  </a:srgbClr>
                </a:solidFill>
                <a:latin typeface="Arial Nova" panose="020B0504020202020204" pitchFamily="34" charset="0"/>
              </a:rPr>
              <a:t>Chair</a:t>
            </a:r>
            <a:br>
              <a:rPr lang="en-US" sz="2400" cap="none">
                <a:solidFill>
                  <a:srgbClr val="44546A"/>
                </a:solidFill>
              </a:rPr>
            </a:br>
            <a:endParaRPr lang="en-US" sz="2400" cap="none">
              <a:solidFill>
                <a:srgbClr val="44546A"/>
              </a:solidFill>
            </a:endParaRPr>
          </a:p>
        </p:txBody>
      </p:sp>
      <p:sp>
        <p:nvSpPr>
          <p:cNvPr id="42" name="Rectangle 41">
            <a:extLst>
              <a:ext uri="{FF2B5EF4-FFF2-40B4-BE49-F238E27FC236}">
                <a16:creationId xmlns:a16="http://schemas.microsoft.com/office/drawing/2014/main" id="{326B9386-F0D3-482C-86DC-1E5A9CB42A25}"/>
              </a:ext>
            </a:extLst>
          </p:cNvPr>
          <p:cNvSpPr/>
          <p:nvPr/>
        </p:nvSpPr>
        <p:spPr>
          <a:xfrm>
            <a:off x="3029159" y="4206410"/>
            <a:ext cx="1947673" cy="323165"/>
          </a:xfrm>
          <a:prstGeom prst="rect">
            <a:avLst/>
          </a:prstGeom>
        </p:spPr>
        <p:txBody>
          <a:bodyPr wrap="square" lIns="0" tIns="0" rIns="0" bIns="0">
            <a:spAutoFit/>
          </a:bodyPr>
          <a:lstStyle/>
          <a:p>
            <a:pPr defTabSz="685783" fontAlgn="base">
              <a:buClr>
                <a:srgbClr val="00A9B7"/>
              </a:buClr>
              <a:defRPr/>
            </a:pPr>
            <a:r>
              <a:rPr lang="en-US" sz="1050" b="1" spc="-30">
                <a:solidFill>
                  <a:srgbClr val="262626"/>
                </a:solidFill>
                <a:latin typeface="Arial" panose="020B0604020202020204" pitchFamily="34" charset="0"/>
                <a:cs typeface="Arial" panose="020B0604020202020204" pitchFamily="34" charset="0"/>
              </a:rPr>
              <a:t>Bruno Paiva, PharmD, PhD</a:t>
            </a:r>
          </a:p>
          <a:p>
            <a:pPr defTabSz="685783" fontAlgn="base">
              <a:buClr>
                <a:srgbClr val="00A9B7"/>
              </a:buClr>
              <a:defRPr/>
            </a:pPr>
            <a:r>
              <a:rPr lang="en-US" sz="1050" spc="-30">
                <a:solidFill>
                  <a:srgbClr val="262626"/>
                </a:solidFill>
                <a:latin typeface="Arial" panose="020B0604020202020204" pitchFamily="34" charset="0"/>
                <a:cs typeface="Arial" panose="020B0604020202020204" pitchFamily="34" charset="0"/>
              </a:rPr>
              <a:t>University of Navarra, Spain</a:t>
            </a:r>
          </a:p>
        </p:txBody>
      </p:sp>
      <p:sp>
        <p:nvSpPr>
          <p:cNvPr id="43" name="Rectangle 42">
            <a:extLst>
              <a:ext uri="{FF2B5EF4-FFF2-40B4-BE49-F238E27FC236}">
                <a16:creationId xmlns:a16="http://schemas.microsoft.com/office/drawing/2014/main" id="{FCA2FB2F-18F6-451F-A382-9AA2D41E9B8F}"/>
              </a:ext>
            </a:extLst>
          </p:cNvPr>
          <p:cNvSpPr/>
          <p:nvPr/>
        </p:nvSpPr>
        <p:spPr>
          <a:xfrm>
            <a:off x="4938540" y="4206410"/>
            <a:ext cx="2053498" cy="323165"/>
          </a:xfrm>
          <a:prstGeom prst="rect">
            <a:avLst/>
          </a:prstGeom>
        </p:spPr>
        <p:txBody>
          <a:bodyPr wrap="square" lIns="0" tIns="0" rIns="0" bIns="0">
            <a:spAutoFit/>
          </a:bodyPr>
          <a:lstStyle/>
          <a:p>
            <a:pPr defTabSz="457189" fontAlgn="base">
              <a:buClr>
                <a:srgbClr val="44546A"/>
              </a:buClr>
              <a:tabLst>
                <a:tab pos="200020" algn="l"/>
              </a:tabLst>
              <a:defRPr/>
            </a:pPr>
            <a:r>
              <a:rPr lang="en-US" sz="1050" b="1" spc="-30">
                <a:solidFill>
                  <a:srgbClr val="262626"/>
                </a:solidFill>
                <a:latin typeface="Arial" panose="020B0604020202020204" pitchFamily="34" charset="0"/>
                <a:cs typeface="Arial" panose="020B0604020202020204" pitchFamily="34" charset="0"/>
              </a:rPr>
              <a:t>Meletios A. Dimopoulos, MD</a:t>
            </a:r>
          </a:p>
          <a:p>
            <a:pPr defTabSz="457189" fontAlgn="base">
              <a:buClr>
                <a:srgbClr val="44546A"/>
              </a:buClr>
              <a:tabLst>
                <a:tab pos="200020" algn="l"/>
              </a:tabLst>
              <a:defRPr/>
            </a:pPr>
            <a:r>
              <a:rPr lang="en-US" sz="1050" spc="-30">
                <a:solidFill>
                  <a:srgbClr val="262626"/>
                </a:solidFill>
                <a:latin typeface="Arial" panose="020B0604020202020204" pitchFamily="34" charset="0"/>
                <a:cs typeface="Arial" panose="020B0604020202020204" pitchFamily="34" charset="0"/>
              </a:rPr>
              <a:t>University of Athens, Greece</a:t>
            </a:r>
          </a:p>
        </p:txBody>
      </p:sp>
      <p:sp>
        <p:nvSpPr>
          <p:cNvPr id="44" name="Content Placeholder 2">
            <a:extLst>
              <a:ext uri="{FF2B5EF4-FFF2-40B4-BE49-F238E27FC236}">
                <a16:creationId xmlns:a16="http://schemas.microsoft.com/office/drawing/2014/main" id="{52831D35-B446-466C-ADC4-8DA824760193}"/>
              </a:ext>
            </a:extLst>
          </p:cNvPr>
          <p:cNvSpPr txBox="1">
            <a:spLocks/>
          </p:cNvSpPr>
          <p:nvPr/>
        </p:nvSpPr>
        <p:spPr>
          <a:xfrm>
            <a:off x="6886213" y="4206410"/>
            <a:ext cx="2176272" cy="484748"/>
          </a:xfrm>
          <a:prstGeom prst="rect">
            <a:avLst/>
          </a:prstGeom>
        </p:spPr>
        <p:txBody>
          <a:bodyPr vert="horz" lIns="0" tIns="0" rIns="0" bIns="0" rtlCol="0">
            <a:noAutofit/>
          </a:bodyPr>
          <a:lstStyle>
            <a:lvl1pPr marL="171450" indent="-171450" algn="l" defTabSz="685800" rtl="0" eaLnBrk="1" latinLnBrk="0" hangingPunct="1">
              <a:lnSpc>
                <a:spcPct val="90000"/>
              </a:lnSpc>
              <a:spcBef>
                <a:spcPts val="750"/>
              </a:spcBef>
              <a:buClr>
                <a:schemeClr val="accent1"/>
              </a:buClr>
              <a:buFont typeface="System Font Regular"/>
              <a:buChar char="&gt;"/>
              <a:defRPr sz="1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chemeClr val="accent1"/>
              </a:buClr>
              <a:buFont typeface="System Font Regular"/>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Clr>
                <a:schemeClr val="accent1"/>
              </a:buClr>
              <a:buFont typeface="Arial" panose="020B0604020202020204" pitchFamily="34" charset="0"/>
              <a:buChar char="•"/>
              <a:defRPr sz="14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Clr>
                <a:schemeClr val="accent1"/>
              </a:buClr>
              <a:buFont typeface="Wingdings" pitchFamily="2" charset="2"/>
              <a:buChar char="§"/>
              <a:defRPr sz="12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Clr>
                <a:schemeClr val="accent1"/>
              </a:buClr>
              <a:buFont typeface="System Font Regular"/>
              <a:buChar char="–"/>
              <a:defRPr sz="12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85783" fontAlgn="b">
              <a:lnSpc>
                <a:spcPct val="100000"/>
              </a:lnSpc>
              <a:spcBef>
                <a:spcPts val="300"/>
              </a:spcBef>
              <a:buClr>
                <a:srgbClr val="00A9B7"/>
              </a:buClr>
              <a:buNone/>
            </a:pPr>
            <a:r>
              <a:rPr lang="en-US" sz="1050" b="1">
                <a:solidFill>
                  <a:srgbClr val="262626"/>
                </a:solidFill>
                <a:ea typeface="Times New Roman" panose="02020603050405020304" pitchFamily="18" charset="0"/>
              </a:rPr>
              <a:t>Hermann Einsele, MD </a:t>
            </a:r>
            <a:r>
              <a:rPr lang="en-US" sz="1050">
                <a:solidFill>
                  <a:srgbClr val="262626"/>
                </a:solidFill>
              </a:rPr>
              <a:t>Universitätsklinikum Würzburg, Germany</a:t>
            </a:r>
          </a:p>
          <a:p>
            <a:pPr marL="171446" indent="-171446" defTabSz="685783">
              <a:buClr>
                <a:srgbClr val="00A9B7"/>
              </a:buClr>
            </a:pPr>
            <a:endParaRPr lang="en-US" sz="1050">
              <a:solidFill>
                <a:srgbClr val="000000"/>
              </a:solidFill>
            </a:endParaRPr>
          </a:p>
        </p:txBody>
      </p:sp>
      <p:sp>
        <p:nvSpPr>
          <p:cNvPr id="45" name="Content Placeholder 2">
            <a:extLst>
              <a:ext uri="{FF2B5EF4-FFF2-40B4-BE49-F238E27FC236}">
                <a16:creationId xmlns:a16="http://schemas.microsoft.com/office/drawing/2014/main" id="{B57F1CF0-7A6A-41A7-BB8F-B95F58299CA2}"/>
              </a:ext>
            </a:extLst>
          </p:cNvPr>
          <p:cNvSpPr txBox="1">
            <a:spLocks/>
          </p:cNvSpPr>
          <p:nvPr/>
        </p:nvSpPr>
        <p:spPr>
          <a:xfrm>
            <a:off x="266164" y="3218097"/>
            <a:ext cx="1431473" cy="826708"/>
          </a:xfrm>
          <a:prstGeom prst="rect">
            <a:avLst/>
          </a:prstGeom>
        </p:spPr>
        <p:txBody>
          <a:bodyPr vert="horz" lIns="0" tIns="0" rIns="0" bIns="0" rtlCol="0">
            <a:noAutofit/>
          </a:bodyPr>
          <a:lstStyle>
            <a:lvl1pPr marL="171450" indent="-171450" algn="l" defTabSz="685800" rtl="0" eaLnBrk="1" latinLnBrk="0" hangingPunct="1">
              <a:lnSpc>
                <a:spcPct val="90000"/>
              </a:lnSpc>
              <a:spcBef>
                <a:spcPts val="750"/>
              </a:spcBef>
              <a:buClr>
                <a:schemeClr val="accent1"/>
              </a:buClr>
              <a:buFont typeface="System Font Regular"/>
              <a:buChar char="&gt;"/>
              <a:defRPr sz="2100" kern="1200">
                <a:solidFill>
                  <a:schemeClr val="tx1">
                    <a:lumMod val="85000"/>
                    <a:lumOff val="15000"/>
                  </a:schemeClr>
                </a:solidFill>
                <a:latin typeface="Arial Nova" panose="020B0504020202020204" pitchFamily="34" charset="0"/>
                <a:ea typeface="+mn-ea"/>
                <a:cs typeface="+mn-cs"/>
              </a:defRPr>
            </a:lvl1pPr>
            <a:lvl2pPr marL="514350" indent="-171450" algn="l" defTabSz="685800" rtl="0" eaLnBrk="1" latinLnBrk="0" hangingPunct="1">
              <a:lnSpc>
                <a:spcPct val="90000"/>
              </a:lnSpc>
              <a:spcBef>
                <a:spcPts val="375"/>
              </a:spcBef>
              <a:buClr>
                <a:schemeClr val="accent1"/>
              </a:buClr>
              <a:buFont typeface="System Font Regular"/>
              <a:buChar char="–"/>
              <a:defRPr sz="1800" kern="1200">
                <a:solidFill>
                  <a:schemeClr val="tx1">
                    <a:lumMod val="85000"/>
                    <a:lumOff val="15000"/>
                  </a:schemeClr>
                </a:solidFill>
                <a:latin typeface="Arial Nova" panose="020B0504020202020204" pitchFamily="34" charset="0"/>
                <a:ea typeface="+mn-ea"/>
                <a:cs typeface="+mn-cs"/>
              </a:defRPr>
            </a:lvl2pPr>
            <a:lvl3pPr marL="857250" indent="-171450" algn="l" defTabSz="685800" rtl="0" eaLnBrk="1" latinLnBrk="0" hangingPunct="1">
              <a:lnSpc>
                <a:spcPct val="90000"/>
              </a:lnSpc>
              <a:spcBef>
                <a:spcPts val="375"/>
              </a:spcBef>
              <a:buClr>
                <a:schemeClr val="accent1"/>
              </a:buClr>
              <a:buFont typeface="Arial" panose="020B0604020202020204" pitchFamily="34" charset="0"/>
              <a:buChar char="•"/>
              <a:defRPr sz="1500" kern="1200">
                <a:solidFill>
                  <a:schemeClr val="tx1">
                    <a:lumMod val="85000"/>
                    <a:lumOff val="15000"/>
                  </a:schemeClr>
                </a:solidFill>
                <a:latin typeface="Arial Nova" panose="020B0504020202020204" pitchFamily="34" charset="0"/>
                <a:ea typeface="+mn-ea"/>
                <a:cs typeface="+mn-cs"/>
              </a:defRPr>
            </a:lvl3pPr>
            <a:lvl4pPr marL="1200150" indent="-171450" algn="l" defTabSz="685800" rtl="0" eaLnBrk="1" latinLnBrk="0" hangingPunct="1">
              <a:lnSpc>
                <a:spcPct val="90000"/>
              </a:lnSpc>
              <a:spcBef>
                <a:spcPts val="375"/>
              </a:spcBef>
              <a:buClr>
                <a:schemeClr val="accent1"/>
              </a:buClr>
              <a:buFont typeface="Wingdings" pitchFamily="2" charset="2"/>
              <a:buChar char="§"/>
              <a:defRPr sz="1350" kern="1200">
                <a:solidFill>
                  <a:schemeClr val="tx1">
                    <a:lumMod val="85000"/>
                    <a:lumOff val="15000"/>
                  </a:schemeClr>
                </a:solidFill>
                <a:latin typeface="Arial Nova" panose="020B0504020202020204" pitchFamily="34" charset="0"/>
                <a:ea typeface="+mn-ea"/>
                <a:cs typeface="+mn-cs"/>
              </a:defRPr>
            </a:lvl4pPr>
            <a:lvl5pPr marL="1543050" indent="-171450" algn="l" defTabSz="685800" rtl="0" eaLnBrk="1" latinLnBrk="0" hangingPunct="1">
              <a:lnSpc>
                <a:spcPct val="90000"/>
              </a:lnSpc>
              <a:spcBef>
                <a:spcPts val="375"/>
              </a:spcBef>
              <a:buClr>
                <a:schemeClr val="accent1"/>
              </a:buClr>
              <a:buFont typeface="System Font Regular"/>
              <a:buChar char="–"/>
              <a:defRPr sz="1350" kern="1200">
                <a:solidFill>
                  <a:schemeClr val="tx1">
                    <a:lumMod val="85000"/>
                    <a:lumOff val="15000"/>
                  </a:schemeClr>
                </a:solidFill>
                <a:latin typeface="Arial Nova" panose="020B05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85783" fontAlgn="base">
              <a:lnSpc>
                <a:spcPct val="100000"/>
              </a:lnSpc>
              <a:spcBef>
                <a:spcPts val="0"/>
              </a:spcBef>
              <a:buClr>
                <a:srgbClr val="00A9B7"/>
              </a:buClr>
              <a:buNone/>
              <a:defRPr/>
            </a:pPr>
            <a:r>
              <a:rPr lang="es-ES" sz="1050" b="1">
                <a:solidFill>
                  <a:srgbClr val="000000">
                    <a:lumMod val="85000"/>
                    <a:lumOff val="15000"/>
                  </a:srgbClr>
                </a:solidFill>
                <a:latin typeface="Arial" panose="020B0604020202020204" pitchFamily="34" charset="0"/>
                <a:cs typeface="Arial" panose="020B0604020202020204" pitchFamily="34" charset="0"/>
              </a:rPr>
              <a:t>Rafael Fonseca, MD</a:t>
            </a:r>
          </a:p>
          <a:p>
            <a:pPr marL="0" indent="0" defTabSz="685783" fontAlgn="base">
              <a:lnSpc>
                <a:spcPct val="100000"/>
              </a:lnSpc>
              <a:spcBef>
                <a:spcPts val="0"/>
              </a:spcBef>
              <a:buClr>
                <a:srgbClr val="00A9B7"/>
              </a:buClr>
              <a:buNone/>
              <a:defRPr/>
            </a:pPr>
            <a:r>
              <a:rPr lang="en-US" sz="1050">
                <a:solidFill>
                  <a:srgbClr val="000000">
                    <a:lumMod val="85000"/>
                    <a:lumOff val="15000"/>
                  </a:srgbClr>
                </a:solidFill>
                <a:latin typeface="Arial" panose="020B0604020202020204" pitchFamily="34" charset="0"/>
                <a:cs typeface="Arial" panose="020B0604020202020204" pitchFamily="34" charset="0"/>
              </a:rPr>
              <a:t>Mayo Clinic Cancer Center, USA</a:t>
            </a:r>
          </a:p>
        </p:txBody>
      </p:sp>
      <p:pic>
        <p:nvPicPr>
          <p:cNvPr id="17" name="Picture 16">
            <a:extLst>
              <a:ext uri="{FF2B5EF4-FFF2-40B4-BE49-F238E27FC236}">
                <a16:creationId xmlns:a16="http://schemas.microsoft.com/office/drawing/2014/main" id="{4F5C4FFA-2CAF-014C-A941-1FE836FBDBDD}"/>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rot="5400000">
            <a:off x="3029159" y="2892503"/>
            <a:ext cx="1179576" cy="1179576"/>
          </a:xfrm>
          <a:prstGeom prst="teardrop">
            <a:avLst/>
          </a:prstGeom>
          <a:solidFill>
            <a:schemeClr val="tx2"/>
          </a:solidFill>
        </p:spPr>
      </p:pic>
      <p:pic>
        <p:nvPicPr>
          <p:cNvPr id="18" name="Picture 17">
            <a:extLst>
              <a:ext uri="{FF2B5EF4-FFF2-40B4-BE49-F238E27FC236}">
                <a16:creationId xmlns:a16="http://schemas.microsoft.com/office/drawing/2014/main" id="{3EE9D958-3D7C-E44F-B719-B457FE9352A5}"/>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rot="5400000">
            <a:off x="4938540" y="2892503"/>
            <a:ext cx="1179576" cy="1179576"/>
          </a:xfrm>
          <a:prstGeom prst="teardrop">
            <a:avLst/>
          </a:prstGeom>
          <a:solidFill>
            <a:schemeClr val="tx2"/>
          </a:solidFill>
        </p:spPr>
      </p:pic>
      <p:pic>
        <p:nvPicPr>
          <p:cNvPr id="19" name="Picture 18">
            <a:extLst>
              <a:ext uri="{FF2B5EF4-FFF2-40B4-BE49-F238E27FC236}">
                <a16:creationId xmlns:a16="http://schemas.microsoft.com/office/drawing/2014/main" id="{C52E1A43-D614-9D4A-B0C8-C8836C425EF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rot="5400000">
            <a:off x="6886213" y="2892503"/>
            <a:ext cx="1179576" cy="1179576"/>
          </a:xfrm>
          <a:prstGeom prst="teardrop">
            <a:avLst/>
          </a:prstGeom>
          <a:solidFill>
            <a:schemeClr val="tx2"/>
          </a:solidFill>
        </p:spPr>
      </p:pic>
      <p:pic>
        <p:nvPicPr>
          <p:cNvPr id="20" name="Picture 19">
            <a:extLst>
              <a:ext uri="{FF2B5EF4-FFF2-40B4-BE49-F238E27FC236}">
                <a16:creationId xmlns:a16="http://schemas.microsoft.com/office/drawing/2014/main" id="{C224A2F1-4C5D-8D4E-815A-DF40FBD9B29A}"/>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rot="5400000">
            <a:off x="7521746" y="763351"/>
            <a:ext cx="1179576" cy="1179576"/>
          </a:xfrm>
          <a:prstGeom prst="teardrop">
            <a:avLst/>
          </a:prstGeom>
          <a:solidFill>
            <a:schemeClr val="tx2"/>
          </a:solidFill>
        </p:spPr>
      </p:pic>
    </p:spTree>
    <p:extLst>
      <p:ext uri="{BB962C8B-B14F-4D97-AF65-F5344CB8AC3E}">
        <p14:creationId xmlns:p14="http://schemas.microsoft.com/office/powerpoint/2010/main" val="21222544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Title 1">
            <a:extLst>
              <a:ext uri="{FF2B5EF4-FFF2-40B4-BE49-F238E27FC236}">
                <a16:creationId xmlns:a16="http://schemas.microsoft.com/office/drawing/2014/main" id="{81E373CF-A65E-6949-A209-D5514D28226A}"/>
              </a:ext>
            </a:extLst>
          </p:cNvPr>
          <p:cNvSpPr>
            <a:spLocks noGrp="1"/>
          </p:cNvSpPr>
          <p:nvPr>
            <p:ph type="title" idx="4294967295"/>
          </p:nvPr>
        </p:nvSpPr>
        <p:spPr>
          <a:xfrm>
            <a:off x="0" y="-6773"/>
            <a:ext cx="9144000" cy="669251"/>
          </a:xfrm>
        </p:spPr>
        <p:txBody>
          <a:bodyPr>
            <a:normAutofit/>
          </a:bodyPr>
          <a:lstStyle/>
          <a:p>
            <a:pPr algn="ctr"/>
            <a:r>
              <a:rPr lang="en-US" altLang="es-ES" sz="2400" b="1" noProof="0">
                <a:solidFill>
                  <a:srgbClr val="0070C0"/>
                </a:solidFill>
                <a:latin typeface="Arial" panose="020B0604020202020204" pitchFamily="34" charset="0"/>
                <a:cs typeface="Arial" panose="020B0604020202020204" pitchFamily="34" charset="0"/>
              </a:rPr>
              <a:t>Progression risk incorporating FISH</a:t>
            </a:r>
          </a:p>
        </p:txBody>
      </p:sp>
      <p:sp>
        <p:nvSpPr>
          <p:cNvPr id="83970" name="Rectangle 3">
            <a:extLst>
              <a:ext uri="{FF2B5EF4-FFF2-40B4-BE49-F238E27FC236}">
                <a16:creationId xmlns:a16="http://schemas.microsoft.com/office/drawing/2014/main" id="{0853C6B3-2451-9243-A43F-CF6D0D2C5173}"/>
              </a:ext>
            </a:extLst>
          </p:cNvPr>
          <p:cNvSpPr>
            <a:spLocks noChangeArrowheads="1"/>
          </p:cNvSpPr>
          <p:nvPr/>
        </p:nvSpPr>
        <p:spPr bwMode="auto">
          <a:xfrm>
            <a:off x="288924" y="559156"/>
            <a:ext cx="85661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eaLnBrk="0" fontAlgn="base" hangingPunct="0">
              <a:spcBef>
                <a:spcPct val="0"/>
              </a:spcBef>
              <a:spcAft>
                <a:spcPct val="0"/>
              </a:spcAft>
              <a:defRPr/>
            </a:pPr>
            <a:r>
              <a:rPr lang="en-US" altLang="es-ES" sz="1400">
                <a:solidFill>
                  <a:srgbClr val="C00000"/>
                </a:solidFill>
              </a:rPr>
              <a:t>The presence of </a:t>
            </a:r>
            <a:r>
              <a:rPr lang="en-US" altLang="es-ES" sz="1400" b="1">
                <a:solidFill>
                  <a:srgbClr val="C00000"/>
                </a:solidFill>
              </a:rPr>
              <a:t>t(4,14), t(14,16), 1q gain, or del13q </a:t>
            </a:r>
            <a:r>
              <a:rPr lang="en-US" altLang="es-ES" sz="1400">
                <a:solidFill>
                  <a:srgbClr val="C00000"/>
                </a:solidFill>
              </a:rPr>
              <a:t>was defined as an additional risk factor </a:t>
            </a:r>
          </a:p>
        </p:txBody>
      </p:sp>
      <p:graphicFrame>
        <p:nvGraphicFramePr>
          <p:cNvPr id="5" name="Table 4">
            <a:extLst>
              <a:ext uri="{FF2B5EF4-FFF2-40B4-BE49-F238E27FC236}">
                <a16:creationId xmlns:a16="http://schemas.microsoft.com/office/drawing/2014/main" id="{4C9817C3-22F8-454E-BDA2-1F7F98F05DB3}"/>
              </a:ext>
            </a:extLst>
          </p:cNvPr>
          <p:cNvGraphicFramePr>
            <a:graphicFrameLocks noGrp="1"/>
          </p:cNvGraphicFramePr>
          <p:nvPr/>
        </p:nvGraphicFramePr>
        <p:xfrm>
          <a:off x="314078" y="3297868"/>
          <a:ext cx="8515845" cy="1485900"/>
        </p:xfrm>
        <a:graphic>
          <a:graphicData uri="http://schemas.openxmlformats.org/drawingml/2006/table">
            <a:tbl>
              <a:tblPr firstRow="1" bandRow="1">
                <a:tableStyleId>{073A0DAA-6AF3-43AB-8588-CEC1D06C72B9}</a:tableStyleId>
              </a:tblPr>
              <a:tblGrid>
                <a:gridCol w="2317805">
                  <a:extLst>
                    <a:ext uri="{9D8B030D-6E8A-4147-A177-3AD203B41FA5}">
                      <a16:colId xmlns:a16="http://schemas.microsoft.com/office/drawing/2014/main" val="20000"/>
                    </a:ext>
                  </a:extLst>
                </a:gridCol>
                <a:gridCol w="1220525">
                  <a:extLst>
                    <a:ext uri="{9D8B030D-6E8A-4147-A177-3AD203B41FA5}">
                      <a16:colId xmlns:a16="http://schemas.microsoft.com/office/drawing/2014/main" val="20001"/>
                    </a:ext>
                  </a:extLst>
                </a:gridCol>
                <a:gridCol w="2099145">
                  <a:extLst>
                    <a:ext uri="{9D8B030D-6E8A-4147-A177-3AD203B41FA5}">
                      <a16:colId xmlns:a16="http://schemas.microsoft.com/office/drawing/2014/main" val="20002"/>
                    </a:ext>
                  </a:extLst>
                </a:gridCol>
                <a:gridCol w="1554479">
                  <a:extLst>
                    <a:ext uri="{9D8B030D-6E8A-4147-A177-3AD203B41FA5}">
                      <a16:colId xmlns:a16="http://schemas.microsoft.com/office/drawing/2014/main" val="20003"/>
                    </a:ext>
                  </a:extLst>
                </a:gridCol>
                <a:gridCol w="1323891">
                  <a:extLst>
                    <a:ext uri="{9D8B030D-6E8A-4147-A177-3AD203B41FA5}">
                      <a16:colId xmlns:a16="http://schemas.microsoft.com/office/drawing/2014/main" val="20004"/>
                    </a:ext>
                  </a:extLst>
                </a:gridCol>
              </a:tblGrid>
              <a:tr h="434340">
                <a:tc>
                  <a:txBody>
                    <a:bodyPr/>
                    <a:lstStyle/>
                    <a:p>
                      <a:r>
                        <a:rPr lang="en-CA" sz="1100">
                          <a:latin typeface="Arial" panose="020B0604020202020204" pitchFamily="34" charset="0"/>
                          <a:cs typeface="Arial" panose="020B0604020202020204" pitchFamily="34" charset="0"/>
                        </a:rPr>
                        <a:t>Risk-stratification groups</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tc>
                  <a:txBody>
                    <a:bodyPr/>
                    <a:lstStyle/>
                    <a:p>
                      <a:pPr algn="ctr"/>
                      <a:r>
                        <a:rPr lang="en-US" sz="1100">
                          <a:latin typeface="Arial" panose="020B0604020202020204" pitchFamily="34" charset="0"/>
                          <a:cs typeface="Arial" panose="020B0604020202020204" pitchFamily="34" charset="0"/>
                        </a:rPr>
                        <a:t>Number of risk factors</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tc>
                  <a:txBody>
                    <a:bodyPr/>
                    <a:lstStyle/>
                    <a:p>
                      <a:pPr algn="ctr"/>
                      <a:r>
                        <a:rPr lang="en-CA" sz="1100">
                          <a:latin typeface="Arial" panose="020B0604020202020204" pitchFamily="34" charset="0"/>
                          <a:cs typeface="Arial" panose="020B0604020202020204" pitchFamily="34" charset="0"/>
                        </a:rPr>
                        <a:t>Hazard ratio (95% CI)</a:t>
                      </a:r>
                    </a:p>
                    <a:p>
                      <a:pPr algn="ctr"/>
                      <a:r>
                        <a:rPr lang="en-CA" sz="1100">
                          <a:latin typeface="Arial" panose="020B0604020202020204" pitchFamily="34" charset="0"/>
                          <a:cs typeface="Arial" panose="020B0604020202020204" pitchFamily="34" charset="0"/>
                        </a:rPr>
                        <a:t>vs low-risk group</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tc>
                  <a:txBody>
                    <a:bodyPr/>
                    <a:lstStyle/>
                    <a:p>
                      <a:pPr algn="ctr"/>
                      <a:r>
                        <a:rPr lang="en-CA" sz="1100">
                          <a:latin typeface="Arial" panose="020B0604020202020204" pitchFamily="34" charset="0"/>
                          <a:cs typeface="Arial" panose="020B0604020202020204" pitchFamily="34" charset="0"/>
                        </a:rPr>
                        <a:t>Risk of progression at 2 years</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tc>
                  <a:txBody>
                    <a:bodyPr/>
                    <a:lstStyle/>
                    <a:p>
                      <a:pPr algn="ctr"/>
                      <a:r>
                        <a:rPr lang="en-CA" sz="1100">
                          <a:latin typeface="Arial" panose="020B0604020202020204" pitchFamily="34" charset="0"/>
                          <a:cs typeface="Arial" panose="020B0604020202020204" pitchFamily="34" charset="0"/>
                        </a:rPr>
                        <a:t>Number of patients</a:t>
                      </a:r>
                      <a:endParaRPr lang="en-US" sz="1100">
                        <a:solidFill>
                          <a:schemeClr val="bg1"/>
                        </a:solidFill>
                        <a:latin typeface="Arial" panose="020B0604020202020204" pitchFamily="34" charset="0"/>
                        <a:cs typeface="Arial" panose="020B0604020202020204" pitchFamily="34" charset="0"/>
                      </a:endParaRPr>
                    </a:p>
                  </a:txBody>
                  <a:tcPr anchor="ctr">
                    <a:solidFill>
                      <a:schemeClr val="tx2"/>
                    </a:solidFill>
                  </a:tcPr>
                </a:tc>
                <a:extLst>
                  <a:ext uri="{0D108BD9-81ED-4DB2-BD59-A6C34878D82A}">
                    <a16:rowId xmlns:a16="http://schemas.microsoft.com/office/drawing/2014/main" val="10000"/>
                  </a:ext>
                </a:extLst>
              </a:tr>
              <a:tr h="262890">
                <a:tc>
                  <a:txBody>
                    <a:bodyPr/>
                    <a:lstStyle/>
                    <a:p>
                      <a:r>
                        <a:rPr lang="en-CA" sz="1100" b="1">
                          <a:latin typeface="Arial" panose="020B0604020202020204" pitchFamily="34" charset="0"/>
                          <a:cs typeface="Arial" panose="020B0604020202020204" pitchFamily="34" charset="0"/>
                        </a:rPr>
                        <a:t>Low-risk group</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algn="ctr"/>
                      <a:r>
                        <a:rPr lang="en-US" sz="1100">
                          <a:latin typeface="Arial" panose="020B0604020202020204" pitchFamily="34" charset="0"/>
                          <a:cs typeface="Arial" panose="020B0604020202020204" pitchFamily="34" charset="0"/>
                        </a:rPr>
                        <a:t>0</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algn="ctr"/>
                      <a:r>
                        <a:rPr lang="en-US" sz="1100">
                          <a:latin typeface="Arial" panose="020B0604020202020204" pitchFamily="34" charset="0"/>
                          <a:cs typeface="Arial" panose="020B0604020202020204" pitchFamily="34" charset="0"/>
                        </a:rPr>
                        <a:t>Reference</a:t>
                      </a:r>
                      <a:endParaRPr lang="en-US" sz="1100" b="1">
                        <a:latin typeface="Arial" panose="020B0604020202020204" pitchFamily="34" charset="0"/>
                        <a:cs typeface="Arial" panose="020B0604020202020204" pitchFamily="34" charset="0"/>
                      </a:endParaRPr>
                    </a:p>
                  </a:txBody>
                  <a:tcPr anchor="ctr"/>
                </a:tc>
                <a:tc>
                  <a:txBody>
                    <a:bodyPr/>
                    <a:lstStyle/>
                    <a:p>
                      <a:pPr algn="ctr"/>
                      <a:r>
                        <a:rPr lang="en-US" sz="1100" b="1">
                          <a:solidFill>
                            <a:srgbClr val="C00000"/>
                          </a:solidFill>
                          <a:latin typeface="Arial" panose="020B0604020202020204" pitchFamily="34" charset="0"/>
                          <a:cs typeface="Arial" panose="020B0604020202020204" pitchFamily="34" charset="0"/>
                        </a:rPr>
                        <a:t>8%</a:t>
                      </a:r>
                    </a:p>
                  </a:txBody>
                  <a:tcPr anchor="ctr"/>
                </a:tc>
                <a:tc>
                  <a:txBody>
                    <a:bodyPr/>
                    <a:lstStyle/>
                    <a:p>
                      <a:pPr algn="ctr"/>
                      <a:r>
                        <a:rPr lang="en-US" sz="1100" b="1">
                          <a:latin typeface="Arial" panose="020B0604020202020204" pitchFamily="34" charset="0"/>
                          <a:cs typeface="Arial" panose="020B0604020202020204" pitchFamily="34" charset="0"/>
                        </a:rPr>
                        <a:t>232</a:t>
                      </a:r>
                      <a:endParaRPr lang="en-US" sz="1100" b="1">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1"/>
                  </a:ext>
                </a:extLst>
              </a:tr>
              <a:tr h="262890">
                <a:tc>
                  <a:txBody>
                    <a:bodyPr/>
                    <a:lstStyle/>
                    <a:p>
                      <a:r>
                        <a:rPr lang="en-CA" sz="1100" b="1">
                          <a:latin typeface="Arial" panose="020B0604020202020204" pitchFamily="34" charset="0"/>
                          <a:cs typeface="Arial" panose="020B0604020202020204" pitchFamily="34" charset="0"/>
                        </a:rPr>
                        <a:t>Low-intermediate-risk group</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algn="ctr"/>
                      <a:r>
                        <a:rPr lang="en-US" sz="1100">
                          <a:latin typeface="Arial" panose="020B0604020202020204" pitchFamily="34" charset="0"/>
                          <a:cs typeface="Arial" panose="020B0604020202020204" pitchFamily="34" charset="0"/>
                        </a:rPr>
                        <a:t>1</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algn="ctr"/>
                      <a:r>
                        <a:rPr lang="en-CA" sz="1100">
                          <a:latin typeface="Arial" panose="020B0604020202020204" pitchFamily="34" charset="0"/>
                          <a:cs typeface="Arial" panose="020B0604020202020204" pitchFamily="34" charset="0"/>
                        </a:rPr>
                        <a:t>2.25 (1.62, 3.11)</a:t>
                      </a:r>
                      <a:endParaRPr lang="en-US" sz="1100" b="1">
                        <a:latin typeface="Arial" panose="020B0604020202020204" pitchFamily="34" charset="0"/>
                        <a:cs typeface="Arial" panose="020B0604020202020204" pitchFamily="34" charset="0"/>
                      </a:endParaRPr>
                    </a:p>
                  </a:txBody>
                  <a:tcPr anchor="ctr"/>
                </a:tc>
                <a:tc>
                  <a:txBody>
                    <a:bodyPr/>
                    <a:lstStyle/>
                    <a:p>
                      <a:pPr algn="ctr"/>
                      <a:r>
                        <a:rPr lang="en-US" sz="1100" b="1">
                          <a:solidFill>
                            <a:srgbClr val="C00000"/>
                          </a:solidFill>
                          <a:latin typeface="Arial" panose="020B0604020202020204" pitchFamily="34" charset="0"/>
                          <a:cs typeface="Arial" panose="020B0604020202020204" pitchFamily="34" charset="0"/>
                        </a:rPr>
                        <a:t>21%</a:t>
                      </a:r>
                    </a:p>
                  </a:txBody>
                  <a:tcPr anchor="ctr"/>
                </a:tc>
                <a:tc>
                  <a:txBody>
                    <a:bodyPr/>
                    <a:lstStyle/>
                    <a:p>
                      <a:pPr algn="ctr"/>
                      <a:r>
                        <a:rPr lang="en-US" sz="1100" b="1">
                          <a:latin typeface="Arial" panose="020B0604020202020204" pitchFamily="34" charset="0"/>
                          <a:cs typeface="Arial" panose="020B0604020202020204" pitchFamily="34" charset="0"/>
                        </a:rPr>
                        <a:t>322</a:t>
                      </a:r>
                      <a:endParaRPr lang="en-US" sz="1100" b="1">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2"/>
                  </a:ext>
                </a:extLst>
              </a:tr>
              <a:tr h="262890">
                <a:tc>
                  <a:txBody>
                    <a:bodyPr/>
                    <a:lstStyle/>
                    <a:p>
                      <a:r>
                        <a:rPr lang="en-US" sz="1100" b="1">
                          <a:latin typeface="Arial" panose="020B0604020202020204" pitchFamily="34" charset="0"/>
                          <a:cs typeface="Arial" panose="020B0604020202020204" pitchFamily="34" charset="0"/>
                        </a:rPr>
                        <a:t>Intermediate-risk</a:t>
                      </a:r>
                      <a:r>
                        <a:rPr lang="en-US" sz="1100" b="1" baseline="0">
                          <a:latin typeface="Arial" panose="020B0604020202020204" pitchFamily="34" charset="0"/>
                          <a:cs typeface="Arial" panose="020B0604020202020204" pitchFamily="34" charset="0"/>
                        </a:rPr>
                        <a:t> group</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2</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3.69</a:t>
                      </a:r>
                      <a:r>
                        <a:rPr lang="en-US" sz="1100" baseline="0">
                          <a:latin typeface="Arial" panose="020B0604020202020204" pitchFamily="34" charset="0"/>
                          <a:cs typeface="Arial" panose="020B0604020202020204" pitchFamily="34" charset="0"/>
                        </a:rPr>
                        <a:t> (2.68, 5.09)</a:t>
                      </a:r>
                      <a:endParaRPr lang="en-US" sz="1100" b="1">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C00000"/>
                          </a:solidFill>
                          <a:latin typeface="Arial" panose="020B0604020202020204" pitchFamily="34" charset="0"/>
                          <a:cs typeface="Arial" panose="020B0604020202020204" pitchFamily="34" charset="0"/>
                        </a:rPr>
                        <a:t>3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latin typeface="Arial" panose="020B0604020202020204" pitchFamily="34" charset="0"/>
                          <a:cs typeface="Arial" panose="020B0604020202020204" pitchFamily="34" charset="0"/>
                        </a:rPr>
                        <a:t>253</a:t>
                      </a:r>
                      <a:endParaRPr lang="en-US" sz="1100" b="1">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3"/>
                  </a:ext>
                </a:extLst>
              </a:tr>
              <a:tr h="2628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b="1">
                          <a:latin typeface="Arial" panose="020B0604020202020204" pitchFamily="34" charset="0"/>
                          <a:cs typeface="Arial" panose="020B0604020202020204" pitchFamily="34" charset="0"/>
                        </a:rPr>
                        <a:t>High-risk group</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3</a:t>
                      </a:r>
                      <a:endParaRPr lang="en-US" sz="1100" b="1">
                        <a:solidFill>
                          <a:srgbClr val="FF0000"/>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7.52 (5.36,</a:t>
                      </a:r>
                      <a:r>
                        <a:rPr lang="en-US" sz="1100" baseline="0">
                          <a:latin typeface="Arial" panose="020B0604020202020204" pitchFamily="34" charset="0"/>
                          <a:cs typeface="Arial" panose="020B0604020202020204" pitchFamily="34" charset="0"/>
                        </a:rPr>
                        <a:t> 10.54)</a:t>
                      </a:r>
                      <a:endParaRPr lang="en-US" sz="1100" b="1">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C00000"/>
                          </a:solidFill>
                          <a:latin typeface="Arial" panose="020B0604020202020204" pitchFamily="34" charset="0"/>
                          <a:cs typeface="Arial" panose="020B0604020202020204" pitchFamily="34" charset="0"/>
                        </a:rPr>
                        <a:t>59%</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latin typeface="Arial" panose="020B0604020202020204" pitchFamily="34" charset="0"/>
                          <a:cs typeface="Arial" panose="020B0604020202020204" pitchFamily="34" charset="0"/>
                        </a:rPr>
                        <a:t>145</a:t>
                      </a:r>
                      <a:endParaRPr lang="en-US" sz="1100" b="1">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4"/>
                  </a:ext>
                </a:extLst>
              </a:tr>
            </a:tbl>
          </a:graphicData>
        </a:graphic>
      </p:graphicFrame>
      <p:grpSp>
        <p:nvGrpSpPr>
          <p:cNvPr id="2" name="Group 1">
            <a:extLst>
              <a:ext uri="{FF2B5EF4-FFF2-40B4-BE49-F238E27FC236}">
                <a16:creationId xmlns:a16="http://schemas.microsoft.com/office/drawing/2014/main" id="{AD49851C-17EA-4D55-A3B6-841D8CFF090E}"/>
              </a:ext>
            </a:extLst>
          </p:cNvPr>
          <p:cNvGrpSpPr/>
          <p:nvPr/>
        </p:nvGrpSpPr>
        <p:grpSpPr>
          <a:xfrm>
            <a:off x="240357" y="892802"/>
            <a:ext cx="5741095" cy="2276433"/>
            <a:chOff x="240357" y="892801"/>
            <a:chExt cx="5741095" cy="2276433"/>
          </a:xfrm>
        </p:grpSpPr>
        <p:sp>
          <p:nvSpPr>
            <p:cNvPr id="84011" name="Line 7">
              <a:extLst>
                <a:ext uri="{FF2B5EF4-FFF2-40B4-BE49-F238E27FC236}">
                  <a16:creationId xmlns:a16="http://schemas.microsoft.com/office/drawing/2014/main" id="{6ACE0E6C-BF72-ED47-A1CB-1DEABEDBAABE}"/>
                </a:ext>
              </a:extLst>
            </p:cNvPr>
            <p:cNvSpPr>
              <a:spLocks noChangeShapeType="1"/>
            </p:cNvSpPr>
            <p:nvPr/>
          </p:nvSpPr>
          <p:spPr bwMode="auto">
            <a:xfrm flipH="1">
              <a:off x="681655" y="2839766"/>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2" name="Line 8">
              <a:extLst>
                <a:ext uri="{FF2B5EF4-FFF2-40B4-BE49-F238E27FC236}">
                  <a16:creationId xmlns:a16="http://schemas.microsoft.com/office/drawing/2014/main" id="{285E3980-49E7-584F-B78B-1E5A09FA79D6}"/>
                </a:ext>
              </a:extLst>
            </p:cNvPr>
            <p:cNvSpPr>
              <a:spLocks noChangeShapeType="1"/>
            </p:cNvSpPr>
            <p:nvPr/>
          </p:nvSpPr>
          <p:spPr bwMode="auto">
            <a:xfrm flipH="1">
              <a:off x="681655" y="2648148"/>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3" name="Line 9">
              <a:extLst>
                <a:ext uri="{FF2B5EF4-FFF2-40B4-BE49-F238E27FC236}">
                  <a16:creationId xmlns:a16="http://schemas.microsoft.com/office/drawing/2014/main" id="{B1CAAA8B-E6AA-DE4F-B393-9BAC693C2C28}"/>
                </a:ext>
              </a:extLst>
            </p:cNvPr>
            <p:cNvSpPr>
              <a:spLocks noChangeShapeType="1"/>
            </p:cNvSpPr>
            <p:nvPr/>
          </p:nvSpPr>
          <p:spPr bwMode="auto">
            <a:xfrm flipH="1">
              <a:off x="681655" y="2458514"/>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4" name="Line 10">
              <a:extLst>
                <a:ext uri="{FF2B5EF4-FFF2-40B4-BE49-F238E27FC236}">
                  <a16:creationId xmlns:a16="http://schemas.microsoft.com/office/drawing/2014/main" id="{EECBEDDF-E747-2842-B152-167D4682CE0B}"/>
                </a:ext>
              </a:extLst>
            </p:cNvPr>
            <p:cNvSpPr>
              <a:spLocks noChangeShapeType="1"/>
            </p:cNvSpPr>
            <p:nvPr/>
          </p:nvSpPr>
          <p:spPr bwMode="auto">
            <a:xfrm flipH="1">
              <a:off x="681655" y="2269874"/>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5" name="Line 11">
              <a:extLst>
                <a:ext uri="{FF2B5EF4-FFF2-40B4-BE49-F238E27FC236}">
                  <a16:creationId xmlns:a16="http://schemas.microsoft.com/office/drawing/2014/main" id="{C88E220D-4440-EE4D-9FEA-6E8FC57AA28D}"/>
                </a:ext>
              </a:extLst>
            </p:cNvPr>
            <p:cNvSpPr>
              <a:spLocks noChangeShapeType="1"/>
            </p:cNvSpPr>
            <p:nvPr/>
          </p:nvSpPr>
          <p:spPr bwMode="auto">
            <a:xfrm flipH="1">
              <a:off x="681655" y="2077262"/>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6" name="Line 12">
              <a:extLst>
                <a:ext uri="{FF2B5EF4-FFF2-40B4-BE49-F238E27FC236}">
                  <a16:creationId xmlns:a16="http://schemas.microsoft.com/office/drawing/2014/main" id="{BE18A88F-7BF7-FB40-B3F2-510CFC419718}"/>
                </a:ext>
              </a:extLst>
            </p:cNvPr>
            <p:cNvSpPr>
              <a:spLocks noChangeShapeType="1"/>
            </p:cNvSpPr>
            <p:nvPr/>
          </p:nvSpPr>
          <p:spPr bwMode="auto">
            <a:xfrm flipH="1">
              <a:off x="681655" y="1888622"/>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7" name="Line 13">
              <a:extLst>
                <a:ext uri="{FF2B5EF4-FFF2-40B4-BE49-F238E27FC236}">
                  <a16:creationId xmlns:a16="http://schemas.microsoft.com/office/drawing/2014/main" id="{F84D152A-925B-7740-AD4F-4147763E6D5B}"/>
                </a:ext>
              </a:extLst>
            </p:cNvPr>
            <p:cNvSpPr>
              <a:spLocks noChangeShapeType="1"/>
            </p:cNvSpPr>
            <p:nvPr/>
          </p:nvSpPr>
          <p:spPr bwMode="auto">
            <a:xfrm flipH="1">
              <a:off x="681655" y="1699982"/>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8" name="Line 14">
              <a:extLst>
                <a:ext uri="{FF2B5EF4-FFF2-40B4-BE49-F238E27FC236}">
                  <a16:creationId xmlns:a16="http://schemas.microsoft.com/office/drawing/2014/main" id="{995358D7-9F04-1747-BCCE-D179026A0613}"/>
                </a:ext>
              </a:extLst>
            </p:cNvPr>
            <p:cNvSpPr>
              <a:spLocks noChangeShapeType="1"/>
            </p:cNvSpPr>
            <p:nvPr/>
          </p:nvSpPr>
          <p:spPr bwMode="auto">
            <a:xfrm flipH="1">
              <a:off x="681655" y="1507371"/>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19" name="Line 15">
              <a:extLst>
                <a:ext uri="{FF2B5EF4-FFF2-40B4-BE49-F238E27FC236}">
                  <a16:creationId xmlns:a16="http://schemas.microsoft.com/office/drawing/2014/main" id="{A21B0927-9A06-0C48-837F-583A7B9F03E4}"/>
                </a:ext>
              </a:extLst>
            </p:cNvPr>
            <p:cNvSpPr>
              <a:spLocks noChangeShapeType="1"/>
            </p:cNvSpPr>
            <p:nvPr/>
          </p:nvSpPr>
          <p:spPr bwMode="auto">
            <a:xfrm flipH="1">
              <a:off x="681655" y="1318730"/>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20" name="Line 16">
              <a:extLst>
                <a:ext uri="{FF2B5EF4-FFF2-40B4-BE49-F238E27FC236}">
                  <a16:creationId xmlns:a16="http://schemas.microsoft.com/office/drawing/2014/main" id="{A04C2A69-C827-EF40-AB97-DC034CE337A4}"/>
                </a:ext>
              </a:extLst>
            </p:cNvPr>
            <p:cNvSpPr>
              <a:spLocks noChangeShapeType="1"/>
            </p:cNvSpPr>
            <p:nvPr/>
          </p:nvSpPr>
          <p:spPr bwMode="auto">
            <a:xfrm flipH="1">
              <a:off x="681655" y="1126119"/>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21" name="Line 17">
              <a:extLst>
                <a:ext uri="{FF2B5EF4-FFF2-40B4-BE49-F238E27FC236}">
                  <a16:creationId xmlns:a16="http://schemas.microsoft.com/office/drawing/2014/main" id="{7210E271-80CC-984A-B83D-629CF214E836}"/>
                </a:ext>
              </a:extLst>
            </p:cNvPr>
            <p:cNvSpPr>
              <a:spLocks noChangeShapeType="1"/>
            </p:cNvSpPr>
            <p:nvPr/>
          </p:nvSpPr>
          <p:spPr bwMode="auto">
            <a:xfrm flipH="1">
              <a:off x="681655" y="937479"/>
              <a:ext cx="15118"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8" name="Rectangle 18">
              <a:extLst>
                <a:ext uri="{FF2B5EF4-FFF2-40B4-BE49-F238E27FC236}">
                  <a16:creationId xmlns:a16="http://schemas.microsoft.com/office/drawing/2014/main" id="{D8EACE0A-FA1D-4C46-8694-75AD9871DB25}"/>
                </a:ext>
              </a:extLst>
            </p:cNvPr>
            <p:cNvSpPr>
              <a:spLocks noChangeArrowheads="1"/>
            </p:cNvSpPr>
            <p:nvPr/>
          </p:nvSpPr>
          <p:spPr bwMode="auto">
            <a:xfrm rot="16200000">
              <a:off x="-371830" y="1779442"/>
              <a:ext cx="135133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Probability of progression, %</a:t>
              </a:r>
              <a:endParaRPr lang="en-US" altLang="en-US" sz="1350">
                <a:solidFill>
                  <a:prstClr val="black"/>
                </a:solidFill>
              </a:endParaRPr>
            </a:p>
          </p:txBody>
        </p:sp>
        <p:sp>
          <p:nvSpPr>
            <p:cNvPr id="19" name="Rectangle 19">
              <a:extLst>
                <a:ext uri="{FF2B5EF4-FFF2-40B4-BE49-F238E27FC236}">
                  <a16:creationId xmlns:a16="http://schemas.microsoft.com/office/drawing/2014/main" id="{E54D7918-429E-6147-A008-A64DA3CE21CF}"/>
                </a:ext>
              </a:extLst>
            </p:cNvPr>
            <p:cNvSpPr>
              <a:spLocks noChangeArrowheads="1"/>
            </p:cNvSpPr>
            <p:nvPr/>
          </p:nvSpPr>
          <p:spPr bwMode="auto">
            <a:xfrm>
              <a:off x="540374" y="279621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0</a:t>
              </a:r>
              <a:endParaRPr lang="en-US" altLang="en-US" sz="1350">
                <a:solidFill>
                  <a:prstClr val="black"/>
                </a:solidFill>
              </a:endParaRPr>
            </a:p>
          </p:txBody>
        </p:sp>
        <p:sp>
          <p:nvSpPr>
            <p:cNvPr id="20" name="Rectangle 20">
              <a:extLst>
                <a:ext uri="{FF2B5EF4-FFF2-40B4-BE49-F238E27FC236}">
                  <a16:creationId xmlns:a16="http://schemas.microsoft.com/office/drawing/2014/main" id="{199D5EEC-4812-5F4F-BA46-CDFDF9EF7600}"/>
                </a:ext>
              </a:extLst>
            </p:cNvPr>
            <p:cNvSpPr>
              <a:spLocks noChangeArrowheads="1"/>
            </p:cNvSpPr>
            <p:nvPr/>
          </p:nvSpPr>
          <p:spPr bwMode="auto">
            <a:xfrm>
              <a:off x="487987" y="2604126"/>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0</a:t>
              </a:r>
              <a:endParaRPr lang="en-US" altLang="en-US" sz="1350">
                <a:solidFill>
                  <a:prstClr val="black"/>
                </a:solidFill>
              </a:endParaRPr>
            </a:p>
          </p:txBody>
        </p:sp>
        <p:sp>
          <p:nvSpPr>
            <p:cNvPr id="21" name="Rectangle 21">
              <a:extLst>
                <a:ext uri="{FF2B5EF4-FFF2-40B4-BE49-F238E27FC236}">
                  <a16:creationId xmlns:a16="http://schemas.microsoft.com/office/drawing/2014/main" id="{7D1F0FB2-9DAD-4F43-880B-07E670D5BAA4}"/>
                </a:ext>
              </a:extLst>
            </p:cNvPr>
            <p:cNvSpPr>
              <a:spLocks noChangeArrowheads="1"/>
            </p:cNvSpPr>
            <p:nvPr/>
          </p:nvSpPr>
          <p:spPr bwMode="auto">
            <a:xfrm>
              <a:off x="487987" y="2413626"/>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20</a:t>
              </a:r>
              <a:endParaRPr lang="en-US" altLang="en-US" sz="1350">
                <a:solidFill>
                  <a:prstClr val="black"/>
                </a:solidFill>
              </a:endParaRPr>
            </a:p>
          </p:txBody>
        </p:sp>
        <p:sp>
          <p:nvSpPr>
            <p:cNvPr id="22" name="Rectangle 22">
              <a:extLst>
                <a:ext uri="{FF2B5EF4-FFF2-40B4-BE49-F238E27FC236}">
                  <a16:creationId xmlns:a16="http://schemas.microsoft.com/office/drawing/2014/main" id="{7F10515F-5B42-514F-A4BD-E2C2901C9636}"/>
                </a:ext>
              </a:extLst>
            </p:cNvPr>
            <p:cNvSpPr>
              <a:spLocks noChangeArrowheads="1"/>
            </p:cNvSpPr>
            <p:nvPr/>
          </p:nvSpPr>
          <p:spPr bwMode="auto">
            <a:xfrm>
              <a:off x="487987" y="222471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30</a:t>
              </a:r>
              <a:endParaRPr lang="en-US" altLang="en-US" sz="1350">
                <a:solidFill>
                  <a:prstClr val="black"/>
                </a:solidFill>
              </a:endParaRPr>
            </a:p>
          </p:txBody>
        </p:sp>
        <p:sp>
          <p:nvSpPr>
            <p:cNvPr id="23" name="Rectangle 23">
              <a:extLst>
                <a:ext uri="{FF2B5EF4-FFF2-40B4-BE49-F238E27FC236}">
                  <a16:creationId xmlns:a16="http://schemas.microsoft.com/office/drawing/2014/main" id="{258412EB-9262-B645-AEC0-AF4EF755C7ED}"/>
                </a:ext>
              </a:extLst>
            </p:cNvPr>
            <p:cNvSpPr>
              <a:spLocks noChangeArrowheads="1"/>
            </p:cNvSpPr>
            <p:nvPr/>
          </p:nvSpPr>
          <p:spPr bwMode="auto">
            <a:xfrm>
              <a:off x="487987" y="2032626"/>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40</a:t>
              </a:r>
              <a:endParaRPr lang="en-US" altLang="en-US" sz="1350">
                <a:solidFill>
                  <a:prstClr val="black"/>
                </a:solidFill>
              </a:endParaRPr>
            </a:p>
          </p:txBody>
        </p:sp>
        <p:sp>
          <p:nvSpPr>
            <p:cNvPr id="24" name="Rectangle 24">
              <a:extLst>
                <a:ext uri="{FF2B5EF4-FFF2-40B4-BE49-F238E27FC236}">
                  <a16:creationId xmlns:a16="http://schemas.microsoft.com/office/drawing/2014/main" id="{5B620B2A-BD84-B642-8A35-B439231E0971}"/>
                </a:ext>
              </a:extLst>
            </p:cNvPr>
            <p:cNvSpPr>
              <a:spLocks noChangeArrowheads="1"/>
            </p:cNvSpPr>
            <p:nvPr/>
          </p:nvSpPr>
          <p:spPr bwMode="auto">
            <a:xfrm>
              <a:off x="487987" y="184371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50</a:t>
              </a:r>
              <a:endParaRPr lang="en-US" altLang="en-US" sz="1350">
                <a:solidFill>
                  <a:prstClr val="black"/>
                </a:solidFill>
              </a:endParaRPr>
            </a:p>
          </p:txBody>
        </p:sp>
        <p:sp>
          <p:nvSpPr>
            <p:cNvPr id="25" name="Rectangle 25">
              <a:extLst>
                <a:ext uri="{FF2B5EF4-FFF2-40B4-BE49-F238E27FC236}">
                  <a16:creationId xmlns:a16="http://schemas.microsoft.com/office/drawing/2014/main" id="{FEA695DB-84AE-694F-8308-3E5448161BDB}"/>
                </a:ext>
              </a:extLst>
            </p:cNvPr>
            <p:cNvSpPr>
              <a:spLocks noChangeArrowheads="1"/>
            </p:cNvSpPr>
            <p:nvPr/>
          </p:nvSpPr>
          <p:spPr bwMode="auto">
            <a:xfrm>
              <a:off x="487987" y="1651626"/>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60</a:t>
              </a:r>
              <a:endParaRPr lang="en-US" altLang="en-US" sz="1350">
                <a:solidFill>
                  <a:prstClr val="black"/>
                </a:solidFill>
              </a:endParaRPr>
            </a:p>
          </p:txBody>
        </p:sp>
        <p:sp>
          <p:nvSpPr>
            <p:cNvPr id="26" name="Rectangle 26">
              <a:extLst>
                <a:ext uri="{FF2B5EF4-FFF2-40B4-BE49-F238E27FC236}">
                  <a16:creationId xmlns:a16="http://schemas.microsoft.com/office/drawing/2014/main" id="{980F23DF-6A63-804F-AB03-574975B2EA3F}"/>
                </a:ext>
              </a:extLst>
            </p:cNvPr>
            <p:cNvSpPr>
              <a:spLocks noChangeArrowheads="1"/>
            </p:cNvSpPr>
            <p:nvPr/>
          </p:nvSpPr>
          <p:spPr bwMode="auto">
            <a:xfrm>
              <a:off x="487987" y="146271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70</a:t>
              </a:r>
              <a:endParaRPr lang="en-US" altLang="en-US" sz="1350">
                <a:solidFill>
                  <a:prstClr val="black"/>
                </a:solidFill>
              </a:endParaRPr>
            </a:p>
          </p:txBody>
        </p:sp>
        <p:sp>
          <p:nvSpPr>
            <p:cNvPr id="27" name="Rectangle 27">
              <a:extLst>
                <a:ext uri="{FF2B5EF4-FFF2-40B4-BE49-F238E27FC236}">
                  <a16:creationId xmlns:a16="http://schemas.microsoft.com/office/drawing/2014/main" id="{6C63E0C2-A219-8247-8F28-ACA6C9715CC6}"/>
                </a:ext>
              </a:extLst>
            </p:cNvPr>
            <p:cNvSpPr>
              <a:spLocks noChangeArrowheads="1"/>
            </p:cNvSpPr>
            <p:nvPr/>
          </p:nvSpPr>
          <p:spPr bwMode="auto">
            <a:xfrm>
              <a:off x="487987" y="1273801"/>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80</a:t>
              </a:r>
              <a:endParaRPr lang="en-US" altLang="en-US" sz="1350">
                <a:solidFill>
                  <a:prstClr val="black"/>
                </a:solidFill>
              </a:endParaRPr>
            </a:p>
          </p:txBody>
        </p:sp>
        <p:sp>
          <p:nvSpPr>
            <p:cNvPr id="28" name="Rectangle 28">
              <a:extLst>
                <a:ext uri="{FF2B5EF4-FFF2-40B4-BE49-F238E27FC236}">
                  <a16:creationId xmlns:a16="http://schemas.microsoft.com/office/drawing/2014/main" id="{7F7B6B0F-ED94-7D44-9374-3871A5121FEA}"/>
                </a:ext>
              </a:extLst>
            </p:cNvPr>
            <p:cNvSpPr>
              <a:spLocks noChangeArrowheads="1"/>
            </p:cNvSpPr>
            <p:nvPr/>
          </p:nvSpPr>
          <p:spPr bwMode="auto">
            <a:xfrm>
              <a:off x="487987" y="108171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90</a:t>
              </a:r>
              <a:endParaRPr lang="en-US" altLang="en-US" sz="1350">
                <a:solidFill>
                  <a:prstClr val="black"/>
                </a:solidFill>
              </a:endParaRPr>
            </a:p>
          </p:txBody>
        </p:sp>
        <p:sp>
          <p:nvSpPr>
            <p:cNvPr id="29" name="Rectangle 29">
              <a:extLst>
                <a:ext uri="{FF2B5EF4-FFF2-40B4-BE49-F238E27FC236}">
                  <a16:creationId xmlns:a16="http://schemas.microsoft.com/office/drawing/2014/main" id="{AD07AA64-A638-8B4D-A3FD-139839CAF867}"/>
                </a:ext>
              </a:extLst>
            </p:cNvPr>
            <p:cNvSpPr>
              <a:spLocks noChangeArrowheads="1"/>
            </p:cNvSpPr>
            <p:nvPr/>
          </p:nvSpPr>
          <p:spPr bwMode="auto">
            <a:xfrm>
              <a:off x="435599" y="892801"/>
              <a:ext cx="177934"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00</a:t>
              </a:r>
              <a:endParaRPr lang="en-US" altLang="en-US" sz="1350">
                <a:solidFill>
                  <a:prstClr val="black"/>
                </a:solidFill>
              </a:endParaRPr>
            </a:p>
          </p:txBody>
        </p:sp>
        <p:sp>
          <p:nvSpPr>
            <p:cNvPr id="84034" name="Line 30">
              <a:extLst>
                <a:ext uri="{FF2B5EF4-FFF2-40B4-BE49-F238E27FC236}">
                  <a16:creationId xmlns:a16="http://schemas.microsoft.com/office/drawing/2014/main" id="{C66F54F9-6CEF-B745-AAE8-2285AC85978D}"/>
                </a:ext>
              </a:extLst>
            </p:cNvPr>
            <p:cNvSpPr>
              <a:spLocks noChangeShapeType="1"/>
            </p:cNvSpPr>
            <p:nvPr/>
          </p:nvSpPr>
          <p:spPr bwMode="auto">
            <a:xfrm>
              <a:off x="925869"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5" name="Line 31">
              <a:extLst>
                <a:ext uri="{FF2B5EF4-FFF2-40B4-BE49-F238E27FC236}">
                  <a16:creationId xmlns:a16="http://schemas.microsoft.com/office/drawing/2014/main" id="{FA53CFE3-A82C-D845-8A1B-B258496B8A04}"/>
                </a:ext>
              </a:extLst>
            </p:cNvPr>
            <p:cNvSpPr>
              <a:spLocks noChangeShapeType="1"/>
            </p:cNvSpPr>
            <p:nvPr/>
          </p:nvSpPr>
          <p:spPr bwMode="auto">
            <a:xfrm>
              <a:off x="1457324"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6" name="Line 32">
              <a:extLst>
                <a:ext uri="{FF2B5EF4-FFF2-40B4-BE49-F238E27FC236}">
                  <a16:creationId xmlns:a16="http://schemas.microsoft.com/office/drawing/2014/main" id="{30C36007-422C-884A-833F-326AEA0CF39F}"/>
                </a:ext>
              </a:extLst>
            </p:cNvPr>
            <p:cNvSpPr>
              <a:spLocks noChangeShapeType="1"/>
            </p:cNvSpPr>
            <p:nvPr/>
          </p:nvSpPr>
          <p:spPr bwMode="auto">
            <a:xfrm>
              <a:off x="1989943"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7" name="Line 33">
              <a:extLst>
                <a:ext uri="{FF2B5EF4-FFF2-40B4-BE49-F238E27FC236}">
                  <a16:creationId xmlns:a16="http://schemas.microsoft.com/office/drawing/2014/main" id="{7C066688-B992-B342-8F48-8EE1AA6D295C}"/>
                </a:ext>
              </a:extLst>
            </p:cNvPr>
            <p:cNvSpPr>
              <a:spLocks noChangeShapeType="1"/>
            </p:cNvSpPr>
            <p:nvPr/>
          </p:nvSpPr>
          <p:spPr bwMode="auto">
            <a:xfrm>
              <a:off x="2517909"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8" name="Line 34">
              <a:extLst>
                <a:ext uri="{FF2B5EF4-FFF2-40B4-BE49-F238E27FC236}">
                  <a16:creationId xmlns:a16="http://schemas.microsoft.com/office/drawing/2014/main" id="{AF7148C0-7F93-9945-81CD-2280A13D1ECD}"/>
                </a:ext>
              </a:extLst>
            </p:cNvPr>
            <p:cNvSpPr>
              <a:spLocks noChangeShapeType="1"/>
            </p:cNvSpPr>
            <p:nvPr/>
          </p:nvSpPr>
          <p:spPr bwMode="auto">
            <a:xfrm>
              <a:off x="3050527"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39" name="Line 35">
              <a:extLst>
                <a:ext uri="{FF2B5EF4-FFF2-40B4-BE49-F238E27FC236}">
                  <a16:creationId xmlns:a16="http://schemas.microsoft.com/office/drawing/2014/main" id="{7C905E53-85A2-1A47-B57C-A9E0D48071B9}"/>
                </a:ext>
              </a:extLst>
            </p:cNvPr>
            <p:cNvSpPr>
              <a:spLocks noChangeShapeType="1"/>
            </p:cNvSpPr>
            <p:nvPr/>
          </p:nvSpPr>
          <p:spPr bwMode="auto">
            <a:xfrm>
              <a:off x="3581982"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40" name="Line 36">
              <a:extLst>
                <a:ext uri="{FF2B5EF4-FFF2-40B4-BE49-F238E27FC236}">
                  <a16:creationId xmlns:a16="http://schemas.microsoft.com/office/drawing/2014/main" id="{707CF64C-3960-8341-A85B-D09E99CC92FD}"/>
                </a:ext>
              </a:extLst>
            </p:cNvPr>
            <p:cNvSpPr>
              <a:spLocks noChangeShapeType="1"/>
            </p:cNvSpPr>
            <p:nvPr/>
          </p:nvSpPr>
          <p:spPr bwMode="auto">
            <a:xfrm>
              <a:off x="4114600"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41" name="Line 37">
              <a:extLst>
                <a:ext uri="{FF2B5EF4-FFF2-40B4-BE49-F238E27FC236}">
                  <a16:creationId xmlns:a16="http://schemas.microsoft.com/office/drawing/2014/main" id="{FF3F8B23-2DF6-F641-B893-323FAD7E1FFE}"/>
                </a:ext>
              </a:extLst>
            </p:cNvPr>
            <p:cNvSpPr>
              <a:spLocks noChangeShapeType="1"/>
            </p:cNvSpPr>
            <p:nvPr/>
          </p:nvSpPr>
          <p:spPr bwMode="auto">
            <a:xfrm>
              <a:off x="4647218"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42" name="Line 38">
              <a:extLst>
                <a:ext uri="{FF2B5EF4-FFF2-40B4-BE49-F238E27FC236}">
                  <a16:creationId xmlns:a16="http://schemas.microsoft.com/office/drawing/2014/main" id="{921F0170-025A-334C-BDEC-768A43852994}"/>
                </a:ext>
              </a:extLst>
            </p:cNvPr>
            <p:cNvSpPr>
              <a:spLocks noChangeShapeType="1"/>
            </p:cNvSpPr>
            <p:nvPr/>
          </p:nvSpPr>
          <p:spPr bwMode="auto">
            <a:xfrm>
              <a:off x="5178674"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43" name="Line 39">
              <a:extLst>
                <a:ext uri="{FF2B5EF4-FFF2-40B4-BE49-F238E27FC236}">
                  <a16:creationId xmlns:a16="http://schemas.microsoft.com/office/drawing/2014/main" id="{F369EC94-3852-3847-98CC-9EBCD8A662AB}"/>
                </a:ext>
              </a:extLst>
            </p:cNvPr>
            <p:cNvSpPr>
              <a:spLocks noChangeShapeType="1"/>
            </p:cNvSpPr>
            <p:nvPr/>
          </p:nvSpPr>
          <p:spPr bwMode="auto">
            <a:xfrm>
              <a:off x="5711292" y="2862602"/>
              <a:ext cx="0" cy="18864"/>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40" name="Rectangle 40">
              <a:extLst>
                <a:ext uri="{FF2B5EF4-FFF2-40B4-BE49-F238E27FC236}">
                  <a16:creationId xmlns:a16="http://schemas.microsoft.com/office/drawing/2014/main" id="{5C6E76BD-3FE6-614E-967A-3587ABE28F63}"/>
                </a:ext>
              </a:extLst>
            </p:cNvPr>
            <p:cNvSpPr>
              <a:spLocks noChangeArrowheads="1"/>
            </p:cNvSpPr>
            <p:nvPr/>
          </p:nvSpPr>
          <p:spPr bwMode="auto">
            <a:xfrm>
              <a:off x="2701677" y="3042276"/>
              <a:ext cx="125515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Time to progression, years</a:t>
              </a:r>
              <a:endParaRPr lang="en-US" altLang="en-US" sz="1350">
                <a:solidFill>
                  <a:prstClr val="black"/>
                </a:solidFill>
              </a:endParaRPr>
            </a:p>
          </p:txBody>
        </p:sp>
        <p:sp>
          <p:nvSpPr>
            <p:cNvPr id="41" name="Rectangle 41">
              <a:extLst>
                <a:ext uri="{FF2B5EF4-FFF2-40B4-BE49-F238E27FC236}">
                  <a16:creationId xmlns:a16="http://schemas.microsoft.com/office/drawing/2014/main" id="{5D50C54A-6BC7-4743-BEB0-90A7551DB931}"/>
                </a:ext>
              </a:extLst>
            </p:cNvPr>
            <p:cNvSpPr>
              <a:spLocks noChangeArrowheads="1"/>
            </p:cNvSpPr>
            <p:nvPr/>
          </p:nvSpPr>
          <p:spPr bwMode="auto">
            <a:xfrm>
              <a:off x="899864"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0</a:t>
              </a:r>
              <a:endParaRPr lang="en-US" altLang="en-US" sz="1350">
                <a:solidFill>
                  <a:prstClr val="black"/>
                </a:solidFill>
              </a:endParaRPr>
            </a:p>
          </p:txBody>
        </p:sp>
        <p:sp>
          <p:nvSpPr>
            <p:cNvPr id="42" name="Rectangle 42">
              <a:extLst>
                <a:ext uri="{FF2B5EF4-FFF2-40B4-BE49-F238E27FC236}">
                  <a16:creationId xmlns:a16="http://schemas.microsoft.com/office/drawing/2014/main" id="{FECF7E3B-5508-FD46-93F2-500182C9CA45}"/>
                </a:ext>
              </a:extLst>
            </p:cNvPr>
            <p:cNvSpPr>
              <a:spLocks noChangeArrowheads="1"/>
            </p:cNvSpPr>
            <p:nvPr/>
          </p:nvSpPr>
          <p:spPr bwMode="auto">
            <a:xfrm>
              <a:off x="1431677"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2</a:t>
              </a:r>
              <a:endParaRPr lang="en-US" altLang="en-US" sz="1350">
                <a:solidFill>
                  <a:prstClr val="black"/>
                </a:solidFill>
              </a:endParaRPr>
            </a:p>
          </p:txBody>
        </p:sp>
        <p:sp>
          <p:nvSpPr>
            <p:cNvPr id="43" name="Rectangle 43">
              <a:extLst>
                <a:ext uri="{FF2B5EF4-FFF2-40B4-BE49-F238E27FC236}">
                  <a16:creationId xmlns:a16="http://schemas.microsoft.com/office/drawing/2014/main" id="{0DAF7157-B62A-6C45-8A77-2E23AE34EE6C}"/>
                </a:ext>
              </a:extLst>
            </p:cNvPr>
            <p:cNvSpPr>
              <a:spLocks noChangeArrowheads="1"/>
            </p:cNvSpPr>
            <p:nvPr/>
          </p:nvSpPr>
          <p:spPr bwMode="auto">
            <a:xfrm>
              <a:off x="1963489"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4</a:t>
              </a:r>
              <a:endParaRPr lang="en-US" altLang="en-US" sz="1350">
                <a:solidFill>
                  <a:prstClr val="black"/>
                </a:solidFill>
              </a:endParaRPr>
            </a:p>
          </p:txBody>
        </p:sp>
        <p:sp>
          <p:nvSpPr>
            <p:cNvPr id="44" name="Rectangle 44">
              <a:extLst>
                <a:ext uri="{FF2B5EF4-FFF2-40B4-BE49-F238E27FC236}">
                  <a16:creationId xmlns:a16="http://schemas.microsoft.com/office/drawing/2014/main" id="{03FCF642-3478-D441-8328-E41DE65BB315}"/>
                </a:ext>
              </a:extLst>
            </p:cNvPr>
            <p:cNvSpPr>
              <a:spLocks noChangeArrowheads="1"/>
            </p:cNvSpPr>
            <p:nvPr/>
          </p:nvSpPr>
          <p:spPr bwMode="auto">
            <a:xfrm>
              <a:off x="2492127"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6</a:t>
              </a:r>
              <a:endParaRPr lang="en-US" altLang="en-US" sz="1350">
                <a:solidFill>
                  <a:prstClr val="black"/>
                </a:solidFill>
              </a:endParaRPr>
            </a:p>
          </p:txBody>
        </p:sp>
        <p:sp>
          <p:nvSpPr>
            <p:cNvPr id="45" name="Rectangle 45">
              <a:extLst>
                <a:ext uri="{FF2B5EF4-FFF2-40B4-BE49-F238E27FC236}">
                  <a16:creationId xmlns:a16="http://schemas.microsoft.com/office/drawing/2014/main" id="{5454C5A4-52B0-2C45-A318-5C615AFAD6AC}"/>
                </a:ext>
              </a:extLst>
            </p:cNvPr>
            <p:cNvSpPr>
              <a:spLocks noChangeArrowheads="1"/>
            </p:cNvSpPr>
            <p:nvPr/>
          </p:nvSpPr>
          <p:spPr bwMode="auto">
            <a:xfrm>
              <a:off x="3023939" y="2904163"/>
              <a:ext cx="5931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8</a:t>
              </a:r>
              <a:endParaRPr lang="en-US" altLang="en-US" sz="1350">
                <a:solidFill>
                  <a:prstClr val="black"/>
                </a:solidFill>
              </a:endParaRPr>
            </a:p>
          </p:txBody>
        </p:sp>
        <p:sp>
          <p:nvSpPr>
            <p:cNvPr id="46" name="Rectangle 46">
              <a:extLst>
                <a:ext uri="{FF2B5EF4-FFF2-40B4-BE49-F238E27FC236}">
                  <a16:creationId xmlns:a16="http://schemas.microsoft.com/office/drawing/2014/main" id="{99ABAEF2-FCD9-0F41-8CF6-4DEE1A9E9D24}"/>
                </a:ext>
              </a:extLst>
            </p:cNvPr>
            <p:cNvSpPr>
              <a:spLocks noChangeArrowheads="1"/>
            </p:cNvSpPr>
            <p:nvPr/>
          </p:nvSpPr>
          <p:spPr bwMode="auto">
            <a:xfrm>
              <a:off x="3530352"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0</a:t>
              </a:r>
              <a:endParaRPr lang="en-US" altLang="en-US" sz="1350">
                <a:solidFill>
                  <a:prstClr val="black"/>
                </a:solidFill>
              </a:endParaRPr>
            </a:p>
          </p:txBody>
        </p:sp>
        <p:sp>
          <p:nvSpPr>
            <p:cNvPr id="47" name="Rectangle 47">
              <a:extLst>
                <a:ext uri="{FF2B5EF4-FFF2-40B4-BE49-F238E27FC236}">
                  <a16:creationId xmlns:a16="http://schemas.microsoft.com/office/drawing/2014/main" id="{44F83507-415D-964C-99AE-65E3A0877091}"/>
                </a:ext>
              </a:extLst>
            </p:cNvPr>
            <p:cNvSpPr>
              <a:spLocks noChangeArrowheads="1"/>
            </p:cNvSpPr>
            <p:nvPr/>
          </p:nvSpPr>
          <p:spPr bwMode="auto">
            <a:xfrm>
              <a:off x="4062164"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2</a:t>
              </a:r>
              <a:endParaRPr lang="en-US" altLang="en-US" sz="1350">
                <a:solidFill>
                  <a:prstClr val="black"/>
                </a:solidFill>
              </a:endParaRPr>
            </a:p>
          </p:txBody>
        </p:sp>
        <p:sp>
          <p:nvSpPr>
            <p:cNvPr id="48" name="Rectangle 48">
              <a:extLst>
                <a:ext uri="{FF2B5EF4-FFF2-40B4-BE49-F238E27FC236}">
                  <a16:creationId xmlns:a16="http://schemas.microsoft.com/office/drawing/2014/main" id="{72088E89-2FE1-864A-B170-B4B13350740D}"/>
                </a:ext>
              </a:extLst>
            </p:cNvPr>
            <p:cNvSpPr>
              <a:spLocks noChangeArrowheads="1"/>
            </p:cNvSpPr>
            <p:nvPr/>
          </p:nvSpPr>
          <p:spPr bwMode="auto">
            <a:xfrm>
              <a:off x="4595564"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4</a:t>
              </a:r>
              <a:endParaRPr lang="en-US" altLang="en-US" sz="1350">
                <a:solidFill>
                  <a:prstClr val="black"/>
                </a:solidFill>
              </a:endParaRPr>
            </a:p>
          </p:txBody>
        </p:sp>
        <p:sp>
          <p:nvSpPr>
            <p:cNvPr id="49" name="Rectangle 49">
              <a:extLst>
                <a:ext uri="{FF2B5EF4-FFF2-40B4-BE49-F238E27FC236}">
                  <a16:creationId xmlns:a16="http://schemas.microsoft.com/office/drawing/2014/main" id="{F58E0C86-E564-0344-9A77-52FC72E87611}"/>
                </a:ext>
              </a:extLst>
            </p:cNvPr>
            <p:cNvSpPr>
              <a:spLocks noChangeArrowheads="1"/>
            </p:cNvSpPr>
            <p:nvPr/>
          </p:nvSpPr>
          <p:spPr bwMode="auto">
            <a:xfrm>
              <a:off x="5125789"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6</a:t>
              </a:r>
              <a:endParaRPr lang="en-US" altLang="en-US" sz="1350">
                <a:solidFill>
                  <a:prstClr val="black"/>
                </a:solidFill>
              </a:endParaRPr>
            </a:p>
          </p:txBody>
        </p:sp>
        <p:sp>
          <p:nvSpPr>
            <p:cNvPr id="50" name="Rectangle 50">
              <a:extLst>
                <a:ext uri="{FF2B5EF4-FFF2-40B4-BE49-F238E27FC236}">
                  <a16:creationId xmlns:a16="http://schemas.microsoft.com/office/drawing/2014/main" id="{DD426527-0A24-624E-B8CB-75C786E4DAC0}"/>
                </a:ext>
              </a:extLst>
            </p:cNvPr>
            <p:cNvSpPr>
              <a:spLocks noChangeArrowheads="1"/>
            </p:cNvSpPr>
            <p:nvPr/>
          </p:nvSpPr>
          <p:spPr bwMode="auto">
            <a:xfrm>
              <a:off x="5659189" y="2904163"/>
              <a:ext cx="118622" cy="12695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83">
                <a:defRPr/>
              </a:pPr>
              <a:r>
                <a:rPr lang="en-US" altLang="en-US" sz="825">
                  <a:solidFill>
                    <a:srgbClr val="000000"/>
                  </a:solidFill>
                </a:rPr>
                <a:t>18</a:t>
              </a:r>
              <a:endParaRPr lang="en-US" altLang="en-US" sz="1350">
                <a:solidFill>
                  <a:prstClr val="black"/>
                </a:solidFill>
              </a:endParaRPr>
            </a:p>
          </p:txBody>
        </p:sp>
        <p:sp>
          <p:nvSpPr>
            <p:cNvPr id="84055" name="Freeform 60">
              <a:extLst>
                <a:ext uri="{FF2B5EF4-FFF2-40B4-BE49-F238E27FC236}">
                  <a16:creationId xmlns:a16="http://schemas.microsoft.com/office/drawing/2014/main" id="{20870F25-182A-F441-A1C1-48259C256DB4}"/>
                </a:ext>
              </a:extLst>
            </p:cNvPr>
            <p:cNvSpPr>
              <a:spLocks/>
            </p:cNvSpPr>
            <p:nvPr/>
          </p:nvSpPr>
          <p:spPr bwMode="auto">
            <a:xfrm>
              <a:off x="921217" y="2836788"/>
              <a:ext cx="86056" cy="9928"/>
            </a:xfrm>
            <a:custGeom>
              <a:avLst/>
              <a:gdLst>
                <a:gd name="T0" fmla="*/ 2147483646 w 74"/>
                <a:gd name="T1" fmla="*/ 2147483646 h 10"/>
                <a:gd name="T2" fmla="*/ 0 w 74"/>
                <a:gd name="T3" fmla="*/ 2147483646 h 10"/>
                <a:gd name="T4" fmla="*/ 0 w 74"/>
                <a:gd name="T5" fmla="*/ 2147483646 h 10"/>
                <a:gd name="T6" fmla="*/ 0 w 74"/>
                <a:gd name="T7" fmla="*/ 2147483646 h 10"/>
                <a:gd name="T8" fmla="*/ 0 w 74"/>
                <a:gd name="T9" fmla="*/ 0 h 10"/>
                <a:gd name="T10" fmla="*/ 2147483646 w 74"/>
                <a:gd name="T11" fmla="*/ 0 h 10"/>
                <a:gd name="T12" fmla="*/ 2147483646 w 74"/>
                <a:gd name="T13" fmla="*/ 0 h 10"/>
                <a:gd name="T14" fmla="*/ 2147483646 w 74"/>
                <a:gd name="T15" fmla="*/ 0 h 10"/>
                <a:gd name="T16" fmla="*/ 2147483646 w 74"/>
                <a:gd name="T17" fmla="*/ 2147483646 h 10"/>
                <a:gd name="T18" fmla="*/ 2147483646 w 74"/>
                <a:gd name="T19" fmla="*/ 2147483646 h 10"/>
                <a:gd name="T20" fmla="*/ 2147483646 w 74"/>
                <a:gd name="T21" fmla="*/ 2147483646 h 10"/>
                <a:gd name="T22" fmla="*/ 2147483646 w 74"/>
                <a:gd name="T23" fmla="*/ 2147483646 h 10"/>
                <a:gd name="T24" fmla="*/ 2147483646 w 7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0">
                  <a:moveTo>
                    <a:pt x="4" y="10"/>
                  </a:moveTo>
                  <a:lnTo>
                    <a:pt x="0" y="7"/>
                  </a:lnTo>
                  <a:lnTo>
                    <a:pt x="0" y="3"/>
                  </a:lnTo>
                  <a:lnTo>
                    <a:pt x="0" y="0"/>
                  </a:lnTo>
                  <a:lnTo>
                    <a:pt x="4" y="0"/>
                  </a:lnTo>
                  <a:lnTo>
                    <a:pt x="71" y="0"/>
                  </a:lnTo>
                  <a:lnTo>
                    <a:pt x="74" y="0"/>
                  </a:lnTo>
                  <a:lnTo>
                    <a:pt x="74" y="3"/>
                  </a:lnTo>
                  <a:lnTo>
                    <a:pt x="74" y="7"/>
                  </a:lnTo>
                  <a:lnTo>
                    <a:pt x="71"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56" name="Freeform 61">
              <a:extLst>
                <a:ext uri="{FF2B5EF4-FFF2-40B4-BE49-F238E27FC236}">
                  <a16:creationId xmlns:a16="http://schemas.microsoft.com/office/drawing/2014/main" id="{DEC67DB2-C1A5-B047-B9E1-C5656716BBB0}"/>
                </a:ext>
              </a:extLst>
            </p:cNvPr>
            <p:cNvSpPr>
              <a:spLocks/>
            </p:cNvSpPr>
            <p:nvPr/>
          </p:nvSpPr>
          <p:spPr bwMode="auto">
            <a:xfrm>
              <a:off x="1000296" y="2836788"/>
              <a:ext cx="45354" cy="9928"/>
            </a:xfrm>
            <a:custGeom>
              <a:avLst/>
              <a:gdLst>
                <a:gd name="T0" fmla="*/ 2147483646 w 39"/>
                <a:gd name="T1" fmla="*/ 2147483646 h 10"/>
                <a:gd name="T2" fmla="*/ 0 w 39"/>
                <a:gd name="T3" fmla="*/ 2147483646 h 10"/>
                <a:gd name="T4" fmla="*/ 0 w 39"/>
                <a:gd name="T5" fmla="*/ 2147483646 h 10"/>
                <a:gd name="T6" fmla="*/ 0 w 39"/>
                <a:gd name="T7" fmla="*/ 2147483646 h 10"/>
                <a:gd name="T8" fmla="*/ 0 w 39"/>
                <a:gd name="T9" fmla="*/ 0 h 10"/>
                <a:gd name="T10" fmla="*/ 2147483646 w 39"/>
                <a:gd name="T11" fmla="*/ 0 h 10"/>
                <a:gd name="T12" fmla="*/ 2147483646 w 39"/>
                <a:gd name="T13" fmla="*/ 0 h 10"/>
                <a:gd name="T14" fmla="*/ 2147483646 w 39"/>
                <a:gd name="T15" fmla="*/ 0 h 10"/>
                <a:gd name="T16" fmla="*/ 2147483646 w 39"/>
                <a:gd name="T17" fmla="*/ 2147483646 h 10"/>
                <a:gd name="T18" fmla="*/ 2147483646 w 39"/>
                <a:gd name="T19" fmla="*/ 2147483646 h 10"/>
                <a:gd name="T20" fmla="*/ 2147483646 w 39"/>
                <a:gd name="T21" fmla="*/ 2147483646 h 10"/>
                <a:gd name="T22" fmla="*/ 2147483646 w 39"/>
                <a:gd name="T23" fmla="*/ 2147483646 h 10"/>
                <a:gd name="T24" fmla="*/ 2147483646 w 3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10">
                  <a:moveTo>
                    <a:pt x="3" y="10"/>
                  </a:moveTo>
                  <a:lnTo>
                    <a:pt x="0" y="7"/>
                  </a:lnTo>
                  <a:lnTo>
                    <a:pt x="0" y="3"/>
                  </a:lnTo>
                  <a:lnTo>
                    <a:pt x="0" y="0"/>
                  </a:lnTo>
                  <a:lnTo>
                    <a:pt x="3" y="0"/>
                  </a:lnTo>
                  <a:lnTo>
                    <a:pt x="35" y="0"/>
                  </a:lnTo>
                  <a:lnTo>
                    <a:pt x="39" y="0"/>
                  </a:lnTo>
                  <a:lnTo>
                    <a:pt x="39" y="3"/>
                  </a:lnTo>
                  <a:lnTo>
                    <a:pt x="39" y="7"/>
                  </a:lnTo>
                  <a:lnTo>
                    <a:pt x="3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57" name="Freeform 62">
              <a:extLst>
                <a:ext uri="{FF2B5EF4-FFF2-40B4-BE49-F238E27FC236}">
                  <a16:creationId xmlns:a16="http://schemas.microsoft.com/office/drawing/2014/main" id="{1207D6D2-5072-614C-A6EC-B44A964A0DF8}"/>
                </a:ext>
              </a:extLst>
            </p:cNvPr>
            <p:cNvSpPr>
              <a:spLocks/>
            </p:cNvSpPr>
            <p:nvPr/>
          </p:nvSpPr>
          <p:spPr bwMode="auto">
            <a:xfrm>
              <a:off x="1037509" y="282785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58" name="Freeform 63">
              <a:extLst>
                <a:ext uri="{FF2B5EF4-FFF2-40B4-BE49-F238E27FC236}">
                  <a16:creationId xmlns:a16="http://schemas.microsoft.com/office/drawing/2014/main" id="{25C104B1-91A7-9E44-8060-572235E65195}"/>
                </a:ext>
              </a:extLst>
            </p:cNvPr>
            <p:cNvSpPr>
              <a:spLocks/>
            </p:cNvSpPr>
            <p:nvPr/>
          </p:nvSpPr>
          <p:spPr bwMode="auto">
            <a:xfrm>
              <a:off x="1037509" y="2827852"/>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3" y="9"/>
                  </a:moveTo>
                  <a:lnTo>
                    <a:pt x="0" y="6"/>
                  </a:lnTo>
                  <a:lnTo>
                    <a:pt x="0" y="3"/>
                  </a:lnTo>
                  <a:lnTo>
                    <a:pt x="0" y="0"/>
                  </a:lnTo>
                  <a:lnTo>
                    <a:pt x="3" y="0"/>
                  </a:lnTo>
                  <a:lnTo>
                    <a:pt x="16" y="0"/>
                  </a:lnTo>
                  <a:lnTo>
                    <a:pt x="20" y="0"/>
                  </a:lnTo>
                  <a:lnTo>
                    <a:pt x="20" y="3"/>
                  </a:lnTo>
                  <a:lnTo>
                    <a:pt x="20" y="6"/>
                  </a:lnTo>
                  <a:lnTo>
                    <a:pt x="1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59" name="Freeform 64">
              <a:extLst>
                <a:ext uri="{FF2B5EF4-FFF2-40B4-BE49-F238E27FC236}">
                  <a16:creationId xmlns:a16="http://schemas.microsoft.com/office/drawing/2014/main" id="{570ACFFC-9B3C-9143-B108-0838DEBDE450}"/>
                </a:ext>
              </a:extLst>
            </p:cNvPr>
            <p:cNvSpPr>
              <a:spLocks/>
            </p:cNvSpPr>
            <p:nvPr/>
          </p:nvSpPr>
          <p:spPr bwMode="auto">
            <a:xfrm>
              <a:off x="1052628" y="282090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0" name="Freeform 65">
              <a:extLst>
                <a:ext uri="{FF2B5EF4-FFF2-40B4-BE49-F238E27FC236}">
                  <a16:creationId xmlns:a16="http://schemas.microsoft.com/office/drawing/2014/main" id="{2DF1C23F-5267-C340-8218-BAC43E2DA241}"/>
                </a:ext>
              </a:extLst>
            </p:cNvPr>
            <p:cNvSpPr>
              <a:spLocks/>
            </p:cNvSpPr>
            <p:nvPr/>
          </p:nvSpPr>
          <p:spPr bwMode="auto">
            <a:xfrm>
              <a:off x="1052628" y="2820902"/>
              <a:ext cx="45354" cy="9928"/>
            </a:xfrm>
            <a:custGeom>
              <a:avLst/>
              <a:gdLst>
                <a:gd name="T0" fmla="*/ 2147483646 w 39"/>
                <a:gd name="T1" fmla="*/ 2147483646 h 10"/>
                <a:gd name="T2" fmla="*/ 0 w 39"/>
                <a:gd name="T3" fmla="*/ 2147483646 h 10"/>
                <a:gd name="T4" fmla="*/ 0 w 39"/>
                <a:gd name="T5" fmla="*/ 2147483646 h 10"/>
                <a:gd name="T6" fmla="*/ 0 w 39"/>
                <a:gd name="T7" fmla="*/ 2147483646 h 10"/>
                <a:gd name="T8" fmla="*/ 0 w 39"/>
                <a:gd name="T9" fmla="*/ 0 h 10"/>
                <a:gd name="T10" fmla="*/ 2147483646 w 39"/>
                <a:gd name="T11" fmla="*/ 0 h 10"/>
                <a:gd name="T12" fmla="*/ 2147483646 w 39"/>
                <a:gd name="T13" fmla="*/ 0 h 10"/>
                <a:gd name="T14" fmla="*/ 2147483646 w 39"/>
                <a:gd name="T15" fmla="*/ 0 h 10"/>
                <a:gd name="T16" fmla="*/ 2147483646 w 39"/>
                <a:gd name="T17" fmla="*/ 2147483646 h 10"/>
                <a:gd name="T18" fmla="*/ 2147483646 w 39"/>
                <a:gd name="T19" fmla="*/ 2147483646 h 10"/>
                <a:gd name="T20" fmla="*/ 2147483646 w 39"/>
                <a:gd name="T21" fmla="*/ 2147483646 h 10"/>
                <a:gd name="T22" fmla="*/ 2147483646 w 39"/>
                <a:gd name="T23" fmla="*/ 2147483646 h 10"/>
                <a:gd name="T24" fmla="*/ 2147483646 w 3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10">
                  <a:moveTo>
                    <a:pt x="3" y="10"/>
                  </a:moveTo>
                  <a:lnTo>
                    <a:pt x="0" y="7"/>
                  </a:lnTo>
                  <a:lnTo>
                    <a:pt x="0" y="3"/>
                  </a:lnTo>
                  <a:lnTo>
                    <a:pt x="0" y="0"/>
                  </a:lnTo>
                  <a:lnTo>
                    <a:pt x="3" y="0"/>
                  </a:lnTo>
                  <a:lnTo>
                    <a:pt x="36" y="0"/>
                  </a:lnTo>
                  <a:lnTo>
                    <a:pt x="39" y="0"/>
                  </a:lnTo>
                  <a:lnTo>
                    <a:pt x="39" y="3"/>
                  </a:lnTo>
                  <a:lnTo>
                    <a:pt x="39" y="7"/>
                  </a:lnTo>
                  <a:lnTo>
                    <a:pt x="3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1" name="Freeform 66">
              <a:extLst>
                <a:ext uri="{FF2B5EF4-FFF2-40B4-BE49-F238E27FC236}">
                  <a16:creationId xmlns:a16="http://schemas.microsoft.com/office/drawing/2014/main" id="{FB0C94C9-38C5-7B4F-BDC0-5EDF5CABD4C5}"/>
                </a:ext>
              </a:extLst>
            </p:cNvPr>
            <p:cNvSpPr>
              <a:spLocks/>
            </p:cNvSpPr>
            <p:nvPr/>
          </p:nvSpPr>
          <p:spPr bwMode="auto">
            <a:xfrm>
              <a:off x="1089841" y="2810974"/>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2" name="Freeform 67">
              <a:extLst>
                <a:ext uri="{FF2B5EF4-FFF2-40B4-BE49-F238E27FC236}">
                  <a16:creationId xmlns:a16="http://schemas.microsoft.com/office/drawing/2014/main" id="{FD603C93-130C-CA47-81B1-1900A96E95F7}"/>
                </a:ext>
              </a:extLst>
            </p:cNvPr>
            <p:cNvSpPr>
              <a:spLocks/>
            </p:cNvSpPr>
            <p:nvPr/>
          </p:nvSpPr>
          <p:spPr bwMode="auto">
            <a:xfrm>
              <a:off x="1089841" y="280203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3" name="Freeform 68">
              <a:extLst>
                <a:ext uri="{FF2B5EF4-FFF2-40B4-BE49-F238E27FC236}">
                  <a16:creationId xmlns:a16="http://schemas.microsoft.com/office/drawing/2014/main" id="{6D24B9E7-4C57-3C42-9337-E1B9439D7077}"/>
                </a:ext>
              </a:extLst>
            </p:cNvPr>
            <p:cNvSpPr>
              <a:spLocks/>
            </p:cNvSpPr>
            <p:nvPr/>
          </p:nvSpPr>
          <p:spPr bwMode="auto">
            <a:xfrm>
              <a:off x="1089841" y="280203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4" name="Freeform 69">
              <a:extLst>
                <a:ext uri="{FF2B5EF4-FFF2-40B4-BE49-F238E27FC236}">
                  <a16:creationId xmlns:a16="http://schemas.microsoft.com/office/drawing/2014/main" id="{CD08539B-5B6C-2D4B-94FF-F8296CAF8811}"/>
                </a:ext>
              </a:extLst>
            </p:cNvPr>
            <p:cNvSpPr>
              <a:spLocks/>
            </p:cNvSpPr>
            <p:nvPr/>
          </p:nvSpPr>
          <p:spPr bwMode="auto">
            <a:xfrm>
              <a:off x="1094493" y="279508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5" name="Freeform 70">
              <a:extLst>
                <a:ext uri="{FF2B5EF4-FFF2-40B4-BE49-F238E27FC236}">
                  <a16:creationId xmlns:a16="http://schemas.microsoft.com/office/drawing/2014/main" id="{E2799739-77AC-8148-9CBA-6EA4BDD47E7F}"/>
                </a:ext>
              </a:extLst>
            </p:cNvPr>
            <p:cNvSpPr>
              <a:spLocks/>
            </p:cNvSpPr>
            <p:nvPr/>
          </p:nvSpPr>
          <p:spPr bwMode="auto">
            <a:xfrm>
              <a:off x="1094493" y="279508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6" name="Freeform 71">
              <a:extLst>
                <a:ext uri="{FF2B5EF4-FFF2-40B4-BE49-F238E27FC236}">
                  <a16:creationId xmlns:a16="http://schemas.microsoft.com/office/drawing/2014/main" id="{AD705309-AF9A-D744-BDD5-761B6B47ED31}"/>
                </a:ext>
              </a:extLst>
            </p:cNvPr>
            <p:cNvSpPr>
              <a:spLocks/>
            </p:cNvSpPr>
            <p:nvPr/>
          </p:nvSpPr>
          <p:spPr bwMode="auto">
            <a:xfrm>
              <a:off x="1097981" y="2786152"/>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7" name="Freeform 72">
              <a:extLst>
                <a:ext uri="{FF2B5EF4-FFF2-40B4-BE49-F238E27FC236}">
                  <a16:creationId xmlns:a16="http://schemas.microsoft.com/office/drawing/2014/main" id="{00E37626-2287-1947-97C1-74F7A2FB7D0B}"/>
                </a:ext>
              </a:extLst>
            </p:cNvPr>
            <p:cNvSpPr>
              <a:spLocks/>
            </p:cNvSpPr>
            <p:nvPr/>
          </p:nvSpPr>
          <p:spPr bwMode="auto">
            <a:xfrm>
              <a:off x="1097981" y="2786152"/>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8" name="Freeform 73">
              <a:extLst>
                <a:ext uri="{FF2B5EF4-FFF2-40B4-BE49-F238E27FC236}">
                  <a16:creationId xmlns:a16="http://schemas.microsoft.com/office/drawing/2014/main" id="{A9895B50-128E-8443-88F4-ABA36039DEAD}"/>
                </a:ext>
              </a:extLst>
            </p:cNvPr>
            <p:cNvSpPr>
              <a:spLocks/>
            </p:cNvSpPr>
            <p:nvPr/>
          </p:nvSpPr>
          <p:spPr bwMode="auto">
            <a:xfrm>
              <a:off x="1101470" y="277920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69" name="Freeform 74">
              <a:extLst>
                <a:ext uri="{FF2B5EF4-FFF2-40B4-BE49-F238E27FC236}">
                  <a16:creationId xmlns:a16="http://schemas.microsoft.com/office/drawing/2014/main" id="{B7CA5ED9-79AD-F141-BAEE-EB8A5F1791F3}"/>
                </a:ext>
              </a:extLst>
            </p:cNvPr>
            <p:cNvSpPr>
              <a:spLocks/>
            </p:cNvSpPr>
            <p:nvPr/>
          </p:nvSpPr>
          <p:spPr bwMode="auto">
            <a:xfrm>
              <a:off x="1101470" y="277920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0" name="Freeform 75">
              <a:extLst>
                <a:ext uri="{FF2B5EF4-FFF2-40B4-BE49-F238E27FC236}">
                  <a16:creationId xmlns:a16="http://schemas.microsoft.com/office/drawing/2014/main" id="{280AE024-BDBB-1E40-9A26-0EE2A92086EF}"/>
                </a:ext>
              </a:extLst>
            </p:cNvPr>
            <p:cNvSpPr>
              <a:spLocks/>
            </p:cNvSpPr>
            <p:nvPr/>
          </p:nvSpPr>
          <p:spPr bwMode="auto">
            <a:xfrm>
              <a:off x="1113100" y="2769274"/>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1" name="Freeform 76">
              <a:extLst>
                <a:ext uri="{FF2B5EF4-FFF2-40B4-BE49-F238E27FC236}">
                  <a16:creationId xmlns:a16="http://schemas.microsoft.com/office/drawing/2014/main" id="{A751F60A-64DD-F044-831F-41544B25196B}"/>
                </a:ext>
              </a:extLst>
            </p:cNvPr>
            <p:cNvSpPr>
              <a:spLocks/>
            </p:cNvSpPr>
            <p:nvPr/>
          </p:nvSpPr>
          <p:spPr bwMode="auto">
            <a:xfrm>
              <a:off x="1113100" y="2769274"/>
              <a:ext cx="55820" cy="9928"/>
            </a:xfrm>
            <a:custGeom>
              <a:avLst/>
              <a:gdLst>
                <a:gd name="T0" fmla="*/ 2147483646 w 48"/>
                <a:gd name="T1" fmla="*/ 2147483646 h 10"/>
                <a:gd name="T2" fmla="*/ 0 w 48"/>
                <a:gd name="T3" fmla="*/ 2147483646 h 10"/>
                <a:gd name="T4" fmla="*/ 0 w 48"/>
                <a:gd name="T5" fmla="*/ 2147483646 h 10"/>
                <a:gd name="T6" fmla="*/ 0 w 48"/>
                <a:gd name="T7" fmla="*/ 2147483646 h 10"/>
                <a:gd name="T8" fmla="*/ 0 w 48"/>
                <a:gd name="T9" fmla="*/ 0 h 10"/>
                <a:gd name="T10" fmla="*/ 2147483646 w 48"/>
                <a:gd name="T11" fmla="*/ 0 h 10"/>
                <a:gd name="T12" fmla="*/ 2147483646 w 48"/>
                <a:gd name="T13" fmla="*/ 0 h 10"/>
                <a:gd name="T14" fmla="*/ 2147483646 w 48"/>
                <a:gd name="T15" fmla="*/ 0 h 10"/>
                <a:gd name="T16" fmla="*/ 2147483646 w 48"/>
                <a:gd name="T17" fmla="*/ 2147483646 h 10"/>
                <a:gd name="T18" fmla="*/ 2147483646 w 48"/>
                <a:gd name="T19" fmla="*/ 2147483646 h 10"/>
                <a:gd name="T20" fmla="*/ 2147483646 w 48"/>
                <a:gd name="T21" fmla="*/ 2147483646 h 10"/>
                <a:gd name="T22" fmla="*/ 2147483646 w 48"/>
                <a:gd name="T23" fmla="*/ 2147483646 h 10"/>
                <a:gd name="T24" fmla="*/ 2147483646 w 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0">
                  <a:moveTo>
                    <a:pt x="3" y="10"/>
                  </a:moveTo>
                  <a:lnTo>
                    <a:pt x="0" y="7"/>
                  </a:lnTo>
                  <a:lnTo>
                    <a:pt x="0" y="4"/>
                  </a:lnTo>
                  <a:lnTo>
                    <a:pt x="0" y="0"/>
                  </a:lnTo>
                  <a:lnTo>
                    <a:pt x="3" y="0"/>
                  </a:lnTo>
                  <a:lnTo>
                    <a:pt x="45" y="0"/>
                  </a:lnTo>
                  <a:lnTo>
                    <a:pt x="48" y="0"/>
                  </a:lnTo>
                  <a:lnTo>
                    <a:pt x="48" y="4"/>
                  </a:lnTo>
                  <a:lnTo>
                    <a:pt x="48" y="7"/>
                  </a:lnTo>
                  <a:lnTo>
                    <a:pt x="4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2" name="Freeform 77">
              <a:extLst>
                <a:ext uri="{FF2B5EF4-FFF2-40B4-BE49-F238E27FC236}">
                  <a16:creationId xmlns:a16="http://schemas.microsoft.com/office/drawing/2014/main" id="{1B98CC95-5E99-2143-A603-1E2975AC4C55}"/>
                </a:ext>
              </a:extLst>
            </p:cNvPr>
            <p:cNvSpPr>
              <a:spLocks/>
            </p:cNvSpPr>
            <p:nvPr/>
          </p:nvSpPr>
          <p:spPr bwMode="auto">
            <a:xfrm>
              <a:off x="1161942" y="2769274"/>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3" name="Freeform 78">
              <a:extLst>
                <a:ext uri="{FF2B5EF4-FFF2-40B4-BE49-F238E27FC236}">
                  <a16:creationId xmlns:a16="http://schemas.microsoft.com/office/drawing/2014/main" id="{08A10127-2DF5-A646-9710-033CE40A66B2}"/>
                </a:ext>
              </a:extLst>
            </p:cNvPr>
            <p:cNvSpPr>
              <a:spLocks/>
            </p:cNvSpPr>
            <p:nvPr/>
          </p:nvSpPr>
          <p:spPr bwMode="auto">
            <a:xfrm>
              <a:off x="1175897" y="276331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4" name="Freeform 79">
              <a:extLst>
                <a:ext uri="{FF2B5EF4-FFF2-40B4-BE49-F238E27FC236}">
                  <a16:creationId xmlns:a16="http://schemas.microsoft.com/office/drawing/2014/main" id="{0ECB64DE-8D1B-8F41-8279-57BB3C7FE8CD}"/>
                </a:ext>
              </a:extLst>
            </p:cNvPr>
            <p:cNvSpPr>
              <a:spLocks/>
            </p:cNvSpPr>
            <p:nvPr/>
          </p:nvSpPr>
          <p:spPr bwMode="auto">
            <a:xfrm>
              <a:off x="1175897" y="276331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5" name="Freeform 80">
              <a:extLst>
                <a:ext uri="{FF2B5EF4-FFF2-40B4-BE49-F238E27FC236}">
                  <a16:creationId xmlns:a16="http://schemas.microsoft.com/office/drawing/2014/main" id="{2C870386-9C29-5444-8555-88A09EFD819E}"/>
                </a:ext>
              </a:extLst>
            </p:cNvPr>
            <p:cNvSpPr>
              <a:spLocks/>
            </p:cNvSpPr>
            <p:nvPr/>
          </p:nvSpPr>
          <p:spPr bwMode="auto">
            <a:xfrm>
              <a:off x="1180549" y="276331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6" name="Freeform 81">
              <a:extLst>
                <a:ext uri="{FF2B5EF4-FFF2-40B4-BE49-F238E27FC236}">
                  <a16:creationId xmlns:a16="http://schemas.microsoft.com/office/drawing/2014/main" id="{E4FEECF7-8E21-F24B-B127-A9B130383729}"/>
                </a:ext>
              </a:extLst>
            </p:cNvPr>
            <p:cNvSpPr>
              <a:spLocks/>
            </p:cNvSpPr>
            <p:nvPr/>
          </p:nvSpPr>
          <p:spPr bwMode="auto">
            <a:xfrm>
              <a:off x="1184038" y="276331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7" name="Freeform 82">
              <a:extLst>
                <a:ext uri="{FF2B5EF4-FFF2-40B4-BE49-F238E27FC236}">
                  <a16:creationId xmlns:a16="http://schemas.microsoft.com/office/drawing/2014/main" id="{84FE1A40-1D2E-5E40-923F-59A8211FE148}"/>
                </a:ext>
              </a:extLst>
            </p:cNvPr>
            <p:cNvSpPr>
              <a:spLocks/>
            </p:cNvSpPr>
            <p:nvPr/>
          </p:nvSpPr>
          <p:spPr bwMode="auto">
            <a:xfrm>
              <a:off x="1187527" y="275338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4"/>
                  </a:lnTo>
                  <a:lnTo>
                    <a:pt x="0" y="0"/>
                  </a:lnTo>
                  <a:lnTo>
                    <a:pt x="3" y="0"/>
                  </a:lnTo>
                  <a:lnTo>
                    <a:pt x="7" y="0"/>
                  </a:lnTo>
                  <a:lnTo>
                    <a:pt x="10" y="4"/>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8" name="Freeform 83">
              <a:extLst>
                <a:ext uri="{FF2B5EF4-FFF2-40B4-BE49-F238E27FC236}">
                  <a16:creationId xmlns:a16="http://schemas.microsoft.com/office/drawing/2014/main" id="{355F4871-BDE0-7D48-B041-DFA2A6D38399}"/>
                </a:ext>
              </a:extLst>
            </p:cNvPr>
            <p:cNvSpPr>
              <a:spLocks/>
            </p:cNvSpPr>
            <p:nvPr/>
          </p:nvSpPr>
          <p:spPr bwMode="auto">
            <a:xfrm>
              <a:off x="1187527" y="275338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79" name="Freeform 84">
              <a:extLst>
                <a:ext uri="{FF2B5EF4-FFF2-40B4-BE49-F238E27FC236}">
                  <a16:creationId xmlns:a16="http://schemas.microsoft.com/office/drawing/2014/main" id="{C1D139DD-2FC1-D745-A196-3C61C2CCF600}"/>
                </a:ext>
              </a:extLst>
            </p:cNvPr>
            <p:cNvSpPr>
              <a:spLocks/>
            </p:cNvSpPr>
            <p:nvPr/>
          </p:nvSpPr>
          <p:spPr bwMode="auto">
            <a:xfrm>
              <a:off x="1195667" y="2753389"/>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2" y="0"/>
                  </a:lnTo>
                  <a:lnTo>
                    <a:pt x="16" y="0"/>
                  </a:lnTo>
                  <a:lnTo>
                    <a:pt x="16" y="4"/>
                  </a:lnTo>
                  <a:lnTo>
                    <a:pt x="16" y="7"/>
                  </a:lnTo>
                  <a:lnTo>
                    <a:pt x="1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0" name="Freeform 85">
              <a:extLst>
                <a:ext uri="{FF2B5EF4-FFF2-40B4-BE49-F238E27FC236}">
                  <a16:creationId xmlns:a16="http://schemas.microsoft.com/office/drawing/2014/main" id="{771EAE08-2ABA-AB43-B37C-AEEED391A3B0}"/>
                </a:ext>
              </a:extLst>
            </p:cNvPr>
            <p:cNvSpPr>
              <a:spLocks/>
            </p:cNvSpPr>
            <p:nvPr/>
          </p:nvSpPr>
          <p:spPr bwMode="auto">
            <a:xfrm>
              <a:off x="1206133" y="274445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1" name="Freeform 86">
              <a:extLst>
                <a:ext uri="{FF2B5EF4-FFF2-40B4-BE49-F238E27FC236}">
                  <a16:creationId xmlns:a16="http://schemas.microsoft.com/office/drawing/2014/main" id="{00C3C9A4-A1C7-B446-8EDD-D8D0757CF70B}"/>
                </a:ext>
              </a:extLst>
            </p:cNvPr>
            <p:cNvSpPr>
              <a:spLocks/>
            </p:cNvSpPr>
            <p:nvPr/>
          </p:nvSpPr>
          <p:spPr bwMode="auto">
            <a:xfrm>
              <a:off x="1206133" y="274445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2" name="Freeform 87">
              <a:extLst>
                <a:ext uri="{FF2B5EF4-FFF2-40B4-BE49-F238E27FC236}">
                  <a16:creationId xmlns:a16="http://schemas.microsoft.com/office/drawing/2014/main" id="{CDBD8B1C-1D1F-5B4B-89B9-E24A8F2D719C}"/>
                </a:ext>
              </a:extLst>
            </p:cNvPr>
            <p:cNvSpPr>
              <a:spLocks/>
            </p:cNvSpPr>
            <p:nvPr/>
          </p:nvSpPr>
          <p:spPr bwMode="auto">
            <a:xfrm>
              <a:off x="1209622" y="273750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3" name="Freeform 88">
              <a:extLst>
                <a:ext uri="{FF2B5EF4-FFF2-40B4-BE49-F238E27FC236}">
                  <a16:creationId xmlns:a16="http://schemas.microsoft.com/office/drawing/2014/main" id="{937A210E-3573-384F-B88D-15D5E9BF4FD0}"/>
                </a:ext>
              </a:extLst>
            </p:cNvPr>
            <p:cNvSpPr>
              <a:spLocks/>
            </p:cNvSpPr>
            <p:nvPr/>
          </p:nvSpPr>
          <p:spPr bwMode="auto">
            <a:xfrm>
              <a:off x="1209622" y="2737503"/>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4" y="10"/>
                  </a:moveTo>
                  <a:lnTo>
                    <a:pt x="0" y="7"/>
                  </a:lnTo>
                  <a:lnTo>
                    <a:pt x="0" y="3"/>
                  </a:lnTo>
                  <a:lnTo>
                    <a:pt x="0" y="0"/>
                  </a:lnTo>
                  <a:lnTo>
                    <a:pt x="4" y="0"/>
                  </a:lnTo>
                  <a:lnTo>
                    <a:pt x="23" y="0"/>
                  </a:lnTo>
                  <a:lnTo>
                    <a:pt x="26" y="0"/>
                  </a:lnTo>
                  <a:lnTo>
                    <a:pt x="26" y="3"/>
                  </a:lnTo>
                  <a:lnTo>
                    <a:pt x="26" y="7"/>
                  </a:lnTo>
                  <a:lnTo>
                    <a:pt x="2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4" name="Freeform 89">
              <a:extLst>
                <a:ext uri="{FF2B5EF4-FFF2-40B4-BE49-F238E27FC236}">
                  <a16:creationId xmlns:a16="http://schemas.microsoft.com/office/drawing/2014/main" id="{1BAF3257-D097-4F46-87DC-900A433ADEDF}"/>
                </a:ext>
              </a:extLst>
            </p:cNvPr>
            <p:cNvSpPr>
              <a:spLocks/>
            </p:cNvSpPr>
            <p:nvPr/>
          </p:nvSpPr>
          <p:spPr bwMode="auto">
            <a:xfrm>
              <a:off x="1232880" y="273750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5" name="Freeform 90">
              <a:extLst>
                <a:ext uri="{FF2B5EF4-FFF2-40B4-BE49-F238E27FC236}">
                  <a16:creationId xmlns:a16="http://schemas.microsoft.com/office/drawing/2014/main" id="{7684EF4E-5970-1346-8D4D-7CD8482B38A5}"/>
                </a:ext>
              </a:extLst>
            </p:cNvPr>
            <p:cNvSpPr>
              <a:spLocks/>
            </p:cNvSpPr>
            <p:nvPr/>
          </p:nvSpPr>
          <p:spPr bwMode="auto">
            <a:xfrm>
              <a:off x="1236369" y="273750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6" name="Freeform 91">
              <a:extLst>
                <a:ext uri="{FF2B5EF4-FFF2-40B4-BE49-F238E27FC236}">
                  <a16:creationId xmlns:a16="http://schemas.microsoft.com/office/drawing/2014/main" id="{98FBCC12-2029-E240-8C68-D82CAC47042A}"/>
                </a:ext>
              </a:extLst>
            </p:cNvPr>
            <p:cNvSpPr>
              <a:spLocks/>
            </p:cNvSpPr>
            <p:nvPr/>
          </p:nvSpPr>
          <p:spPr bwMode="auto">
            <a:xfrm>
              <a:off x="1239858" y="273750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7" name="Freeform 92">
              <a:extLst>
                <a:ext uri="{FF2B5EF4-FFF2-40B4-BE49-F238E27FC236}">
                  <a16:creationId xmlns:a16="http://schemas.microsoft.com/office/drawing/2014/main" id="{385C1845-3D1F-D949-8B6E-24F3052991D8}"/>
                </a:ext>
              </a:extLst>
            </p:cNvPr>
            <p:cNvSpPr>
              <a:spLocks/>
            </p:cNvSpPr>
            <p:nvPr/>
          </p:nvSpPr>
          <p:spPr bwMode="auto">
            <a:xfrm>
              <a:off x="1243347" y="273750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8" name="Freeform 93">
              <a:extLst>
                <a:ext uri="{FF2B5EF4-FFF2-40B4-BE49-F238E27FC236}">
                  <a16:creationId xmlns:a16="http://schemas.microsoft.com/office/drawing/2014/main" id="{36350EEB-CA9B-1542-B2B9-F5D1B561F569}"/>
                </a:ext>
              </a:extLst>
            </p:cNvPr>
            <p:cNvSpPr>
              <a:spLocks/>
            </p:cNvSpPr>
            <p:nvPr/>
          </p:nvSpPr>
          <p:spPr bwMode="auto">
            <a:xfrm>
              <a:off x="1251487" y="273750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89" name="Freeform 94">
              <a:extLst>
                <a:ext uri="{FF2B5EF4-FFF2-40B4-BE49-F238E27FC236}">
                  <a16:creationId xmlns:a16="http://schemas.microsoft.com/office/drawing/2014/main" id="{A18ED530-85A1-5043-8888-AE16822A8752}"/>
                </a:ext>
              </a:extLst>
            </p:cNvPr>
            <p:cNvSpPr>
              <a:spLocks/>
            </p:cNvSpPr>
            <p:nvPr/>
          </p:nvSpPr>
          <p:spPr bwMode="auto">
            <a:xfrm>
              <a:off x="1254976" y="273750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0" name="Freeform 95">
              <a:extLst>
                <a:ext uri="{FF2B5EF4-FFF2-40B4-BE49-F238E27FC236}">
                  <a16:creationId xmlns:a16="http://schemas.microsoft.com/office/drawing/2014/main" id="{62EA024A-EB6A-054D-BEB3-A205CDAB5E98}"/>
                </a:ext>
              </a:extLst>
            </p:cNvPr>
            <p:cNvSpPr>
              <a:spLocks/>
            </p:cNvSpPr>
            <p:nvPr/>
          </p:nvSpPr>
          <p:spPr bwMode="auto">
            <a:xfrm>
              <a:off x="1266605" y="273750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1" name="Freeform 96">
              <a:extLst>
                <a:ext uri="{FF2B5EF4-FFF2-40B4-BE49-F238E27FC236}">
                  <a16:creationId xmlns:a16="http://schemas.microsoft.com/office/drawing/2014/main" id="{6C40F7EA-6A9A-C049-B650-9D94636D2797}"/>
                </a:ext>
              </a:extLst>
            </p:cNvPr>
            <p:cNvSpPr>
              <a:spLocks/>
            </p:cNvSpPr>
            <p:nvPr/>
          </p:nvSpPr>
          <p:spPr bwMode="auto">
            <a:xfrm>
              <a:off x="1273583" y="272856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2" name="Freeform 97">
              <a:extLst>
                <a:ext uri="{FF2B5EF4-FFF2-40B4-BE49-F238E27FC236}">
                  <a16:creationId xmlns:a16="http://schemas.microsoft.com/office/drawing/2014/main" id="{FAEF7373-16C3-C848-8834-CD080FC9D17A}"/>
                </a:ext>
              </a:extLst>
            </p:cNvPr>
            <p:cNvSpPr>
              <a:spLocks/>
            </p:cNvSpPr>
            <p:nvPr/>
          </p:nvSpPr>
          <p:spPr bwMode="auto">
            <a:xfrm>
              <a:off x="1273583" y="272856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3" name="Freeform 98">
              <a:extLst>
                <a:ext uri="{FF2B5EF4-FFF2-40B4-BE49-F238E27FC236}">
                  <a16:creationId xmlns:a16="http://schemas.microsoft.com/office/drawing/2014/main" id="{E119673A-1C2A-AF46-B47F-F54653946361}"/>
                </a:ext>
              </a:extLst>
            </p:cNvPr>
            <p:cNvSpPr>
              <a:spLocks/>
            </p:cNvSpPr>
            <p:nvPr/>
          </p:nvSpPr>
          <p:spPr bwMode="auto">
            <a:xfrm>
              <a:off x="1285212" y="272856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4" name="Freeform 99">
              <a:extLst>
                <a:ext uri="{FF2B5EF4-FFF2-40B4-BE49-F238E27FC236}">
                  <a16:creationId xmlns:a16="http://schemas.microsoft.com/office/drawing/2014/main" id="{AD191221-11A9-9046-A954-9428633E4A6F}"/>
                </a:ext>
              </a:extLst>
            </p:cNvPr>
            <p:cNvSpPr>
              <a:spLocks/>
            </p:cNvSpPr>
            <p:nvPr/>
          </p:nvSpPr>
          <p:spPr bwMode="auto">
            <a:xfrm>
              <a:off x="1296841" y="2728568"/>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5" name="Freeform 100">
              <a:extLst>
                <a:ext uri="{FF2B5EF4-FFF2-40B4-BE49-F238E27FC236}">
                  <a16:creationId xmlns:a16="http://schemas.microsoft.com/office/drawing/2014/main" id="{4D5A216E-D6A6-D14E-9C32-908A04505CF7}"/>
                </a:ext>
              </a:extLst>
            </p:cNvPr>
            <p:cNvSpPr>
              <a:spLocks/>
            </p:cNvSpPr>
            <p:nvPr/>
          </p:nvSpPr>
          <p:spPr bwMode="auto">
            <a:xfrm>
              <a:off x="1310796" y="272856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6" name="Freeform 101">
              <a:extLst>
                <a:ext uri="{FF2B5EF4-FFF2-40B4-BE49-F238E27FC236}">
                  <a16:creationId xmlns:a16="http://schemas.microsoft.com/office/drawing/2014/main" id="{0968DED0-A21D-5841-9A9E-BAFE2CAFF51E}"/>
                </a:ext>
              </a:extLst>
            </p:cNvPr>
            <p:cNvSpPr>
              <a:spLocks/>
            </p:cNvSpPr>
            <p:nvPr/>
          </p:nvSpPr>
          <p:spPr bwMode="auto">
            <a:xfrm>
              <a:off x="1315448" y="272856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7" name="Freeform 102">
              <a:extLst>
                <a:ext uri="{FF2B5EF4-FFF2-40B4-BE49-F238E27FC236}">
                  <a16:creationId xmlns:a16="http://schemas.microsoft.com/office/drawing/2014/main" id="{2BBE0BB7-7AE2-2A40-81CE-2AF097BD1C81}"/>
                </a:ext>
              </a:extLst>
            </p:cNvPr>
            <p:cNvSpPr>
              <a:spLocks/>
            </p:cNvSpPr>
            <p:nvPr/>
          </p:nvSpPr>
          <p:spPr bwMode="auto">
            <a:xfrm>
              <a:off x="1318936" y="271863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8" name="Freeform 103">
              <a:extLst>
                <a:ext uri="{FF2B5EF4-FFF2-40B4-BE49-F238E27FC236}">
                  <a16:creationId xmlns:a16="http://schemas.microsoft.com/office/drawing/2014/main" id="{30F3EE86-BD38-AA49-843C-3D50B2E141EA}"/>
                </a:ext>
              </a:extLst>
            </p:cNvPr>
            <p:cNvSpPr>
              <a:spLocks/>
            </p:cNvSpPr>
            <p:nvPr/>
          </p:nvSpPr>
          <p:spPr bwMode="auto">
            <a:xfrm>
              <a:off x="1318936" y="271863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099" name="Freeform 104">
              <a:extLst>
                <a:ext uri="{FF2B5EF4-FFF2-40B4-BE49-F238E27FC236}">
                  <a16:creationId xmlns:a16="http://schemas.microsoft.com/office/drawing/2014/main" id="{4FF24119-244F-6349-84BB-4D2A3E81BF59}"/>
                </a:ext>
              </a:extLst>
            </p:cNvPr>
            <p:cNvSpPr>
              <a:spLocks/>
            </p:cNvSpPr>
            <p:nvPr/>
          </p:nvSpPr>
          <p:spPr bwMode="auto">
            <a:xfrm>
              <a:off x="1325914" y="270871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0" name="Freeform 105">
              <a:extLst>
                <a:ext uri="{FF2B5EF4-FFF2-40B4-BE49-F238E27FC236}">
                  <a16:creationId xmlns:a16="http://schemas.microsoft.com/office/drawing/2014/main" id="{F7C4E3FF-6FC4-1A43-9A20-D56F80119481}"/>
                </a:ext>
              </a:extLst>
            </p:cNvPr>
            <p:cNvSpPr>
              <a:spLocks/>
            </p:cNvSpPr>
            <p:nvPr/>
          </p:nvSpPr>
          <p:spPr bwMode="auto">
            <a:xfrm>
              <a:off x="1325914" y="2708711"/>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4" y="10"/>
                  </a:moveTo>
                  <a:lnTo>
                    <a:pt x="0" y="7"/>
                  </a:lnTo>
                  <a:lnTo>
                    <a:pt x="0" y="3"/>
                  </a:lnTo>
                  <a:lnTo>
                    <a:pt x="0" y="0"/>
                  </a:lnTo>
                  <a:lnTo>
                    <a:pt x="4" y="0"/>
                  </a:lnTo>
                  <a:lnTo>
                    <a:pt x="39" y="0"/>
                  </a:lnTo>
                  <a:lnTo>
                    <a:pt x="42" y="0"/>
                  </a:lnTo>
                  <a:lnTo>
                    <a:pt x="42" y="3"/>
                  </a:lnTo>
                  <a:lnTo>
                    <a:pt x="42" y="7"/>
                  </a:lnTo>
                  <a:lnTo>
                    <a:pt x="39"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1" name="Freeform 106">
              <a:extLst>
                <a:ext uri="{FF2B5EF4-FFF2-40B4-BE49-F238E27FC236}">
                  <a16:creationId xmlns:a16="http://schemas.microsoft.com/office/drawing/2014/main" id="{25864877-4A2A-A948-91CA-289EBE08A5C6}"/>
                </a:ext>
              </a:extLst>
            </p:cNvPr>
            <p:cNvSpPr>
              <a:spLocks/>
            </p:cNvSpPr>
            <p:nvPr/>
          </p:nvSpPr>
          <p:spPr bwMode="auto">
            <a:xfrm>
              <a:off x="1367779" y="2708711"/>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2" name="Freeform 107">
              <a:extLst>
                <a:ext uri="{FF2B5EF4-FFF2-40B4-BE49-F238E27FC236}">
                  <a16:creationId xmlns:a16="http://schemas.microsoft.com/office/drawing/2014/main" id="{BD306A4E-0223-D445-9650-9EBAFE691772}"/>
                </a:ext>
              </a:extLst>
            </p:cNvPr>
            <p:cNvSpPr>
              <a:spLocks/>
            </p:cNvSpPr>
            <p:nvPr/>
          </p:nvSpPr>
          <p:spPr bwMode="auto">
            <a:xfrm>
              <a:off x="1371268" y="270871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3" name="Freeform 108">
              <a:extLst>
                <a:ext uri="{FF2B5EF4-FFF2-40B4-BE49-F238E27FC236}">
                  <a16:creationId xmlns:a16="http://schemas.microsoft.com/office/drawing/2014/main" id="{05AFC1E2-D6CC-5945-A681-5490D6B7F4BC}"/>
                </a:ext>
              </a:extLst>
            </p:cNvPr>
            <p:cNvSpPr>
              <a:spLocks/>
            </p:cNvSpPr>
            <p:nvPr/>
          </p:nvSpPr>
          <p:spPr bwMode="auto">
            <a:xfrm>
              <a:off x="1374757" y="270871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4" name="Freeform 109">
              <a:extLst>
                <a:ext uri="{FF2B5EF4-FFF2-40B4-BE49-F238E27FC236}">
                  <a16:creationId xmlns:a16="http://schemas.microsoft.com/office/drawing/2014/main" id="{E75AC4D5-F718-0448-A58D-F19E9E00B2C6}"/>
                </a:ext>
              </a:extLst>
            </p:cNvPr>
            <p:cNvSpPr>
              <a:spLocks/>
            </p:cNvSpPr>
            <p:nvPr/>
          </p:nvSpPr>
          <p:spPr bwMode="auto">
            <a:xfrm>
              <a:off x="1382898" y="2698782"/>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5" name="Freeform 110">
              <a:extLst>
                <a:ext uri="{FF2B5EF4-FFF2-40B4-BE49-F238E27FC236}">
                  <a16:creationId xmlns:a16="http://schemas.microsoft.com/office/drawing/2014/main" id="{344D1BCF-BCF4-734B-8A2E-F3C9ACF13C52}"/>
                </a:ext>
              </a:extLst>
            </p:cNvPr>
            <p:cNvSpPr>
              <a:spLocks/>
            </p:cNvSpPr>
            <p:nvPr/>
          </p:nvSpPr>
          <p:spPr bwMode="auto">
            <a:xfrm>
              <a:off x="1382898" y="2698782"/>
              <a:ext cx="37213" cy="9928"/>
            </a:xfrm>
            <a:custGeom>
              <a:avLst/>
              <a:gdLst>
                <a:gd name="T0" fmla="*/ 2147483646 w 32"/>
                <a:gd name="T1" fmla="*/ 2147483646 h 10"/>
                <a:gd name="T2" fmla="*/ 0 w 32"/>
                <a:gd name="T3" fmla="*/ 2147483646 h 10"/>
                <a:gd name="T4" fmla="*/ 0 w 32"/>
                <a:gd name="T5" fmla="*/ 2147483646 h 10"/>
                <a:gd name="T6" fmla="*/ 0 w 32"/>
                <a:gd name="T7" fmla="*/ 2147483646 h 10"/>
                <a:gd name="T8" fmla="*/ 0 w 32"/>
                <a:gd name="T9" fmla="*/ 0 h 10"/>
                <a:gd name="T10" fmla="*/ 2147483646 w 32"/>
                <a:gd name="T11" fmla="*/ 0 h 10"/>
                <a:gd name="T12" fmla="*/ 2147483646 w 32"/>
                <a:gd name="T13" fmla="*/ 0 h 10"/>
                <a:gd name="T14" fmla="*/ 2147483646 w 32"/>
                <a:gd name="T15" fmla="*/ 0 h 10"/>
                <a:gd name="T16" fmla="*/ 2147483646 w 32"/>
                <a:gd name="T17" fmla="*/ 2147483646 h 10"/>
                <a:gd name="T18" fmla="*/ 2147483646 w 32"/>
                <a:gd name="T19" fmla="*/ 2147483646 h 10"/>
                <a:gd name="T20" fmla="*/ 2147483646 w 32"/>
                <a:gd name="T21" fmla="*/ 2147483646 h 10"/>
                <a:gd name="T22" fmla="*/ 2147483646 w 32"/>
                <a:gd name="T23" fmla="*/ 2147483646 h 10"/>
                <a:gd name="T24" fmla="*/ 2147483646 w 3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10">
                  <a:moveTo>
                    <a:pt x="3" y="10"/>
                  </a:moveTo>
                  <a:lnTo>
                    <a:pt x="0" y="7"/>
                  </a:lnTo>
                  <a:lnTo>
                    <a:pt x="0" y="4"/>
                  </a:lnTo>
                  <a:lnTo>
                    <a:pt x="0" y="0"/>
                  </a:lnTo>
                  <a:lnTo>
                    <a:pt x="3" y="0"/>
                  </a:lnTo>
                  <a:lnTo>
                    <a:pt x="29" y="0"/>
                  </a:lnTo>
                  <a:lnTo>
                    <a:pt x="32" y="0"/>
                  </a:lnTo>
                  <a:lnTo>
                    <a:pt x="32" y="4"/>
                  </a:lnTo>
                  <a:lnTo>
                    <a:pt x="32" y="7"/>
                  </a:lnTo>
                  <a:lnTo>
                    <a:pt x="2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6" name="Freeform 111">
              <a:extLst>
                <a:ext uri="{FF2B5EF4-FFF2-40B4-BE49-F238E27FC236}">
                  <a16:creationId xmlns:a16="http://schemas.microsoft.com/office/drawing/2014/main" id="{CD52E52C-4F24-D44A-A690-4E83551666CA}"/>
                </a:ext>
              </a:extLst>
            </p:cNvPr>
            <p:cNvSpPr>
              <a:spLocks/>
            </p:cNvSpPr>
            <p:nvPr/>
          </p:nvSpPr>
          <p:spPr bwMode="auto">
            <a:xfrm>
              <a:off x="1411970" y="269878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7" name="Freeform 112">
              <a:extLst>
                <a:ext uri="{FF2B5EF4-FFF2-40B4-BE49-F238E27FC236}">
                  <a16:creationId xmlns:a16="http://schemas.microsoft.com/office/drawing/2014/main" id="{9033C614-FF0C-2E49-B45D-51EAF8B250C8}"/>
                </a:ext>
              </a:extLst>
            </p:cNvPr>
            <p:cNvSpPr>
              <a:spLocks/>
            </p:cNvSpPr>
            <p:nvPr/>
          </p:nvSpPr>
          <p:spPr bwMode="auto">
            <a:xfrm>
              <a:off x="1416622" y="269878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8" name="Freeform 113">
              <a:extLst>
                <a:ext uri="{FF2B5EF4-FFF2-40B4-BE49-F238E27FC236}">
                  <a16:creationId xmlns:a16="http://schemas.microsoft.com/office/drawing/2014/main" id="{9A317696-F482-D047-8443-5138100D4D77}"/>
                </a:ext>
              </a:extLst>
            </p:cNvPr>
            <p:cNvSpPr>
              <a:spLocks/>
            </p:cNvSpPr>
            <p:nvPr/>
          </p:nvSpPr>
          <p:spPr bwMode="auto">
            <a:xfrm>
              <a:off x="1420111" y="269878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09" name="Freeform 114">
              <a:extLst>
                <a:ext uri="{FF2B5EF4-FFF2-40B4-BE49-F238E27FC236}">
                  <a16:creationId xmlns:a16="http://schemas.microsoft.com/office/drawing/2014/main" id="{80BFC9DA-8120-7E48-8DB4-E0204FE0E630}"/>
                </a:ext>
              </a:extLst>
            </p:cNvPr>
            <p:cNvSpPr>
              <a:spLocks/>
            </p:cNvSpPr>
            <p:nvPr/>
          </p:nvSpPr>
          <p:spPr bwMode="auto">
            <a:xfrm>
              <a:off x="1423599" y="269878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0" name="Freeform 115">
              <a:extLst>
                <a:ext uri="{FF2B5EF4-FFF2-40B4-BE49-F238E27FC236}">
                  <a16:creationId xmlns:a16="http://schemas.microsoft.com/office/drawing/2014/main" id="{D6C149F7-4623-7245-B05C-86FC1B45C5F3}"/>
                </a:ext>
              </a:extLst>
            </p:cNvPr>
            <p:cNvSpPr>
              <a:spLocks/>
            </p:cNvSpPr>
            <p:nvPr/>
          </p:nvSpPr>
          <p:spPr bwMode="auto">
            <a:xfrm>
              <a:off x="1431740" y="2692825"/>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1" name="Freeform 116">
              <a:extLst>
                <a:ext uri="{FF2B5EF4-FFF2-40B4-BE49-F238E27FC236}">
                  <a16:creationId xmlns:a16="http://schemas.microsoft.com/office/drawing/2014/main" id="{93AACF61-8C75-D847-85CB-51837ECD4353}"/>
                </a:ext>
              </a:extLst>
            </p:cNvPr>
            <p:cNvSpPr>
              <a:spLocks/>
            </p:cNvSpPr>
            <p:nvPr/>
          </p:nvSpPr>
          <p:spPr bwMode="auto">
            <a:xfrm>
              <a:off x="1431740" y="2692825"/>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2" name="Freeform 117">
              <a:extLst>
                <a:ext uri="{FF2B5EF4-FFF2-40B4-BE49-F238E27FC236}">
                  <a16:creationId xmlns:a16="http://schemas.microsoft.com/office/drawing/2014/main" id="{97EDD937-E490-8E44-B995-4006ACCCAEF4}"/>
                </a:ext>
              </a:extLst>
            </p:cNvPr>
            <p:cNvSpPr>
              <a:spLocks/>
            </p:cNvSpPr>
            <p:nvPr/>
          </p:nvSpPr>
          <p:spPr bwMode="auto">
            <a:xfrm>
              <a:off x="1435229" y="2692825"/>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3" name="Freeform 118">
              <a:extLst>
                <a:ext uri="{FF2B5EF4-FFF2-40B4-BE49-F238E27FC236}">
                  <a16:creationId xmlns:a16="http://schemas.microsoft.com/office/drawing/2014/main" id="{975F3D14-B8C5-2E4A-B603-5789C5069193}"/>
                </a:ext>
              </a:extLst>
            </p:cNvPr>
            <p:cNvSpPr>
              <a:spLocks/>
            </p:cNvSpPr>
            <p:nvPr/>
          </p:nvSpPr>
          <p:spPr bwMode="auto">
            <a:xfrm>
              <a:off x="1445695" y="26928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4" name="Freeform 119">
              <a:extLst>
                <a:ext uri="{FF2B5EF4-FFF2-40B4-BE49-F238E27FC236}">
                  <a16:creationId xmlns:a16="http://schemas.microsoft.com/office/drawing/2014/main" id="{11091462-6AA8-7549-A94B-9D5A97DEDDD8}"/>
                </a:ext>
              </a:extLst>
            </p:cNvPr>
            <p:cNvSpPr>
              <a:spLocks/>
            </p:cNvSpPr>
            <p:nvPr/>
          </p:nvSpPr>
          <p:spPr bwMode="auto">
            <a:xfrm>
              <a:off x="1450347" y="2692825"/>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5" name="Freeform 120">
              <a:extLst>
                <a:ext uri="{FF2B5EF4-FFF2-40B4-BE49-F238E27FC236}">
                  <a16:creationId xmlns:a16="http://schemas.microsoft.com/office/drawing/2014/main" id="{D0CB2D08-9D60-6949-BCD9-501B8DD71E68}"/>
                </a:ext>
              </a:extLst>
            </p:cNvPr>
            <p:cNvSpPr>
              <a:spLocks/>
            </p:cNvSpPr>
            <p:nvPr/>
          </p:nvSpPr>
          <p:spPr bwMode="auto">
            <a:xfrm>
              <a:off x="1465465" y="2692825"/>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2" y="0"/>
                  </a:lnTo>
                  <a:lnTo>
                    <a:pt x="16" y="0"/>
                  </a:lnTo>
                  <a:lnTo>
                    <a:pt x="16" y="3"/>
                  </a:lnTo>
                  <a:lnTo>
                    <a:pt x="16" y="6"/>
                  </a:lnTo>
                  <a:lnTo>
                    <a:pt x="1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6" name="Freeform 121">
              <a:extLst>
                <a:ext uri="{FF2B5EF4-FFF2-40B4-BE49-F238E27FC236}">
                  <a16:creationId xmlns:a16="http://schemas.microsoft.com/office/drawing/2014/main" id="{1ED6001F-B13A-824A-90D1-3FCE95E7EA01}"/>
                </a:ext>
              </a:extLst>
            </p:cNvPr>
            <p:cNvSpPr>
              <a:spLocks/>
            </p:cNvSpPr>
            <p:nvPr/>
          </p:nvSpPr>
          <p:spPr bwMode="auto">
            <a:xfrm>
              <a:off x="1475931" y="26928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7" name="Freeform 122">
              <a:extLst>
                <a:ext uri="{FF2B5EF4-FFF2-40B4-BE49-F238E27FC236}">
                  <a16:creationId xmlns:a16="http://schemas.microsoft.com/office/drawing/2014/main" id="{7AC3A2A7-8B0B-3B49-809A-2BEA5E173BA3}"/>
                </a:ext>
              </a:extLst>
            </p:cNvPr>
            <p:cNvSpPr>
              <a:spLocks/>
            </p:cNvSpPr>
            <p:nvPr/>
          </p:nvSpPr>
          <p:spPr bwMode="auto">
            <a:xfrm>
              <a:off x="1479420" y="268289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4"/>
                  </a:lnTo>
                  <a:lnTo>
                    <a:pt x="0" y="0"/>
                  </a:lnTo>
                  <a:lnTo>
                    <a:pt x="4" y="0"/>
                  </a:lnTo>
                  <a:lnTo>
                    <a:pt x="7" y="0"/>
                  </a:lnTo>
                  <a:lnTo>
                    <a:pt x="10" y="4"/>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8" name="Freeform 123">
              <a:extLst>
                <a:ext uri="{FF2B5EF4-FFF2-40B4-BE49-F238E27FC236}">
                  <a16:creationId xmlns:a16="http://schemas.microsoft.com/office/drawing/2014/main" id="{3AD4E671-C721-8940-B6B5-EA169146E903}"/>
                </a:ext>
              </a:extLst>
            </p:cNvPr>
            <p:cNvSpPr>
              <a:spLocks/>
            </p:cNvSpPr>
            <p:nvPr/>
          </p:nvSpPr>
          <p:spPr bwMode="auto">
            <a:xfrm>
              <a:off x="1479420" y="268289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4"/>
                  </a:lnTo>
                  <a:lnTo>
                    <a:pt x="0" y="0"/>
                  </a:lnTo>
                  <a:lnTo>
                    <a:pt x="4" y="0"/>
                  </a:lnTo>
                  <a:lnTo>
                    <a:pt x="10" y="0"/>
                  </a:lnTo>
                  <a:lnTo>
                    <a:pt x="13" y="0"/>
                  </a:lnTo>
                  <a:lnTo>
                    <a:pt x="13" y="4"/>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19" name="Freeform 124">
              <a:extLst>
                <a:ext uri="{FF2B5EF4-FFF2-40B4-BE49-F238E27FC236}">
                  <a16:creationId xmlns:a16="http://schemas.microsoft.com/office/drawing/2014/main" id="{CB15F2CB-A11F-4A41-91C2-F4EB1ED17AF6}"/>
                </a:ext>
              </a:extLst>
            </p:cNvPr>
            <p:cNvSpPr>
              <a:spLocks/>
            </p:cNvSpPr>
            <p:nvPr/>
          </p:nvSpPr>
          <p:spPr bwMode="auto">
            <a:xfrm>
              <a:off x="1487560" y="2682897"/>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0" name="Freeform 125">
              <a:extLst>
                <a:ext uri="{FF2B5EF4-FFF2-40B4-BE49-F238E27FC236}">
                  <a16:creationId xmlns:a16="http://schemas.microsoft.com/office/drawing/2014/main" id="{55F815E1-8D3C-A74C-ADAB-C5C95590D58A}"/>
                </a:ext>
              </a:extLst>
            </p:cNvPr>
            <p:cNvSpPr>
              <a:spLocks/>
            </p:cNvSpPr>
            <p:nvPr/>
          </p:nvSpPr>
          <p:spPr bwMode="auto">
            <a:xfrm>
              <a:off x="1502678" y="2669990"/>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6" y="20"/>
                  </a:lnTo>
                  <a:lnTo>
                    <a:pt x="3" y="20"/>
                  </a:lnTo>
                  <a:lnTo>
                    <a:pt x="0" y="20"/>
                  </a:lnTo>
                  <a:lnTo>
                    <a:pt x="0" y="17"/>
                  </a:lnTo>
                  <a:lnTo>
                    <a:pt x="0" y="4"/>
                  </a:lnTo>
                  <a:lnTo>
                    <a:pt x="0" y="0"/>
                  </a:lnTo>
                  <a:lnTo>
                    <a:pt x="3" y="0"/>
                  </a:lnTo>
                  <a:lnTo>
                    <a:pt x="6" y="0"/>
                  </a:lnTo>
                  <a:lnTo>
                    <a:pt x="10" y="4"/>
                  </a:lnTo>
                  <a:lnTo>
                    <a:pt x="10" y="1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1" name="Freeform 126">
              <a:extLst>
                <a:ext uri="{FF2B5EF4-FFF2-40B4-BE49-F238E27FC236}">
                  <a16:creationId xmlns:a16="http://schemas.microsoft.com/office/drawing/2014/main" id="{2AA401DF-91AA-B042-B715-A98C59B36F11}"/>
                </a:ext>
              </a:extLst>
            </p:cNvPr>
            <p:cNvSpPr>
              <a:spLocks/>
            </p:cNvSpPr>
            <p:nvPr/>
          </p:nvSpPr>
          <p:spPr bwMode="auto">
            <a:xfrm>
              <a:off x="1502678" y="26699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2" name="Freeform 127">
              <a:extLst>
                <a:ext uri="{FF2B5EF4-FFF2-40B4-BE49-F238E27FC236}">
                  <a16:creationId xmlns:a16="http://schemas.microsoft.com/office/drawing/2014/main" id="{F39956E0-CB3B-8845-AE71-F42D62B74993}"/>
                </a:ext>
              </a:extLst>
            </p:cNvPr>
            <p:cNvSpPr>
              <a:spLocks/>
            </p:cNvSpPr>
            <p:nvPr/>
          </p:nvSpPr>
          <p:spPr bwMode="auto">
            <a:xfrm>
              <a:off x="1509656" y="266999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7"/>
                  </a:lnTo>
                  <a:lnTo>
                    <a:pt x="0" y="4"/>
                  </a:lnTo>
                  <a:lnTo>
                    <a:pt x="0" y="0"/>
                  </a:lnTo>
                  <a:lnTo>
                    <a:pt x="4" y="0"/>
                  </a:lnTo>
                  <a:lnTo>
                    <a:pt x="13" y="0"/>
                  </a:lnTo>
                  <a:lnTo>
                    <a:pt x="16" y="0"/>
                  </a:lnTo>
                  <a:lnTo>
                    <a:pt x="16" y="4"/>
                  </a:lnTo>
                  <a:lnTo>
                    <a:pt x="16" y="7"/>
                  </a:lnTo>
                  <a:lnTo>
                    <a:pt x="1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3" name="Freeform 128">
              <a:extLst>
                <a:ext uri="{FF2B5EF4-FFF2-40B4-BE49-F238E27FC236}">
                  <a16:creationId xmlns:a16="http://schemas.microsoft.com/office/drawing/2014/main" id="{A32DFA67-4B6D-9047-BC11-0842D28F9593}"/>
                </a:ext>
              </a:extLst>
            </p:cNvPr>
            <p:cNvSpPr>
              <a:spLocks/>
            </p:cNvSpPr>
            <p:nvPr/>
          </p:nvSpPr>
          <p:spPr bwMode="auto">
            <a:xfrm>
              <a:off x="1521285" y="26699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4" name="Freeform 129">
              <a:extLst>
                <a:ext uri="{FF2B5EF4-FFF2-40B4-BE49-F238E27FC236}">
                  <a16:creationId xmlns:a16="http://schemas.microsoft.com/office/drawing/2014/main" id="{280CA113-CFDA-CC4A-9D18-90E4E5913BC9}"/>
                </a:ext>
              </a:extLst>
            </p:cNvPr>
            <p:cNvSpPr>
              <a:spLocks/>
            </p:cNvSpPr>
            <p:nvPr/>
          </p:nvSpPr>
          <p:spPr bwMode="auto">
            <a:xfrm>
              <a:off x="1528262" y="26699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4"/>
                  </a:lnTo>
                  <a:lnTo>
                    <a:pt x="0" y="0"/>
                  </a:lnTo>
                  <a:lnTo>
                    <a:pt x="4" y="0"/>
                  </a:lnTo>
                  <a:lnTo>
                    <a:pt x="10" y="0"/>
                  </a:lnTo>
                  <a:lnTo>
                    <a:pt x="13" y="0"/>
                  </a:lnTo>
                  <a:lnTo>
                    <a:pt x="13" y="4"/>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5" name="Freeform 130">
              <a:extLst>
                <a:ext uri="{FF2B5EF4-FFF2-40B4-BE49-F238E27FC236}">
                  <a16:creationId xmlns:a16="http://schemas.microsoft.com/office/drawing/2014/main" id="{198D9907-1FFD-5449-A178-CD45A0AA3FBE}"/>
                </a:ext>
              </a:extLst>
            </p:cNvPr>
            <p:cNvSpPr>
              <a:spLocks/>
            </p:cNvSpPr>
            <p:nvPr/>
          </p:nvSpPr>
          <p:spPr bwMode="auto">
            <a:xfrm>
              <a:off x="1536403" y="26699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6" name="Freeform 131">
              <a:extLst>
                <a:ext uri="{FF2B5EF4-FFF2-40B4-BE49-F238E27FC236}">
                  <a16:creationId xmlns:a16="http://schemas.microsoft.com/office/drawing/2014/main" id="{3D9AA6B0-4C93-D644-864F-1E1CC179DEE0}"/>
                </a:ext>
              </a:extLst>
            </p:cNvPr>
            <p:cNvSpPr>
              <a:spLocks/>
            </p:cNvSpPr>
            <p:nvPr/>
          </p:nvSpPr>
          <p:spPr bwMode="auto">
            <a:xfrm>
              <a:off x="1543381" y="2669990"/>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4"/>
                  </a:lnTo>
                  <a:lnTo>
                    <a:pt x="0" y="0"/>
                  </a:lnTo>
                  <a:lnTo>
                    <a:pt x="4" y="0"/>
                  </a:lnTo>
                  <a:lnTo>
                    <a:pt x="16" y="0"/>
                  </a:lnTo>
                  <a:lnTo>
                    <a:pt x="20" y="0"/>
                  </a:lnTo>
                  <a:lnTo>
                    <a:pt x="20" y="4"/>
                  </a:lnTo>
                  <a:lnTo>
                    <a:pt x="20" y="7"/>
                  </a:lnTo>
                  <a:lnTo>
                    <a:pt x="16"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7" name="Freeform 132">
              <a:extLst>
                <a:ext uri="{FF2B5EF4-FFF2-40B4-BE49-F238E27FC236}">
                  <a16:creationId xmlns:a16="http://schemas.microsoft.com/office/drawing/2014/main" id="{E44EA753-E5D3-CC4F-B16B-8D0DAA0C6539}"/>
                </a:ext>
              </a:extLst>
            </p:cNvPr>
            <p:cNvSpPr>
              <a:spLocks/>
            </p:cNvSpPr>
            <p:nvPr/>
          </p:nvSpPr>
          <p:spPr bwMode="auto">
            <a:xfrm>
              <a:off x="1558498" y="266999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8" name="Freeform 133">
              <a:extLst>
                <a:ext uri="{FF2B5EF4-FFF2-40B4-BE49-F238E27FC236}">
                  <a16:creationId xmlns:a16="http://schemas.microsoft.com/office/drawing/2014/main" id="{05C39D6A-5F83-4F4C-BAB9-79605D349849}"/>
                </a:ext>
              </a:extLst>
            </p:cNvPr>
            <p:cNvSpPr>
              <a:spLocks/>
            </p:cNvSpPr>
            <p:nvPr/>
          </p:nvSpPr>
          <p:spPr bwMode="auto">
            <a:xfrm>
              <a:off x="1561987" y="266999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29" name="Freeform 134">
              <a:extLst>
                <a:ext uri="{FF2B5EF4-FFF2-40B4-BE49-F238E27FC236}">
                  <a16:creationId xmlns:a16="http://schemas.microsoft.com/office/drawing/2014/main" id="{82EEB032-B72C-F944-8381-B7BAA8CBACFD}"/>
                </a:ext>
              </a:extLst>
            </p:cNvPr>
            <p:cNvSpPr>
              <a:spLocks/>
            </p:cNvSpPr>
            <p:nvPr/>
          </p:nvSpPr>
          <p:spPr bwMode="auto">
            <a:xfrm>
              <a:off x="1566639" y="266999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0" name="Freeform 135">
              <a:extLst>
                <a:ext uri="{FF2B5EF4-FFF2-40B4-BE49-F238E27FC236}">
                  <a16:creationId xmlns:a16="http://schemas.microsoft.com/office/drawing/2014/main" id="{D29BBA17-6E07-6B40-87E1-6E4C3ED31866}"/>
                </a:ext>
              </a:extLst>
            </p:cNvPr>
            <p:cNvSpPr>
              <a:spLocks/>
            </p:cNvSpPr>
            <p:nvPr/>
          </p:nvSpPr>
          <p:spPr bwMode="auto">
            <a:xfrm>
              <a:off x="1570128" y="266999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1" name="Freeform 136">
              <a:extLst>
                <a:ext uri="{FF2B5EF4-FFF2-40B4-BE49-F238E27FC236}">
                  <a16:creationId xmlns:a16="http://schemas.microsoft.com/office/drawing/2014/main" id="{8EAC9923-9050-9C4A-B27D-C58775DAA714}"/>
                </a:ext>
              </a:extLst>
            </p:cNvPr>
            <p:cNvSpPr>
              <a:spLocks/>
            </p:cNvSpPr>
            <p:nvPr/>
          </p:nvSpPr>
          <p:spPr bwMode="auto">
            <a:xfrm>
              <a:off x="1573617" y="266105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2" name="Freeform 137">
              <a:extLst>
                <a:ext uri="{FF2B5EF4-FFF2-40B4-BE49-F238E27FC236}">
                  <a16:creationId xmlns:a16="http://schemas.microsoft.com/office/drawing/2014/main" id="{D00A5078-87D4-7F49-8040-AD9ABF877F70}"/>
                </a:ext>
              </a:extLst>
            </p:cNvPr>
            <p:cNvSpPr>
              <a:spLocks/>
            </p:cNvSpPr>
            <p:nvPr/>
          </p:nvSpPr>
          <p:spPr bwMode="auto">
            <a:xfrm>
              <a:off x="1573617" y="266105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3" name="Freeform 138">
              <a:extLst>
                <a:ext uri="{FF2B5EF4-FFF2-40B4-BE49-F238E27FC236}">
                  <a16:creationId xmlns:a16="http://schemas.microsoft.com/office/drawing/2014/main" id="{9C897EE8-581A-4B46-A507-C90D514A5789}"/>
                </a:ext>
              </a:extLst>
            </p:cNvPr>
            <p:cNvSpPr>
              <a:spLocks/>
            </p:cNvSpPr>
            <p:nvPr/>
          </p:nvSpPr>
          <p:spPr bwMode="auto">
            <a:xfrm>
              <a:off x="1581757" y="2661054"/>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4" name="Freeform 139">
              <a:extLst>
                <a:ext uri="{FF2B5EF4-FFF2-40B4-BE49-F238E27FC236}">
                  <a16:creationId xmlns:a16="http://schemas.microsoft.com/office/drawing/2014/main" id="{5C883782-01EF-814F-B606-5C622284D2DF}"/>
                </a:ext>
              </a:extLst>
            </p:cNvPr>
            <p:cNvSpPr>
              <a:spLocks/>
            </p:cNvSpPr>
            <p:nvPr/>
          </p:nvSpPr>
          <p:spPr bwMode="auto">
            <a:xfrm>
              <a:off x="1585246" y="2661054"/>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5" name="Freeform 140">
              <a:extLst>
                <a:ext uri="{FF2B5EF4-FFF2-40B4-BE49-F238E27FC236}">
                  <a16:creationId xmlns:a16="http://schemas.microsoft.com/office/drawing/2014/main" id="{F5A66B8E-2C17-D447-8CBC-967CE48109B9}"/>
                </a:ext>
              </a:extLst>
            </p:cNvPr>
            <p:cNvSpPr>
              <a:spLocks/>
            </p:cNvSpPr>
            <p:nvPr/>
          </p:nvSpPr>
          <p:spPr bwMode="auto">
            <a:xfrm>
              <a:off x="1600363" y="2661054"/>
              <a:ext cx="25584" cy="8936"/>
            </a:xfrm>
            <a:custGeom>
              <a:avLst/>
              <a:gdLst>
                <a:gd name="T0" fmla="*/ 2147483646 w 22"/>
                <a:gd name="T1" fmla="*/ 2147483646 h 9"/>
                <a:gd name="T2" fmla="*/ 0 w 22"/>
                <a:gd name="T3" fmla="*/ 2147483646 h 9"/>
                <a:gd name="T4" fmla="*/ 0 w 22"/>
                <a:gd name="T5" fmla="*/ 2147483646 h 9"/>
                <a:gd name="T6" fmla="*/ 0 w 22"/>
                <a:gd name="T7" fmla="*/ 2147483646 h 9"/>
                <a:gd name="T8" fmla="*/ 0 w 22"/>
                <a:gd name="T9" fmla="*/ 0 h 9"/>
                <a:gd name="T10" fmla="*/ 2147483646 w 22"/>
                <a:gd name="T11" fmla="*/ 0 h 9"/>
                <a:gd name="T12" fmla="*/ 2147483646 w 22"/>
                <a:gd name="T13" fmla="*/ 0 h 9"/>
                <a:gd name="T14" fmla="*/ 2147483646 w 22"/>
                <a:gd name="T15" fmla="*/ 0 h 9"/>
                <a:gd name="T16" fmla="*/ 2147483646 w 22"/>
                <a:gd name="T17" fmla="*/ 2147483646 h 9"/>
                <a:gd name="T18" fmla="*/ 2147483646 w 22"/>
                <a:gd name="T19" fmla="*/ 2147483646 h 9"/>
                <a:gd name="T20" fmla="*/ 2147483646 w 22"/>
                <a:gd name="T21" fmla="*/ 2147483646 h 9"/>
                <a:gd name="T22" fmla="*/ 2147483646 w 22"/>
                <a:gd name="T23" fmla="*/ 2147483646 h 9"/>
                <a:gd name="T24" fmla="*/ 2147483646 w 2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9">
                  <a:moveTo>
                    <a:pt x="3" y="9"/>
                  </a:moveTo>
                  <a:lnTo>
                    <a:pt x="0" y="6"/>
                  </a:lnTo>
                  <a:lnTo>
                    <a:pt x="0" y="3"/>
                  </a:lnTo>
                  <a:lnTo>
                    <a:pt x="0" y="0"/>
                  </a:lnTo>
                  <a:lnTo>
                    <a:pt x="3" y="0"/>
                  </a:lnTo>
                  <a:lnTo>
                    <a:pt x="19" y="0"/>
                  </a:lnTo>
                  <a:lnTo>
                    <a:pt x="22" y="0"/>
                  </a:lnTo>
                  <a:lnTo>
                    <a:pt x="22" y="3"/>
                  </a:lnTo>
                  <a:lnTo>
                    <a:pt x="22" y="6"/>
                  </a:lnTo>
                  <a:lnTo>
                    <a:pt x="19"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6" name="Freeform 141">
              <a:extLst>
                <a:ext uri="{FF2B5EF4-FFF2-40B4-BE49-F238E27FC236}">
                  <a16:creationId xmlns:a16="http://schemas.microsoft.com/office/drawing/2014/main" id="{0DF886B5-D88F-AC44-8031-72F4E9FB33D1}"/>
                </a:ext>
              </a:extLst>
            </p:cNvPr>
            <p:cNvSpPr>
              <a:spLocks/>
            </p:cNvSpPr>
            <p:nvPr/>
          </p:nvSpPr>
          <p:spPr bwMode="auto">
            <a:xfrm>
              <a:off x="1618970" y="2661054"/>
              <a:ext cx="33725" cy="8936"/>
            </a:xfrm>
            <a:custGeom>
              <a:avLst/>
              <a:gdLst>
                <a:gd name="T0" fmla="*/ 2147483646 w 29"/>
                <a:gd name="T1" fmla="*/ 2147483646 h 9"/>
                <a:gd name="T2" fmla="*/ 0 w 29"/>
                <a:gd name="T3" fmla="*/ 2147483646 h 9"/>
                <a:gd name="T4" fmla="*/ 0 w 29"/>
                <a:gd name="T5" fmla="*/ 2147483646 h 9"/>
                <a:gd name="T6" fmla="*/ 0 w 29"/>
                <a:gd name="T7" fmla="*/ 2147483646 h 9"/>
                <a:gd name="T8" fmla="*/ 0 w 29"/>
                <a:gd name="T9" fmla="*/ 0 h 9"/>
                <a:gd name="T10" fmla="*/ 2147483646 w 29"/>
                <a:gd name="T11" fmla="*/ 0 h 9"/>
                <a:gd name="T12" fmla="*/ 2147483646 w 29"/>
                <a:gd name="T13" fmla="*/ 0 h 9"/>
                <a:gd name="T14" fmla="*/ 2147483646 w 29"/>
                <a:gd name="T15" fmla="*/ 0 h 9"/>
                <a:gd name="T16" fmla="*/ 2147483646 w 29"/>
                <a:gd name="T17" fmla="*/ 2147483646 h 9"/>
                <a:gd name="T18" fmla="*/ 2147483646 w 29"/>
                <a:gd name="T19" fmla="*/ 2147483646 h 9"/>
                <a:gd name="T20" fmla="*/ 2147483646 w 29"/>
                <a:gd name="T21" fmla="*/ 2147483646 h 9"/>
                <a:gd name="T22" fmla="*/ 2147483646 w 29"/>
                <a:gd name="T23" fmla="*/ 2147483646 h 9"/>
                <a:gd name="T24" fmla="*/ 2147483646 w 2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9">
                  <a:moveTo>
                    <a:pt x="3" y="9"/>
                  </a:moveTo>
                  <a:lnTo>
                    <a:pt x="0" y="6"/>
                  </a:lnTo>
                  <a:lnTo>
                    <a:pt x="0" y="3"/>
                  </a:lnTo>
                  <a:lnTo>
                    <a:pt x="0" y="0"/>
                  </a:lnTo>
                  <a:lnTo>
                    <a:pt x="3" y="0"/>
                  </a:lnTo>
                  <a:lnTo>
                    <a:pt x="26" y="0"/>
                  </a:lnTo>
                  <a:lnTo>
                    <a:pt x="29" y="0"/>
                  </a:lnTo>
                  <a:lnTo>
                    <a:pt x="29" y="3"/>
                  </a:lnTo>
                  <a:lnTo>
                    <a:pt x="29" y="6"/>
                  </a:lnTo>
                  <a:lnTo>
                    <a:pt x="2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7" name="Freeform 142">
              <a:extLst>
                <a:ext uri="{FF2B5EF4-FFF2-40B4-BE49-F238E27FC236}">
                  <a16:creationId xmlns:a16="http://schemas.microsoft.com/office/drawing/2014/main" id="{EC2A9306-7366-014C-A37B-4D6824D7F0C2}"/>
                </a:ext>
              </a:extLst>
            </p:cNvPr>
            <p:cNvSpPr>
              <a:spLocks/>
            </p:cNvSpPr>
            <p:nvPr/>
          </p:nvSpPr>
          <p:spPr bwMode="auto">
            <a:xfrm>
              <a:off x="1644555" y="265112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8" name="Freeform 143">
              <a:extLst>
                <a:ext uri="{FF2B5EF4-FFF2-40B4-BE49-F238E27FC236}">
                  <a16:creationId xmlns:a16="http://schemas.microsoft.com/office/drawing/2014/main" id="{1F39F30C-E57E-CA46-B5DB-7E13C61DB09D}"/>
                </a:ext>
              </a:extLst>
            </p:cNvPr>
            <p:cNvSpPr>
              <a:spLocks/>
            </p:cNvSpPr>
            <p:nvPr/>
          </p:nvSpPr>
          <p:spPr bwMode="auto">
            <a:xfrm>
              <a:off x="1644555" y="265112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39" name="Freeform 144">
              <a:extLst>
                <a:ext uri="{FF2B5EF4-FFF2-40B4-BE49-F238E27FC236}">
                  <a16:creationId xmlns:a16="http://schemas.microsoft.com/office/drawing/2014/main" id="{14BB1557-0A2F-F647-83DB-E7FEED0CA2A2}"/>
                </a:ext>
              </a:extLst>
            </p:cNvPr>
            <p:cNvSpPr>
              <a:spLocks/>
            </p:cNvSpPr>
            <p:nvPr/>
          </p:nvSpPr>
          <p:spPr bwMode="auto">
            <a:xfrm>
              <a:off x="1649206" y="265112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0" name="Freeform 145">
              <a:extLst>
                <a:ext uri="{FF2B5EF4-FFF2-40B4-BE49-F238E27FC236}">
                  <a16:creationId xmlns:a16="http://schemas.microsoft.com/office/drawing/2014/main" id="{14B76CDB-B0E4-CC43-A3EC-9AC31C862355}"/>
                </a:ext>
              </a:extLst>
            </p:cNvPr>
            <p:cNvSpPr>
              <a:spLocks/>
            </p:cNvSpPr>
            <p:nvPr/>
          </p:nvSpPr>
          <p:spPr bwMode="auto">
            <a:xfrm>
              <a:off x="1652695" y="2641197"/>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1" name="Freeform 146">
              <a:extLst>
                <a:ext uri="{FF2B5EF4-FFF2-40B4-BE49-F238E27FC236}">
                  <a16:creationId xmlns:a16="http://schemas.microsoft.com/office/drawing/2014/main" id="{EB44DB45-5C36-F144-A27C-4078DB5EA1AC}"/>
                </a:ext>
              </a:extLst>
            </p:cNvPr>
            <p:cNvSpPr>
              <a:spLocks/>
            </p:cNvSpPr>
            <p:nvPr/>
          </p:nvSpPr>
          <p:spPr bwMode="auto">
            <a:xfrm>
              <a:off x="1652695" y="264119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2" name="Freeform 147">
              <a:extLst>
                <a:ext uri="{FF2B5EF4-FFF2-40B4-BE49-F238E27FC236}">
                  <a16:creationId xmlns:a16="http://schemas.microsoft.com/office/drawing/2014/main" id="{7A18D63A-1DE1-084A-9DBF-CED87FA3FD04}"/>
                </a:ext>
              </a:extLst>
            </p:cNvPr>
            <p:cNvSpPr>
              <a:spLocks/>
            </p:cNvSpPr>
            <p:nvPr/>
          </p:nvSpPr>
          <p:spPr bwMode="auto">
            <a:xfrm>
              <a:off x="1656184" y="264119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3" name="Freeform 148">
              <a:extLst>
                <a:ext uri="{FF2B5EF4-FFF2-40B4-BE49-F238E27FC236}">
                  <a16:creationId xmlns:a16="http://schemas.microsoft.com/office/drawing/2014/main" id="{B78CE3EE-3846-5A4E-B4D2-D2482647ECC3}"/>
                </a:ext>
              </a:extLst>
            </p:cNvPr>
            <p:cNvSpPr>
              <a:spLocks/>
            </p:cNvSpPr>
            <p:nvPr/>
          </p:nvSpPr>
          <p:spPr bwMode="auto">
            <a:xfrm>
              <a:off x="1659673" y="2628291"/>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3" y="20"/>
                  </a:lnTo>
                  <a:lnTo>
                    <a:pt x="0" y="20"/>
                  </a:lnTo>
                  <a:lnTo>
                    <a:pt x="0" y="17"/>
                  </a:lnTo>
                  <a:lnTo>
                    <a:pt x="0" y="4"/>
                  </a:lnTo>
                  <a:lnTo>
                    <a:pt x="0" y="0"/>
                  </a:lnTo>
                  <a:lnTo>
                    <a:pt x="3" y="0"/>
                  </a:lnTo>
                  <a:lnTo>
                    <a:pt x="7" y="0"/>
                  </a:lnTo>
                  <a:lnTo>
                    <a:pt x="10" y="4"/>
                  </a:lnTo>
                  <a:lnTo>
                    <a:pt x="10" y="1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4" name="Freeform 149">
              <a:extLst>
                <a:ext uri="{FF2B5EF4-FFF2-40B4-BE49-F238E27FC236}">
                  <a16:creationId xmlns:a16="http://schemas.microsoft.com/office/drawing/2014/main" id="{3124A617-EEBA-1C42-B669-CD1DF808DE25}"/>
                </a:ext>
              </a:extLst>
            </p:cNvPr>
            <p:cNvSpPr>
              <a:spLocks/>
            </p:cNvSpPr>
            <p:nvPr/>
          </p:nvSpPr>
          <p:spPr bwMode="auto">
            <a:xfrm>
              <a:off x="1659673" y="2628291"/>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3" y="10"/>
                  </a:moveTo>
                  <a:lnTo>
                    <a:pt x="0" y="7"/>
                  </a:lnTo>
                  <a:lnTo>
                    <a:pt x="0" y="4"/>
                  </a:lnTo>
                  <a:lnTo>
                    <a:pt x="0" y="0"/>
                  </a:lnTo>
                  <a:lnTo>
                    <a:pt x="3" y="0"/>
                  </a:lnTo>
                  <a:lnTo>
                    <a:pt x="16" y="0"/>
                  </a:lnTo>
                  <a:lnTo>
                    <a:pt x="20" y="0"/>
                  </a:lnTo>
                  <a:lnTo>
                    <a:pt x="20" y="4"/>
                  </a:lnTo>
                  <a:lnTo>
                    <a:pt x="20"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5" name="Freeform 150">
              <a:extLst>
                <a:ext uri="{FF2B5EF4-FFF2-40B4-BE49-F238E27FC236}">
                  <a16:creationId xmlns:a16="http://schemas.microsoft.com/office/drawing/2014/main" id="{BF793343-FA9E-5D4E-82DC-0F86F5E64B3C}"/>
                </a:ext>
              </a:extLst>
            </p:cNvPr>
            <p:cNvSpPr>
              <a:spLocks/>
            </p:cNvSpPr>
            <p:nvPr/>
          </p:nvSpPr>
          <p:spPr bwMode="auto">
            <a:xfrm>
              <a:off x="1674790" y="262829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6" name="Freeform 151">
              <a:extLst>
                <a:ext uri="{FF2B5EF4-FFF2-40B4-BE49-F238E27FC236}">
                  <a16:creationId xmlns:a16="http://schemas.microsoft.com/office/drawing/2014/main" id="{A7FB312D-E85D-B34C-BACD-32DC509D3909}"/>
                </a:ext>
              </a:extLst>
            </p:cNvPr>
            <p:cNvSpPr>
              <a:spLocks/>
            </p:cNvSpPr>
            <p:nvPr/>
          </p:nvSpPr>
          <p:spPr bwMode="auto">
            <a:xfrm>
              <a:off x="1678280" y="261935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7" name="Freeform 152">
              <a:extLst>
                <a:ext uri="{FF2B5EF4-FFF2-40B4-BE49-F238E27FC236}">
                  <a16:creationId xmlns:a16="http://schemas.microsoft.com/office/drawing/2014/main" id="{47420452-DC3C-8242-8B7E-78A52457C687}"/>
                </a:ext>
              </a:extLst>
            </p:cNvPr>
            <p:cNvSpPr>
              <a:spLocks/>
            </p:cNvSpPr>
            <p:nvPr/>
          </p:nvSpPr>
          <p:spPr bwMode="auto">
            <a:xfrm>
              <a:off x="1678280" y="261935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8" name="Freeform 153">
              <a:extLst>
                <a:ext uri="{FF2B5EF4-FFF2-40B4-BE49-F238E27FC236}">
                  <a16:creationId xmlns:a16="http://schemas.microsoft.com/office/drawing/2014/main" id="{B2BEB8A0-BA89-7640-8A24-C1196E146BE2}"/>
                </a:ext>
              </a:extLst>
            </p:cNvPr>
            <p:cNvSpPr>
              <a:spLocks/>
            </p:cNvSpPr>
            <p:nvPr/>
          </p:nvSpPr>
          <p:spPr bwMode="auto">
            <a:xfrm>
              <a:off x="1682931" y="2619355"/>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49" name="Freeform 154">
              <a:extLst>
                <a:ext uri="{FF2B5EF4-FFF2-40B4-BE49-F238E27FC236}">
                  <a16:creationId xmlns:a16="http://schemas.microsoft.com/office/drawing/2014/main" id="{4879065E-C50D-D24E-B673-A57DB8D8CDFC}"/>
                </a:ext>
              </a:extLst>
            </p:cNvPr>
            <p:cNvSpPr>
              <a:spLocks/>
            </p:cNvSpPr>
            <p:nvPr/>
          </p:nvSpPr>
          <p:spPr bwMode="auto">
            <a:xfrm>
              <a:off x="1696886" y="2619355"/>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0" name="Freeform 155">
              <a:extLst>
                <a:ext uri="{FF2B5EF4-FFF2-40B4-BE49-F238E27FC236}">
                  <a16:creationId xmlns:a16="http://schemas.microsoft.com/office/drawing/2014/main" id="{482D96C0-24B0-BD46-A6BA-DF7968643D11}"/>
                </a:ext>
              </a:extLst>
            </p:cNvPr>
            <p:cNvSpPr>
              <a:spLocks/>
            </p:cNvSpPr>
            <p:nvPr/>
          </p:nvSpPr>
          <p:spPr bwMode="auto">
            <a:xfrm>
              <a:off x="1705026" y="261935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1" name="Freeform 156">
              <a:extLst>
                <a:ext uri="{FF2B5EF4-FFF2-40B4-BE49-F238E27FC236}">
                  <a16:creationId xmlns:a16="http://schemas.microsoft.com/office/drawing/2014/main" id="{8059D6F1-943B-4B41-AF11-DFB6C2C5E8B0}"/>
                </a:ext>
              </a:extLst>
            </p:cNvPr>
            <p:cNvSpPr>
              <a:spLocks/>
            </p:cNvSpPr>
            <p:nvPr/>
          </p:nvSpPr>
          <p:spPr bwMode="auto">
            <a:xfrm>
              <a:off x="1708516" y="2619355"/>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2" name="Freeform 157">
              <a:extLst>
                <a:ext uri="{FF2B5EF4-FFF2-40B4-BE49-F238E27FC236}">
                  <a16:creationId xmlns:a16="http://schemas.microsoft.com/office/drawing/2014/main" id="{D2346789-C37D-254B-9C1A-5F0B4D80B421}"/>
                </a:ext>
              </a:extLst>
            </p:cNvPr>
            <p:cNvSpPr>
              <a:spLocks/>
            </p:cNvSpPr>
            <p:nvPr/>
          </p:nvSpPr>
          <p:spPr bwMode="auto">
            <a:xfrm>
              <a:off x="1716656" y="2619355"/>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3" name="Freeform 158">
              <a:extLst>
                <a:ext uri="{FF2B5EF4-FFF2-40B4-BE49-F238E27FC236}">
                  <a16:creationId xmlns:a16="http://schemas.microsoft.com/office/drawing/2014/main" id="{ADC57BCC-48E0-624F-B413-760767A6A347}"/>
                </a:ext>
              </a:extLst>
            </p:cNvPr>
            <p:cNvSpPr>
              <a:spLocks/>
            </p:cNvSpPr>
            <p:nvPr/>
          </p:nvSpPr>
          <p:spPr bwMode="auto">
            <a:xfrm>
              <a:off x="1720145" y="2606448"/>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4" name="Freeform 159">
              <a:extLst>
                <a:ext uri="{FF2B5EF4-FFF2-40B4-BE49-F238E27FC236}">
                  <a16:creationId xmlns:a16="http://schemas.microsoft.com/office/drawing/2014/main" id="{890E65A9-6237-C54F-A0FA-93D71E0D0A96}"/>
                </a:ext>
              </a:extLst>
            </p:cNvPr>
            <p:cNvSpPr>
              <a:spLocks/>
            </p:cNvSpPr>
            <p:nvPr/>
          </p:nvSpPr>
          <p:spPr bwMode="auto">
            <a:xfrm>
              <a:off x="1720145" y="260644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5" name="Freeform 160">
              <a:extLst>
                <a:ext uri="{FF2B5EF4-FFF2-40B4-BE49-F238E27FC236}">
                  <a16:creationId xmlns:a16="http://schemas.microsoft.com/office/drawing/2014/main" id="{B89FB1E6-A4C5-D741-ABD1-CB00D02A6D1D}"/>
                </a:ext>
              </a:extLst>
            </p:cNvPr>
            <p:cNvSpPr>
              <a:spLocks/>
            </p:cNvSpPr>
            <p:nvPr/>
          </p:nvSpPr>
          <p:spPr bwMode="auto">
            <a:xfrm>
              <a:off x="1727122" y="260644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6" name="Freeform 161">
              <a:extLst>
                <a:ext uri="{FF2B5EF4-FFF2-40B4-BE49-F238E27FC236}">
                  <a16:creationId xmlns:a16="http://schemas.microsoft.com/office/drawing/2014/main" id="{5F9FAF2B-CC7F-984C-AC7D-97F6D1EC982F}"/>
                </a:ext>
              </a:extLst>
            </p:cNvPr>
            <p:cNvSpPr>
              <a:spLocks/>
            </p:cNvSpPr>
            <p:nvPr/>
          </p:nvSpPr>
          <p:spPr bwMode="auto">
            <a:xfrm>
              <a:off x="1730611" y="259652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7" name="Freeform 162">
              <a:extLst>
                <a:ext uri="{FF2B5EF4-FFF2-40B4-BE49-F238E27FC236}">
                  <a16:creationId xmlns:a16="http://schemas.microsoft.com/office/drawing/2014/main" id="{6A8A3A33-EDD0-6947-9016-BFFFE92ECC06}"/>
                </a:ext>
              </a:extLst>
            </p:cNvPr>
            <p:cNvSpPr>
              <a:spLocks/>
            </p:cNvSpPr>
            <p:nvPr/>
          </p:nvSpPr>
          <p:spPr bwMode="auto">
            <a:xfrm>
              <a:off x="1730611" y="259652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8" name="Freeform 163">
              <a:extLst>
                <a:ext uri="{FF2B5EF4-FFF2-40B4-BE49-F238E27FC236}">
                  <a16:creationId xmlns:a16="http://schemas.microsoft.com/office/drawing/2014/main" id="{9F5C9914-0650-5B4F-9D6F-63B280916EF0}"/>
                </a:ext>
              </a:extLst>
            </p:cNvPr>
            <p:cNvSpPr>
              <a:spLocks/>
            </p:cNvSpPr>
            <p:nvPr/>
          </p:nvSpPr>
          <p:spPr bwMode="auto">
            <a:xfrm>
              <a:off x="1738752" y="259652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59" name="Freeform 164">
              <a:extLst>
                <a:ext uri="{FF2B5EF4-FFF2-40B4-BE49-F238E27FC236}">
                  <a16:creationId xmlns:a16="http://schemas.microsoft.com/office/drawing/2014/main" id="{ED7917F4-7FE2-7741-9798-786128FAA902}"/>
                </a:ext>
              </a:extLst>
            </p:cNvPr>
            <p:cNvSpPr>
              <a:spLocks/>
            </p:cNvSpPr>
            <p:nvPr/>
          </p:nvSpPr>
          <p:spPr bwMode="auto">
            <a:xfrm>
              <a:off x="1742240" y="259652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0" name="Freeform 165">
              <a:extLst>
                <a:ext uri="{FF2B5EF4-FFF2-40B4-BE49-F238E27FC236}">
                  <a16:creationId xmlns:a16="http://schemas.microsoft.com/office/drawing/2014/main" id="{B71BB49E-5552-C749-B16F-CDE364BAB11A}"/>
                </a:ext>
              </a:extLst>
            </p:cNvPr>
            <p:cNvSpPr>
              <a:spLocks/>
            </p:cNvSpPr>
            <p:nvPr/>
          </p:nvSpPr>
          <p:spPr bwMode="auto">
            <a:xfrm>
              <a:off x="1757358" y="259652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1" name="Freeform 166">
              <a:extLst>
                <a:ext uri="{FF2B5EF4-FFF2-40B4-BE49-F238E27FC236}">
                  <a16:creationId xmlns:a16="http://schemas.microsoft.com/office/drawing/2014/main" id="{E982B867-9521-FF48-AC27-4B315BDBCACA}"/>
                </a:ext>
              </a:extLst>
            </p:cNvPr>
            <p:cNvSpPr>
              <a:spLocks/>
            </p:cNvSpPr>
            <p:nvPr/>
          </p:nvSpPr>
          <p:spPr bwMode="auto">
            <a:xfrm>
              <a:off x="1760847" y="2583612"/>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4"/>
                  </a:lnTo>
                  <a:lnTo>
                    <a:pt x="0" y="0"/>
                  </a:lnTo>
                  <a:lnTo>
                    <a:pt x="3" y="0"/>
                  </a:lnTo>
                  <a:lnTo>
                    <a:pt x="7" y="0"/>
                  </a:lnTo>
                  <a:lnTo>
                    <a:pt x="10" y="4"/>
                  </a:lnTo>
                  <a:lnTo>
                    <a:pt x="10"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2" name="Freeform 167">
              <a:extLst>
                <a:ext uri="{FF2B5EF4-FFF2-40B4-BE49-F238E27FC236}">
                  <a16:creationId xmlns:a16="http://schemas.microsoft.com/office/drawing/2014/main" id="{9D37351A-7442-7841-A019-70048C2F4CFF}"/>
                </a:ext>
              </a:extLst>
            </p:cNvPr>
            <p:cNvSpPr>
              <a:spLocks/>
            </p:cNvSpPr>
            <p:nvPr/>
          </p:nvSpPr>
          <p:spPr bwMode="auto">
            <a:xfrm>
              <a:off x="1760847" y="258361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3" name="Freeform 168">
              <a:extLst>
                <a:ext uri="{FF2B5EF4-FFF2-40B4-BE49-F238E27FC236}">
                  <a16:creationId xmlns:a16="http://schemas.microsoft.com/office/drawing/2014/main" id="{0EB9EAC2-1A07-2D4B-B309-3BC2791B1A01}"/>
                </a:ext>
              </a:extLst>
            </p:cNvPr>
            <p:cNvSpPr>
              <a:spLocks/>
            </p:cNvSpPr>
            <p:nvPr/>
          </p:nvSpPr>
          <p:spPr bwMode="auto">
            <a:xfrm>
              <a:off x="1768987" y="258361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4" name="Freeform 169">
              <a:extLst>
                <a:ext uri="{FF2B5EF4-FFF2-40B4-BE49-F238E27FC236}">
                  <a16:creationId xmlns:a16="http://schemas.microsoft.com/office/drawing/2014/main" id="{C24EBF99-B39F-444F-8866-AFC82113FBC2}"/>
                </a:ext>
              </a:extLst>
            </p:cNvPr>
            <p:cNvSpPr>
              <a:spLocks/>
            </p:cNvSpPr>
            <p:nvPr/>
          </p:nvSpPr>
          <p:spPr bwMode="auto">
            <a:xfrm>
              <a:off x="1772476" y="2570706"/>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6" y="20"/>
                  </a:lnTo>
                  <a:lnTo>
                    <a:pt x="3" y="20"/>
                  </a:lnTo>
                  <a:lnTo>
                    <a:pt x="0" y="20"/>
                  </a:lnTo>
                  <a:lnTo>
                    <a:pt x="0" y="17"/>
                  </a:lnTo>
                  <a:lnTo>
                    <a:pt x="0" y="4"/>
                  </a:lnTo>
                  <a:lnTo>
                    <a:pt x="0" y="0"/>
                  </a:lnTo>
                  <a:lnTo>
                    <a:pt x="3" y="0"/>
                  </a:lnTo>
                  <a:lnTo>
                    <a:pt x="6" y="0"/>
                  </a:lnTo>
                  <a:lnTo>
                    <a:pt x="10" y="4"/>
                  </a:lnTo>
                  <a:lnTo>
                    <a:pt x="10" y="1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5" name="Freeform 170">
              <a:extLst>
                <a:ext uri="{FF2B5EF4-FFF2-40B4-BE49-F238E27FC236}">
                  <a16:creationId xmlns:a16="http://schemas.microsoft.com/office/drawing/2014/main" id="{DE7BF352-F769-0842-87EB-E000EB68CCE5}"/>
                </a:ext>
              </a:extLst>
            </p:cNvPr>
            <p:cNvSpPr>
              <a:spLocks/>
            </p:cNvSpPr>
            <p:nvPr/>
          </p:nvSpPr>
          <p:spPr bwMode="auto">
            <a:xfrm>
              <a:off x="1772476" y="257070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6" name="Freeform 171">
              <a:extLst>
                <a:ext uri="{FF2B5EF4-FFF2-40B4-BE49-F238E27FC236}">
                  <a16:creationId xmlns:a16="http://schemas.microsoft.com/office/drawing/2014/main" id="{F084BE64-EDA9-A447-B4C8-EE3465ABC59B}"/>
                </a:ext>
              </a:extLst>
            </p:cNvPr>
            <p:cNvSpPr>
              <a:spLocks/>
            </p:cNvSpPr>
            <p:nvPr/>
          </p:nvSpPr>
          <p:spPr bwMode="auto">
            <a:xfrm>
              <a:off x="1775965" y="256177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7" name="Freeform 172">
              <a:extLst>
                <a:ext uri="{FF2B5EF4-FFF2-40B4-BE49-F238E27FC236}">
                  <a16:creationId xmlns:a16="http://schemas.microsoft.com/office/drawing/2014/main" id="{438667AC-65F5-F14A-9165-6D1C3C4626BB}"/>
                </a:ext>
              </a:extLst>
            </p:cNvPr>
            <p:cNvSpPr>
              <a:spLocks/>
            </p:cNvSpPr>
            <p:nvPr/>
          </p:nvSpPr>
          <p:spPr bwMode="auto">
            <a:xfrm>
              <a:off x="1775965" y="2561770"/>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8" name="Freeform 173">
              <a:extLst>
                <a:ext uri="{FF2B5EF4-FFF2-40B4-BE49-F238E27FC236}">
                  <a16:creationId xmlns:a16="http://schemas.microsoft.com/office/drawing/2014/main" id="{28058AF5-3722-1244-8E59-2125E7CF3549}"/>
                </a:ext>
              </a:extLst>
            </p:cNvPr>
            <p:cNvSpPr>
              <a:spLocks/>
            </p:cNvSpPr>
            <p:nvPr/>
          </p:nvSpPr>
          <p:spPr bwMode="auto">
            <a:xfrm>
              <a:off x="1784105" y="2548863"/>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69" name="Freeform 174">
              <a:extLst>
                <a:ext uri="{FF2B5EF4-FFF2-40B4-BE49-F238E27FC236}">
                  <a16:creationId xmlns:a16="http://schemas.microsoft.com/office/drawing/2014/main" id="{434B5EDE-38D2-5540-AFCA-7027B0352356}"/>
                </a:ext>
              </a:extLst>
            </p:cNvPr>
            <p:cNvSpPr>
              <a:spLocks/>
            </p:cNvSpPr>
            <p:nvPr/>
          </p:nvSpPr>
          <p:spPr bwMode="auto">
            <a:xfrm>
              <a:off x="1784105" y="254886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0" name="Freeform 175">
              <a:extLst>
                <a:ext uri="{FF2B5EF4-FFF2-40B4-BE49-F238E27FC236}">
                  <a16:creationId xmlns:a16="http://schemas.microsoft.com/office/drawing/2014/main" id="{EE9B8541-4AC5-2C46-B74D-CE2FF66EC509}"/>
                </a:ext>
              </a:extLst>
            </p:cNvPr>
            <p:cNvSpPr>
              <a:spLocks/>
            </p:cNvSpPr>
            <p:nvPr/>
          </p:nvSpPr>
          <p:spPr bwMode="auto">
            <a:xfrm>
              <a:off x="1787594" y="254886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1" name="Freeform 176">
              <a:extLst>
                <a:ext uri="{FF2B5EF4-FFF2-40B4-BE49-F238E27FC236}">
                  <a16:creationId xmlns:a16="http://schemas.microsoft.com/office/drawing/2014/main" id="{702254D1-2E9C-E24B-8BF1-950DAD6C1892}"/>
                </a:ext>
              </a:extLst>
            </p:cNvPr>
            <p:cNvSpPr>
              <a:spLocks/>
            </p:cNvSpPr>
            <p:nvPr/>
          </p:nvSpPr>
          <p:spPr bwMode="auto">
            <a:xfrm>
              <a:off x="1791083" y="2548863"/>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2" name="Freeform 177">
              <a:extLst>
                <a:ext uri="{FF2B5EF4-FFF2-40B4-BE49-F238E27FC236}">
                  <a16:creationId xmlns:a16="http://schemas.microsoft.com/office/drawing/2014/main" id="{94B1E30A-CD4A-9D48-84A9-900A08DEA30A}"/>
                </a:ext>
              </a:extLst>
            </p:cNvPr>
            <p:cNvSpPr>
              <a:spLocks/>
            </p:cNvSpPr>
            <p:nvPr/>
          </p:nvSpPr>
          <p:spPr bwMode="auto">
            <a:xfrm>
              <a:off x="1798060" y="253595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3" name="Freeform 178">
              <a:extLst>
                <a:ext uri="{FF2B5EF4-FFF2-40B4-BE49-F238E27FC236}">
                  <a16:creationId xmlns:a16="http://schemas.microsoft.com/office/drawing/2014/main" id="{2A0AEA88-F308-EA47-9457-E42985866152}"/>
                </a:ext>
              </a:extLst>
            </p:cNvPr>
            <p:cNvSpPr>
              <a:spLocks/>
            </p:cNvSpPr>
            <p:nvPr/>
          </p:nvSpPr>
          <p:spPr bwMode="auto">
            <a:xfrm>
              <a:off x="1798060" y="2523049"/>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4" name="Freeform 179">
              <a:extLst>
                <a:ext uri="{FF2B5EF4-FFF2-40B4-BE49-F238E27FC236}">
                  <a16:creationId xmlns:a16="http://schemas.microsoft.com/office/drawing/2014/main" id="{26B0C1C8-A84A-024A-9FFF-0D6132226720}"/>
                </a:ext>
              </a:extLst>
            </p:cNvPr>
            <p:cNvSpPr>
              <a:spLocks/>
            </p:cNvSpPr>
            <p:nvPr/>
          </p:nvSpPr>
          <p:spPr bwMode="auto">
            <a:xfrm>
              <a:off x="1798060" y="252304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5" name="Freeform 180">
              <a:extLst>
                <a:ext uri="{FF2B5EF4-FFF2-40B4-BE49-F238E27FC236}">
                  <a16:creationId xmlns:a16="http://schemas.microsoft.com/office/drawing/2014/main" id="{EA845601-2388-5341-B53C-B529711CAE80}"/>
                </a:ext>
              </a:extLst>
            </p:cNvPr>
            <p:cNvSpPr>
              <a:spLocks/>
            </p:cNvSpPr>
            <p:nvPr/>
          </p:nvSpPr>
          <p:spPr bwMode="auto">
            <a:xfrm>
              <a:off x="1802712" y="25230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6" name="Freeform 181">
              <a:extLst>
                <a:ext uri="{FF2B5EF4-FFF2-40B4-BE49-F238E27FC236}">
                  <a16:creationId xmlns:a16="http://schemas.microsoft.com/office/drawing/2014/main" id="{1A2FE5FD-BDCD-174B-9BDE-C34063F2A2AD}"/>
                </a:ext>
              </a:extLst>
            </p:cNvPr>
            <p:cNvSpPr>
              <a:spLocks/>
            </p:cNvSpPr>
            <p:nvPr/>
          </p:nvSpPr>
          <p:spPr bwMode="auto">
            <a:xfrm>
              <a:off x="1809689" y="25230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7" name="Freeform 182">
              <a:extLst>
                <a:ext uri="{FF2B5EF4-FFF2-40B4-BE49-F238E27FC236}">
                  <a16:creationId xmlns:a16="http://schemas.microsoft.com/office/drawing/2014/main" id="{98DFF591-C9DA-4A42-A17C-24C84BF5EDA9}"/>
                </a:ext>
              </a:extLst>
            </p:cNvPr>
            <p:cNvSpPr>
              <a:spLocks/>
            </p:cNvSpPr>
            <p:nvPr/>
          </p:nvSpPr>
          <p:spPr bwMode="auto">
            <a:xfrm>
              <a:off x="1817830" y="252304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8" name="Freeform 183">
              <a:extLst>
                <a:ext uri="{FF2B5EF4-FFF2-40B4-BE49-F238E27FC236}">
                  <a16:creationId xmlns:a16="http://schemas.microsoft.com/office/drawing/2014/main" id="{D11540DA-4E3C-6A4D-B089-E19C675DDC6C}"/>
                </a:ext>
              </a:extLst>
            </p:cNvPr>
            <p:cNvSpPr>
              <a:spLocks/>
            </p:cNvSpPr>
            <p:nvPr/>
          </p:nvSpPr>
          <p:spPr bwMode="auto">
            <a:xfrm>
              <a:off x="1821319" y="2510142"/>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79" name="Freeform 184">
              <a:extLst>
                <a:ext uri="{FF2B5EF4-FFF2-40B4-BE49-F238E27FC236}">
                  <a16:creationId xmlns:a16="http://schemas.microsoft.com/office/drawing/2014/main" id="{DC096B63-CA8D-7C43-8C55-FA1DD7B267D3}"/>
                </a:ext>
              </a:extLst>
            </p:cNvPr>
            <p:cNvSpPr>
              <a:spLocks/>
            </p:cNvSpPr>
            <p:nvPr/>
          </p:nvSpPr>
          <p:spPr bwMode="auto">
            <a:xfrm>
              <a:off x="1821319" y="251014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0" name="Freeform 185">
              <a:extLst>
                <a:ext uri="{FF2B5EF4-FFF2-40B4-BE49-F238E27FC236}">
                  <a16:creationId xmlns:a16="http://schemas.microsoft.com/office/drawing/2014/main" id="{1397ADDE-AC6A-A94D-A147-4D0D46E23876}"/>
                </a:ext>
              </a:extLst>
            </p:cNvPr>
            <p:cNvSpPr>
              <a:spLocks/>
            </p:cNvSpPr>
            <p:nvPr/>
          </p:nvSpPr>
          <p:spPr bwMode="auto">
            <a:xfrm>
              <a:off x="1824808" y="251014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1" name="Freeform 186">
              <a:extLst>
                <a:ext uri="{FF2B5EF4-FFF2-40B4-BE49-F238E27FC236}">
                  <a16:creationId xmlns:a16="http://schemas.microsoft.com/office/drawing/2014/main" id="{30F6A604-0A50-DE44-AF60-39A50800AA26}"/>
                </a:ext>
              </a:extLst>
            </p:cNvPr>
            <p:cNvSpPr>
              <a:spLocks/>
            </p:cNvSpPr>
            <p:nvPr/>
          </p:nvSpPr>
          <p:spPr bwMode="auto">
            <a:xfrm>
              <a:off x="1828296" y="251014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2" name="Freeform 187">
              <a:extLst>
                <a:ext uri="{FF2B5EF4-FFF2-40B4-BE49-F238E27FC236}">
                  <a16:creationId xmlns:a16="http://schemas.microsoft.com/office/drawing/2014/main" id="{B15EE6FD-7DA9-B14E-A417-A2BE034EDDFA}"/>
                </a:ext>
              </a:extLst>
            </p:cNvPr>
            <p:cNvSpPr>
              <a:spLocks/>
            </p:cNvSpPr>
            <p:nvPr/>
          </p:nvSpPr>
          <p:spPr bwMode="auto">
            <a:xfrm>
              <a:off x="1836437" y="251014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3" name="Freeform 188">
              <a:extLst>
                <a:ext uri="{FF2B5EF4-FFF2-40B4-BE49-F238E27FC236}">
                  <a16:creationId xmlns:a16="http://schemas.microsoft.com/office/drawing/2014/main" id="{0FA7F098-5F0F-0849-AF44-4B85EDC74167}"/>
                </a:ext>
              </a:extLst>
            </p:cNvPr>
            <p:cNvSpPr>
              <a:spLocks/>
            </p:cNvSpPr>
            <p:nvPr/>
          </p:nvSpPr>
          <p:spPr bwMode="auto">
            <a:xfrm>
              <a:off x="1839925" y="251014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4" name="Freeform 189">
              <a:extLst>
                <a:ext uri="{FF2B5EF4-FFF2-40B4-BE49-F238E27FC236}">
                  <a16:creationId xmlns:a16="http://schemas.microsoft.com/office/drawing/2014/main" id="{B5A309AC-1DC5-774C-91AC-DB6292683CC2}"/>
                </a:ext>
              </a:extLst>
            </p:cNvPr>
            <p:cNvSpPr>
              <a:spLocks/>
            </p:cNvSpPr>
            <p:nvPr/>
          </p:nvSpPr>
          <p:spPr bwMode="auto">
            <a:xfrm>
              <a:off x="1846903" y="2510142"/>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3"/>
                  </a:lnTo>
                  <a:lnTo>
                    <a:pt x="0" y="0"/>
                  </a:lnTo>
                  <a:lnTo>
                    <a:pt x="4" y="0"/>
                  </a:lnTo>
                  <a:lnTo>
                    <a:pt x="16" y="0"/>
                  </a:lnTo>
                  <a:lnTo>
                    <a:pt x="20" y="0"/>
                  </a:lnTo>
                  <a:lnTo>
                    <a:pt x="20" y="3"/>
                  </a:lnTo>
                  <a:lnTo>
                    <a:pt x="20" y="7"/>
                  </a:lnTo>
                  <a:lnTo>
                    <a:pt x="16"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5" name="Freeform 190">
              <a:extLst>
                <a:ext uri="{FF2B5EF4-FFF2-40B4-BE49-F238E27FC236}">
                  <a16:creationId xmlns:a16="http://schemas.microsoft.com/office/drawing/2014/main" id="{806F4C58-FF01-B240-B752-0E2331C8D5CC}"/>
                </a:ext>
              </a:extLst>
            </p:cNvPr>
            <p:cNvSpPr>
              <a:spLocks/>
            </p:cNvSpPr>
            <p:nvPr/>
          </p:nvSpPr>
          <p:spPr bwMode="auto">
            <a:xfrm>
              <a:off x="1862021" y="2510142"/>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6" name="Freeform 191">
              <a:extLst>
                <a:ext uri="{FF2B5EF4-FFF2-40B4-BE49-F238E27FC236}">
                  <a16:creationId xmlns:a16="http://schemas.microsoft.com/office/drawing/2014/main" id="{2E202CC2-2DC2-A340-917D-98D45125FACD}"/>
                </a:ext>
              </a:extLst>
            </p:cNvPr>
            <p:cNvSpPr>
              <a:spLocks/>
            </p:cNvSpPr>
            <p:nvPr/>
          </p:nvSpPr>
          <p:spPr bwMode="auto">
            <a:xfrm>
              <a:off x="1873650" y="2510142"/>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7" name="Freeform 192">
              <a:extLst>
                <a:ext uri="{FF2B5EF4-FFF2-40B4-BE49-F238E27FC236}">
                  <a16:creationId xmlns:a16="http://schemas.microsoft.com/office/drawing/2014/main" id="{B8338AB4-ADA7-374C-BA0F-244833C4AF93}"/>
                </a:ext>
              </a:extLst>
            </p:cNvPr>
            <p:cNvSpPr>
              <a:spLocks/>
            </p:cNvSpPr>
            <p:nvPr/>
          </p:nvSpPr>
          <p:spPr bwMode="auto">
            <a:xfrm>
              <a:off x="1885280" y="2497235"/>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3"/>
                  </a:lnTo>
                  <a:lnTo>
                    <a:pt x="0" y="0"/>
                  </a:lnTo>
                  <a:lnTo>
                    <a:pt x="3" y="0"/>
                  </a:lnTo>
                  <a:lnTo>
                    <a:pt x="6" y="0"/>
                  </a:lnTo>
                  <a:lnTo>
                    <a:pt x="9" y="3"/>
                  </a:lnTo>
                  <a:lnTo>
                    <a:pt x="9"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8" name="Freeform 193">
              <a:extLst>
                <a:ext uri="{FF2B5EF4-FFF2-40B4-BE49-F238E27FC236}">
                  <a16:creationId xmlns:a16="http://schemas.microsoft.com/office/drawing/2014/main" id="{FC9309F4-C1FB-8C4E-AFC9-0B9A38B0A875}"/>
                </a:ext>
              </a:extLst>
            </p:cNvPr>
            <p:cNvSpPr>
              <a:spLocks/>
            </p:cNvSpPr>
            <p:nvPr/>
          </p:nvSpPr>
          <p:spPr bwMode="auto">
            <a:xfrm>
              <a:off x="1885280" y="2497235"/>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89" name="Freeform 194">
              <a:extLst>
                <a:ext uri="{FF2B5EF4-FFF2-40B4-BE49-F238E27FC236}">
                  <a16:creationId xmlns:a16="http://schemas.microsoft.com/office/drawing/2014/main" id="{AD3BEC6C-4B33-0042-887F-92018213E8E9}"/>
                </a:ext>
              </a:extLst>
            </p:cNvPr>
            <p:cNvSpPr>
              <a:spLocks/>
            </p:cNvSpPr>
            <p:nvPr/>
          </p:nvSpPr>
          <p:spPr bwMode="auto">
            <a:xfrm>
              <a:off x="1899235" y="2481350"/>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7" y="23"/>
                  </a:lnTo>
                  <a:lnTo>
                    <a:pt x="4" y="23"/>
                  </a:lnTo>
                  <a:lnTo>
                    <a:pt x="0" y="23"/>
                  </a:lnTo>
                  <a:lnTo>
                    <a:pt x="0" y="19"/>
                  </a:lnTo>
                  <a:lnTo>
                    <a:pt x="0" y="3"/>
                  </a:lnTo>
                  <a:lnTo>
                    <a:pt x="0" y="0"/>
                  </a:lnTo>
                  <a:lnTo>
                    <a:pt x="4" y="0"/>
                  </a:lnTo>
                  <a:lnTo>
                    <a:pt x="7" y="0"/>
                  </a:lnTo>
                  <a:lnTo>
                    <a:pt x="10" y="3"/>
                  </a:lnTo>
                  <a:lnTo>
                    <a:pt x="10" y="1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0" name="Freeform 195">
              <a:extLst>
                <a:ext uri="{FF2B5EF4-FFF2-40B4-BE49-F238E27FC236}">
                  <a16:creationId xmlns:a16="http://schemas.microsoft.com/office/drawing/2014/main" id="{97996C63-7094-654D-83BF-355EC7CB2FE3}"/>
                </a:ext>
              </a:extLst>
            </p:cNvPr>
            <p:cNvSpPr>
              <a:spLocks/>
            </p:cNvSpPr>
            <p:nvPr/>
          </p:nvSpPr>
          <p:spPr bwMode="auto">
            <a:xfrm>
              <a:off x="1899235" y="248135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1" name="Freeform 196">
              <a:extLst>
                <a:ext uri="{FF2B5EF4-FFF2-40B4-BE49-F238E27FC236}">
                  <a16:creationId xmlns:a16="http://schemas.microsoft.com/office/drawing/2014/main" id="{07A24BFD-F228-E644-9454-3F61BE1FF7A6}"/>
                </a:ext>
              </a:extLst>
            </p:cNvPr>
            <p:cNvSpPr>
              <a:spLocks/>
            </p:cNvSpPr>
            <p:nvPr/>
          </p:nvSpPr>
          <p:spPr bwMode="auto">
            <a:xfrm>
              <a:off x="1903886" y="248135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2" name="Freeform 197">
              <a:extLst>
                <a:ext uri="{FF2B5EF4-FFF2-40B4-BE49-F238E27FC236}">
                  <a16:creationId xmlns:a16="http://schemas.microsoft.com/office/drawing/2014/main" id="{7F103071-A6CA-3E43-826B-36B32FE7657C}"/>
                </a:ext>
              </a:extLst>
            </p:cNvPr>
            <p:cNvSpPr>
              <a:spLocks/>
            </p:cNvSpPr>
            <p:nvPr/>
          </p:nvSpPr>
          <p:spPr bwMode="auto">
            <a:xfrm>
              <a:off x="1910864" y="248135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3" name="Freeform 198">
              <a:extLst>
                <a:ext uri="{FF2B5EF4-FFF2-40B4-BE49-F238E27FC236}">
                  <a16:creationId xmlns:a16="http://schemas.microsoft.com/office/drawing/2014/main" id="{6E6A6BC9-C7C6-A549-BF94-57697AD82B7F}"/>
                </a:ext>
              </a:extLst>
            </p:cNvPr>
            <p:cNvSpPr>
              <a:spLocks/>
            </p:cNvSpPr>
            <p:nvPr/>
          </p:nvSpPr>
          <p:spPr bwMode="auto">
            <a:xfrm>
              <a:off x="1914352" y="248135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6"/>
                  </a:lnTo>
                  <a:lnTo>
                    <a:pt x="0" y="3"/>
                  </a:lnTo>
                  <a:lnTo>
                    <a:pt x="0" y="0"/>
                  </a:lnTo>
                  <a:lnTo>
                    <a:pt x="4" y="0"/>
                  </a:lnTo>
                  <a:lnTo>
                    <a:pt x="13" y="0"/>
                  </a:lnTo>
                  <a:lnTo>
                    <a:pt x="16" y="0"/>
                  </a:lnTo>
                  <a:lnTo>
                    <a:pt x="16" y="3"/>
                  </a:lnTo>
                  <a:lnTo>
                    <a:pt x="16" y="6"/>
                  </a:lnTo>
                  <a:lnTo>
                    <a:pt x="1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4" name="Freeform 199">
              <a:extLst>
                <a:ext uri="{FF2B5EF4-FFF2-40B4-BE49-F238E27FC236}">
                  <a16:creationId xmlns:a16="http://schemas.microsoft.com/office/drawing/2014/main" id="{A7910844-98F5-6747-82F0-9A6A80B85661}"/>
                </a:ext>
              </a:extLst>
            </p:cNvPr>
            <p:cNvSpPr>
              <a:spLocks/>
            </p:cNvSpPr>
            <p:nvPr/>
          </p:nvSpPr>
          <p:spPr bwMode="auto">
            <a:xfrm>
              <a:off x="1925982" y="248135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5" name="Freeform 200">
              <a:extLst>
                <a:ext uri="{FF2B5EF4-FFF2-40B4-BE49-F238E27FC236}">
                  <a16:creationId xmlns:a16="http://schemas.microsoft.com/office/drawing/2014/main" id="{D6D9A5AB-9438-EC40-B83E-A2FDBCDE0C39}"/>
                </a:ext>
              </a:extLst>
            </p:cNvPr>
            <p:cNvSpPr>
              <a:spLocks/>
            </p:cNvSpPr>
            <p:nvPr/>
          </p:nvSpPr>
          <p:spPr bwMode="auto">
            <a:xfrm>
              <a:off x="1941100" y="246844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6" name="Freeform 201">
              <a:extLst>
                <a:ext uri="{FF2B5EF4-FFF2-40B4-BE49-F238E27FC236}">
                  <a16:creationId xmlns:a16="http://schemas.microsoft.com/office/drawing/2014/main" id="{2E9DFA9B-D386-DD4B-855B-6F065D811374}"/>
                </a:ext>
              </a:extLst>
            </p:cNvPr>
            <p:cNvSpPr>
              <a:spLocks/>
            </p:cNvSpPr>
            <p:nvPr/>
          </p:nvSpPr>
          <p:spPr bwMode="auto">
            <a:xfrm>
              <a:off x="1941100" y="2468443"/>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7" name="Freeform 202">
              <a:extLst>
                <a:ext uri="{FF2B5EF4-FFF2-40B4-BE49-F238E27FC236}">
                  <a16:creationId xmlns:a16="http://schemas.microsoft.com/office/drawing/2014/main" id="{04D716A8-ADED-244C-A512-7973225EB9E4}"/>
                </a:ext>
              </a:extLst>
            </p:cNvPr>
            <p:cNvSpPr>
              <a:spLocks/>
            </p:cNvSpPr>
            <p:nvPr/>
          </p:nvSpPr>
          <p:spPr bwMode="auto">
            <a:xfrm>
              <a:off x="1963195" y="2452557"/>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7" y="23"/>
                  </a:lnTo>
                  <a:lnTo>
                    <a:pt x="3" y="23"/>
                  </a:lnTo>
                  <a:lnTo>
                    <a:pt x="0" y="23"/>
                  </a:lnTo>
                  <a:lnTo>
                    <a:pt x="0" y="19"/>
                  </a:lnTo>
                  <a:lnTo>
                    <a:pt x="0" y="3"/>
                  </a:lnTo>
                  <a:lnTo>
                    <a:pt x="0" y="0"/>
                  </a:lnTo>
                  <a:lnTo>
                    <a:pt x="3" y="0"/>
                  </a:lnTo>
                  <a:lnTo>
                    <a:pt x="7" y="0"/>
                  </a:lnTo>
                  <a:lnTo>
                    <a:pt x="10" y="3"/>
                  </a:lnTo>
                  <a:lnTo>
                    <a:pt x="10" y="1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8" name="Freeform 203">
              <a:extLst>
                <a:ext uri="{FF2B5EF4-FFF2-40B4-BE49-F238E27FC236}">
                  <a16:creationId xmlns:a16="http://schemas.microsoft.com/office/drawing/2014/main" id="{112BEA85-EC95-974B-9C49-2392AC6014B4}"/>
                </a:ext>
              </a:extLst>
            </p:cNvPr>
            <p:cNvSpPr>
              <a:spLocks/>
            </p:cNvSpPr>
            <p:nvPr/>
          </p:nvSpPr>
          <p:spPr bwMode="auto">
            <a:xfrm>
              <a:off x="1963195" y="24525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199" name="Freeform 204">
              <a:extLst>
                <a:ext uri="{FF2B5EF4-FFF2-40B4-BE49-F238E27FC236}">
                  <a16:creationId xmlns:a16="http://schemas.microsoft.com/office/drawing/2014/main" id="{C373861A-83D9-5E41-9329-AAE36859DCBF}"/>
                </a:ext>
              </a:extLst>
            </p:cNvPr>
            <p:cNvSpPr>
              <a:spLocks/>
            </p:cNvSpPr>
            <p:nvPr/>
          </p:nvSpPr>
          <p:spPr bwMode="auto">
            <a:xfrm>
              <a:off x="1966684" y="24525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0" name="Freeform 206">
              <a:extLst>
                <a:ext uri="{FF2B5EF4-FFF2-40B4-BE49-F238E27FC236}">
                  <a16:creationId xmlns:a16="http://schemas.microsoft.com/office/drawing/2014/main" id="{23907A2A-F902-D24B-AC69-7C1309297F78}"/>
                </a:ext>
              </a:extLst>
            </p:cNvPr>
            <p:cNvSpPr>
              <a:spLocks/>
            </p:cNvSpPr>
            <p:nvPr/>
          </p:nvSpPr>
          <p:spPr bwMode="auto">
            <a:xfrm>
              <a:off x="1971336" y="245255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1" name="Freeform 207">
              <a:extLst>
                <a:ext uri="{FF2B5EF4-FFF2-40B4-BE49-F238E27FC236}">
                  <a16:creationId xmlns:a16="http://schemas.microsoft.com/office/drawing/2014/main" id="{7A4212E2-FCDD-164D-89DC-E513162B52B0}"/>
                </a:ext>
              </a:extLst>
            </p:cNvPr>
            <p:cNvSpPr>
              <a:spLocks/>
            </p:cNvSpPr>
            <p:nvPr/>
          </p:nvSpPr>
          <p:spPr bwMode="auto">
            <a:xfrm>
              <a:off x="1974824" y="2452557"/>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2" name="Freeform 208">
              <a:extLst>
                <a:ext uri="{FF2B5EF4-FFF2-40B4-BE49-F238E27FC236}">
                  <a16:creationId xmlns:a16="http://schemas.microsoft.com/office/drawing/2014/main" id="{A53F9DAE-EEDD-D347-95CE-5D6F13B61726}"/>
                </a:ext>
              </a:extLst>
            </p:cNvPr>
            <p:cNvSpPr>
              <a:spLocks/>
            </p:cNvSpPr>
            <p:nvPr/>
          </p:nvSpPr>
          <p:spPr bwMode="auto">
            <a:xfrm>
              <a:off x="1993431" y="245255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3" name="Freeform 209">
              <a:extLst>
                <a:ext uri="{FF2B5EF4-FFF2-40B4-BE49-F238E27FC236}">
                  <a16:creationId xmlns:a16="http://schemas.microsoft.com/office/drawing/2014/main" id="{4947685C-0CF8-984F-9B4B-360DAE2FB045}"/>
                </a:ext>
              </a:extLst>
            </p:cNvPr>
            <p:cNvSpPr>
              <a:spLocks/>
            </p:cNvSpPr>
            <p:nvPr/>
          </p:nvSpPr>
          <p:spPr bwMode="auto">
            <a:xfrm>
              <a:off x="2000409" y="245255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4" name="Freeform 210">
              <a:extLst>
                <a:ext uri="{FF2B5EF4-FFF2-40B4-BE49-F238E27FC236}">
                  <a16:creationId xmlns:a16="http://schemas.microsoft.com/office/drawing/2014/main" id="{302B3BFD-C596-B64C-875F-B653206E3659}"/>
                </a:ext>
              </a:extLst>
            </p:cNvPr>
            <p:cNvSpPr>
              <a:spLocks/>
            </p:cNvSpPr>
            <p:nvPr/>
          </p:nvSpPr>
          <p:spPr bwMode="auto">
            <a:xfrm>
              <a:off x="2008549" y="2452557"/>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5" name="Freeform 211">
              <a:extLst>
                <a:ext uri="{FF2B5EF4-FFF2-40B4-BE49-F238E27FC236}">
                  <a16:creationId xmlns:a16="http://schemas.microsoft.com/office/drawing/2014/main" id="{5A1FC72A-24DD-174D-B0C0-03D0F27B6998}"/>
                </a:ext>
              </a:extLst>
            </p:cNvPr>
            <p:cNvSpPr>
              <a:spLocks/>
            </p:cNvSpPr>
            <p:nvPr/>
          </p:nvSpPr>
          <p:spPr bwMode="auto">
            <a:xfrm>
              <a:off x="2023667" y="2452557"/>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6" name="Freeform 212">
              <a:extLst>
                <a:ext uri="{FF2B5EF4-FFF2-40B4-BE49-F238E27FC236}">
                  <a16:creationId xmlns:a16="http://schemas.microsoft.com/office/drawing/2014/main" id="{C932FFDB-54F5-CD42-9C8A-EAAD72708C8D}"/>
                </a:ext>
              </a:extLst>
            </p:cNvPr>
            <p:cNvSpPr>
              <a:spLocks/>
            </p:cNvSpPr>
            <p:nvPr/>
          </p:nvSpPr>
          <p:spPr bwMode="auto">
            <a:xfrm>
              <a:off x="2042274" y="24525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7" name="Freeform 213">
              <a:extLst>
                <a:ext uri="{FF2B5EF4-FFF2-40B4-BE49-F238E27FC236}">
                  <a16:creationId xmlns:a16="http://schemas.microsoft.com/office/drawing/2014/main" id="{957FE517-B01A-2A4F-AF18-363294BEB48F}"/>
                </a:ext>
              </a:extLst>
            </p:cNvPr>
            <p:cNvSpPr>
              <a:spLocks/>
            </p:cNvSpPr>
            <p:nvPr/>
          </p:nvSpPr>
          <p:spPr bwMode="auto">
            <a:xfrm>
              <a:off x="2045763" y="2433693"/>
              <a:ext cx="11629" cy="24821"/>
            </a:xfrm>
            <a:custGeom>
              <a:avLst/>
              <a:gdLst>
                <a:gd name="T0" fmla="*/ 2147483646 w 10"/>
                <a:gd name="T1" fmla="*/ 2147483646 h 25"/>
                <a:gd name="T2" fmla="*/ 2147483646 w 10"/>
                <a:gd name="T3" fmla="*/ 2147483646 h 25"/>
                <a:gd name="T4" fmla="*/ 2147483646 w 10"/>
                <a:gd name="T5" fmla="*/ 2147483646 h 25"/>
                <a:gd name="T6" fmla="*/ 2147483646 w 10"/>
                <a:gd name="T7" fmla="*/ 2147483646 h 25"/>
                <a:gd name="T8" fmla="*/ 0 w 10"/>
                <a:gd name="T9" fmla="*/ 2147483646 h 25"/>
                <a:gd name="T10" fmla="*/ 0 w 10"/>
                <a:gd name="T11" fmla="*/ 2147483646 h 25"/>
                <a:gd name="T12" fmla="*/ 0 w 10"/>
                <a:gd name="T13" fmla="*/ 2147483646 h 25"/>
                <a:gd name="T14" fmla="*/ 0 w 10"/>
                <a:gd name="T15" fmla="*/ 0 h 25"/>
                <a:gd name="T16" fmla="*/ 2147483646 w 10"/>
                <a:gd name="T17" fmla="*/ 0 h 25"/>
                <a:gd name="T18" fmla="*/ 2147483646 w 10"/>
                <a:gd name="T19" fmla="*/ 0 h 25"/>
                <a:gd name="T20" fmla="*/ 2147483646 w 10"/>
                <a:gd name="T21" fmla="*/ 0 h 25"/>
                <a:gd name="T22" fmla="*/ 2147483646 w 10"/>
                <a:gd name="T23" fmla="*/ 2147483646 h 25"/>
                <a:gd name="T24" fmla="*/ 2147483646 w 10"/>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5">
                  <a:moveTo>
                    <a:pt x="10" y="22"/>
                  </a:moveTo>
                  <a:lnTo>
                    <a:pt x="7" y="25"/>
                  </a:lnTo>
                  <a:lnTo>
                    <a:pt x="3" y="25"/>
                  </a:lnTo>
                  <a:lnTo>
                    <a:pt x="0" y="25"/>
                  </a:lnTo>
                  <a:lnTo>
                    <a:pt x="0" y="22"/>
                  </a:lnTo>
                  <a:lnTo>
                    <a:pt x="0" y="3"/>
                  </a:lnTo>
                  <a:lnTo>
                    <a:pt x="0" y="0"/>
                  </a:lnTo>
                  <a:lnTo>
                    <a:pt x="3" y="0"/>
                  </a:lnTo>
                  <a:lnTo>
                    <a:pt x="7" y="0"/>
                  </a:lnTo>
                  <a:lnTo>
                    <a:pt x="10" y="3"/>
                  </a:lnTo>
                  <a:lnTo>
                    <a:pt x="10" y="2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8" name="Freeform 214">
              <a:extLst>
                <a:ext uri="{FF2B5EF4-FFF2-40B4-BE49-F238E27FC236}">
                  <a16:creationId xmlns:a16="http://schemas.microsoft.com/office/drawing/2014/main" id="{61C96633-E168-E141-9F13-BAC04F3AD4F0}"/>
                </a:ext>
              </a:extLst>
            </p:cNvPr>
            <p:cNvSpPr>
              <a:spLocks/>
            </p:cNvSpPr>
            <p:nvPr/>
          </p:nvSpPr>
          <p:spPr bwMode="auto">
            <a:xfrm>
              <a:off x="2045763" y="2433693"/>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3" y="0"/>
                  </a:lnTo>
                  <a:lnTo>
                    <a:pt x="26" y="0"/>
                  </a:lnTo>
                  <a:lnTo>
                    <a:pt x="26" y="3"/>
                  </a:lnTo>
                  <a:lnTo>
                    <a:pt x="26" y="6"/>
                  </a:lnTo>
                  <a:lnTo>
                    <a:pt x="2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09" name="Freeform 215">
              <a:extLst>
                <a:ext uri="{FF2B5EF4-FFF2-40B4-BE49-F238E27FC236}">
                  <a16:creationId xmlns:a16="http://schemas.microsoft.com/office/drawing/2014/main" id="{EB96244D-B06E-D14E-88D5-3C95E999145F}"/>
                </a:ext>
              </a:extLst>
            </p:cNvPr>
            <p:cNvSpPr>
              <a:spLocks/>
            </p:cNvSpPr>
            <p:nvPr/>
          </p:nvSpPr>
          <p:spPr bwMode="auto">
            <a:xfrm>
              <a:off x="2067858"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0" name="Freeform 216">
              <a:extLst>
                <a:ext uri="{FF2B5EF4-FFF2-40B4-BE49-F238E27FC236}">
                  <a16:creationId xmlns:a16="http://schemas.microsoft.com/office/drawing/2014/main" id="{F87E4DA9-802E-1B43-A75D-EC4DE060B8C7}"/>
                </a:ext>
              </a:extLst>
            </p:cNvPr>
            <p:cNvSpPr>
              <a:spLocks/>
            </p:cNvSpPr>
            <p:nvPr/>
          </p:nvSpPr>
          <p:spPr bwMode="auto">
            <a:xfrm>
              <a:off x="2072510" y="2417808"/>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1" name="Freeform 217">
              <a:extLst>
                <a:ext uri="{FF2B5EF4-FFF2-40B4-BE49-F238E27FC236}">
                  <a16:creationId xmlns:a16="http://schemas.microsoft.com/office/drawing/2014/main" id="{2ED2B886-0D1E-C547-A6F7-3365355BAA40}"/>
                </a:ext>
              </a:extLst>
            </p:cNvPr>
            <p:cNvSpPr>
              <a:spLocks/>
            </p:cNvSpPr>
            <p:nvPr/>
          </p:nvSpPr>
          <p:spPr bwMode="auto">
            <a:xfrm>
              <a:off x="2072510" y="241780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2" name="Freeform 218">
              <a:extLst>
                <a:ext uri="{FF2B5EF4-FFF2-40B4-BE49-F238E27FC236}">
                  <a16:creationId xmlns:a16="http://schemas.microsoft.com/office/drawing/2014/main" id="{723FCC27-00C9-FF4B-9A3F-C87BDE253B96}"/>
                </a:ext>
              </a:extLst>
            </p:cNvPr>
            <p:cNvSpPr>
              <a:spLocks/>
            </p:cNvSpPr>
            <p:nvPr/>
          </p:nvSpPr>
          <p:spPr bwMode="auto">
            <a:xfrm>
              <a:off x="2075999" y="2417808"/>
              <a:ext cx="25584" cy="8936"/>
            </a:xfrm>
            <a:custGeom>
              <a:avLst/>
              <a:gdLst>
                <a:gd name="T0" fmla="*/ 2147483646 w 22"/>
                <a:gd name="T1" fmla="*/ 2147483646 h 9"/>
                <a:gd name="T2" fmla="*/ 0 w 22"/>
                <a:gd name="T3" fmla="*/ 2147483646 h 9"/>
                <a:gd name="T4" fmla="*/ 0 w 22"/>
                <a:gd name="T5" fmla="*/ 2147483646 h 9"/>
                <a:gd name="T6" fmla="*/ 0 w 22"/>
                <a:gd name="T7" fmla="*/ 2147483646 h 9"/>
                <a:gd name="T8" fmla="*/ 0 w 22"/>
                <a:gd name="T9" fmla="*/ 0 h 9"/>
                <a:gd name="T10" fmla="*/ 2147483646 w 22"/>
                <a:gd name="T11" fmla="*/ 0 h 9"/>
                <a:gd name="T12" fmla="*/ 2147483646 w 22"/>
                <a:gd name="T13" fmla="*/ 0 h 9"/>
                <a:gd name="T14" fmla="*/ 2147483646 w 22"/>
                <a:gd name="T15" fmla="*/ 0 h 9"/>
                <a:gd name="T16" fmla="*/ 2147483646 w 22"/>
                <a:gd name="T17" fmla="*/ 2147483646 h 9"/>
                <a:gd name="T18" fmla="*/ 2147483646 w 22"/>
                <a:gd name="T19" fmla="*/ 2147483646 h 9"/>
                <a:gd name="T20" fmla="*/ 2147483646 w 22"/>
                <a:gd name="T21" fmla="*/ 2147483646 h 9"/>
                <a:gd name="T22" fmla="*/ 2147483646 w 22"/>
                <a:gd name="T23" fmla="*/ 2147483646 h 9"/>
                <a:gd name="T24" fmla="*/ 2147483646 w 2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9">
                  <a:moveTo>
                    <a:pt x="3" y="9"/>
                  </a:moveTo>
                  <a:lnTo>
                    <a:pt x="0" y="6"/>
                  </a:lnTo>
                  <a:lnTo>
                    <a:pt x="0" y="3"/>
                  </a:lnTo>
                  <a:lnTo>
                    <a:pt x="0" y="0"/>
                  </a:lnTo>
                  <a:lnTo>
                    <a:pt x="3" y="0"/>
                  </a:lnTo>
                  <a:lnTo>
                    <a:pt x="19" y="0"/>
                  </a:lnTo>
                  <a:lnTo>
                    <a:pt x="22" y="0"/>
                  </a:lnTo>
                  <a:lnTo>
                    <a:pt x="22" y="3"/>
                  </a:lnTo>
                  <a:lnTo>
                    <a:pt x="22" y="6"/>
                  </a:lnTo>
                  <a:lnTo>
                    <a:pt x="19"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3" name="Freeform 219">
              <a:extLst>
                <a:ext uri="{FF2B5EF4-FFF2-40B4-BE49-F238E27FC236}">
                  <a16:creationId xmlns:a16="http://schemas.microsoft.com/office/drawing/2014/main" id="{80828EA8-8ACC-E94C-BF57-3926DA012226}"/>
                </a:ext>
              </a:extLst>
            </p:cNvPr>
            <p:cNvSpPr>
              <a:spLocks/>
            </p:cNvSpPr>
            <p:nvPr/>
          </p:nvSpPr>
          <p:spPr bwMode="auto">
            <a:xfrm>
              <a:off x="2094606" y="2397951"/>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3"/>
                  </a:moveTo>
                  <a:lnTo>
                    <a:pt x="6" y="26"/>
                  </a:lnTo>
                  <a:lnTo>
                    <a:pt x="3" y="26"/>
                  </a:lnTo>
                  <a:lnTo>
                    <a:pt x="0" y="26"/>
                  </a:lnTo>
                  <a:lnTo>
                    <a:pt x="0" y="23"/>
                  </a:lnTo>
                  <a:lnTo>
                    <a:pt x="0" y="3"/>
                  </a:lnTo>
                  <a:lnTo>
                    <a:pt x="0" y="0"/>
                  </a:lnTo>
                  <a:lnTo>
                    <a:pt x="3" y="0"/>
                  </a:lnTo>
                  <a:lnTo>
                    <a:pt x="6" y="0"/>
                  </a:lnTo>
                  <a:lnTo>
                    <a:pt x="10" y="3"/>
                  </a:lnTo>
                  <a:lnTo>
                    <a:pt x="10" y="2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4" name="Freeform 220">
              <a:extLst>
                <a:ext uri="{FF2B5EF4-FFF2-40B4-BE49-F238E27FC236}">
                  <a16:creationId xmlns:a16="http://schemas.microsoft.com/office/drawing/2014/main" id="{B2AB163A-734B-3647-94BC-2A6CF606D01B}"/>
                </a:ext>
              </a:extLst>
            </p:cNvPr>
            <p:cNvSpPr>
              <a:spLocks/>
            </p:cNvSpPr>
            <p:nvPr/>
          </p:nvSpPr>
          <p:spPr bwMode="auto">
            <a:xfrm>
              <a:off x="2094606" y="239795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5" name="Freeform 221">
              <a:extLst>
                <a:ext uri="{FF2B5EF4-FFF2-40B4-BE49-F238E27FC236}">
                  <a16:creationId xmlns:a16="http://schemas.microsoft.com/office/drawing/2014/main" id="{9269AEFA-6A17-474B-8A09-9221DA83DC68}"/>
                </a:ext>
              </a:extLst>
            </p:cNvPr>
            <p:cNvSpPr>
              <a:spLocks/>
            </p:cNvSpPr>
            <p:nvPr/>
          </p:nvSpPr>
          <p:spPr bwMode="auto">
            <a:xfrm>
              <a:off x="2098094" y="239795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6" name="Freeform 222">
              <a:extLst>
                <a:ext uri="{FF2B5EF4-FFF2-40B4-BE49-F238E27FC236}">
                  <a16:creationId xmlns:a16="http://schemas.microsoft.com/office/drawing/2014/main" id="{D336BAA8-34EF-5D44-8027-B5DFD70AF8FF}"/>
                </a:ext>
              </a:extLst>
            </p:cNvPr>
            <p:cNvSpPr>
              <a:spLocks/>
            </p:cNvSpPr>
            <p:nvPr/>
          </p:nvSpPr>
          <p:spPr bwMode="auto">
            <a:xfrm>
              <a:off x="2101583" y="2379087"/>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2"/>
                  </a:moveTo>
                  <a:lnTo>
                    <a:pt x="7" y="26"/>
                  </a:lnTo>
                  <a:lnTo>
                    <a:pt x="4" y="26"/>
                  </a:lnTo>
                  <a:lnTo>
                    <a:pt x="0" y="26"/>
                  </a:lnTo>
                  <a:lnTo>
                    <a:pt x="0" y="22"/>
                  </a:lnTo>
                  <a:lnTo>
                    <a:pt x="0" y="3"/>
                  </a:lnTo>
                  <a:lnTo>
                    <a:pt x="0" y="0"/>
                  </a:lnTo>
                  <a:lnTo>
                    <a:pt x="4" y="0"/>
                  </a:lnTo>
                  <a:lnTo>
                    <a:pt x="7" y="0"/>
                  </a:lnTo>
                  <a:lnTo>
                    <a:pt x="10" y="3"/>
                  </a:lnTo>
                  <a:lnTo>
                    <a:pt x="10" y="2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7" name="Freeform 223">
              <a:extLst>
                <a:ext uri="{FF2B5EF4-FFF2-40B4-BE49-F238E27FC236}">
                  <a16:creationId xmlns:a16="http://schemas.microsoft.com/office/drawing/2014/main" id="{7A67F7CC-C1C8-194D-B36C-C1EF07F29A25}"/>
                </a:ext>
              </a:extLst>
            </p:cNvPr>
            <p:cNvSpPr>
              <a:spLocks/>
            </p:cNvSpPr>
            <p:nvPr/>
          </p:nvSpPr>
          <p:spPr bwMode="auto">
            <a:xfrm>
              <a:off x="2101583" y="2379087"/>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8" name="Freeform 224">
              <a:extLst>
                <a:ext uri="{FF2B5EF4-FFF2-40B4-BE49-F238E27FC236}">
                  <a16:creationId xmlns:a16="http://schemas.microsoft.com/office/drawing/2014/main" id="{A0D5ABBF-8EC6-2B43-95F6-9CA00F87C01E}"/>
                </a:ext>
              </a:extLst>
            </p:cNvPr>
            <p:cNvSpPr>
              <a:spLocks/>
            </p:cNvSpPr>
            <p:nvPr/>
          </p:nvSpPr>
          <p:spPr bwMode="auto">
            <a:xfrm>
              <a:off x="2109723" y="2363201"/>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19" name="Freeform 225">
              <a:extLst>
                <a:ext uri="{FF2B5EF4-FFF2-40B4-BE49-F238E27FC236}">
                  <a16:creationId xmlns:a16="http://schemas.microsoft.com/office/drawing/2014/main" id="{FDAE68FF-839A-BD48-A200-28B1440A5B7F}"/>
                </a:ext>
              </a:extLst>
            </p:cNvPr>
            <p:cNvSpPr>
              <a:spLocks/>
            </p:cNvSpPr>
            <p:nvPr/>
          </p:nvSpPr>
          <p:spPr bwMode="auto">
            <a:xfrm>
              <a:off x="2109723" y="23632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0" name="Freeform 226">
              <a:extLst>
                <a:ext uri="{FF2B5EF4-FFF2-40B4-BE49-F238E27FC236}">
                  <a16:creationId xmlns:a16="http://schemas.microsoft.com/office/drawing/2014/main" id="{B1B4BB92-868C-D74A-9C90-58C521E7D7CC}"/>
                </a:ext>
              </a:extLst>
            </p:cNvPr>
            <p:cNvSpPr>
              <a:spLocks/>
            </p:cNvSpPr>
            <p:nvPr/>
          </p:nvSpPr>
          <p:spPr bwMode="auto">
            <a:xfrm>
              <a:off x="2113212" y="236320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1" name="Freeform 227">
              <a:extLst>
                <a:ext uri="{FF2B5EF4-FFF2-40B4-BE49-F238E27FC236}">
                  <a16:creationId xmlns:a16="http://schemas.microsoft.com/office/drawing/2014/main" id="{F6B2FED1-D09A-E648-8794-8A1799A11004}"/>
                </a:ext>
              </a:extLst>
            </p:cNvPr>
            <p:cNvSpPr>
              <a:spLocks/>
            </p:cNvSpPr>
            <p:nvPr/>
          </p:nvSpPr>
          <p:spPr bwMode="auto">
            <a:xfrm>
              <a:off x="2121352" y="2363201"/>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2" name="Freeform 228">
              <a:extLst>
                <a:ext uri="{FF2B5EF4-FFF2-40B4-BE49-F238E27FC236}">
                  <a16:creationId xmlns:a16="http://schemas.microsoft.com/office/drawing/2014/main" id="{92178CDB-60BB-C34D-BD08-84E46E5D91E3}"/>
                </a:ext>
              </a:extLst>
            </p:cNvPr>
            <p:cNvSpPr>
              <a:spLocks/>
            </p:cNvSpPr>
            <p:nvPr/>
          </p:nvSpPr>
          <p:spPr bwMode="auto">
            <a:xfrm>
              <a:off x="2124841" y="2363201"/>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3" name="Freeform 229">
              <a:extLst>
                <a:ext uri="{FF2B5EF4-FFF2-40B4-BE49-F238E27FC236}">
                  <a16:creationId xmlns:a16="http://schemas.microsoft.com/office/drawing/2014/main" id="{12EC3698-3103-2743-8B7D-E954E6B38CF1}"/>
                </a:ext>
              </a:extLst>
            </p:cNvPr>
            <p:cNvSpPr>
              <a:spLocks/>
            </p:cNvSpPr>
            <p:nvPr/>
          </p:nvSpPr>
          <p:spPr bwMode="auto">
            <a:xfrm>
              <a:off x="2128330" y="2363201"/>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19" y="0"/>
                  </a:lnTo>
                  <a:lnTo>
                    <a:pt x="23" y="0"/>
                  </a:lnTo>
                  <a:lnTo>
                    <a:pt x="23" y="3"/>
                  </a:lnTo>
                  <a:lnTo>
                    <a:pt x="23" y="6"/>
                  </a:lnTo>
                  <a:lnTo>
                    <a:pt x="19"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4" name="Freeform 230">
              <a:extLst>
                <a:ext uri="{FF2B5EF4-FFF2-40B4-BE49-F238E27FC236}">
                  <a16:creationId xmlns:a16="http://schemas.microsoft.com/office/drawing/2014/main" id="{14DA5D03-3F81-C74A-B030-74D7149F4FEA}"/>
                </a:ext>
              </a:extLst>
            </p:cNvPr>
            <p:cNvSpPr>
              <a:spLocks/>
            </p:cNvSpPr>
            <p:nvPr/>
          </p:nvSpPr>
          <p:spPr bwMode="auto">
            <a:xfrm>
              <a:off x="2146937" y="23632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5" name="Freeform 231">
              <a:extLst>
                <a:ext uri="{FF2B5EF4-FFF2-40B4-BE49-F238E27FC236}">
                  <a16:creationId xmlns:a16="http://schemas.microsoft.com/office/drawing/2014/main" id="{2A820736-4210-3441-931D-2EB920635231}"/>
                </a:ext>
              </a:extLst>
            </p:cNvPr>
            <p:cNvSpPr>
              <a:spLocks/>
            </p:cNvSpPr>
            <p:nvPr/>
          </p:nvSpPr>
          <p:spPr bwMode="auto">
            <a:xfrm>
              <a:off x="2150426" y="2363201"/>
              <a:ext cx="56984" cy="8936"/>
            </a:xfrm>
            <a:custGeom>
              <a:avLst/>
              <a:gdLst>
                <a:gd name="T0" fmla="*/ 2147483646 w 49"/>
                <a:gd name="T1" fmla="*/ 2147483646 h 9"/>
                <a:gd name="T2" fmla="*/ 0 w 49"/>
                <a:gd name="T3" fmla="*/ 2147483646 h 9"/>
                <a:gd name="T4" fmla="*/ 0 w 49"/>
                <a:gd name="T5" fmla="*/ 2147483646 h 9"/>
                <a:gd name="T6" fmla="*/ 0 w 49"/>
                <a:gd name="T7" fmla="*/ 2147483646 h 9"/>
                <a:gd name="T8" fmla="*/ 0 w 49"/>
                <a:gd name="T9" fmla="*/ 0 h 9"/>
                <a:gd name="T10" fmla="*/ 2147483646 w 49"/>
                <a:gd name="T11" fmla="*/ 0 h 9"/>
                <a:gd name="T12" fmla="*/ 2147483646 w 49"/>
                <a:gd name="T13" fmla="*/ 0 h 9"/>
                <a:gd name="T14" fmla="*/ 2147483646 w 49"/>
                <a:gd name="T15" fmla="*/ 0 h 9"/>
                <a:gd name="T16" fmla="*/ 2147483646 w 49"/>
                <a:gd name="T17" fmla="*/ 2147483646 h 9"/>
                <a:gd name="T18" fmla="*/ 2147483646 w 49"/>
                <a:gd name="T19" fmla="*/ 2147483646 h 9"/>
                <a:gd name="T20" fmla="*/ 2147483646 w 49"/>
                <a:gd name="T21" fmla="*/ 2147483646 h 9"/>
                <a:gd name="T22" fmla="*/ 2147483646 w 49"/>
                <a:gd name="T23" fmla="*/ 2147483646 h 9"/>
                <a:gd name="T24" fmla="*/ 2147483646 w 4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9" h="9">
                  <a:moveTo>
                    <a:pt x="4" y="9"/>
                  </a:moveTo>
                  <a:lnTo>
                    <a:pt x="0" y="6"/>
                  </a:lnTo>
                  <a:lnTo>
                    <a:pt x="0" y="3"/>
                  </a:lnTo>
                  <a:lnTo>
                    <a:pt x="0" y="0"/>
                  </a:lnTo>
                  <a:lnTo>
                    <a:pt x="4" y="0"/>
                  </a:lnTo>
                  <a:lnTo>
                    <a:pt x="45" y="0"/>
                  </a:lnTo>
                  <a:lnTo>
                    <a:pt x="49" y="0"/>
                  </a:lnTo>
                  <a:lnTo>
                    <a:pt x="49" y="3"/>
                  </a:lnTo>
                  <a:lnTo>
                    <a:pt x="49" y="6"/>
                  </a:lnTo>
                  <a:lnTo>
                    <a:pt x="45"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6" name="Freeform 232">
              <a:extLst>
                <a:ext uri="{FF2B5EF4-FFF2-40B4-BE49-F238E27FC236}">
                  <a16:creationId xmlns:a16="http://schemas.microsoft.com/office/drawing/2014/main" id="{ADAB0722-1BAA-024E-B8FC-D1F8857E0EC9}"/>
                </a:ext>
              </a:extLst>
            </p:cNvPr>
            <p:cNvSpPr>
              <a:spLocks/>
            </p:cNvSpPr>
            <p:nvPr/>
          </p:nvSpPr>
          <p:spPr bwMode="auto">
            <a:xfrm>
              <a:off x="2199268" y="2363201"/>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20" y="0"/>
                  </a:lnTo>
                  <a:lnTo>
                    <a:pt x="23" y="0"/>
                  </a:lnTo>
                  <a:lnTo>
                    <a:pt x="23" y="3"/>
                  </a:lnTo>
                  <a:lnTo>
                    <a:pt x="23" y="6"/>
                  </a:lnTo>
                  <a:lnTo>
                    <a:pt x="2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7" name="Freeform 233">
              <a:extLst>
                <a:ext uri="{FF2B5EF4-FFF2-40B4-BE49-F238E27FC236}">
                  <a16:creationId xmlns:a16="http://schemas.microsoft.com/office/drawing/2014/main" id="{C0669BF1-4872-BD43-A3D9-17A2CB7F492E}"/>
                </a:ext>
              </a:extLst>
            </p:cNvPr>
            <p:cNvSpPr>
              <a:spLocks/>
            </p:cNvSpPr>
            <p:nvPr/>
          </p:nvSpPr>
          <p:spPr bwMode="auto">
            <a:xfrm>
              <a:off x="2217875" y="2363201"/>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6" y="0"/>
                  </a:lnTo>
                  <a:lnTo>
                    <a:pt x="20" y="0"/>
                  </a:lnTo>
                  <a:lnTo>
                    <a:pt x="20" y="3"/>
                  </a:lnTo>
                  <a:lnTo>
                    <a:pt x="20" y="6"/>
                  </a:lnTo>
                  <a:lnTo>
                    <a:pt x="16"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8" name="Freeform 234">
              <a:extLst>
                <a:ext uri="{FF2B5EF4-FFF2-40B4-BE49-F238E27FC236}">
                  <a16:creationId xmlns:a16="http://schemas.microsoft.com/office/drawing/2014/main" id="{A76BD691-08F7-8B4F-BD0F-0BE20973381C}"/>
                </a:ext>
              </a:extLst>
            </p:cNvPr>
            <p:cNvSpPr>
              <a:spLocks/>
            </p:cNvSpPr>
            <p:nvPr/>
          </p:nvSpPr>
          <p:spPr bwMode="auto">
            <a:xfrm>
              <a:off x="2232993" y="236320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29" name="Freeform 235">
              <a:extLst>
                <a:ext uri="{FF2B5EF4-FFF2-40B4-BE49-F238E27FC236}">
                  <a16:creationId xmlns:a16="http://schemas.microsoft.com/office/drawing/2014/main" id="{30010492-A6B5-3A48-8983-41E3F0C5EB41}"/>
                </a:ext>
              </a:extLst>
            </p:cNvPr>
            <p:cNvSpPr>
              <a:spLocks/>
            </p:cNvSpPr>
            <p:nvPr/>
          </p:nvSpPr>
          <p:spPr bwMode="auto">
            <a:xfrm>
              <a:off x="2241134" y="2363201"/>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0" name="Freeform 236">
              <a:extLst>
                <a:ext uri="{FF2B5EF4-FFF2-40B4-BE49-F238E27FC236}">
                  <a16:creationId xmlns:a16="http://schemas.microsoft.com/office/drawing/2014/main" id="{55AE9AFB-BBEA-BC4F-B331-51C95BC0A077}"/>
                </a:ext>
              </a:extLst>
            </p:cNvPr>
            <p:cNvSpPr>
              <a:spLocks/>
            </p:cNvSpPr>
            <p:nvPr/>
          </p:nvSpPr>
          <p:spPr bwMode="auto">
            <a:xfrm>
              <a:off x="2251600" y="2363201"/>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6" y="0"/>
                  </a:lnTo>
                  <a:lnTo>
                    <a:pt x="20" y="0"/>
                  </a:lnTo>
                  <a:lnTo>
                    <a:pt x="20" y="3"/>
                  </a:lnTo>
                  <a:lnTo>
                    <a:pt x="20" y="6"/>
                  </a:lnTo>
                  <a:lnTo>
                    <a:pt x="16"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1" name="Freeform 237">
              <a:extLst>
                <a:ext uri="{FF2B5EF4-FFF2-40B4-BE49-F238E27FC236}">
                  <a16:creationId xmlns:a16="http://schemas.microsoft.com/office/drawing/2014/main" id="{2506D9FE-19EA-8F40-B858-01A6CC2378F6}"/>
                </a:ext>
              </a:extLst>
            </p:cNvPr>
            <p:cNvSpPr>
              <a:spLocks/>
            </p:cNvSpPr>
            <p:nvPr/>
          </p:nvSpPr>
          <p:spPr bwMode="auto">
            <a:xfrm>
              <a:off x="2266718" y="2363201"/>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20" y="0"/>
                  </a:lnTo>
                  <a:lnTo>
                    <a:pt x="23" y="0"/>
                  </a:lnTo>
                  <a:lnTo>
                    <a:pt x="23" y="3"/>
                  </a:lnTo>
                  <a:lnTo>
                    <a:pt x="23" y="6"/>
                  </a:lnTo>
                  <a:lnTo>
                    <a:pt x="20"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2" name="Freeform 238">
              <a:extLst>
                <a:ext uri="{FF2B5EF4-FFF2-40B4-BE49-F238E27FC236}">
                  <a16:creationId xmlns:a16="http://schemas.microsoft.com/office/drawing/2014/main" id="{3712499C-3357-D24C-811A-D39FC3465C09}"/>
                </a:ext>
              </a:extLst>
            </p:cNvPr>
            <p:cNvSpPr>
              <a:spLocks/>
            </p:cNvSpPr>
            <p:nvPr/>
          </p:nvSpPr>
          <p:spPr bwMode="auto">
            <a:xfrm>
              <a:off x="2285325" y="236320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3" name="Freeform 239">
              <a:extLst>
                <a:ext uri="{FF2B5EF4-FFF2-40B4-BE49-F238E27FC236}">
                  <a16:creationId xmlns:a16="http://schemas.microsoft.com/office/drawing/2014/main" id="{CDA410EE-46E1-FE4E-9326-FC6FA6F14795}"/>
                </a:ext>
              </a:extLst>
            </p:cNvPr>
            <p:cNvSpPr>
              <a:spLocks/>
            </p:cNvSpPr>
            <p:nvPr/>
          </p:nvSpPr>
          <p:spPr bwMode="auto">
            <a:xfrm>
              <a:off x="2293465" y="2363201"/>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4" name="Freeform 240">
              <a:extLst>
                <a:ext uri="{FF2B5EF4-FFF2-40B4-BE49-F238E27FC236}">
                  <a16:creationId xmlns:a16="http://schemas.microsoft.com/office/drawing/2014/main" id="{0BC9BAA6-1380-AC4B-B4BA-CE6933E4F0DB}"/>
                </a:ext>
              </a:extLst>
            </p:cNvPr>
            <p:cNvSpPr>
              <a:spLocks/>
            </p:cNvSpPr>
            <p:nvPr/>
          </p:nvSpPr>
          <p:spPr bwMode="auto">
            <a:xfrm>
              <a:off x="2303931" y="2337387"/>
              <a:ext cx="11629" cy="31771"/>
            </a:xfrm>
            <a:custGeom>
              <a:avLst/>
              <a:gdLst>
                <a:gd name="T0" fmla="*/ 2147483646 w 10"/>
                <a:gd name="T1" fmla="*/ 2147483646 h 32"/>
                <a:gd name="T2" fmla="*/ 2147483646 w 10"/>
                <a:gd name="T3" fmla="*/ 2147483646 h 32"/>
                <a:gd name="T4" fmla="*/ 2147483646 w 10"/>
                <a:gd name="T5" fmla="*/ 2147483646 h 32"/>
                <a:gd name="T6" fmla="*/ 2147483646 w 10"/>
                <a:gd name="T7" fmla="*/ 2147483646 h 32"/>
                <a:gd name="T8" fmla="*/ 0 w 10"/>
                <a:gd name="T9" fmla="*/ 2147483646 h 32"/>
                <a:gd name="T10" fmla="*/ 0 w 10"/>
                <a:gd name="T11" fmla="*/ 2147483646 h 32"/>
                <a:gd name="T12" fmla="*/ 0 w 10"/>
                <a:gd name="T13" fmla="*/ 2147483646 h 32"/>
                <a:gd name="T14" fmla="*/ 0 w 10"/>
                <a:gd name="T15" fmla="*/ 0 h 32"/>
                <a:gd name="T16" fmla="*/ 2147483646 w 10"/>
                <a:gd name="T17" fmla="*/ 0 h 32"/>
                <a:gd name="T18" fmla="*/ 2147483646 w 10"/>
                <a:gd name="T19" fmla="*/ 0 h 32"/>
                <a:gd name="T20" fmla="*/ 2147483646 w 10"/>
                <a:gd name="T21" fmla="*/ 0 h 32"/>
                <a:gd name="T22" fmla="*/ 2147483646 w 10"/>
                <a:gd name="T23" fmla="*/ 2147483646 h 32"/>
                <a:gd name="T24" fmla="*/ 2147483646 w 10"/>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2">
                  <a:moveTo>
                    <a:pt x="10" y="29"/>
                  </a:moveTo>
                  <a:lnTo>
                    <a:pt x="7" y="32"/>
                  </a:lnTo>
                  <a:lnTo>
                    <a:pt x="4" y="32"/>
                  </a:lnTo>
                  <a:lnTo>
                    <a:pt x="0" y="32"/>
                  </a:lnTo>
                  <a:lnTo>
                    <a:pt x="0" y="29"/>
                  </a:lnTo>
                  <a:lnTo>
                    <a:pt x="0" y="3"/>
                  </a:lnTo>
                  <a:lnTo>
                    <a:pt x="0" y="0"/>
                  </a:lnTo>
                  <a:lnTo>
                    <a:pt x="4" y="0"/>
                  </a:lnTo>
                  <a:lnTo>
                    <a:pt x="7" y="0"/>
                  </a:lnTo>
                  <a:lnTo>
                    <a:pt x="10" y="3"/>
                  </a:lnTo>
                  <a:lnTo>
                    <a:pt x="10" y="2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5" name="Freeform 241">
              <a:extLst>
                <a:ext uri="{FF2B5EF4-FFF2-40B4-BE49-F238E27FC236}">
                  <a16:creationId xmlns:a16="http://schemas.microsoft.com/office/drawing/2014/main" id="{AAA6391B-C705-A843-89C0-5DA6DEAAD05F}"/>
                </a:ext>
              </a:extLst>
            </p:cNvPr>
            <p:cNvSpPr>
              <a:spLocks/>
            </p:cNvSpPr>
            <p:nvPr/>
          </p:nvSpPr>
          <p:spPr bwMode="auto">
            <a:xfrm>
              <a:off x="2303931" y="2337387"/>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4" y="10"/>
                  </a:moveTo>
                  <a:lnTo>
                    <a:pt x="0" y="6"/>
                  </a:lnTo>
                  <a:lnTo>
                    <a:pt x="0" y="3"/>
                  </a:lnTo>
                  <a:lnTo>
                    <a:pt x="0" y="0"/>
                  </a:lnTo>
                  <a:lnTo>
                    <a:pt x="4" y="0"/>
                  </a:lnTo>
                  <a:lnTo>
                    <a:pt x="33" y="0"/>
                  </a:lnTo>
                  <a:lnTo>
                    <a:pt x="36" y="0"/>
                  </a:lnTo>
                  <a:lnTo>
                    <a:pt x="36" y="3"/>
                  </a:lnTo>
                  <a:lnTo>
                    <a:pt x="36" y="6"/>
                  </a:lnTo>
                  <a:lnTo>
                    <a:pt x="3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6" name="Freeform 242">
              <a:extLst>
                <a:ext uri="{FF2B5EF4-FFF2-40B4-BE49-F238E27FC236}">
                  <a16:creationId xmlns:a16="http://schemas.microsoft.com/office/drawing/2014/main" id="{9A56F3C7-D217-AE4A-8D8A-388DDAAB0C08}"/>
                </a:ext>
              </a:extLst>
            </p:cNvPr>
            <p:cNvSpPr>
              <a:spLocks/>
            </p:cNvSpPr>
            <p:nvPr/>
          </p:nvSpPr>
          <p:spPr bwMode="auto">
            <a:xfrm>
              <a:off x="2337656" y="2337387"/>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7" name="Freeform 243">
              <a:extLst>
                <a:ext uri="{FF2B5EF4-FFF2-40B4-BE49-F238E27FC236}">
                  <a16:creationId xmlns:a16="http://schemas.microsoft.com/office/drawing/2014/main" id="{88EA4E68-DEB0-B341-87E5-FCB4DDE9C6EF}"/>
                </a:ext>
              </a:extLst>
            </p:cNvPr>
            <p:cNvSpPr>
              <a:spLocks/>
            </p:cNvSpPr>
            <p:nvPr/>
          </p:nvSpPr>
          <p:spPr bwMode="auto">
            <a:xfrm>
              <a:off x="2357426" y="233738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8" name="Freeform 244">
              <a:extLst>
                <a:ext uri="{FF2B5EF4-FFF2-40B4-BE49-F238E27FC236}">
                  <a16:creationId xmlns:a16="http://schemas.microsoft.com/office/drawing/2014/main" id="{63AA3A05-A895-B048-804F-70EF1B9B0B55}"/>
                </a:ext>
              </a:extLst>
            </p:cNvPr>
            <p:cNvSpPr>
              <a:spLocks/>
            </p:cNvSpPr>
            <p:nvPr/>
          </p:nvSpPr>
          <p:spPr bwMode="auto">
            <a:xfrm>
              <a:off x="2360914" y="2311573"/>
              <a:ext cx="10467" cy="31771"/>
            </a:xfrm>
            <a:custGeom>
              <a:avLst/>
              <a:gdLst>
                <a:gd name="T0" fmla="*/ 2147483646 w 9"/>
                <a:gd name="T1" fmla="*/ 2147483646 h 32"/>
                <a:gd name="T2" fmla="*/ 2147483646 w 9"/>
                <a:gd name="T3" fmla="*/ 2147483646 h 32"/>
                <a:gd name="T4" fmla="*/ 2147483646 w 9"/>
                <a:gd name="T5" fmla="*/ 2147483646 h 32"/>
                <a:gd name="T6" fmla="*/ 2147483646 w 9"/>
                <a:gd name="T7" fmla="*/ 2147483646 h 32"/>
                <a:gd name="T8" fmla="*/ 0 w 9"/>
                <a:gd name="T9" fmla="*/ 2147483646 h 32"/>
                <a:gd name="T10" fmla="*/ 0 w 9"/>
                <a:gd name="T11" fmla="*/ 2147483646 h 32"/>
                <a:gd name="T12" fmla="*/ 0 w 9"/>
                <a:gd name="T13" fmla="*/ 2147483646 h 32"/>
                <a:gd name="T14" fmla="*/ 0 w 9"/>
                <a:gd name="T15" fmla="*/ 0 h 32"/>
                <a:gd name="T16" fmla="*/ 2147483646 w 9"/>
                <a:gd name="T17" fmla="*/ 0 h 32"/>
                <a:gd name="T18" fmla="*/ 2147483646 w 9"/>
                <a:gd name="T19" fmla="*/ 0 h 32"/>
                <a:gd name="T20" fmla="*/ 2147483646 w 9"/>
                <a:gd name="T21" fmla="*/ 0 h 32"/>
                <a:gd name="T22" fmla="*/ 2147483646 w 9"/>
                <a:gd name="T23" fmla="*/ 2147483646 h 32"/>
                <a:gd name="T24" fmla="*/ 2147483646 w 9"/>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32">
                  <a:moveTo>
                    <a:pt x="9" y="29"/>
                  </a:moveTo>
                  <a:lnTo>
                    <a:pt x="6" y="32"/>
                  </a:lnTo>
                  <a:lnTo>
                    <a:pt x="3" y="32"/>
                  </a:lnTo>
                  <a:lnTo>
                    <a:pt x="0" y="32"/>
                  </a:lnTo>
                  <a:lnTo>
                    <a:pt x="0" y="29"/>
                  </a:lnTo>
                  <a:lnTo>
                    <a:pt x="0" y="3"/>
                  </a:lnTo>
                  <a:lnTo>
                    <a:pt x="0" y="0"/>
                  </a:lnTo>
                  <a:lnTo>
                    <a:pt x="3" y="0"/>
                  </a:lnTo>
                  <a:lnTo>
                    <a:pt x="6" y="0"/>
                  </a:lnTo>
                  <a:lnTo>
                    <a:pt x="9" y="3"/>
                  </a:lnTo>
                  <a:lnTo>
                    <a:pt x="9" y="2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39" name="Freeform 245">
              <a:extLst>
                <a:ext uri="{FF2B5EF4-FFF2-40B4-BE49-F238E27FC236}">
                  <a16:creationId xmlns:a16="http://schemas.microsoft.com/office/drawing/2014/main" id="{D276C23E-B09C-5640-8A1F-457FC6F3193D}"/>
                </a:ext>
              </a:extLst>
            </p:cNvPr>
            <p:cNvSpPr>
              <a:spLocks/>
            </p:cNvSpPr>
            <p:nvPr/>
          </p:nvSpPr>
          <p:spPr bwMode="auto">
            <a:xfrm>
              <a:off x="2360914" y="2311573"/>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0" name="Freeform 246">
              <a:extLst>
                <a:ext uri="{FF2B5EF4-FFF2-40B4-BE49-F238E27FC236}">
                  <a16:creationId xmlns:a16="http://schemas.microsoft.com/office/drawing/2014/main" id="{CC9125F4-DF74-B545-90D0-C3A8685DFC21}"/>
                </a:ext>
              </a:extLst>
            </p:cNvPr>
            <p:cNvSpPr>
              <a:spLocks/>
            </p:cNvSpPr>
            <p:nvPr/>
          </p:nvSpPr>
          <p:spPr bwMode="auto">
            <a:xfrm>
              <a:off x="2379521" y="2285760"/>
              <a:ext cx="11629" cy="31771"/>
            </a:xfrm>
            <a:custGeom>
              <a:avLst/>
              <a:gdLst>
                <a:gd name="T0" fmla="*/ 2147483646 w 10"/>
                <a:gd name="T1" fmla="*/ 2147483646 h 32"/>
                <a:gd name="T2" fmla="*/ 2147483646 w 10"/>
                <a:gd name="T3" fmla="*/ 2147483646 h 32"/>
                <a:gd name="T4" fmla="*/ 2147483646 w 10"/>
                <a:gd name="T5" fmla="*/ 2147483646 h 32"/>
                <a:gd name="T6" fmla="*/ 2147483646 w 10"/>
                <a:gd name="T7" fmla="*/ 2147483646 h 32"/>
                <a:gd name="T8" fmla="*/ 0 w 10"/>
                <a:gd name="T9" fmla="*/ 2147483646 h 32"/>
                <a:gd name="T10" fmla="*/ 0 w 10"/>
                <a:gd name="T11" fmla="*/ 2147483646 h 32"/>
                <a:gd name="T12" fmla="*/ 0 w 10"/>
                <a:gd name="T13" fmla="*/ 2147483646 h 32"/>
                <a:gd name="T14" fmla="*/ 0 w 10"/>
                <a:gd name="T15" fmla="*/ 0 h 32"/>
                <a:gd name="T16" fmla="*/ 2147483646 w 10"/>
                <a:gd name="T17" fmla="*/ 0 h 32"/>
                <a:gd name="T18" fmla="*/ 2147483646 w 10"/>
                <a:gd name="T19" fmla="*/ 0 h 32"/>
                <a:gd name="T20" fmla="*/ 2147483646 w 10"/>
                <a:gd name="T21" fmla="*/ 0 h 32"/>
                <a:gd name="T22" fmla="*/ 2147483646 w 10"/>
                <a:gd name="T23" fmla="*/ 2147483646 h 32"/>
                <a:gd name="T24" fmla="*/ 2147483646 w 10"/>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2">
                  <a:moveTo>
                    <a:pt x="10" y="29"/>
                  </a:moveTo>
                  <a:lnTo>
                    <a:pt x="6" y="32"/>
                  </a:lnTo>
                  <a:lnTo>
                    <a:pt x="3" y="32"/>
                  </a:lnTo>
                  <a:lnTo>
                    <a:pt x="0" y="32"/>
                  </a:lnTo>
                  <a:lnTo>
                    <a:pt x="0" y="29"/>
                  </a:lnTo>
                  <a:lnTo>
                    <a:pt x="0" y="3"/>
                  </a:lnTo>
                  <a:lnTo>
                    <a:pt x="0" y="0"/>
                  </a:lnTo>
                  <a:lnTo>
                    <a:pt x="3" y="0"/>
                  </a:lnTo>
                  <a:lnTo>
                    <a:pt x="6" y="0"/>
                  </a:lnTo>
                  <a:lnTo>
                    <a:pt x="10" y="3"/>
                  </a:lnTo>
                  <a:lnTo>
                    <a:pt x="10" y="2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1" name="Freeform 247">
              <a:extLst>
                <a:ext uri="{FF2B5EF4-FFF2-40B4-BE49-F238E27FC236}">
                  <a16:creationId xmlns:a16="http://schemas.microsoft.com/office/drawing/2014/main" id="{DBB2C6FB-BCA4-E743-B1DA-A9D7F16406D9}"/>
                </a:ext>
              </a:extLst>
            </p:cNvPr>
            <p:cNvSpPr>
              <a:spLocks/>
            </p:cNvSpPr>
            <p:nvPr/>
          </p:nvSpPr>
          <p:spPr bwMode="auto">
            <a:xfrm>
              <a:off x="2379521" y="2285760"/>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6" y="0"/>
                  </a:lnTo>
                  <a:lnTo>
                    <a:pt x="29" y="0"/>
                  </a:lnTo>
                  <a:lnTo>
                    <a:pt x="29" y="3"/>
                  </a:lnTo>
                  <a:lnTo>
                    <a:pt x="29" y="7"/>
                  </a:lnTo>
                  <a:lnTo>
                    <a:pt x="2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2" name="Freeform 248">
              <a:extLst>
                <a:ext uri="{FF2B5EF4-FFF2-40B4-BE49-F238E27FC236}">
                  <a16:creationId xmlns:a16="http://schemas.microsoft.com/office/drawing/2014/main" id="{763C6501-DE3F-224A-B14F-6DB77AE8A2B9}"/>
                </a:ext>
              </a:extLst>
            </p:cNvPr>
            <p:cNvSpPr>
              <a:spLocks/>
            </p:cNvSpPr>
            <p:nvPr/>
          </p:nvSpPr>
          <p:spPr bwMode="auto">
            <a:xfrm>
              <a:off x="2405105" y="22857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3" name="Freeform 249">
              <a:extLst>
                <a:ext uri="{FF2B5EF4-FFF2-40B4-BE49-F238E27FC236}">
                  <a16:creationId xmlns:a16="http://schemas.microsoft.com/office/drawing/2014/main" id="{C92472EB-F25D-B448-A40E-97AE2CEFBB3B}"/>
                </a:ext>
              </a:extLst>
            </p:cNvPr>
            <p:cNvSpPr>
              <a:spLocks/>
            </p:cNvSpPr>
            <p:nvPr/>
          </p:nvSpPr>
          <p:spPr bwMode="auto">
            <a:xfrm>
              <a:off x="2409757" y="22857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4" name="Freeform 250">
              <a:extLst>
                <a:ext uri="{FF2B5EF4-FFF2-40B4-BE49-F238E27FC236}">
                  <a16:creationId xmlns:a16="http://schemas.microsoft.com/office/drawing/2014/main" id="{1529AC7D-4632-134E-A3F9-0CA8A6DF0852}"/>
                </a:ext>
              </a:extLst>
            </p:cNvPr>
            <p:cNvSpPr>
              <a:spLocks/>
            </p:cNvSpPr>
            <p:nvPr/>
          </p:nvSpPr>
          <p:spPr bwMode="auto">
            <a:xfrm>
              <a:off x="2416734" y="2285760"/>
              <a:ext cx="55820" cy="9928"/>
            </a:xfrm>
            <a:custGeom>
              <a:avLst/>
              <a:gdLst>
                <a:gd name="T0" fmla="*/ 2147483646 w 48"/>
                <a:gd name="T1" fmla="*/ 2147483646 h 10"/>
                <a:gd name="T2" fmla="*/ 0 w 48"/>
                <a:gd name="T3" fmla="*/ 2147483646 h 10"/>
                <a:gd name="T4" fmla="*/ 0 w 48"/>
                <a:gd name="T5" fmla="*/ 2147483646 h 10"/>
                <a:gd name="T6" fmla="*/ 0 w 48"/>
                <a:gd name="T7" fmla="*/ 2147483646 h 10"/>
                <a:gd name="T8" fmla="*/ 0 w 48"/>
                <a:gd name="T9" fmla="*/ 0 h 10"/>
                <a:gd name="T10" fmla="*/ 2147483646 w 48"/>
                <a:gd name="T11" fmla="*/ 0 h 10"/>
                <a:gd name="T12" fmla="*/ 2147483646 w 48"/>
                <a:gd name="T13" fmla="*/ 0 h 10"/>
                <a:gd name="T14" fmla="*/ 2147483646 w 48"/>
                <a:gd name="T15" fmla="*/ 0 h 10"/>
                <a:gd name="T16" fmla="*/ 2147483646 w 48"/>
                <a:gd name="T17" fmla="*/ 2147483646 h 10"/>
                <a:gd name="T18" fmla="*/ 2147483646 w 48"/>
                <a:gd name="T19" fmla="*/ 2147483646 h 10"/>
                <a:gd name="T20" fmla="*/ 2147483646 w 48"/>
                <a:gd name="T21" fmla="*/ 2147483646 h 10"/>
                <a:gd name="T22" fmla="*/ 2147483646 w 48"/>
                <a:gd name="T23" fmla="*/ 2147483646 h 10"/>
                <a:gd name="T24" fmla="*/ 2147483646 w 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0">
                  <a:moveTo>
                    <a:pt x="3" y="10"/>
                  </a:moveTo>
                  <a:lnTo>
                    <a:pt x="0" y="7"/>
                  </a:lnTo>
                  <a:lnTo>
                    <a:pt x="0" y="3"/>
                  </a:lnTo>
                  <a:lnTo>
                    <a:pt x="0" y="0"/>
                  </a:lnTo>
                  <a:lnTo>
                    <a:pt x="3" y="0"/>
                  </a:lnTo>
                  <a:lnTo>
                    <a:pt x="45" y="0"/>
                  </a:lnTo>
                  <a:lnTo>
                    <a:pt x="48" y="0"/>
                  </a:lnTo>
                  <a:lnTo>
                    <a:pt x="48" y="3"/>
                  </a:lnTo>
                  <a:lnTo>
                    <a:pt x="48" y="7"/>
                  </a:lnTo>
                  <a:lnTo>
                    <a:pt x="4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5" name="Freeform 251">
              <a:extLst>
                <a:ext uri="{FF2B5EF4-FFF2-40B4-BE49-F238E27FC236}">
                  <a16:creationId xmlns:a16="http://schemas.microsoft.com/office/drawing/2014/main" id="{74B948F6-6A0E-3646-8A30-DC7AB01C9004}"/>
                </a:ext>
              </a:extLst>
            </p:cNvPr>
            <p:cNvSpPr>
              <a:spLocks/>
            </p:cNvSpPr>
            <p:nvPr/>
          </p:nvSpPr>
          <p:spPr bwMode="auto">
            <a:xfrm>
              <a:off x="2465577" y="228576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6" name="Freeform 252">
              <a:extLst>
                <a:ext uri="{FF2B5EF4-FFF2-40B4-BE49-F238E27FC236}">
                  <a16:creationId xmlns:a16="http://schemas.microsoft.com/office/drawing/2014/main" id="{D8E839B0-1806-9B4E-9A53-B0A3AADBEDF1}"/>
                </a:ext>
              </a:extLst>
            </p:cNvPr>
            <p:cNvSpPr>
              <a:spLocks/>
            </p:cNvSpPr>
            <p:nvPr/>
          </p:nvSpPr>
          <p:spPr bwMode="auto">
            <a:xfrm>
              <a:off x="2480695" y="22857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7" name="Freeform 253">
              <a:extLst>
                <a:ext uri="{FF2B5EF4-FFF2-40B4-BE49-F238E27FC236}">
                  <a16:creationId xmlns:a16="http://schemas.microsoft.com/office/drawing/2014/main" id="{ACE037FB-6AC4-B848-B6BD-5A752AD21748}"/>
                </a:ext>
              </a:extLst>
            </p:cNvPr>
            <p:cNvSpPr>
              <a:spLocks/>
            </p:cNvSpPr>
            <p:nvPr/>
          </p:nvSpPr>
          <p:spPr bwMode="auto">
            <a:xfrm>
              <a:off x="2487673" y="22857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8" name="Freeform 254">
              <a:extLst>
                <a:ext uri="{FF2B5EF4-FFF2-40B4-BE49-F238E27FC236}">
                  <a16:creationId xmlns:a16="http://schemas.microsoft.com/office/drawing/2014/main" id="{97F1C702-05D4-D644-8870-957808C043AB}"/>
                </a:ext>
              </a:extLst>
            </p:cNvPr>
            <p:cNvSpPr>
              <a:spLocks/>
            </p:cNvSpPr>
            <p:nvPr/>
          </p:nvSpPr>
          <p:spPr bwMode="auto">
            <a:xfrm>
              <a:off x="2492325" y="228576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49" name="Freeform 255">
              <a:extLst>
                <a:ext uri="{FF2B5EF4-FFF2-40B4-BE49-F238E27FC236}">
                  <a16:creationId xmlns:a16="http://schemas.microsoft.com/office/drawing/2014/main" id="{0134B7F4-C4F9-9C41-BEE1-5902E1C8308E}"/>
                </a:ext>
              </a:extLst>
            </p:cNvPr>
            <p:cNvSpPr>
              <a:spLocks/>
            </p:cNvSpPr>
            <p:nvPr/>
          </p:nvSpPr>
          <p:spPr bwMode="auto">
            <a:xfrm>
              <a:off x="2495813" y="228576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0" name="Freeform 256">
              <a:extLst>
                <a:ext uri="{FF2B5EF4-FFF2-40B4-BE49-F238E27FC236}">
                  <a16:creationId xmlns:a16="http://schemas.microsoft.com/office/drawing/2014/main" id="{36290AF9-D491-7149-ADEE-B6F24096DA36}"/>
                </a:ext>
              </a:extLst>
            </p:cNvPr>
            <p:cNvSpPr>
              <a:spLocks/>
            </p:cNvSpPr>
            <p:nvPr/>
          </p:nvSpPr>
          <p:spPr bwMode="auto">
            <a:xfrm>
              <a:off x="2510931" y="22857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1" name="Freeform 257">
              <a:extLst>
                <a:ext uri="{FF2B5EF4-FFF2-40B4-BE49-F238E27FC236}">
                  <a16:creationId xmlns:a16="http://schemas.microsoft.com/office/drawing/2014/main" id="{B93C4F71-80D0-B848-96F0-3BD8CDE9B4B9}"/>
                </a:ext>
              </a:extLst>
            </p:cNvPr>
            <p:cNvSpPr>
              <a:spLocks/>
            </p:cNvSpPr>
            <p:nvPr/>
          </p:nvSpPr>
          <p:spPr bwMode="auto">
            <a:xfrm>
              <a:off x="2517909" y="22857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2" name="Freeform 258">
              <a:extLst>
                <a:ext uri="{FF2B5EF4-FFF2-40B4-BE49-F238E27FC236}">
                  <a16:creationId xmlns:a16="http://schemas.microsoft.com/office/drawing/2014/main" id="{87410C9D-2D54-144D-BBEC-4C84CAA0FAB0}"/>
                </a:ext>
              </a:extLst>
            </p:cNvPr>
            <p:cNvSpPr>
              <a:spLocks/>
            </p:cNvSpPr>
            <p:nvPr/>
          </p:nvSpPr>
          <p:spPr bwMode="auto">
            <a:xfrm>
              <a:off x="2521397" y="2285760"/>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7"/>
                  </a:lnTo>
                  <a:lnTo>
                    <a:pt x="0" y="3"/>
                  </a:lnTo>
                  <a:lnTo>
                    <a:pt x="0" y="0"/>
                  </a:lnTo>
                  <a:lnTo>
                    <a:pt x="4" y="0"/>
                  </a:lnTo>
                  <a:lnTo>
                    <a:pt x="13" y="0"/>
                  </a:lnTo>
                  <a:lnTo>
                    <a:pt x="17" y="0"/>
                  </a:lnTo>
                  <a:lnTo>
                    <a:pt x="17" y="3"/>
                  </a:lnTo>
                  <a:lnTo>
                    <a:pt x="17" y="7"/>
                  </a:lnTo>
                  <a:lnTo>
                    <a:pt x="13"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3" name="Freeform 259">
              <a:extLst>
                <a:ext uri="{FF2B5EF4-FFF2-40B4-BE49-F238E27FC236}">
                  <a16:creationId xmlns:a16="http://schemas.microsoft.com/office/drawing/2014/main" id="{21AE332A-26EB-084D-9873-9FBC1428C1F5}"/>
                </a:ext>
              </a:extLst>
            </p:cNvPr>
            <p:cNvSpPr>
              <a:spLocks/>
            </p:cNvSpPr>
            <p:nvPr/>
          </p:nvSpPr>
          <p:spPr bwMode="auto">
            <a:xfrm>
              <a:off x="2533027" y="22857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4" name="Freeform 260">
              <a:extLst>
                <a:ext uri="{FF2B5EF4-FFF2-40B4-BE49-F238E27FC236}">
                  <a16:creationId xmlns:a16="http://schemas.microsoft.com/office/drawing/2014/main" id="{71A906E2-14F0-024D-8511-DE59D4C76545}"/>
                </a:ext>
              </a:extLst>
            </p:cNvPr>
            <p:cNvSpPr>
              <a:spLocks/>
            </p:cNvSpPr>
            <p:nvPr/>
          </p:nvSpPr>
          <p:spPr bwMode="auto">
            <a:xfrm>
              <a:off x="2541167" y="2285760"/>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3"/>
                  </a:lnTo>
                  <a:lnTo>
                    <a:pt x="0" y="0"/>
                  </a:lnTo>
                  <a:lnTo>
                    <a:pt x="3" y="0"/>
                  </a:lnTo>
                  <a:lnTo>
                    <a:pt x="19" y="0"/>
                  </a:lnTo>
                  <a:lnTo>
                    <a:pt x="22" y="0"/>
                  </a:lnTo>
                  <a:lnTo>
                    <a:pt x="22" y="3"/>
                  </a:lnTo>
                  <a:lnTo>
                    <a:pt x="22" y="7"/>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5" name="Freeform 261">
              <a:extLst>
                <a:ext uri="{FF2B5EF4-FFF2-40B4-BE49-F238E27FC236}">
                  <a16:creationId xmlns:a16="http://schemas.microsoft.com/office/drawing/2014/main" id="{5358F671-6E79-CA46-B3EC-C1D39FD33723}"/>
                </a:ext>
              </a:extLst>
            </p:cNvPr>
            <p:cNvSpPr>
              <a:spLocks/>
            </p:cNvSpPr>
            <p:nvPr/>
          </p:nvSpPr>
          <p:spPr bwMode="auto">
            <a:xfrm>
              <a:off x="2559774" y="2285760"/>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3"/>
                  </a:lnTo>
                  <a:lnTo>
                    <a:pt x="0" y="0"/>
                  </a:lnTo>
                  <a:lnTo>
                    <a:pt x="3" y="0"/>
                  </a:lnTo>
                  <a:lnTo>
                    <a:pt x="19" y="0"/>
                  </a:lnTo>
                  <a:lnTo>
                    <a:pt x="22" y="0"/>
                  </a:lnTo>
                  <a:lnTo>
                    <a:pt x="22" y="3"/>
                  </a:lnTo>
                  <a:lnTo>
                    <a:pt x="22" y="7"/>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6" name="Freeform 262">
              <a:extLst>
                <a:ext uri="{FF2B5EF4-FFF2-40B4-BE49-F238E27FC236}">
                  <a16:creationId xmlns:a16="http://schemas.microsoft.com/office/drawing/2014/main" id="{78D72E85-2729-E743-AE5E-E28E57280DB2}"/>
                </a:ext>
              </a:extLst>
            </p:cNvPr>
            <p:cNvSpPr>
              <a:spLocks/>
            </p:cNvSpPr>
            <p:nvPr/>
          </p:nvSpPr>
          <p:spPr bwMode="auto">
            <a:xfrm>
              <a:off x="2578381" y="2251010"/>
              <a:ext cx="10467" cy="41699"/>
            </a:xfrm>
            <a:custGeom>
              <a:avLst/>
              <a:gdLst>
                <a:gd name="T0" fmla="*/ 2147483646 w 9"/>
                <a:gd name="T1" fmla="*/ 2147483646 h 42"/>
                <a:gd name="T2" fmla="*/ 2147483646 w 9"/>
                <a:gd name="T3" fmla="*/ 2147483646 h 42"/>
                <a:gd name="T4" fmla="*/ 2147483646 w 9"/>
                <a:gd name="T5" fmla="*/ 2147483646 h 42"/>
                <a:gd name="T6" fmla="*/ 2147483646 w 9"/>
                <a:gd name="T7" fmla="*/ 2147483646 h 42"/>
                <a:gd name="T8" fmla="*/ 0 w 9"/>
                <a:gd name="T9" fmla="*/ 2147483646 h 42"/>
                <a:gd name="T10" fmla="*/ 0 w 9"/>
                <a:gd name="T11" fmla="*/ 2147483646 h 42"/>
                <a:gd name="T12" fmla="*/ 0 w 9"/>
                <a:gd name="T13" fmla="*/ 2147483646 h 42"/>
                <a:gd name="T14" fmla="*/ 0 w 9"/>
                <a:gd name="T15" fmla="*/ 0 h 42"/>
                <a:gd name="T16" fmla="*/ 2147483646 w 9"/>
                <a:gd name="T17" fmla="*/ 0 h 42"/>
                <a:gd name="T18" fmla="*/ 2147483646 w 9"/>
                <a:gd name="T19" fmla="*/ 0 h 42"/>
                <a:gd name="T20" fmla="*/ 2147483646 w 9"/>
                <a:gd name="T21" fmla="*/ 0 h 42"/>
                <a:gd name="T22" fmla="*/ 2147483646 w 9"/>
                <a:gd name="T23" fmla="*/ 2147483646 h 42"/>
                <a:gd name="T24" fmla="*/ 2147483646 w 9"/>
                <a:gd name="T25" fmla="*/ 2147483646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42">
                  <a:moveTo>
                    <a:pt x="9" y="38"/>
                  </a:moveTo>
                  <a:lnTo>
                    <a:pt x="6" y="42"/>
                  </a:lnTo>
                  <a:lnTo>
                    <a:pt x="3" y="42"/>
                  </a:lnTo>
                  <a:lnTo>
                    <a:pt x="0" y="42"/>
                  </a:lnTo>
                  <a:lnTo>
                    <a:pt x="0" y="38"/>
                  </a:lnTo>
                  <a:lnTo>
                    <a:pt x="0" y="3"/>
                  </a:lnTo>
                  <a:lnTo>
                    <a:pt x="0" y="0"/>
                  </a:lnTo>
                  <a:lnTo>
                    <a:pt x="3" y="0"/>
                  </a:lnTo>
                  <a:lnTo>
                    <a:pt x="6" y="0"/>
                  </a:lnTo>
                  <a:lnTo>
                    <a:pt x="9" y="3"/>
                  </a:lnTo>
                  <a:lnTo>
                    <a:pt x="9" y="3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7" name="Freeform 263">
              <a:extLst>
                <a:ext uri="{FF2B5EF4-FFF2-40B4-BE49-F238E27FC236}">
                  <a16:creationId xmlns:a16="http://schemas.microsoft.com/office/drawing/2014/main" id="{9AEE46E4-38FA-0A4E-AE77-FA3E4230A9C8}"/>
                </a:ext>
              </a:extLst>
            </p:cNvPr>
            <p:cNvSpPr>
              <a:spLocks/>
            </p:cNvSpPr>
            <p:nvPr/>
          </p:nvSpPr>
          <p:spPr bwMode="auto">
            <a:xfrm>
              <a:off x="2578381" y="225101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8" name="Freeform 264">
              <a:extLst>
                <a:ext uri="{FF2B5EF4-FFF2-40B4-BE49-F238E27FC236}">
                  <a16:creationId xmlns:a16="http://schemas.microsoft.com/office/drawing/2014/main" id="{5CC80937-1F1D-0149-B9F6-5674DDB2A6D4}"/>
                </a:ext>
              </a:extLst>
            </p:cNvPr>
            <p:cNvSpPr>
              <a:spLocks/>
            </p:cNvSpPr>
            <p:nvPr/>
          </p:nvSpPr>
          <p:spPr bwMode="auto">
            <a:xfrm>
              <a:off x="2581869" y="2215268"/>
              <a:ext cx="11629" cy="41699"/>
            </a:xfrm>
            <a:custGeom>
              <a:avLst/>
              <a:gdLst>
                <a:gd name="T0" fmla="*/ 2147483646 w 10"/>
                <a:gd name="T1" fmla="*/ 2147483646 h 42"/>
                <a:gd name="T2" fmla="*/ 2147483646 w 10"/>
                <a:gd name="T3" fmla="*/ 2147483646 h 42"/>
                <a:gd name="T4" fmla="*/ 2147483646 w 10"/>
                <a:gd name="T5" fmla="*/ 2147483646 h 42"/>
                <a:gd name="T6" fmla="*/ 2147483646 w 10"/>
                <a:gd name="T7" fmla="*/ 2147483646 h 42"/>
                <a:gd name="T8" fmla="*/ 0 w 10"/>
                <a:gd name="T9" fmla="*/ 2147483646 h 42"/>
                <a:gd name="T10" fmla="*/ 0 w 10"/>
                <a:gd name="T11" fmla="*/ 2147483646 h 42"/>
                <a:gd name="T12" fmla="*/ 0 w 10"/>
                <a:gd name="T13" fmla="*/ 2147483646 h 42"/>
                <a:gd name="T14" fmla="*/ 0 w 10"/>
                <a:gd name="T15" fmla="*/ 0 h 42"/>
                <a:gd name="T16" fmla="*/ 2147483646 w 10"/>
                <a:gd name="T17" fmla="*/ 0 h 42"/>
                <a:gd name="T18" fmla="*/ 2147483646 w 10"/>
                <a:gd name="T19" fmla="*/ 0 h 42"/>
                <a:gd name="T20" fmla="*/ 2147483646 w 10"/>
                <a:gd name="T21" fmla="*/ 0 h 42"/>
                <a:gd name="T22" fmla="*/ 2147483646 w 10"/>
                <a:gd name="T23" fmla="*/ 2147483646 h 42"/>
                <a:gd name="T24" fmla="*/ 2147483646 w 10"/>
                <a:gd name="T25" fmla="*/ 2147483646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42">
                  <a:moveTo>
                    <a:pt x="10" y="39"/>
                  </a:moveTo>
                  <a:lnTo>
                    <a:pt x="6" y="42"/>
                  </a:lnTo>
                  <a:lnTo>
                    <a:pt x="3" y="42"/>
                  </a:lnTo>
                  <a:lnTo>
                    <a:pt x="0" y="42"/>
                  </a:lnTo>
                  <a:lnTo>
                    <a:pt x="0" y="39"/>
                  </a:lnTo>
                  <a:lnTo>
                    <a:pt x="0" y="3"/>
                  </a:lnTo>
                  <a:lnTo>
                    <a:pt x="0" y="0"/>
                  </a:lnTo>
                  <a:lnTo>
                    <a:pt x="3" y="0"/>
                  </a:lnTo>
                  <a:lnTo>
                    <a:pt x="6" y="0"/>
                  </a:lnTo>
                  <a:lnTo>
                    <a:pt x="10" y="3"/>
                  </a:lnTo>
                  <a:lnTo>
                    <a:pt x="10" y="3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59" name="Freeform 265">
              <a:extLst>
                <a:ext uri="{FF2B5EF4-FFF2-40B4-BE49-F238E27FC236}">
                  <a16:creationId xmlns:a16="http://schemas.microsoft.com/office/drawing/2014/main" id="{69B77CAD-B3CD-884F-8995-F4DCF281A317}"/>
                </a:ext>
              </a:extLst>
            </p:cNvPr>
            <p:cNvSpPr>
              <a:spLocks/>
            </p:cNvSpPr>
            <p:nvPr/>
          </p:nvSpPr>
          <p:spPr bwMode="auto">
            <a:xfrm>
              <a:off x="2581869" y="2215268"/>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0" name="Freeform 266">
              <a:extLst>
                <a:ext uri="{FF2B5EF4-FFF2-40B4-BE49-F238E27FC236}">
                  <a16:creationId xmlns:a16="http://schemas.microsoft.com/office/drawing/2014/main" id="{0FBF451C-524E-EB4D-84CC-F4048545B8FA}"/>
                </a:ext>
              </a:extLst>
            </p:cNvPr>
            <p:cNvSpPr>
              <a:spLocks/>
            </p:cNvSpPr>
            <p:nvPr/>
          </p:nvSpPr>
          <p:spPr bwMode="auto">
            <a:xfrm>
              <a:off x="2596988" y="2176547"/>
              <a:ext cx="11629" cy="45671"/>
            </a:xfrm>
            <a:custGeom>
              <a:avLst/>
              <a:gdLst>
                <a:gd name="T0" fmla="*/ 2147483646 w 10"/>
                <a:gd name="T1" fmla="*/ 2147483646 h 46"/>
                <a:gd name="T2" fmla="*/ 2147483646 w 10"/>
                <a:gd name="T3" fmla="*/ 2147483646 h 46"/>
                <a:gd name="T4" fmla="*/ 2147483646 w 10"/>
                <a:gd name="T5" fmla="*/ 2147483646 h 46"/>
                <a:gd name="T6" fmla="*/ 2147483646 w 10"/>
                <a:gd name="T7" fmla="*/ 2147483646 h 46"/>
                <a:gd name="T8" fmla="*/ 0 w 10"/>
                <a:gd name="T9" fmla="*/ 2147483646 h 46"/>
                <a:gd name="T10" fmla="*/ 0 w 10"/>
                <a:gd name="T11" fmla="*/ 2147483646 h 46"/>
                <a:gd name="T12" fmla="*/ 0 w 10"/>
                <a:gd name="T13" fmla="*/ 2147483646 h 46"/>
                <a:gd name="T14" fmla="*/ 0 w 10"/>
                <a:gd name="T15" fmla="*/ 0 h 46"/>
                <a:gd name="T16" fmla="*/ 2147483646 w 10"/>
                <a:gd name="T17" fmla="*/ 0 h 46"/>
                <a:gd name="T18" fmla="*/ 2147483646 w 10"/>
                <a:gd name="T19" fmla="*/ 0 h 46"/>
                <a:gd name="T20" fmla="*/ 2147483646 w 10"/>
                <a:gd name="T21" fmla="*/ 0 h 46"/>
                <a:gd name="T22" fmla="*/ 2147483646 w 10"/>
                <a:gd name="T23" fmla="*/ 2147483646 h 46"/>
                <a:gd name="T24" fmla="*/ 2147483646 w 10"/>
                <a:gd name="T25" fmla="*/ 21474836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46">
                  <a:moveTo>
                    <a:pt x="10" y="42"/>
                  </a:moveTo>
                  <a:lnTo>
                    <a:pt x="6" y="46"/>
                  </a:lnTo>
                  <a:lnTo>
                    <a:pt x="3" y="46"/>
                  </a:lnTo>
                  <a:lnTo>
                    <a:pt x="0" y="46"/>
                  </a:lnTo>
                  <a:lnTo>
                    <a:pt x="0" y="42"/>
                  </a:lnTo>
                  <a:lnTo>
                    <a:pt x="0" y="4"/>
                  </a:lnTo>
                  <a:lnTo>
                    <a:pt x="0" y="0"/>
                  </a:lnTo>
                  <a:lnTo>
                    <a:pt x="3" y="0"/>
                  </a:lnTo>
                  <a:lnTo>
                    <a:pt x="6" y="0"/>
                  </a:lnTo>
                  <a:lnTo>
                    <a:pt x="10" y="4"/>
                  </a:lnTo>
                  <a:lnTo>
                    <a:pt x="10"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1" name="Freeform 267">
              <a:extLst>
                <a:ext uri="{FF2B5EF4-FFF2-40B4-BE49-F238E27FC236}">
                  <a16:creationId xmlns:a16="http://schemas.microsoft.com/office/drawing/2014/main" id="{26B8CB75-B7D1-E04F-AF46-2ABC7732A6B8}"/>
                </a:ext>
              </a:extLst>
            </p:cNvPr>
            <p:cNvSpPr>
              <a:spLocks/>
            </p:cNvSpPr>
            <p:nvPr/>
          </p:nvSpPr>
          <p:spPr bwMode="auto">
            <a:xfrm>
              <a:off x="2596988" y="2176547"/>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4"/>
                  </a:lnTo>
                  <a:lnTo>
                    <a:pt x="0" y="0"/>
                  </a:lnTo>
                  <a:lnTo>
                    <a:pt x="3" y="0"/>
                  </a:lnTo>
                  <a:lnTo>
                    <a:pt x="19" y="0"/>
                  </a:lnTo>
                  <a:lnTo>
                    <a:pt x="22" y="0"/>
                  </a:lnTo>
                  <a:lnTo>
                    <a:pt x="22" y="4"/>
                  </a:lnTo>
                  <a:lnTo>
                    <a:pt x="22" y="7"/>
                  </a:lnTo>
                  <a:lnTo>
                    <a:pt x="19"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2" name="Freeform 268">
              <a:extLst>
                <a:ext uri="{FF2B5EF4-FFF2-40B4-BE49-F238E27FC236}">
                  <a16:creationId xmlns:a16="http://schemas.microsoft.com/office/drawing/2014/main" id="{8AFDA0EE-9CAD-7541-B4BC-0F6FBF959B85}"/>
                </a:ext>
              </a:extLst>
            </p:cNvPr>
            <p:cNvSpPr>
              <a:spLocks/>
            </p:cNvSpPr>
            <p:nvPr/>
          </p:nvSpPr>
          <p:spPr bwMode="auto">
            <a:xfrm>
              <a:off x="2615594" y="21765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3" name="Freeform 269">
              <a:extLst>
                <a:ext uri="{FF2B5EF4-FFF2-40B4-BE49-F238E27FC236}">
                  <a16:creationId xmlns:a16="http://schemas.microsoft.com/office/drawing/2014/main" id="{E4B22ED7-F96C-6743-B6E9-59EBEAD96756}"/>
                </a:ext>
              </a:extLst>
            </p:cNvPr>
            <p:cNvSpPr>
              <a:spLocks/>
            </p:cNvSpPr>
            <p:nvPr/>
          </p:nvSpPr>
          <p:spPr bwMode="auto">
            <a:xfrm>
              <a:off x="2622572" y="2176547"/>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4"/>
                  </a:lnTo>
                  <a:lnTo>
                    <a:pt x="0" y="0"/>
                  </a:lnTo>
                  <a:lnTo>
                    <a:pt x="4" y="0"/>
                  </a:lnTo>
                  <a:lnTo>
                    <a:pt x="17" y="0"/>
                  </a:lnTo>
                  <a:lnTo>
                    <a:pt x="20" y="0"/>
                  </a:lnTo>
                  <a:lnTo>
                    <a:pt x="20" y="4"/>
                  </a:lnTo>
                  <a:lnTo>
                    <a:pt x="20" y="7"/>
                  </a:lnTo>
                  <a:lnTo>
                    <a:pt x="17"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4" name="Freeform 270">
              <a:extLst>
                <a:ext uri="{FF2B5EF4-FFF2-40B4-BE49-F238E27FC236}">
                  <a16:creationId xmlns:a16="http://schemas.microsoft.com/office/drawing/2014/main" id="{048D1DDB-FAA6-5443-BE15-E69B9F477C4C}"/>
                </a:ext>
              </a:extLst>
            </p:cNvPr>
            <p:cNvSpPr>
              <a:spLocks/>
            </p:cNvSpPr>
            <p:nvPr/>
          </p:nvSpPr>
          <p:spPr bwMode="auto">
            <a:xfrm>
              <a:off x="2637690" y="21765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4"/>
                  </a:lnTo>
                  <a:lnTo>
                    <a:pt x="0" y="0"/>
                  </a:lnTo>
                  <a:lnTo>
                    <a:pt x="4" y="0"/>
                  </a:lnTo>
                  <a:lnTo>
                    <a:pt x="10" y="0"/>
                  </a:lnTo>
                  <a:lnTo>
                    <a:pt x="13" y="0"/>
                  </a:lnTo>
                  <a:lnTo>
                    <a:pt x="13" y="4"/>
                  </a:lnTo>
                  <a:lnTo>
                    <a:pt x="13" y="7"/>
                  </a:lnTo>
                  <a:lnTo>
                    <a:pt x="10"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5" name="Freeform 271">
              <a:extLst>
                <a:ext uri="{FF2B5EF4-FFF2-40B4-BE49-F238E27FC236}">
                  <a16:creationId xmlns:a16="http://schemas.microsoft.com/office/drawing/2014/main" id="{033B0380-9137-194B-8F70-FFABC6622B86}"/>
                </a:ext>
              </a:extLst>
            </p:cNvPr>
            <p:cNvSpPr>
              <a:spLocks/>
            </p:cNvSpPr>
            <p:nvPr/>
          </p:nvSpPr>
          <p:spPr bwMode="auto">
            <a:xfrm>
              <a:off x="2645830" y="2176547"/>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3" y="10"/>
                  </a:moveTo>
                  <a:lnTo>
                    <a:pt x="0" y="7"/>
                  </a:lnTo>
                  <a:lnTo>
                    <a:pt x="0" y="4"/>
                  </a:lnTo>
                  <a:lnTo>
                    <a:pt x="0" y="0"/>
                  </a:lnTo>
                  <a:lnTo>
                    <a:pt x="3" y="0"/>
                  </a:lnTo>
                  <a:lnTo>
                    <a:pt x="38" y="0"/>
                  </a:lnTo>
                  <a:lnTo>
                    <a:pt x="42" y="0"/>
                  </a:lnTo>
                  <a:lnTo>
                    <a:pt x="42" y="4"/>
                  </a:lnTo>
                  <a:lnTo>
                    <a:pt x="42" y="7"/>
                  </a:lnTo>
                  <a:lnTo>
                    <a:pt x="38"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6" name="Freeform 272">
              <a:extLst>
                <a:ext uri="{FF2B5EF4-FFF2-40B4-BE49-F238E27FC236}">
                  <a16:creationId xmlns:a16="http://schemas.microsoft.com/office/drawing/2014/main" id="{682768E5-B40B-824D-9815-13E9B63AC5EB}"/>
                </a:ext>
              </a:extLst>
            </p:cNvPr>
            <p:cNvSpPr>
              <a:spLocks/>
            </p:cNvSpPr>
            <p:nvPr/>
          </p:nvSpPr>
          <p:spPr bwMode="auto">
            <a:xfrm>
              <a:off x="2686532" y="217654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7" name="Freeform 273">
              <a:extLst>
                <a:ext uri="{FF2B5EF4-FFF2-40B4-BE49-F238E27FC236}">
                  <a16:creationId xmlns:a16="http://schemas.microsoft.com/office/drawing/2014/main" id="{73B983DB-0362-F045-A4E7-473114BA5374}"/>
                </a:ext>
              </a:extLst>
            </p:cNvPr>
            <p:cNvSpPr>
              <a:spLocks/>
            </p:cNvSpPr>
            <p:nvPr/>
          </p:nvSpPr>
          <p:spPr bwMode="auto">
            <a:xfrm>
              <a:off x="2698161" y="217654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8" name="Freeform 274">
              <a:extLst>
                <a:ext uri="{FF2B5EF4-FFF2-40B4-BE49-F238E27FC236}">
                  <a16:creationId xmlns:a16="http://schemas.microsoft.com/office/drawing/2014/main" id="{85C19D4D-C3CD-9642-9FBB-F53F8251DC04}"/>
                </a:ext>
              </a:extLst>
            </p:cNvPr>
            <p:cNvSpPr>
              <a:spLocks/>
            </p:cNvSpPr>
            <p:nvPr/>
          </p:nvSpPr>
          <p:spPr bwMode="auto">
            <a:xfrm>
              <a:off x="2709791" y="2176547"/>
              <a:ext cx="55820" cy="9928"/>
            </a:xfrm>
            <a:custGeom>
              <a:avLst/>
              <a:gdLst>
                <a:gd name="T0" fmla="*/ 2147483646 w 48"/>
                <a:gd name="T1" fmla="*/ 2147483646 h 10"/>
                <a:gd name="T2" fmla="*/ 0 w 48"/>
                <a:gd name="T3" fmla="*/ 2147483646 h 10"/>
                <a:gd name="T4" fmla="*/ 0 w 48"/>
                <a:gd name="T5" fmla="*/ 2147483646 h 10"/>
                <a:gd name="T6" fmla="*/ 0 w 48"/>
                <a:gd name="T7" fmla="*/ 2147483646 h 10"/>
                <a:gd name="T8" fmla="*/ 0 w 48"/>
                <a:gd name="T9" fmla="*/ 0 h 10"/>
                <a:gd name="T10" fmla="*/ 2147483646 w 48"/>
                <a:gd name="T11" fmla="*/ 0 h 10"/>
                <a:gd name="T12" fmla="*/ 2147483646 w 48"/>
                <a:gd name="T13" fmla="*/ 0 h 10"/>
                <a:gd name="T14" fmla="*/ 2147483646 w 48"/>
                <a:gd name="T15" fmla="*/ 0 h 10"/>
                <a:gd name="T16" fmla="*/ 2147483646 w 48"/>
                <a:gd name="T17" fmla="*/ 2147483646 h 10"/>
                <a:gd name="T18" fmla="*/ 2147483646 w 48"/>
                <a:gd name="T19" fmla="*/ 2147483646 h 10"/>
                <a:gd name="T20" fmla="*/ 2147483646 w 48"/>
                <a:gd name="T21" fmla="*/ 2147483646 h 10"/>
                <a:gd name="T22" fmla="*/ 2147483646 w 48"/>
                <a:gd name="T23" fmla="*/ 2147483646 h 10"/>
                <a:gd name="T24" fmla="*/ 2147483646 w 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0">
                  <a:moveTo>
                    <a:pt x="3" y="10"/>
                  </a:moveTo>
                  <a:lnTo>
                    <a:pt x="0" y="7"/>
                  </a:lnTo>
                  <a:lnTo>
                    <a:pt x="0" y="4"/>
                  </a:lnTo>
                  <a:lnTo>
                    <a:pt x="0" y="0"/>
                  </a:lnTo>
                  <a:lnTo>
                    <a:pt x="3" y="0"/>
                  </a:lnTo>
                  <a:lnTo>
                    <a:pt x="45" y="0"/>
                  </a:lnTo>
                  <a:lnTo>
                    <a:pt x="48" y="0"/>
                  </a:lnTo>
                  <a:lnTo>
                    <a:pt x="48" y="4"/>
                  </a:lnTo>
                  <a:lnTo>
                    <a:pt x="48" y="7"/>
                  </a:lnTo>
                  <a:lnTo>
                    <a:pt x="4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69" name="Freeform 275">
              <a:extLst>
                <a:ext uri="{FF2B5EF4-FFF2-40B4-BE49-F238E27FC236}">
                  <a16:creationId xmlns:a16="http://schemas.microsoft.com/office/drawing/2014/main" id="{FC9328F4-F94F-F24A-9D2A-D06725A1FF72}"/>
                </a:ext>
              </a:extLst>
            </p:cNvPr>
            <p:cNvSpPr>
              <a:spLocks/>
            </p:cNvSpPr>
            <p:nvPr/>
          </p:nvSpPr>
          <p:spPr bwMode="auto">
            <a:xfrm>
              <a:off x="2757471" y="2176547"/>
              <a:ext cx="38377" cy="9928"/>
            </a:xfrm>
            <a:custGeom>
              <a:avLst/>
              <a:gdLst>
                <a:gd name="T0" fmla="*/ 2147483646 w 33"/>
                <a:gd name="T1" fmla="*/ 2147483646 h 10"/>
                <a:gd name="T2" fmla="*/ 0 w 33"/>
                <a:gd name="T3" fmla="*/ 2147483646 h 10"/>
                <a:gd name="T4" fmla="*/ 0 w 33"/>
                <a:gd name="T5" fmla="*/ 2147483646 h 10"/>
                <a:gd name="T6" fmla="*/ 0 w 33"/>
                <a:gd name="T7" fmla="*/ 2147483646 h 10"/>
                <a:gd name="T8" fmla="*/ 0 w 33"/>
                <a:gd name="T9" fmla="*/ 0 h 10"/>
                <a:gd name="T10" fmla="*/ 2147483646 w 33"/>
                <a:gd name="T11" fmla="*/ 0 h 10"/>
                <a:gd name="T12" fmla="*/ 2147483646 w 33"/>
                <a:gd name="T13" fmla="*/ 0 h 10"/>
                <a:gd name="T14" fmla="*/ 2147483646 w 33"/>
                <a:gd name="T15" fmla="*/ 0 h 10"/>
                <a:gd name="T16" fmla="*/ 2147483646 w 33"/>
                <a:gd name="T17" fmla="*/ 2147483646 h 10"/>
                <a:gd name="T18" fmla="*/ 2147483646 w 33"/>
                <a:gd name="T19" fmla="*/ 2147483646 h 10"/>
                <a:gd name="T20" fmla="*/ 2147483646 w 33"/>
                <a:gd name="T21" fmla="*/ 2147483646 h 10"/>
                <a:gd name="T22" fmla="*/ 2147483646 w 33"/>
                <a:gd name="T23" fmla="*/ 2147483646 h 10"/>
                <a:gd name="T24" fmla="*/ 2147483646 w 3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10">
                  <a:moveTo>
                    <a:pt x="4" y="10"/>
                  </a:moveTo>
                  <a:lnTo>
                    <a:pt x="0" y="7"/>
                  </a:lnTo>
                  <a:lnTo>
                    <a:pt x="0" y="4"/>
                  </a:lnTo>
                  <a:lnTo>
                    <a:pt x="0" y="0"/>
                  </a:lnTo>
                  <a:lnTo>
                    <a:pt x="4" y="0"/>
                  </a:lnTo>
                  <a:lnTo>
                    <a:pt x="29" y="0"/>
                  </a:lnTo>
                  <a:lnTo>
                    <a:pt x="33" y="0"/>
                  </a:lnTo>
                  <a:lnTo>
                    <a:pt x="33" y="4"/>
                  </a:lnTo>
                  <a:lnTo>
                    <a:pt x="33" y="7"/>
                  </a:lnTo>
                  <a:lnTo>
                    <a:pt x="29"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0" name="Freeform 276">
              <a:extLst>
                <a:ext uri="{FF2B5EF4-FFF2-40B4-BE49-F238E27FC236}">
                  <a16:creationId xmlns:a16="http://schemas.microsoft.com/office/drawing/2014/main" id="{E6FB892D-2F9F-054B-9282-C8CE422C0BA8}"/>
                </a:ext>
              </a:extLst>
            </p:cNvPr>
            <p:cNvSpPr>
              <a:spLocks/>
            </p:cNvSpPr>
            <p:nvPr/>
          </p:nvSpPr>
          <p:spPr bwMode="auto">
            <a:xfrm>
              <a:off x="2787707" y="21765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1" name="Freeform 277">
              <a:extLst>
                <a:ext uri="{FF2B5EF4-FFF2-40B4-BE49-F238E27FC236}">
                  <a16:creationId xmlns:a16="http://schemas.microsoft.com/office/drawing/2014/main" id="{B6E51BEB-E4FD-2440-B9A3-E8702313C57B}"/>
                </a:ext>
              </a:extLst>
            </p:cNvPr>
            <p:cNvSpPr>
              <a:spLocks/>
            </p:cNvSpPr>
            <p:nvPr/>
          </p:nvSpPr>
          <p:spPr bwMode="auto">
            <a:xfrm>
              <a:off x="2795847" y="2128890"/>
              <a:ext cx="10467" cy="54607"/>
            </a:xfrm>
            <a:custGeom>
              <a:avLst/>
              <a:gdLst>
                <a:gd name="T0" fmla="*/ 2147483646 w 9"/>
                <a:gd name="T1" fmla="*/ 2147483646 h 55"/>
                <a:gd name="T2" fmla="*/ 2147483646 w 9"/>
                <a:gd name="T3" fmla="*/ 2147483646 h 55"/>
                <a:gd name="T4" fmla="*/ 2147483646 w 9"/>
                <a:gd name="T5" fmla="*/ 2147483646 h 55"/>
                <a:gd name="T6" fmla="*/ 2147483646 w 9"/>
                <a:gd name="T7" fmla="*/ 2147483646 h 55"/>
                <a:gd name="T8" fmla="*/ 0 w 9"/>
                <a:gd name="T9" fmla="*/ 2147483646 h 55"/>
                <a:gd name="T10" fmla="*/ 0 w 9"/>
                <a:gd name="T11" fmla="*/ 2147483646 h 55"/>
                <a:gd name="T12" fmla="*/ 0 w 9"/>
                <a:gd name="T13" fmla="*/ 2147483646 h 55"/>
                <a:gd name="T14" fmla="*/ 0 w 9"/>
                <a:gd name="T15" fmla="*/ 0 h 55"/>
                <a:gd name="T16" fmla="*/ 2147483646 w 9"/>
                <a:gd name="T17" fmla="*/ 0 h 55"/>
                <a:gd name="T18" fmla="*/ 2147483646 w 9"/>
                <a:gd name="T19" fmla="*/ 0 h 55"/>
                <a:gd name="T20" fmla="*/ 2147483646 w 9"/>
                <a:gd name="T21" fmla="*/ 0 h 55"/>
                <a:gd name="T22" fmla="*/ 2147483646 w 9"/>
                <a:gd name="T23" fmla="*/ 2147483646 h 55"/>
                <a:gd name="T24" fmla="*/ 2147483646 w 9"/>
                <a:gd name="T25" fmla="*/ 2147483646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55">
                  <a:moveTo>
                    <a:pt x="9" y="52"/>
                  </a:moveTo>
                  <a:lnTo>
                    <a:pt x="6" y="55"/>
                  </a:lnTo>
                  <a:lnTo>
                    <a:pt x="3" y="55"/>
                  </a:lnTo>
                  <a:lnTo>
                    <a:pt x="0" y="55"/>
                  </a:lnTo>
                  <a:lnTo>
                    <a:pt x="0" y="52"/>
                  </a:lnTo>
                  <a:lnTo>
                    <a:pt x="0" y="3"/>
                  </a:lnTo>
                  <a:lnTo>
                    <a:pt x="0" y="0"/>
                  </a:lnTo>
                  <a:lnTo>
                    <a:pt x="3" y="0"/>
                  </a:lnTo>
                  <a:lnTo>
                    <a:pt x="6" y="0"/>
                  </a:lnTo>
                  <a:lnTo>
                    <a:pt x="9" y="3"/>
                  </a:lnTo>
                  <a:lnTo>
                    <a:pt x="9"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2" name="Freeform 278">
              <a:extLst>
                <a:ext uri="{FF2B5EF4-FFF2-40B4-BE49-F238E27FC236}">
                  <a16:creationId xmlns:a16="http://schemas.microsoft.com/office/drawing/2014/main" id="{70A53F19-9B04-284D-A22D-B98946C60B5E}"/>
                </a:ext>
              </a:extLst>
            </p:cNvPr>
            <p:cNvSpPr>
              <a:spLocks/>
            </p:cNvSpPr>
            <p:nvPr/>
          </p:nvSpPr>
          <p:spPr bwMode="auto">
            <a:xfrm>
              <a:off x="2795847" y="2128890"/>
              <a:ext cx="29073" cy="9928"/>
            </a:xfrm>
            <a:custGeom>
              <a:avLst/>
              <a:gdLst>
                <a:gd name="T0" fmla="*/ 2147483646 w 25"/>
                <a:gd name="T1" fmla="*/ 2147483646 h 10"/>
                <a:gd name="T2" fmla="*/ 0 w 25"/>
                <a:gd name="T3" fmla="*/ 2147483646 h 10"/>
                <a:gd name="T4" fmla="*/ 0 w 25"/>
                <a:gd name="T5" fmla="*/ 2147483646 h 10"/>
                <a:gd name="T6" fmla="*/ 0 w 25"/>
                <a:gd name="T7" fmla="*/ 2147483646 h 10"/>
                <a:gd name="T8" fmla="*/ 0 w 25"/>
                <a:gd name="T9" fmla="*/ 0 h 10"/>
                <a:gd name="T10" fmla="*/ 2147483646 w 25"/>
                <a:gd name="T11" fmla="*/ 0 h 10"/>
                <a:gd name="T12" fmla="*/ 2147483646 w 25"/>
                <a:gd name="T13" fmla="*/ 0 h 10"/>
                <a:gd name="T14" fmla="*/ 2147483646 w 25"/>
                <a:gd name="T15" fmla="*/ 0 h 10"/>
                <a:gd name="T16" fmla="*/ 2147483646 w 25"/>
                <a:gd name="T17" fmla="*/ 2147483646 h 10"/>
                <a:gd name="T18" fmla="*/ 2147483646 w 25"/>
                <a:gd name="T19" fmla="*/ 2147483646 h 10"/>
                <a:gd name="T20" fmla="*/ 2147483646 w 25"/>
                <a:gd name="T21" fmla="*/ 2147483646 h 10"/>
                <a:gd name="T22" fmla="*/ 2147483646 w 25"/>
                <a:gd name="T23" fmla="*/ 2147483646 h 10"/>
                <a:gd name="T24" fmla="*/ 2147483646 w 2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0">
                  <a:moveTo>
                    <a:pt x="3" y="10"/>
                  </a:moveTo>
                  <a:lnTo>
                    <a:pt x="0" y="7"/>
                  </a:lnTo>
                  <a:lnTo>
                    <a:pt x="0" y="3"/>
                  </a:lnTo>
                  <a:lnTo>
                    <a:pt x="0" y="0"/>
                  </a:lnTo>
                  <a:lnTo>
                    <a:pt x="3" y="0"/>
                  </a:lnTo>
                  <a:lnTo>
                    <a:pt x="22" y="0"/>
                  </a:lnTo>
                  <a:lnTo>
                    <a:pt x="25" y="0"/>
                  </a:lnTo>
                  <a:lnTo>
                    <a:pt x="25" y="3"/>
                  </a:lnTo>
                  <a:lnTo>
                    <a:pt x="25" y="7"/>
                  </a:lnTo>
                  <a:lnTo>
                    <a:pt x="2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3" name="Freeform 279">
              <a:extLst>
                <a:ext uri="{FF2B5EF4-FFF2-40B4-BE49-F238E27FC236}">
                  <a16:creationId xmlns:a16="http://schemas.microsoft.com/office/drawing/2014/main" id="{8DE0BE8A-E5CD-3A49-BBA6-A28E3196A916}"/>
                </a:ext>
              </a:extLst>
            </p:cNvPr>
            <p:cNvSpPr>
              <a:spLocks/>
            </p:cNvSpPr>
            <p:nvPr/>
          </p:nvSpPr>
          <p:spPr bwMode="auto">
            <a:xfrm>
              <a:off x="2817943" y="212889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4" name="Freeform 280">
              <a:extLst>
                <a:ext uri="{FF2B5EF4-FFF2-40B4-BE49-F238E27FC236}">
                  <a16:creationId xmlns:a16="http://schemas.microsoft.com/office/drawing/2014/main" id="{458611BB-04B2-A34F-BD53-B928115F8890}"/>
                </a:ext>
              </a:extLst>
            </p:cNvPr>
            <p:cNvSpPr>
              <a:spLocks/>
            </p:cNvSpPr>
            <p:nvPr/>
          </p:nvSpPr>
          <p:spPr bwMode="auto">
            <a:xfrm>
              <a:off x="2821431" y="2128890"/>
              <a:ext cx="104663" cy="9928"/>
            </a:xfrm>
            <a:custGeom>
              <a:avLst/>
              <a:gdLst>
                <a:gd name="T0" fmla="*/ 2147483646 w 90"/>
                <a:gd name="T1" fmla="*/ 2147483646 h 10"/>
                <a:gd name="T2" fmla="*/ 0 w 90"/>
                <a:gd name="T3" fmla="*/ 2147483646 h 10"/>
                <a:gd name="T4" fmla="*/ 0 w 90"/>
                <a:gd name="T5" fmla="*/ 2147483646 h 10"/>
                <a:gd name="T6" fmla="*/ 0 w 90"/>
                <a:gd name="T7" fmla="*/ 2147483646 h 10"/>
                <a:gd name="T8" fmla="*/ 0 w 90"/>
                <a:gd name="T9" fmla="*/ 0 h 10"/>
                <a:gd name="T10" fmla="*/ 2147483646 w 90"/>
                <a:gd name="T11" fmla="*/ 0 h 10"/>
                <a:gd name="T12" fmla="*/ 2147483646 w 90"/>
                <a:gd name="T13" fmla="*/ 0 h 10"/>
                <a:gd name="T14" fmla="*/ 2147483646 w 90"/>
                <a:gd name="T15" fmla="*/ 0 h 10"/>
                <a:gd name="T16" fmla="*/ 2147483646 w 90"/>
                <a:gd name="T17" fmla="*/ 2147483646 h 10"/>
                <a:gd name="T18" fmla="*/ 2147483646 w 90"/>
                <a:gd name="T19" fmla="*/ 2147483646 h 10"/>
                <a:gd name="T20" fmla="*/ 2147483646 w 90"/>
                <a:gd name="T21" fmla="*/ 2147483646 h 10"/>
                <a:gd name="T22" fmla="*/ 2147483646 w 90"/>
                <a:gd name="T23" fmla="*/ 2147483646 h 10"/>
                <a:gd name="T24" fmla="*/ 2147483646 w 9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
                  <a:moveTo>
                    <a:pt x="3" y="10"/>
                  </a:moveTo>
                  <a:lnTo>
                    <a:pt x="0" y="7"/>
                  </a:lnTo>
                  <a:lnTo>
                    <a:pt x="0" y="3"/>
                  </a:lnTo>
                  <a:lnTo>
                    <a:pt x="0" y="0"/>
                  </a:lnTo>
                  <a:lnTo>
                    <a:pt x="3" y="0"/>
                  </a:lnTo>
                  <a:lnTo>
                    <a:pt x="87" y="0"/>
                  </a:lnTo>
                  <a:lnTo>
                    <a:pt x="90" y="0"/>
                  </a:lnTo>
                  <a:lnTo>
                    <a:pt x="90" y="3"/>
                  </a:lnTo>
                  <a:lnTo>
                    <a:pt x="90" y="7"/>
                  </a:lnTo>
                  <a:lnTo>
                    <a:pt x="87"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5" name="Freeform 281">
              <a:extLst>
                <a:ext uri="{FF2B5EF4-FFF2-40B4-BE49-F238E27FC236}">
                  <a16:creationId xmlns:a16="http://schemas.microsoft.com/office/drawing/2014/main" id="{8008F426-D1B9-2C43-8D99-75A8F88A42A3}"/>
                </a:ext>
              </a:extLst>
            </p:cNvPr>
            <p:cNvSpPr>
              <a:spLocks/>
            </p:cNvSpPr>
            <p:nvPr/>
          </p:nvSpPr>
          <p:spPr bwMode="auto">
            <a:xfrm>
              <a:off x="2919117" y="2128890"/>
              <a:ext cx="67449" cy="9928"/>
            </a:xfrm>
            <a:custGeom>
              <a:avLst/>
              <a:gdLst>
                <a:gd name="T0" fmla="*/ 2147483646 w 58"/>
                <a:gd name="T1" fmla="*/ 2147483646 h 10"/>
                <a:gd name="T2" fmla="*/ 0 w 58"/>
                <a:gd name="T3" fmla="*/ 2147483646 h 10"/>
                <a:gd name="T4" fmla="*/ 0 w 58"/>
                <a:gd name="T5" fmla="*/ 2147483646 h 10"/>
                <a:gd name="T6" fmla="*/ 0 w 58"/>
                <a:gd name="T7" fmla="*/ 2147483646 h 10"/>
                <a:gd name="T8" fmla="*/ 0 w 58"/>
                <a:gd name="T9" fmla="*/ 0 h 10"/>
                <a:gd name="T10" fmla="*/ 2147483646 w 58"/>
                <a:gd name="T11" fmla="*/ 0 h 10"/>
                <a:gd name="T12" fmla="*/ 2147483646 w 58"/>
                <a:gd name="T13" fmla="*/ 0 h 10"/>
                <a:gd name="T14" fmla="*/ 2147483646 w 58"/>
                <a:gd name="T15" fmla="*/ 0 h 10"/>
                <a:gd name="T16" fmla="*/ 2147483646 w 58"/>
                <a:gd name="T17" fmla="*/ 2147483646 h 10"/>
                <a:gd name="T18" fmla="*/ 2147483646 w 58"/>
                <a:gd name="T19" fmla="*/ 2147483646 h 10"/>
                <a:gd name="T20" fmla="*/ 2147483646 w 58"/>
                <a:gd name="T21" fmla="*/ 2147483646 h 10"/>
                <a:gd name="T22" fmla="*/ 2147483646 w 58"/>
                <a:gd name="T23" fmla="*/ 2147483646 h 10"/>
                <a:gd name="T24" fmla="*/ 2147483646 w 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10">
                  <a:moveTo>
                    <a:pt x="3" y="10"/>
                  </a:moveTo>
                  <a:lnTo>
                    <a:pt x="0" y="7"/>
                  </a:lnTo>
                  <a:lnTo>
                    <a:pt x="0" y="3"/>
                  </a:lnTo>
                  <a:lnTo>
                    <a:pt x="0" y="0"/>
                  </a:lnTo>
                  <a:lnTo>
                    <a:pt x="3" y="0"/>
                  </a:lnTo>
                  <a:lnTo>
                    <a:pt x="55" y="0"/>
                  </a:lnTo>
                  <a:lnTo>
                    <a:pt x="58" y="0"/>
                  </a:lnTo>
                  <a:lnTo>
                    <a:pt x="58" y="3"/>
                  </a:lnTo>
                  <a:lnTo>
                    <a:pt x="58" y="7"/>
                  </a:lnTo>
                  <a:lnTo>
                    <a:pt x="5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6" name="Freeform 282">
              <a:extLst>
                <a:ext uri="{FF2B5EF4-FFF2-40B4-BE49-F238E27FC236}">
                  <a16:creationId xmlns:a16="http://schemas.microsoft.com/office/drawing/2014/main" id="{29066AB1-BEEE-3548-A5DF-3854063EC308}"/>
                </a:ext>
              </a:extLst>
            </p:cNvPr>
            <p:cNvSpPr>
              <a:spLocks/>
            </p:cNvSpPr>
            <p:nvPr/>
          </p:nvSpPr>
          <p:spPr bwMode="auto">
            <a:xfrm>
              <a:off x="2979588" y="212889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7" name="Freeform 283">
              <a:extLst>
                <a:ext uri="{FF2B5EF4-FFF2-40B4-BE49-F238E27FC236}">
                  <a16:creationId xmlns:a16="http://schemas.microsoft.com/office/drawing/2014/main" id="{C9463258-AD27-CF4C-B2A8-320C6601C245}"/>
                </a:ext>
              </a:extLst>
            </p:cNvPr>
            <p:cNvSpPr>
              <a:spLocks/>
            </p:cNvSpPr>
            <p:nvPr/>
          </p:nvSpPr>
          <p:spPr bwMode="auto">
            <a:xfrm>
              <a:off x="2983078" y="2128890"/>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8" name="Freeform 284">
              <a:extLst>
                <a:ext uri="{FF2B5EF4-FFF2-40B4-BE49-F238E27FC236}">
                  <a16:creationId xmlns:a16="http://schemas.microsoft.com/office/drawing/2014/main" id="{D0FE4EEB-BCF6-A642-B942-0F9FE8DCC6AB}"/>
                </a:ext>
              </a:extLst>
            </p:cNvPr>
            <p:cNvSpPr>
              <a:spLocks/>
            </p:cNvSpPr>
            <p:nvPr/>
          </p:nvSpPr>
          <p:spPr bwMode="auto">
            <a:xfrm>
              <a:off x="3005173" y="212889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79" name="Freeform 285">
              <a:extLst>
                <a:ext uri="{FF2B5EF4-FFF2-40B4-BE49-F238E27FC236}">
                  <a16:creationId xmlns:a16="http://schemas.microsoft.com/office/drawing/2014/main" id="{A43B431B-E956-8345-ACBC-F6A1BB49AD54}"/>
                </a:ext>
              </a:extLst>
            </p:cNvPr>
            <p:cNvSpPr>
              <a:spLocks/>
            </p:cNvSpPr>
            <p:nvPr/>
          </p:nvSpPr>
          <p:spPr bwMode="auto">
            <a:xfrm>
              <a:off x="3016802" y="2128890"/>
              <a:ext cx="52332" cy="9928"/>
            </a:xfrm>
            <a:custGeom>
              <a:avLst/>
              <a:gdLst>
                <a:gd name="T0" fmla="*/ 2147483646 w 45"/>
                <a:gd name="T1" fmla="*/ 2147483646 h 10"/>
                <a:gd name="T2" fmla="*/ 0 w 45"/>
                <a:gd name="T3" fmla="*/ 2147483646 h 10"/>
                <a:gd name="T4" fmla="*/ 0 w 45"/>
                <a:gd name="T5" fmla="*/ 2147483646 h 10"/>
                <a:gd name="T6" fmla="*/ 0 w 45"/>
                <a:gd name="T7" fmla="*/ 2147483646 h 10"/>
                <a:gd name="T8" fmla="*/ 0 w 45"/>
                <a:gd name="T9" fmla="*/ 0 h 10"/>
                <a:gd name="T10" fmla="*/ 2147483646 w 45"/>
                <a:gd name="T11" fmla="*/ 0 h 10"/>
                <a:gd name="T12" fmla="*/ 2147483646 w 45"/>
                <a:gd name="T13" fmla="*/ 0 h 10"/>
                <a:gd name="T14" fmla="*/ 2147483646 w 45"/>
                <a:gd name="T15" fmla="*/ 0 h 10"/>
                <a:gd name="T16" fmla="*/ 2147483646 w 45"/>
                <a:gd name="T17" fmla="*/ 2147483646 h 10"/>
                <a:gd name="T18" fmla="*/ 2147483646 w 45"/>
                <a:gd name="T19" fmla="*/ 2147483646 h 10"/>
                <a:gd name="T20" fmla="*/ 2147483646 w 45"/>
                <a:gd name="T21" fmla="*/ 2147483646 h 10"/>
                <a:gd name="T22" fmla="*/ 2147483646 w 45"/>
                <a:gd name="T23" fmla="*/ 2147483646 h 10"/>
                <a:gd name="T24" fmla="*/ 2147483646 w 4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10">
                  <a:moveTo>
                    <a:pt x="3" y="10"/>
                  </a:moveTo>
                  <a:lnTo>
                    <a:pt x="0" y="7"/>
                  </a:lnTo>
                  <a:lnTo>
                    <a:pt x="0" y="3"/>
                  </a:lnTo>
                  <a:lnTo>
                    <a:pt x="0" y="0"/>
                  </a:lnTo>
                  <a:lnTo>
                    <a:pt x="3" y="0"/>
                  </a:lnTo>
                  <a:lnTo>
                    <a:pt x="42" y="0"/>
                  </a:lnTo>
                  <a:lnTo>
                    <a:pt x="45" y="0"/>
                  </a:lnTo>
                  <a:lnTo>
                    <a:pt x="45" y="3"/>
                  </a:lnTo>
                  <a:lnTo>
                    <a:pt x="45" y="7"/>
                  </a:lnTo>
                  <a:lnTo>
                    <a:pt x="4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0" name="Freeform 286">
              <a:extLst>
                <a:ext uri="{FF2B5EF4-FFF2-40B4-BE49-F238E27FC236}">
                  <a16:creationId xmlns:a16="http://schemas.microsoft.com/office/drawing/2014/main" id="{8858DFC1-416D-2747-A5BC-AE8405E093BC}"/>
                </a:ext>
              </a:extLst>
            </p:cNvPr>
            <p:cNvSpPr>
              <a:spLocks/>
            </p:cNvSpPr>
            <p:nvPr/>
          </p:nvSpPr>
          <p:spPr bwMode="auto">
            <a:xfrm>
              <a:off x="3060993" y="2128890"/>
              <a:ext cx="63961" cy="9928"/>
            </a:xfrm>
            <a:custGeom>
              <a:avLst/>
              <a:gdLst>
                <a:gd name="T0" fmla="*/ 2147483646 w 55"/>
                <a:gd name="T1" fmla="*/ 2147483646 h 10"/>
                <a:gd name="T2" fmla="*/ 0 w 55"/>
                <a:gd name="T3" fmla="*/ 2147483646 h 10"/>
                <a:gd name="T4" fmla="*/ 0 w 55"/>
                <a:gd name="T5" fmla="*/ 2147483646 h 10"/>
                <a:gd name="T6" fmla="*/ 0 w 55"/>
                <a:gd name="T7" fmla="*/ 2147483646 h 10"/>
                <a:gd name="T8" fmla="*/ 0 w 55"/>
                <a:gd name="T9" fmla="*/ 0 h 10"/>
                <a:gd name="T10" fmla="*/ 2147483646 w 55"/>
                <a:gd name="T11" fmla="*/ 0 h 10"/>
                <a:gd name="T12" fmla="*/ 2147483646 w 55"/>
                <a:gd name="T13" fmla="*/ 0 h 10"/>
                <a:gd name="T14" fmla="*/ 2147483646 w 55"/>
                <a:gd name="T15" fmla="*/ 0 h 10"/>
                <a:gd name="T16" fmla="*/ 2147483646 w 55"/>
                <a:gd name="T17" fmla="*/ 2147483646 h 10"/>
                <a:gd name="T18" fmla="*/ 2147483646 w 55"/>
                <a:gd name="T19" fmla="*/ 2147483646 h 10"/>
                <a:gd name="T20" fmla="*/ 2147483646 w 55"/>
                <a:gd name="T21" fmla="*/ 2147483646 h 10"/>
                <a:gd name="T22" fmla="*/ 2147483646 w 55"/>
                <a:gd name="T23" fmla="*/ 2147483646 h 10"/>
                <a:gd name="T24" fmla="*/ 2147483646 w 5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 h="10">
                  <a:moveTo>
                    <a:pt x="4" y="10"/>
                  </a:moveTo>
                  <a:lnTo>
                    <a:pt x="0" y="7"/>
                  </a:lnTo>
                  <a:lnTo>
                    <a:pt x="0" y="3"/>
                  </a:lnTo>
                  <a:lnTo>
                    <a:pt x="0" y="0"/>
                  </a:lnTo>
                  <a:lnTo>
                    <a:pt x="4" y="0"/>
                  </a:lnTo>
                  <a:lnTo>
                    <a:pt x="52" y="0"/>
                  </a:lnTo>
                  <a:lnTo>
                    <a:pt x="55" y="0"/>
                  </a:lnTo>
                  <a:lnTo>
                    <a:pt x="55" y="3"/>
                  </a:lnTo>
                  <a:lnTo>
                    <a:pt x="55" y="7"/>
                  </a:lnTo>
                  <a:lnTo>
                    <a:pt x="52"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1" name="Freeform 287">
              <a:extLst>
                <a:ext uri="{FF2B5EF4-FFF2-40B4-BE49-F238E27FC236}">
                  <a16:creationId xmlns:a16="http://schemas.microsoft.com/office/drawing/2014/main" id="{7B6836B0-F8FF-3D45-9DB4-E86DEF7B69B5}"/>
                </a:ext>
              </a:extLst>
            </p:cNvPr>
            <p:cNvSpPr>
              <a:spLocks/>
            </p:cNvSpPr>
            <p:nvPr/>
          </p:nvSpPr>
          <p:spPr bwMode="auto">
            <a:xfrm>
              <a:off x="3117976" y="2128890"/>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2" name="Freeform 288">
              <a:extLst>
                <a:ext uri="{FF2B5EF4-FFF2-40B4-BE49-F238E27FC236}">
                  <a16:creationId xmlns:a16="http://schemas.microsoft.com/office/drawing/2014/main" id="{FD4AAD52-49B4-8042-9532-1F499BDC8BCF}"/>
                </a:ext>
              </a:extLst>
            </p:cNvPr>
            <p:cNvSpPr>
              <a:spLocks/>
            </p:cNvSpPr>
            <p:nvPr/>
          </p:nvSpPr>
          <p:spPr bwMode="auto">
            <a:xfrm>
              <a:off x="3140072" y="2128890"/>
              <a:ext cx="60472" cy="9928"/>
            </a:xfrm>
            <a:custGeom>
              <a:avLst/>
              <a:gdLst>
                <a:gd name="T0" fmla="*/ 2147483646 w 52"/>
                <a:gd name="T1" fmla="*/ 2147483646 h 10"/>
                <a:gd name="T2" fmla="*/ 0 w 52"/>
                <a:gd name="T3" fmla="*/ 2147483646 h 10"/>
                <a:gd name="T4" fmla="*/ 0 w 52"/>
                <a:gd name="T5" fmla="*/ 2147483646 h 10"/>
                <a:gd name="T6" fmla="*/ 0 w 52"/>
                <a:gd name="T7" fmla="*/ 2147483646 h 10"/>
                <a:gd name="T8" fmla="*/ 0 w 52"/>
                <a:gd name="T9" fmla="*/ 0 h 10"/>
                <a:gd name="T10" fmla="*/ 2147483646 w 52"/>
                <a:gd name="T11" fmla="*/ 0 h 10"/>
                <a:gd name="T12" fmla="*/ 2147483646 w 52"/>
                <a:gd name="T13" fmla="*/ 0 h 10"/>
                <a:gd name="T14" fmla="*/ 2147483646 w 52"/>
                <a:gd name="T15" fmla="*/ 0 h 10"/>
                <a:gd name="T16" fmla="*/ 2147483646 w 52"/>
                <a:gd name="T17" fmla="*/ 2147483646 h 10"/>
                <a:gd name="T18" fmla="*/ 2147483646 w 52"/>
                <a:gd name="T19" fmla="*/ 2147483646 h 10"/>
                <a:gd name="T20" fmla="*/ 2147483646 w 52"/>
                <a:gd name="T21" fmla="*/ 2147483646 h 10"/>
                <a:gd name="T22" fmla="*/ 2147483646 w 52"/>
                <a:gd name="T23" fmla="*/ 2147483646 h 10"/>
                <a:gd name="T24" fmla="*/ 2147483646 w 5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10">
                  <a:moveTo>
                    <a:pt x="3" y="10"/>
                  </a:moveTo>
                  <a:lnTo>
                    <a:pt x="0" y="7"/>
                  </a:lnTo>
                  <a:lnTo>
                    <a:pt x="0" y="3"/>
                  </a:lnTo>
                  <a:lnTo>
                    <a:pt x="0" y="0"/>
                  </a:lnTo>
                  <a:lnTo>
                    <a:pt x="3" y="0"/>
                  </a:lnTo>
                  <a:lnTo>
                    <a:pt x="48" y="0"/>
                  </a:lnTo>
                  <a:lnTo>
                    <a:pt x="52" y="0"/>
                  </a:lnTo>
                  <a:lnTo>
                    <a:pt x="52" y="3"/>
                  </a:lnTo>
                  <a:lnTo>
                    <a:pt x="52" y="7"/>
                  </a:lnTo>
                  <a:lnTo>
                    <a:pt x="48"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3" name="Freeform 289">
              <a:extLst>
                <a:ext uri="{FF2B5EF4-FFF2-40B4-BE49-F238E27FC236}">
                  <a16:creationId xmlns:a16="http://schemas.microsoft.com/office/drawing/2014/main" id="{82302654-AF9A-5B4B-9479-010FC25461CE}"/>
                </a:ext>
              </a:extLst>
            </p:cNvPr>
            <p:cNvSpPr>
              <a:spLocks/>
            </p:cNvSpPr>
            <p:nvPr/>
          </p:nvSpPr>
          <p:spPr bwMode="auto">
            <a:xfrm>
              <a:off x="3192403" y="2128890"/>
              <a:ext cx="70939" cy="9928"/>
            </a:xfrm>
            <a:custGeom>
              <a:avLst/>
              <a:gdLst>
                <a:gd name="T0" fmla="*/ 2147483646 w 61"/>
                <a:gd name="T1" fmla="*/ 2147483646 h 10"/>
                <a:gd name="T2" fmla="*/ 0 w 61"/>
                <a:gd name="T3" fmla="*/ 2147483646 h 10"/>
                <a:gd name="T4" fmla="*/ 0 w 61"/>
                <a:gd name="T5" fmla="*/ 2147483646 h 10"/>
                <a:gd name="T6" fmla="*/ 0 w 61"/>
                <a:gd name="T7" fmla="*/ 2147483646 h 10"/>
                <a:gd name="T8" fmla="*/ 0 w 61"/>
                <a:gd name="T9" fmla="*/ 0 h 10"/>
                <a:gd name="T10" fmla="*/ 2147483646 w 61"/>
                <a:gd name="T11" fmla="*/ 0 h 10"/>
                <a:gd name="T12" fmla="*/ 2147483646 w 61"/>
                <a:gd name="T13" fmla="*/ 0 h 10"/>
                <a:gd name="T14" fmla="*/ 2147483646 w 61"/>
                <a:gd name="T15" fmla="*/ 0 h 10"/>
                <a:gd name="T16" fmla="*/ 2147483646 w 61"/>
                <a:gd name="T17" fmla="*/ 2147483646 h 10"/>
                <a:gd name="T18" fmla="*/ 2147483646 w 61"/>
                <a:gd name="T19" fmla="*/ 2147483646 h 10"/>
                <a:gd name="T20" fmla="*/ 2147483646 w 61"/>
                <a:gd name="T21" fmla="*/ 2147483646 h 10"/>
                <a:gd name="T22" fmla="*/ 2147483646 w 61"/>
                <a:gd name="T23" fmla="*/ 2147483646 h 10"/>
                <a:gd name="T24" fmla="*/ 2147483646 w 6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1" h="10">
                  <a:moveTo>
                    <a:pt x="3" y="10"/>
                  </a:moveTo>
                  <a:lnTo>
                    <a:pt x="0" y="7"/>
                  </a:lnTo>
                  <a:lnTo>
                    <a:pt x="0" y="3"/>
                  </a:lnTo>
                  <a:lnTo>
                    <a:pt x="0" y="0"/>
                  </a:lnTo>
                  <a:lnTo>
                    <a:pt x="3" y="0"/>
                  </a:lnTo>
                  <a:lnTo>
                    <a:pt x="58" y="0"/>
                  </a:lnTo>
                  <a:lnTo>
                    <a:pt x="61" y="0"/>
                  </a:lnTo>
                  <a:lnTo>
                    <a:pt x="61" y="3"/>
                  </a:lnTo>
                  <a:lnTo>
                    <a:pt x="61" y="7"/>
                  </a:lnTo>
                  <a:lnTo>
                    <a:pt x="58"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4" name="Freeform 290">
              <a:extLst>
                <a:ext uri="{FF2B5EF4-FFF2-40B4-BE49-F238E27FC236}">
                  <a16:creationId xmlns:a16="http://schemas.microsoft.com/office/drawing/2014/main" id="{8C63116B-1A32-404D-820C-9274D0B45458}"/>
                </a:ext>
              </a:extLst>
            </p:cNvPr>
            <p:cNvSpPr>
              <a:spLocks/>
            </p:cNvSpPr>
            <p:nvPr/>
          </p:nvSpPr>
          <p:spPr bwMode="auto">
            <a:xfrm>
              <a:off x="3256364" y="2128890"/>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3" y="0"/>
                  </a:lnTo>
                  <a:lnTo>
                    <a:pt x="26" y="0"/>
                  </a:lnTo>
                  <a:lnTo>
                    <a:pt x="26" y="3"/>
                  </a:lnTo>
                  <a:lnTo>
                    <a:pt x="26" y="7"/>
                  </a:lnTo>
                  <a:lnTo>
                    <a:pt x="23"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5" name="Freeform 291">
              <a:extLst>
                <a:ext uri="{FF2B5EF4-FFF2-40B4-BE49-F238E27FC236}">
                  <a16:creationId xmlns:a16="http://schemas.microsoft.com/office/drawing/2014/main" id="{20A10130-BD4B-6948-97D1-C8B16995C023}"/>
                </a:ext>
              </a:extLst>
            </p:cNvPr>
            <p:cNvSpPr>
              <a:spLocks/>
            </p:cNvSpPr>
            <p:nvPr/>
          </p:nvSpPr>
          <p:spPr bwMode="auto">
            <a:xfrm>
              <a:off x="3278460" y="2029606"/>
              <a:ext cx="11629" cy="106235"/>
            </a:xfrm>
            <a:custGeom>
              <a:avLst/>
              <a:gdLst>
                <a:gd name="T0" fmla="*/ 2147483646 w 10"/>
                <a:gd name="T1" fmla="*/ 2147483646 h 107"/>
                <a:gd name="T2" fmla="*/ 2147483646 w 10"/>
                <a:gd name="T3" fmla="*/ 2147483646 h 107"/>
                <a:gd name="T4" fmla="*/ 2147483646 w 10"/>
                <a:gd name="T5" fmla="*/ 2147483646 h 107"/>
                <a:gd name="T6" fmla="*/ 2147483646 w 10"/>
                <a:gd name="T7" fmla="*/ 2147483646 h 107"/>
                <a:gd name="T8" fmla="*/ 0 w 10"/>
                <a:gd name="T9" fmla="*/ 2147483646 h 107"/>
                <a:gd name="T10" fmla="*/ 0 w 10"/>
                <a:gd name="T11" fmla="*/ 2147483646 h 107"/>
                <a:gd name="T12" fmla="*/ 0 w 10"/>
                <a:gd name="T13" fmla="*/ 2147483646 h 107"/>
                <a:gd name="T14" fmla="*/ 0 w 10"/>
                <a:gd name="T15" fmla="*/ 0 h 107"/>
                <a:gd name="T16" fmla="*/ 2147483646 w 10"/>
                <a:gd name="T17" fmla="*/ 0 h 107"/>
                <a:gd name="T18" fmla="*/ 2147483646 w 10"/>
                <a:gd name="T19" fmla="*/ 0 h 107"/>
                <a:gd name="T20" fmla="*/ 2147483646 w 10"/>
                <a:gd name="T21" fmla="*/ 0 h 107"/>
                <a:gd name="T22" fmla="*/ 2147483646 w 10"/>
                <a:gd name="T23" fmla="*/ 2147483646 h 107"/>
                <a:gd name="T24" fmla="*/ 2147483646 w 10"/>
                <a:gd name="T25" fmla="*/ 2147483646 h 1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7">
                  <a:moveTo>
                    <a:pt x="10" y="103"/>
                  </a:moveTo>
                  <a:lnTo>
                    <a:pt x="7" y="107"/>
                  </a:lnTo>
                  <a:lnTo>
                    <a:pt x="4" y="107"/>
                  </a:lnTo>
                  <a:lnTo>
                    <a:pt x="0" y="107"/>
                  </a:lnTo>
                  <a:lnTo>
                    <a:pt x="0" y="103"/>
                  </a:lnTo>
                  <a:lnTo>
                    <a:pt x="0" y="3"/>
                  </a:lnTo>
                  <a:lnTo>
                    <a:pt x="0" y="0"/>
                  </a:lnTo>
                  <a:lnTo>
                    <a:pt x="4" y="0"/>
                  </a:lnTo>
                  <a:lnTo>
                    <a:pt x="7" y="0"/>
                  </a:lnTo>
                  <a:lnTo>
                    <a:pt x="10" y="3"/>
                  </a:lnTo>
                  <a:lnTo>
                    <a:pt x="10" y="10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6" name="Freeform 292">
              <a:extLst>
                <a:ext uri="{FF2B5EF4-FFF2-40B4-BE49-F238E27FC236}">
                  <a16:creationId xmlns:a16="http://schemas.microsoft.com/office/drawing/2014/main" id="{D5D1FA18-C620-A149-8238-FE323BDA5BF4}"/>
                </a:ext>
              </a:extLst>
            </p:cNvPr>
            <p:cNvSpPr>
              <a:spLocks/>
            </p:cNvSpPr>
            <p:nvPr/>
          </p:nvSpPr>
          <p:spPr bwMode="auto">
            <a:xfrm>
              <a:off x="3278460" y="2029606"/>
              <a:ext cx="210489" cy="9928"/>
            </a:xfrm>
            <a:custGeom>
              <a:avLst/>
              <a:gdLst>
                <a:gd name="T0" fmla="*/ 2147483646 w 181"/>
                <a:gd name="T1" fmla="*/ 2147483646 h 10"/>
                <a:gd name="T2" fmla="*/ 0 w 181"/>
                <a:gd name="T3" fmla="*/ 2147483646 h 10"/>
                <a:gd name="T4" fmla="*/ 0 w 181"/>
                <a:gd name="T5" fmla="*/ 2147483646 h 10"/>
                <a:gd name="T6" fmla="*/ 0 w 181"/>
                <a:gd name="T7" fmla="*/ 2147483646 h 10"/>
                <a:gd name="T8" fmla="*/ 0 w 181"/>
                <a:gd name="T9" fmla="*/ 0 h 10"/>
                <a:gd name="T10" fmla="*/ 2147483646 w 181"/>
                <a:gd name="T11" fmla="*/ 0 h 10"/>
                <a:gd name="T12" fmla="*/ 2147483646 w 181"/>
                <a:gd name="T13" fmla="*/ 0 h 10"/>
                <a:gd name="T14" fmla="*/ 2147483646 w 181"/>
                <a:gd name="T15" fmla="*/ 0 h 10"/>
                <a:gd name="T16" fmla="*/ 2147483646 w 181"/>
                <a:gd name="T17" fmla="*/ 2147483646 h 10"/>
                <a:gd name="T18" fmla="*/ 2147483646 w 181"/>
                <a:gd name="T19" fmla="*/ 2147483646 h 10"/>
                <a:gd name="T20" fmla="*/ 2147483646 w 181"/>
                <a:gd name="T21" fmla="*/ 2147483646 h 10"/>
                <a:gd name="T22" fmla="*/ 2147483646 w 181"/>
                <a:gd name="T23" fmla="*/ 2147483646 h 10"/>
                <a:gd name="T24" fmla="*/ 2147483646 w 18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1" h="10">
                  <a:moveTo>
                    <a:pt x="4" y="10"/>
                  </a:moveTo>
                  <a:lnTo>
                    <a:pt x="0" y="7"/>
                  </a:lnTo>
                  <a:lnTo>
                    <a:pt x="0" y="3"/>
                  </a:lnTo>
                  <a:lnTo>
                    <a:pt x="0" y="0"/>
                  </a:lnTo>
                  <a:lnTo>
                    <a:pt x="4" y="0"/>
                  </a:lnTo>
                  <a:lnTo>
                    <a:pt x="178" y="0"/>
                  </a:lnTo>
                  <a:lnTo>
                    <a:pt x="181" y="0"/>
                  </a:lnTo>
                  <a:lnTo>
                    <a:pt x="181" y="3"/>
                  </a:lnTo>
                  <a:lnTo>
                    <a:pt x="181" y="7"/>
                  </a:lnTo>
                  <a:lnTo>
                    <a:pt x="178"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7" name="Freeform 293">
              <a:extLst>
                <a:ext uri="{FF2B5EF4-FFF2-40B4-BE49-F238E27FC236}">
                  <a16:creationId xmlns:a16="http://schemas.microsoft.com/office/drawing/2014/main" id="{EE62C022-7B78-1944-8A33-AB900F7D3BDA}"/>
                </a:ext>
              </a:extLst>
            </p:cNvPr>
            <p:cNvSpPr>
              <a:spLocks/>
            </p:cNvSpPr>
            <p:nvPr/>
          </p:nvSpPr>
          <p:spPr bwMode="auto">
            <a:xfrm>
              <a:off x="3480808" y="2029606"/>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4" y="10"/>
                  </a:moveTo>
                  <a:lnTo>
                    <a:pt x="0" y="7"/>
                  </a:lnTo>
                  <a:lnTo>
                    <a:pt x="0" y="3"/>
                  </a:lnTo>
                  <a:lnTo>
                    <a:pt x="0" y="0"/>
                  </a:lnTo>
                  <a:lnTo>
                    <a:pt x="4" y="0"/>
                  </a:lnTo>
                  <a:lnTo>
                    <a:pt x="26" y="0"/>
                  </a:lnTo>
                  <a:lnTo>
                    <a:pt x="29" y="0"/>
                  </a:lnTo>
                  <a:lnTo>
                    <a:pt x="29" y="3"/>
                  </a:lnTo>
                  <a:lnTo>
                    <a:pt x="29" y="7"/>
                  </a:lnTo>
                  <a:lnTo>
                    <a:pt x="26"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8" name="Freeform 294">
              <a:extLst>
                <a:ext uri="{FF2B5EF4-FFF2-40B4-BE49-F238E27FC236}">
                  <a16:creationId xmlns:a16="http://schemas.microsoft.com/office/drawing/2014/main" id="{FC44C13F-F912-D646-A4BD-DCE4AB7ED7C4}"/>
                </a:ext>
              </a:extLst>
            </p:cNvPr>
            <p:cNvSpPr>
              <a:spLocks/>
            </p:cNvSpPr>
            <p:nvPr/>
          </p:nvSpPr>
          <p:spPr bwMode="auto">
            <a:xfrm>
              <a:off x="3507555" y="2029606"/>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6" y="0"/>
                  </a:lnTo>
                  <a:lnTo>
                    <a:pt x="29" y="0"/>
                  </a:lnTo>
                  <a:lnTo>
                    <a:pt x="29" y="3"/>
                  </a:lnTo>
                  <a:lnTo>
                    <a:pt x="29" y="7"/>
                  </a:lnTo>
                  <a:lnTo>
                    <a:pt x="2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89" name="Freeform 295">
              <a:extLst>
                <a:ext uri="{FF2B5EF4-FFF2-40B4-BE49-F238E27FC236}">
                  <a16:creationId xmlns:a16="http://schemas.microsoft.com/office/drawing/2014/main" id="{3445BD0F-26C5-2142-A663-00639C0E5DB4}"/>
                </a:ext>
              </a:extLst>
            </p:cNvPr>
            <p:cNvSpPr>
              <a:spLocks/>
            </p:cNvSpPr>
            <p:nvPr/>
          </p:nvSpPr>
          <p:spPr bwMode="auto">
            <a:xfrm>
              <a:off x="3534302" y="202960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0" name="Freeform 296">
              <a:extLst>
                <a:ext uri="{FF2B5EF4-FFF2-40B4-BE49-F238E27FC236}">
                  <a16:creationId xmlns:a16="http://schemas.microsoft.com/office/drawing/2014/main" id="{A8F76EEA-1821-7749-A489-5D8E1F6180A0}"/>
                </a:ext>
              </a:extLst>
            </p:cNvPr>
            <p:cNvSpPr>
              <a:spLocks/>
            </p:cNvSpPr>
            <p:nvPr/>
          </p:nvSpPr>
          <p:spPr bwMode="auto">
            <a:xfrm>
              <a:off x="3537791" y="2029606"/>
              <a:ext cx="44191" cy="9928"/>
            </a:xfrm>
            <a:custGeom>
              <a:avLst/>
              <a:gdLst>
                <a:gd name="T0" fmla="*/ 2147483646 w 38"/>
                <a:gd name="T1" fmla="*/ 2147483646 h 10"/>
                <a:gd name="T2" fmla="*/ 0 w 38"/>
                <a:gd name="T3" fmla="*/ 2147483646 h 10"/>
                <a:gd name="T4" fmla="*/ 0 w 38"/>
                <a:gd name="T5" fmla="*/ 2147483646 h 10"/>
                <a:gd name="T6" fmla="*/ 0 w 38"/>
                <a:gd name="T7" fmla="*/ 2147483646 h 10"/>
                <a:gd name="T8" fmla="*/ 0 w 38"/>
                <a:gd name="T9" fmla="*/ 0 h 10"/>
                <a:gd name="T10" fmla="*/ 2147483646 w 38"/>
                <a:gd name="T11" fmla="*/ 0 h 10"/>
                <a:gd name="T12" fmla="*/ 2147483646 w 38"/>
                <a:gd name="T13" fmla="*/ 0 h 10"/>
                <a:gd name="T14" fmla="*/ 2147483646 w 38"/>
                <a:gd name="T15" fmla="*/ 0 h 10"/>
                <a:gd name="T16" fmla="*/ 2147483646 w 38"/>
                <a:gd name="T17" fmla="*/ 2147483646 h 10"/>
                <a:gd name="T18" fmla="*/ 2147483646 w 38"/>
                <a:gd name="T19" fmla="*/ 2147483646 h 10"/>
                <a:gd name="T20" fmla="*/ 2147483646 w 38"/>
                <a:gd name="T21" fmla="*/ 2147483646 h 10"/>
                <a:gd name="T22" fmla="*/ 2147483646 w 38"/>
                <a:gd name="T23" fmla="*/ 2147483646 h 10"/>
                <a:gd name="T24" fmla="*/ 2147483646 w 3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0">
                  <a:moveTo>
                    <a:pt x="3" y="10"/>
                  </a:moveTo>
                  <a:lnTo>
                    <a:pt x="0" y="7"/>
                  </a:lnTo>
                  <a:lnTo>
                    <a:pt x="0" y="3"/>
                  </a:lnTo>
                  <a:lnTo>
                    <a:pt x="0" y="0"/>
                  </a:lnTo>
                  <a:lnTo>
                    <a:pt x="3" y="0"/>
                  </a:lnTo>
                  <a:lnTo>
                    <a:pt x="35" y="0"/>
                  </a:lnTo>
                  <a:lnTo>
                    <a:pt x="38" y="0"/>
                  </a:lnTo>
                  <a:lnTo>
                    <a:pt x="38" y="3"/>
                  </a:lnTo>
                  <a:lnTo>
                    <a:pt x="38" y="7"/>
                  </a:lnTo>
                  <a:lnTo>
                    <a:pt x="35"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1" name="Freeform 297">
              <a:extLst>
                <a:ext uri="{FF2B5EF4-FFF2-40B4-BE49-F238E27FC236}">
                  <a16:creationId xmlns:a16="http://schemas.microsoft.com/office/drawing/2014/main" id="{CF298D2D-E189-1F40-9189-CD217A937264}"/>
                </a:ext>
              </a:extLst>
            </p:cNvPr>
            <p:cNvSpPr>
              <a:spLocks/>
            </p:cNvSpPr>
            <p:nvPr/>
          </p:nvSpPr>
          <p:spPr bwMode="auto">
            <a:xfrm>
              <a:off x="3575004" y="2029606"/>
              <a:ext cx="60472" cy="9928"/>
            </a:xfrm>
            <a:custGeom>
              <a:avLst/>
              <a:gdLst>
                <a:gd name="T0" fmla="*/ 2147483646 w 52"/>
                <a:gd name="T1" fmla="*/ 2147483646 h 10"/>
                <a:gd name="T2" fmla="*/ 0 w 52"/>
                <a:gd name="T3" fmla="*/ 2147483646 h 10"/>
                <a:gd name="T4" fmla="*/ 0 w 52"/>
                <a:gd name="T5" fmla="*/ 2147483646 h 10"/>
                <a:gd name="T6" fmla="*/ 0 w 52"/>
                <a:gd name="T7" fmla="*/ 2147483646 h 10"/>
                <a:gd name="T8" fmla="*/ 0 w 52"/>
                <a:gd name="T9" fmla="*/ 0 h 10"/>
                <a:gd name="T10" fmla="*/ 2147483646 w 52"/>
                <a:gd name="T11" fmla="*/ 0 h 10"/>
                <a:gd name="T12" fmla="*/ 2147483646 w 52"/>
                <a:gd name="T13" fmla="*/ 0 h 10"/>
                <a:gd name="T14" fmla="*/ 2147483646 w 52"/>
                <a:gd name="T15" fmla="*/ 0 h 10"/>
                <a:gd name="T16" fmla="*/ 2147483646 w 52"/>
                <a:gd name="T17" fmla="*/ 2147483646 h 10"/>
                <a:gd name="T18" fmla="*/ 2147483646 w 52"/>
                <a:gd name="T19" fmla="*/ 2147483646 h 10"/>
                <a:gd name="T20" fmla="*/ 2147483646 w 52"/>
                <a:gd name="T21" fmla="*/ 2147483646 h 10"/>
                <a:gd name="T22" fmla="*/ 2147483646 w 52"/>
                <a:gd name="T23" fmla="*/ 2147483646 h 10"/>
                <a:gd name="T24" fmla="*/ 2147483646 w 5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10">
                  <a:moveTo>
                    <a:pt x="3" y="10"/>
                  </a:moveTo>
                  <a:lnTo>
                    <a:pt x="0" y="7"/>
                  </a:lnTo>
                  <a:lnTo>
                    <a:pt x="0" y="3"/>
                  </a:lnTo>
                  <a:lnTo>
                    <a:pt x="0" y="0"/>
                  </a:lnTo>
                  <a:lnTo>
                    <a:pt x="3" y="0"/>
                  </a:lnTo>
                  <a:lnTo>
                    <a:pt x="48" y="0"/>
                  </a:lnTo>
                  <a:lnTo>
                    <a:pt x="52" y="0"/>
                  </a:lnTo>
                  <a:lnTo>
                    <a:pt x="52" y="3"/>
                  </a:lnTo>
                  <a:lnTo>
                    <a:pt x="52" y="7"/>
                  </a:lnTo>
                  <a:lnTo>
                    <a:pt x="48"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2" name="Freeform 298">
              <a:extLst>
                <a:ext uri="{FF2B5EF4-FFF2-40B4-BE49-F238E27FC236}">
                  <a16:creationId xmlns:a16="http://schemas.microsoft.com/office/drawing/2014/main" id="{A9156069-1864-B34B-8F65-AC5678099DE3}"/>
                </a:ext>
              </a:extLst>
            </p:cNvPr>
            <p:cNvSpPr>
              <a:spLocks/>
            </p:cNvSpPr>
            <p:nvPr/>
          </p:nvSpPr>
          <p:spPr bwMode="auto">
            <a:xfrm>
              <a:off x="3627336" y="2029606"/>
              <a:ext cx="131411" cy="9928"/>
            </a:xfrm>
            <a:custGeom>
              <a:avLst/>
              <a:gdLst>
                <a:gd name="T0" fmla="*/ 2147483646 w 113"/>
                <a:gd name="T1" fmla="*/ 2147483646 h 10"/>
                <a:gd name="T2" fmla="*/ 0 w 113"/>
                <a:gd name="T3" fmla="*/ 2147483646 h 10"/>
                <a:gd name="T4" fmla="*/ 0 w 113"/>
                <a:gd name="T5" fmla="*/ 2147483646 h 10"/>
                <a:gd name="T6" fmla="*/ 0 w 113"/>
                <a:gd name="T7" fmla="*/ 2147483646 h 10"/>
                <a:gd name="T8" fmla="*/ 0 w 113"/>
                <a:gd name="T9" fmla="*/ 0 h 10"/>
                <a:gd name="T10" fmla="*/ 2147483646 w 113"/>
                <a:gd name="T11" fmla="*/ 0 h 10"/>
                <a:gd name="T12" fmla="*/ 2147483646 w 113"/>
                <a:gd name="T13" fmla="*/ 0 h 10"/>
                <a:gd name="T14" fmla="*/ 2147483646 w 113"/>
                <a:gd name="T15" fmla="*/ 0 h 10"/>
                <a:gd name="T16" fmla="*/ 2147483646 w 113"/>
                <a:gd name="T17" fmla="*/ 2147483646 h 10"/>
                <a:gd name="T18" fmla="*/ 2147483646 w 113"/>
                <a:gd name="T19" fmla="*/ 2147483646 h 10"/>
                <a:gd name="T20" fmla="*/ 2147483646 w 113"/>
                <a:gd name="T21" fmla="*/ 2147483646 h 10"/>
                <a:gd name="T22" fmla="*/ 2147483646 w 113"/>
                <a:gd name="T23" fmla="*/ 2147483646 h 10"/>
                <a:gd name="T24" fmla="*/ 2147483646 w 1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3" h="10">
                  <a:moveTo>
                    <a:pt x="3" y="10"/>
                  </a:moveTo>
                  <a:lnTo>
                    <a:pt x="0" y="7"/>
                  </a:lnTo>
                  <a:lnTo>
                    <a:pt x="0" y="3"/>
                  </a:lnTo>
                  <a:lnTo>
                    <a:pt x="0" y="0"/>
                  </a:lnTo>
                  <a:lnTo>
                    <a:pt x="3" y="0"/>
                  </a:lnTo>
                  <a:lnTo>
                    <a:pt x="110" y="0"/>
                  </a:lnTo>
                  <a:lnTo>
                    <a:pt x="113" y="0"/>
                  </a:lnTo>
                  <a:lnTo>
                    <a:pt x="113" y="3"/>
                  </a:lnTo>
                  <a:lnTo>
                    <a:pt x="113" y="7"/>
                  </a:lnTo>
                  <a:lnTo>
                    <a:pt x="110" y="10"/>
                  </a:lnTo>
                  <a:lnTo>
                    <a:pt x="3"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3" name="Freeform 299">
              <a:extLst>
                <a:ext uri="{FF2B5EF4-FFF2-40B4-BE49-F238E27FC236}">
                  <a16:creationId xmlns:a16="http://schemas.microsoft.com/office/drawing/2014/main" id="{5A612F68-DDC7-C44B-8D19-839D30D5F5E0}"/>
                </a:ext>
              </a:extLst>
            </p:cNvPr>
            <p:cNvSpPr>
              <a:spLocks/>
            </p:cNvSpPr>
            <p:nvPr/>
          </p:nvSpPr>
          <p:spPr bwMode="auto">
            <a:xfrm>
              <a:off x="3750606" y="2029606"/>
              <a:ext cx="75590" cy="9928"/>
            </a:xfrm>
            <a:custGeom>
              <a:avLst/>
              <a:gdLst>
                <a:gd name="T0" fmla="*/ 2147483646 w 65"/>
                <a:gd name="T1" fmla="*/ 2147483646 h 10"/>
                <a:gd name="T2" fmla="*/ 0 w 65"/>
                <a:gd name="T3" fmla="*/ 2147483646 h 10"/>
                <a:gd name="T4" fmla="*/ 0 w 65"/>
                <a:gd name="T5" fmla="*/ 2147483646 h 10"/>
                <a:gd name="T6" fmla="*/ 0 w 65"/>
                <a:gd name="T7" fmla="*/ 2147483646 h 10"/>
                <a:gd name="T8" fmla="*/ 0 w 65"/>
                <a:gd name="T9" fmla="*/ 0 h 10"/>
                <a:gd name="T10" fmla="*/ 2147483646 w 65"/>
                <a:gd name="T11" fmla="*/ 0 h 10"/>
                <a:gd name="T12" fmla="*/ 2147483646 w 65"/>
                <a:gd name="T13" fmla="*/ 0 h 10"/>
                <a:gd name="T14" fmla="*/ 2147483646 w 65"/>
                <a:gd name="T15" fmla="*/ 0 h 10"/>
                <a:gd name="T16" fmla="*/ 2147483646 w 65"/>
                <a:gd name="T17" fmla="*/ 2147483646 h 10"/>
                <a:gd name="T18" fmla="*/ 2147483646 w 65"/>
                <a:gd name="T19" fmla="*/ 2147483646 h 10"/>
                <a:gd name="T20" fmla="*/ 2147483646 w 65"/>
                <a:gd name="T21" fmla="*/ 2147483646 h 10"/>
                <a:gd name="T22" fmla="*/ 2147483646 w 65"/>
                <a:gd name="T23" fmla="*/ 2147483646 h 10"/>
                <a:gd name="T24" fmla="*/ 2147483646 w 6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0">
                  <a:moveTo>
                    <a:pt x="4" y="10"/>
                  </a:moveTo>
                  <a:lnTo>
                    <a:pt x="0" y="7"/>
                  </a:lnTo>
                  <a:lnTo>
                    <a:pt x="0" y="3"/>
                  </a:lnTo>
                  <a:lnTo>
                    <a:pt x="0" y="0"/>
                  </a:lnTo>
                  <a:lnTo>
                    <a:pt x="4" y="0"/>
                  </a:lnTo>
                  <a:lnTo>
                    <a:pt x="62" y="0"/>
                  </a:lnTo>
                  <a:lnTo>
                    <a:pt x="65" y="0"/>
                  </a:lnTo>
                  <a:lnTo>
                    <a:pt x="65" y="3"/>
                  </a:lnTo>
                  <a:lnTo>
                    <a:pt x="65" y="7"/>
                  </a:lnTo>
                  <a:lnTo>
                    <a:pt x="62"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4" name="Freeform 300">
              <a:extLst>
                <a:ext uri="{FF2B5EF4-FFF2-40B4-BE49-F238E27FC236}">
                  <a16:creationId xmlns:a16="http://schemas.microsoft.com/office/drawing/2014/main" id="{5E854613-A3E8-B346-B32A-3019B1100D77}"/>
                </a:ext>
              </a:extLst>
            </p:cNvPr>
            <p:cNvSpPr>
              <a:spLocks/>
            </p:cNvSpPr>
            <p:nvPr/>
          </p:nvSpPr>
          <p:spPr bwMode="auto">
            <a:xfrm>
              <a:off x="3818055" y="2029606"/>
              <a:ext cx="461680" cy="9928"/>
            </a:xfrm>
            <a:custGeom>
              <a:avLst/>
              <a:gdLst>
                <a:gd name="T0" fmla="*/ 2147483646 w 397"/>
                <a:gd name="T1" fmla="*/ 2147483646 h 10"/>
                <a:gd name="T2" fmla="*/ 0 w 397"/>
                <a:gd name="T3" fmla="*/ 2147483646 h 10"/>
                <a:gd name="T4" fmla="*/ 0 w 397"/>
                <a:gd name="T5" fmla="*/ 2147483646 h 10"/>
                <a:gd name="T6" fmla="*/ 0 w 397"/>
                <a:gd name="T7" fmla="*/ 2147483646 h 10"/>
                <a:gd name="T8" fmla="*/ 0 w 397"/>
                <a:gd name="T9" fmla="*/ 0 h 10"/>
                <a:gd name="T10" fmla="*/ 2147483646 w 397"/>
                <a:gd name="T11" fmla="*/ 0 h 10"/>
                <a:gd name="T12" fmla="*/ 2147483646 w 397"/>
                <a:gd name="T13" fmla="*/ 0 h 10"/>
                <a:gd name="T14" fmla="*/ 2147483646 w 397"/>
                <a:gd name="T15" fmla="*/ 0 h 10"/>
                <a:gd name="T16" fmla="*/ 2147483646 w 397"/>
                <a:gd name="T17" fmla="*/ 2147483646 h 10"/>
                <a:gd name="T18" fmla="*/ 2147483646 w 397"/>
                <a:gd name="T19" fmla="*/ 2147483646 h 10"/>
                <a:gd name="T20" fmla="*/ 2147483646 w 397"/>
                <a:gd name="T21" fmla="*/ 2147483646 h 10"/>
                <a:gd name="T22" fmla="*/ 2147483646 w 397"/>
                <a:gd name="T23" fmla="*/ 2147483646 h 10"/>
                <a:gd name="T24" fmla="*/ 2147483646 w 39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7" h="10">
                  <a:moveTo>
                    <a:pt x="4" y="10"/>
                  </a:moveTo>
                  <a:lnTo>
                    <a:pt x="0" y="7"/>
                  </a:lnTo>
                  <a:lnTo>
                    <a:pt x="0" y="3"/>
                  </a:lnTo>
                  <a:lnTo>
                    <a:pt x="0" y="0"/>
                  </a:lnTo>
                  <a:lnTo>
                    <a:pt x="4" y="0"/>
                  </a:lnTo>
                  <a:lnTo>
                    <a:pt x="394" y="0"/>
                  </a:lnTo>
                  <a:lnTo>
                    <a:pt x="397" y="0"/>
                  </a:lnTo>
                  <a:lnTo>
                    <a:pt x="397" y="3"/>
                  </a:lnTo>
                  <a:lnTo>
                    <a:pt x="397" y="7"/>
                  </a:lnTo>
                  <a:lnTo>
                    <a:pt x="394"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5" name="Freeform 301">
              <a:extLst>
                <a:ext uri="{FF2B5EF4-FFF2-40B4-BE49-F238E27FC236}">
                  <a16:creationId xmlns:a16="http://schemas.microsoft.com/office/drawing/2014/main" id="{AA7D6F39-D875-294B-9DB8-8816D346D390}"/>
                </a:ext>
              </a:extLst>
            </p:cNvPr>
            <p:cNvSpPr>
              <a:spLocks/>
            </p:cNvSpPr>
            <p:nvPr/>
          </p:nvSpPr>
          <p:spPr bwMode="auto">
            <a:xfrm>
              <a:off x="4271595" y="2029606"/>
              <a:ext cx="158157" cy="9928"/>
            </a:xfrm>
            <a:custGeom>
              <a:avLst/>
              <a:gdLst>
                <a:gd name="T0" fmla="*/ 2147483646 w 136"/>
                <a:gd name="T1" fmla="*/ 2147483646 h 10"/>
                <a:gd name="T2" fmla="*/ 0 w 136"/>
                <a:gd name="T3" fmla="*/ 2147483646 h 10"/>
                <a:gd name="T4" fmla="*/ 0 w 136"/>
                <a:gd name="T5" fmla="*/ 2147483646 h 10"/>
                <a:gd name="T6" fmla="*/ 0 w 136"/>
                <a:gd name="T7" fmla="*/ 2147483646 h 10"/>
                <a:gd name="T8" fmla="*/ 0 w 136"/>
                <a:gd name="T9" fmla="*/ 0 h 10"/>
                <a:gd name="T10" fmla="*/ 2147483646 w 136"/>
                <a:gd name="T11" fmla="*/ 0 h 10"/>
                <a:gd name="T12" fmla="*/ 2147483646 w 136"/>
                <a:gd name="T13" fmla="*/ 0 h 10"/>
                <a:gd name="T14" fmla="*/ 2147483646 w 136"/>
                <a:gd name="T15" fmla="*/ 0 h 10"/>
                <a:gd name="T16" fmla="*/ 2147483646 w 136"/>
                <a:gd name="T17" fmla="*/ 2147483646 h 10"/>
                <a:gd name="T18" fmla="*/ 2147483646 w 136"/>
                <a:gd name="T19" fmla="*/ 2147483646 h 10"/>
                <a:gd name="T20" fmla="*/ 2147483646 w 136"/>
                <a:gd name="T21" fmla="*/ 2147483646 h 10"/>
                <a:gd name="T22" fmla="*/ 2147483646 w 136"/>
                <a:gd name="T23" fmla="*/ 2147483646 h 10"/>
                <a:gd name="T24" fmla="*/ 2147483646 w 1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6" h="10">
                  <a:moveTo>
                    <a:pt x="4" y="10"/>
                  </a:moveTo>
                  <a:lnTo>
                    <a:pt x="0" y="7"/>
                  </a:lnTo>
                  <a:lnTo>
                    <a:pt x="0" y="3"/>
                  </a:lnTo>
                  <a:lnTo>
                    <a:pt x="0" y="0"/>
                  </a:lnTo>
                  <a:lnTo>
                    <a:pt x="4" y="0"/>
                  </a:lnTo>
                  <a:lnTo>
                    <a:pt x="132" y="0"/>
                  </a:lnTo>
                  <a:lnTo>
                    <a:pt x="136" y="0"/>
                  </a:lnTo>
                  <a:lnTo>
                    <a:pt x="136" y="3"/>
                  </a:lnTo>
                  <a:lnTo>
                    <a:pt x="136" y="7"/>
                  </a:lnTo>
                  <a:lnTo>
                    <a:pt x="132" y="10"/>
                  </a:lnTo>
                  <a:lnTo>
                    <a:pt x="4" y="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6" name="Freeform 302">
              <a:extLst>
                <a:ext uri="{FF2B5EF4-FFF2-40B4-BE49-F238E27FC236}">
                  <a16:creationId xmlns:a16="http://schemas.microsoft.com/office/drawing/2014/main" id="{F326067E-2556-434A-8EA7-D4431D437BB9}"/>
                </a:ext>
              </a:extLst>
            </p:cNvPr>
            <p:cNvSpPr>
              <a:spLocks/>
            </p:cNvSpPr>
            <p:nvPr/>
          </p:nvSpPr>
          <p:spPr bwMode="auto">
            <a:xfrm>
              <a:off x="921217" y="2836788"/>
              <a:ext cx="82568" cy="9928"/>
            </a:xfrm>
            <a:custGeom>
              <a:avLst/>
              <a:gdLst>
                <a:gd name="T0" fmla="*/ 2147483646 w 71"/>
                <a:gd name="T1" fmla="*/ 2147483646 h 10"/>
                <a:gd name="T2" fmla="*/ 0 w 71"/>
                <a:gd name="T3" fmla="*/ 2147483646 h 10"/>
                <a:gd name="T4" fmla="*/ 0 w 71"/>
                <a:gd name="T5" fmla="*/ 2147483646 h 10"/>
                <a:gd name="T6" fmla="*/ 0 w 71"/>
                <a:gd name="T7" fmla="*/ 2147483646 h 10"/>
                <a:gd name="T8" fmla="*/ 0 w 71"/>
                <a:gd name="T9" fmla="*/ 0 h 10"/>
                <a:gd name="T10" fmla="*/ 2147483646 w 71"/>
                <a:gd name="T11" fmla="*/ 0 h 10"/>
                <a:gd name="T12" fmla="*/ 2147483646 w 71"/>
                <a:gd name="T13" fmla="*/ 0 h 10"/>
                <a:gd name="T14" fmla="*/ 2147483646 w 71"/>
                <a:gd name="T15" fmla="*/ 0 h 10"/>
                <a:gd name="T16" fmla="*/ 2147483646 w 71"/>
                <a:gd name="T17" fmla="*/ 2147483646 h 10"/>
                <a:gd name="T18" fmla="*/ 2147483646 w 71"/>
                <a:gd name="T19" fmla="*/ 2147483646 h 10"/>
                <a:gd name="T20" fmla="*/ 2147483646 w 71"/>
                <a:gd name="T21" fmla="*/ 2147483646 h 10"/>
                <a:gd name="T22" fmla="*/ 2147483646 w 71"/>
                <a:gd name="T23" fmla="*/ 2147483646 h 10"/>
                <a:gd name="T24" fmla="*/ 2147483646 w 7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0">
                  <a:moveTo>
                    <a:pt x="4" y="10"/>
                  </a:moveTo>
                  <a:lnTo>
                    <a:pt x="0" y="7"/>
                  </a:lnTo>
                  <a:lnTo>
                    <a:pt x="0" y="3"/>
                  </a:lnTo>
                  <a:lnTo>
                    <a:pt x="0" y="0"/>
                  </a:lnTo>
                  <a:lnTo>
                    <a:pt x="4" y="0"/>
                  </a:lnTo>
                  <a:lnTo>
                    <a:pt x="68" y="0"/>
                  </a:lnTo>
                  <a:lnTo>
                    <a:pt x="71" y="0"/>
                  </a:lnTo>
                  <a:lnTo>
                    <a:pt x="71" y="3"/>
                  </a:lnTo>
                  <a:lnTo>
                    <a:pt x="71" y="7"/>
                  </a:lnTo>
                  <a:lnTo>
                    <a:pt x="68"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7" name="Freeform 303">
              <a:extLst>
                <a:ext uri="{FF2B5EF4-FFF2-40B4-BE49-F238E27FC236}">
                  <a16:creationId xmlns:a16="http://schemas.microsoft.com/office/drawing/2014/main" id="{A6FA6D6E-F523-FF4F-A00E-B1389B1770F8}"/>
                </a:ext>
              </a:extLst>
            </p:cNvPr>
            <p:cNvSpPr>
              <a:spLocks/>
            </p:cNvSpPr>
            <p:nvPr/>
          </p:nvSpPr>
          <p:spPr bwMode="auto">
            <a:xfrm>
              <a:off x="996808" y="2836788"/>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8" name="Freeform 304">
              <a:extLst>
                <a:ext uri="{FF2B5EF4-FFF2-40B4-BE49-F238E27FC236}">
                  <a16:creationId xmlns:a16="http://schemas.microsoft.com/office/drawing/2014/main" id="{3444128F-0DF4-4446-A6E2-756113D965DD}"/>
                </a:ext>
              </a:extLst>
            </p:cNvPr>
            <p:cNvSpPr>
              <a:spLocks/>
            </p:cNvSpPr>
            <p:nvPr/>
          </p:nvSpPr>
          <p:spPr bwMode="auto">
            <a:xfrm>
              <a:off x="1007273" y="283083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299" name="Freeform 305">
              <a:extLst>
                <a:ext uri="{FF2B5EF4-FFF2-40B4-BE49-F238E27FC236}">
                  <a16:creationId xmlns:a16="http://schemas.microsoft.com/office/drawing/2014/main" id="{AF40CCD6-0EFE-C44B-8FA9-D3A0389CD52A}"/>
                </a:ext>
              </a:extLst>
            </p:cNvPr>
            <p:cNvSpPr>
              <a:spLocks/>
            </p:cNvSpPr>
            <p:nvPr/>
          </p:nvSpPr>
          <p:spPr bwMode="auto">
            <a:xfrm>
              <a:off x="1007273" y="283083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0" name="Freeform 306">
              <a:extLst>
                <a:ext uri="{FF2B5EF4-FFF2-40B4-BE49-F238E27FC236}">
                  <a16:creationId xmlns:a16="http://schemas.microsoft.com/office/drawing/2014/main" id="{5370E6B3-95CC-BE40-8B30-8E701F0A88EC}"/>
                </a:ext>
              </a:extLst>
            </p:cNvPr>
            <p:cNvSpPr>
              <a:spLocks/>
            </p:cNvSpPr>
            <p:nvPr/>
          </p:nvSpPr>
          <p:spPr bwMode="auto">
            <a:xfrm>
              <a:off x="1015414" y="282388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1" name="Freeform 307">
              <a:extLst>
                <a:ext uri="{FF2B5EF4-FFF2-40B4-BE49-F238E27FC236}">
                  <a16:creationId xmlns:a16="http://schemas.microsoft.com/office/drawing/2014/main" id="{500965D0-2768-D540-B059-826563084874}"/>
                </a:ext>
              </a:extLst>
            </p:cNvPr>
            <p:cNvSpPr>
              <a:spLocks/>
            </p:cNvSpPr>
            <p:nvPr/>
          </p:nvSpPr>
          <p:spPr bwMode="auto">
            <a:xfrm>
              <a:off x="1015414" y="282388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2" name="Freeform 308">
              <a:extLst>
                <a:ext uri="{FF2B5EF4-FFF2-40B4-BE49-F238E27FC236}">
                  <a16:creationId xmlns:a16="http://schemas.microsoft.com/office/drawing/2014/main" id="{D8773A71-AB24-B14D-B356-97CEDFD0ADC1}"/>
                </a:ext>
              </a:extLst>
            </p:cNvPr>
            <p:cNvSpPr>
              <a:spLocks/>
            </p:cNvSpPr>
            <p:nvPr/>
          </p:nvSpPr>
          <p:spPr bwMode="auto">
            <a:xfrm>
              <a:off x="1022392" y="281792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3" name="Freeform 309">
              <a:extLst>
                <a:ext uri="{FF2B5EF4-FFF2-40B4-BE49-F238E27FC236}">
                  <a16:creationId xmlns:a16="http://schemas.microsoft.com/office/drawing/2014/main" id="{3622CDCB-2558-394E-92B7-D980BEF8E97F}"/>
                </a:ext>
              </a:extLst>
            </p:cNvPr>
            <p:cNvSpPr>
              <a:spLocks/>
            </p:cNvSpPr>
            <p:nvPr/>
          </p:nvSpPr>
          <p:spPr bwMode="auto">
            <a:xfrm>
              <a:off x="1022392" y="281792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4" name="Freeform 310">
              <a:extLst>
                <a:ext uri="{FF2B5EF4-FFF2-40B4-BE49-F238E27FC236}">
                  <a16:creationId xmlns:a16="http://schemas.microsoft.com/office/drawing/2014/main" id="{86295247-00A7-4049-8C85-85E2101E55EB}"/>
                </a:ext>
              </a:extLst>
            </p:cNvPr>
            <p:cNvSpPr>
              <a:spLocks/>
            </p:cNvSpPr>
            <p:nvPr/>
          </p:nvSpPr>
          <p:spPr bwMode="auto">
            <a:xfrm>
              <a:off x="1027044" y="2807995"/>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5" name="Freeform 311">
              <a:extLst>
                <a:ext uri="{FF2B5EF4-FFF2-40B4-BE49-F238E27FC236}">
                  <a16:creationId xmlns:a16="http://schemas.microsoft.com/office/drawing/2014/main" id="{4DB69F86-1213-7343-9996-51D93F1AE21C}"/>
                </a:ext>
              </a:extLst>
            </p:cNvPr>
            <p:cNvSpPr>
              <a:spLocks/>
            </p:cNvSpPr>
            <p:nvPr/>
          </p:nvSpPr>
          <p:spPr bwMode="auto">
            <a:xfrm>
              <a:off x="1027044" y="2807995"/>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6" name="Freeform 312">
              <a:extLst>
                <a:ext uri="{FF2B5EF4-FFF2-40B4-BE49-F238E27FC236}">
                  <a16:creationId xmlns:a16="http://schemas.microsoft.com/office/drawing/2014/main" id="{D00A1317-6DE1-CD4A-AA58-A365D9105A63}"/>
                </a:ext>
              </a:extLst>
            </p:cNvPr>
            <p:cNvSpPr>
              <a:spLocks/>
            </p:cNvSpPr>
            <p:nvPr/>
          </p:nvSpPr>
          <p:spPr bwMode="auto">
            <a:xfrm>
              <a:off x="1030532" y="280203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7" name="Freeform 313">
              <a:extLst>
                <a:ext uri="{FF2B5EF4-FFF2-40B4-BE49-F238E27FC236}">
                  <a16:creationId xmlns:a16="http://schemas.microsoft.com/office/drawing/2014/main" id="{A2908F8C-CF23-D54F-B282-2D1F21843222}"/>
                </a:ext>
              </a:extLst>
            </p:cNvPr>
            <p:cNvSpPr>
              <a:spLocks/>
            </p:cNvSpPr>
            <p:nvPr/>
          </p:nvSpPr>
          <p:spPr bwMode="auto">
            <a:xfrm>
              <a:off x="1030532" y="280203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8" name="Freeform 314">
              <a:extLst>
                <a:ext uri="{FF2B5EF4-FFF2-40B4-BE49-F238E27FC236}">
                  <a16:creationId xmlns:a16="http://schemas.microsoft.com/office/drawing/2014/main" id="{1E6272DE-F3A0-0540-9AC0-DF5E384FF894}"/>
                </a:ext>
              </a:extLst>
            </p:cNvPr>
            <p:cNvSpPr>
              <a:spLocks/>
            </p:cNvSpPr>
            <p:nvPr/>
          </p:nvSpPr>
          <p:spPr bwMode="auto">
            <a:xfrm>
              <a:off x="1040999" y="279508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09" name="Freeform 315">
              <a:extLst>
                <a:ext uri="{FF2B5EF4-FFF2-40B4-BE49-F238E27FC236}">
                  <a16:creationId xmlns:a16="http://schemas.microsoft.com/office/drawing/2014/main" id="{A3D05CE9-B2A0-9443-9258-FA265DC059E0}"/>
                </a:ext>
              </a:extLst>
            </p:cNvPr>
            <p:cNvSpPr>
              <a:spLocks/>
            </p:cNvSpPr>
            <p:nvPr/>
          </p:nvSpPr>
          <p:spPr bwMode="auto">
            <a:xfrm>
              <a:off x="1040999" y="278913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0" name="Freeform 316">
              <a:extLst>
                <a:ext uri="{FF2B5EF4-FFF2-40B4-BE49-F238E27FC236}">
                  <a16:creationId xmlns:a16="http://schemas.microsoft.com/office/drawing/2014/main" id="{2DAB3EC9-2068-0B42-85A4-8EA446CF96D4}"/>
                </a:ext>
              </a:extLst>
            </p:cNvPr>
            <p:cNvSpPr>
              <a:spLocks/>
            </p:cNvSpPr>
            <p:nvPr/>
          </p:nvSpPr>
          <p:spPr bwMode="auto">
            <a:xfrm>
              <a:off x="1040999" y="278218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1" name="Freeform 317">
              <a:extLst>
                <a:ext uri="{FF2B5EF4-FFF2-40B4-BE49-F238E27FC236}">
                  <a16:creationId xmlns:a16="http://schemas.microsoft.com/office/drawing/2014/main" id="{B27B31D6-AC14-FB44-B480-18184C14A5CD}"/>
                </a:ext>
              </a:extLst>
            </p:cNvPr>
            <p:cNvSpPr>
              <a:spLocks/>
            </p:cNvSpPr>
            <p:nvPr/>
          </p:nvSpPr>
          <p:spPr bwMode="auto">
            <a:xfrm>
              <a:off x="1040999" y="278218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2" name="Freeform 318">
              <a:extLst>
                <a:ext uri="{FF2B5EF4-FFF2-40B4-BE49-F238E27FC236}">
                  <a16:creationId xmlns:a16="http://schemas.microsoft.com/office/drawing/2014/main" id="{379ACF07-5424-B44E-A12B-82A4D17DF825}"/>
                </a:ext>
              </a:extLst>
            </p:cNvPr>
            <p:cNvSpPr>
              <a:spLocks/>
            </p:cNvSpPr>
            <p:nvPr/>
          </p:nvSpPr>
          <p:spPr bwMode="auto">
            <a:xfrm>
              <a:off x="1045650" y="2776224"/>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3" name="Freeform 319">
              <a:extLst>
                <a:ext uri="{FF2B5EF4-FFF2-40B4-BE49-F238E27FC236}">
                  <a16:creationId xmlns:a16="http://schemas.microsoft.com/office/drawing/2014/main" id="{7D6EA75E-9159-2A4D-AF1E-496CC3CC203C}"/>
                </a:ext>
              </a:extLst>
            </p:cNvPr>
            <p:cNvSpPr>
              <a:spLocks/>
            </p:cNvSpPr>
            <p:nvPr/>
          </p:nvSpPr>
          <p:spPr bwMode="auto">
            <a:xfrm>
              <a:off x="1045650" y="277622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4" name="Freeform 320">
              <a:extLst>
                <a:ext uri="{FF2B5EF4-FFF2-40B4-BE49-F238E27FC236}">
                  <a16:creationId xmlns:a16="http://schemas.microsoft.com/office/drawing/2014/main" id="{A6E770FE-6761-EE40-9291-0A51A646CC8E}"/>
                </a:ext>
              </a:extLst>
            </p:cNvPr>
            <p:cNvSpPr>
              <a:spLocks/>
            </p:cNvSpPr>
            <p:nvPr/>
          </p:nvSpPr>
          <p:spPr bwMode="auto">
            <a:xfrm>
              <a:off x="1052628" y="276927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4"/>
                  </a:lnTo>
                  <a:lnTo>
                    <a:pt x="0" y="0"/>
                  </a:lnTo>
                  <a:lnTo>
                    <a:pt x="3"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5" name="Freeform 321">
              <a:extLst>
                <a:ext uri="{FF2B5EF4-FFF2-40B4-BE49-F238E27FC236}">
                  <a16:creationId xmlns:a16="http://schemas.microsoft.com/office/drawing/2014/main" id="{3765285C-853F-9A47-9072-DAE61F8DAC55}"/>
                </a:ext>
              </a:extLst>
            </p:cNvPr>
            <p:cNvSpPr>
              <a:spLocks/>
            </p:cNvSpPr>
            <p:nvPr/>
          </p:nvSpPr>
          <p:spPr bwMode="auto">
            <a:xfrm>
              <a:off x="1052628" y="2766296"/>
              <a:ext cx="11629" cy="9928"/>
            </a:xfrm>
            <a:custGeom>
              <a:avLst/>
              <a:gdLst>
                <a:gd name="T0" fmla="*/ 2147483646 w 10"/>
                <a:gd name="T1" fmla="*/ 2147483646 h 10"/>
                <a:gd name="T2" fmla="*/ 2147483646 w 10"/>
                <a:gd name="T3" fmla="*/ 2147483646 h 10"/>
                <a:gd name="T4" fmla="*/ 2147483646 w 10"/>
                <a:gd name="T5" fmla="*/ 2147483646 h 10"/>
                <a:gd name="T6" fmla="*/ 2147483646 w 10"/>
                <a:gd name="T7" fmla="*/ 2147483646 h 10"/>
                <a:gd name="T8" fmla="*/ 0 w 10"/>
                <a:gd name="T9" fmla="*/ 2147483646 h 10"/>
                <a:gd name="T10" fmla="*/ 0 w 10"/>
                <a:gd name="T11" fmla="*/ 2147483646 h 10"/>
                <a:gd name="T12" fmla="*/ 0 w 10"/>
                <a:gd name="T13" fmla="*/ 2147483646 h 10"/>
                <a:gd name="T14" fmla="*/ 0 w 10"/>
                <a:gd name="T15" fmla="*/ 0 h 10"/>
                <a:gd name="T16" fmla="*/ 2147483646 w 10"/>
                <a:gd name="T17" fmla="*/ 0 h 10"/>
                <a:gd name="T18" fmla="*/ 2147483646 w 10"/>
                <a:gd name="T19" fmla="*/ 0 h 10"/>
                <a:gd name="T20" fmla="*/ 2147483646 w 10"/>
                <a:gd name="T21" fmla="*/ 0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10" y="7"/>
                  </a:moveTo>
                  <a:lnTo>
                    <a:pt x="7" y="10"/>
                  </a:lnTo>
                  <a:lnTo>
                    <a:pt x="3" y="10"/>
                  </a:lnTo>
                  <a:lnTo>
                    <a:pt x="0" y="10"/>
                  </a:lnTo>
                  <a:lnTo>
                    <a:pt x="0" y="7"/>
                  </a:lnTo>
                  <a:lnTo>
                    <a:pt x="0" y="3"/>
                  </a:lnTo>
                  <a:lnTo>
                    <a:pt x="0" y="0"/>
                  </a:lnTo>
                  <a:lnTo>
                    <a:pt x="3" y="0"/>
                  </a:lnTo>
                  <a:lnTo>
                    <a:pt x="7" y="0"/>
                  </a:lnTo>
                  <a:lnTo>
                    <a:pt x="10" y="3"/>
                  </a:lnTo>
                  <a:lnTo>
                    <a:pt x="10" y="7"/>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6" name="Freeform 322">
              <a:extLst>
                <a:ext uri="{FF2B5EF4-FFF2-40B4-BE49-F238E27FC236}">
                  <a16:creationId xmlns:a16="http://schemas.microsoft.com/office/drawing/2014/main" id="{04259388-AC6B-D245-A46B-049FBF6686F4}"/>
                </a:ext>
              </a:extLst>
            </p:cNvPr>
            <p:cNvSpPr>
              <a:spLocks/>
            </p:cNvSpPr>
            <p:nvPr/>
          </p:nvSpPr>
          <p:spPr bwMode="auto">
            <a:xfrm>
              <a:off x="1052628" y="2766296"/>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7" name="Freeform 323">
              <a:extLst>
                <a:ext uri="{FF2B5EF4-FFF2-40B4-BE49-F238E27FC236}">
                  <a16:creationId xmlns:a16="http://schemas.microsoft.com/office/drawing/2014/main" id="{36C34D8C-4993-0744-BE8B-AB3A15B59F9C}"/>
                </a:ext>
              </a:extLst>
            </p:cNvPr>
            <p:cNvSpPr>
              <a:spLocks/>
            </p:cNvSpPr>
            <p:nvPr/>
          </p:nvSpPr>
          <p:spPr bwMode="auto">
            <a:xfrm>
              <a:off x="1064257" y="2753389"/>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8" name="Freeform 324">
              <a:extLst>
                <a:ext uri="{FF2B5EF4-FFF2-40B4-BE49-F238E27FC236}">
                  <a16:creationId xmlns:a16="http://schemas.microsoft.com/office/drawing/2014/main" id="{E389D86E-8764-984D-A17D-EF64D7DB025F}"/>
                </a:ext>
              </a:extLst>
            </p:cNvPr>
            <p:cNvSpPr>
              <a:spLocks/>
            </p:cNvSpPr>
            <p:nvPr/>
          </p:nvSpPr>
          <p:spPr bwMode="auto">
            <a:xfrm>
              <a:off x="1064257" y="2747432"/>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19" name="Freeform 325">
              <a:extLst>
                <a:ext uri="{FF2B5EF4-FFF2-40B4-BE49-F238E27FC236}">
                  <a16:creationId xmlns:a16="http://schemas.microsoft.com/office/drawing/2014/main" id="{021C2672-A833-6F4E-A28A-3C008980DB2D}"/>
                </a:ext>
              </a:extLst>
            </p:cNvPr>
            <p:cNvSpPr>
              <a:spLocks/>
            </p:cNvSpPr>
            <p:nvPr/>
          </p:nvSpPr>
          <p:spPr bwMode="auto">
            <a:xfrm>
              <a:off x="1064257" y="2747432"/>
              <a:ext cx="37213" cy="9928"/>
            </a:xfrm>
            <a:custGeom>
              <a:avLst/>
              <a:gdLst>
                <a:gd name="T0" fmla="*/ 2147483646 w 32"/>
                <a:gd name="T1" fmla="*/ 2147483646 h 10"/>
                <a:gd name="T2" fmla="*/ 0 w 32"/>
                <a:gd name="T3" fmla="*/ 2147483646 h 10"/>
                <a:gd name="T4" fmla="*/ 0 w 32"/>
                <a:gd name="T5" fmla="*/ 2147483646 h 10"/>
                <a:gd name="T6" fmla="*/ 0 w 32"/>
                <a:gd name="T7" fmla="*/ 2147483646 h 10"/>
                <a:gd name="T8" fmla="*/ 0 w 32"/>
                <a:gd name="T9" fmla="*/ 0 h 10"/>
                <a:gd name="T10" fmla="*/ 2147483646 w 32"/>
                <a:gd name="T11" fmla="*/ 0 h 10"/>
                <a:gd name="T12" fmla="*/ 2147483646 w 32"/>
                <a:gd name="T13" fmla="*/ 0 h 10"/>
                <a:gd name="T14" fmla="*/ 2147483646 w 32"/>
                <a:gd name="T15" fmla="*/ 0 h 10"/>
                <a:gd name="T16" fmla="*/ 2147483646 w 32"/>
                <a:gd name="T17" fmla="*/ 2147483646 h 10"/>
                <a:gd name="T18" fmla="*/ 2147483646 w 32"/>
                <a:gd name="T19" fmla="*/ 2147483646 h 10"/>
                <a:gd name="T20" fmla="*/ 2147483646 w 32"/>
                <a:gd name="T21" fmla="*/ 2147483646 h 10"/>
                <a:gd name="T22" fmla="*/ 2147483646 w 32"/>
                <a:gd name="T23" fmla="*/ 2147483646 h 10"/>
                <a:gd name="T24" fmla="*/ 2147483646 w 3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10">
                  <a:moveTo>
                    <a:pt x="3" y="10"/>
                  </a:moveTo>
                  <a:lnTo>
                    <a:pt x="0" y="6"/>
                  </a:lnTo>
                  <a:lnTo>
                    <a:pt x="0" y="3"/>
                  </a:lnTo>
                  <a:lnTo>
                    <a:pt x="0" y="0"/>
                  </a:lnTo>
                  <a:lnTo>
                    <a:pt x="3" y="0"/>
                  </a:lnTo>
                  <a:lnTo>
                    <a:pt x="29" y="0"/>
                  </a:lnTo>
                  <a:lnTo>
                    <a:pt x="32" y="0"/>
                  </a:lnTo>
                  <a:lnTo>
                    <a:pt x="32" y="3"/>
                  </a:lnTo>
                  <a:lnTo>
                    <a:pt x="32" y="6"/>
                  </a:lnTo>
                  <a:lnTo>
                    <a:pt x="2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0" name="Freeform 326">
              <a:extLst>
                <a:ext uri="{FF2B5EF4-FFF2-40B4-BE49-F238E27FC236}">
                  <a16:creationId xmlns:a16="http://schemas.microsoft.com/office/drawing/2014/main" id="{19F04847-E458-7547-8FEB-BECF1C3A7B48}"/>
                </a:ext>
              </a:extLst>
            </p:cNvPr>
            <p:cNvSpPr>
              <a:spLocks/>
            </p:cNvSpPr>
            <p:nvPr/>
          </p:nvSpPr>
          <p:spPr bwMode="auto">
            <a:xfrm>
              <a:off x="1094493" y="2740482"/>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1" name="Freeform 327">
              <a:extLst>
                <a:ext uri="{FF2B5EF4-FFF2-40B4-BE49-F238E27FC236}">
                  <a16:creationId xmlns:a16="http://schemas.microsoft.com/office/drawing/2014/main" id="{A1C5E400-31B5-1849-B9AB-6BEA25CF119B}"/>
                </a:ext>
              </a:extLst>
            </p:cNvPr>
            <p:cNvSpPr>
              <a:spLocks/>
            </p:cNvSpPr>
            <p:nvPr/>
          </p:nvSpPr>
          <p:spPr bwMode="auto">
            <a:xfrm>
              <a:off x="1094493" y="2740482"/>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4"/>
                  </a:lnTo>
                  <a:lnTo>
                    <a:pt x="0" y="0"/>
                  </a:lnTo>
                  <a:lnTo>
                    <a:pt x="3" y="0"/>
                  </a:lnTo>
                  <a:lnTo>
                    <a:pt x="9" y="0"/>
                  </a:lnTo>
                  <a:lnTo>
                    <a:pt x="12" y="0"/>
                  </a:lnTo>
                  <a:lnTo>
                    <a:pt x="12" y="4"/>
                  </a:lnTo>
                  <a:lnTo>
                    <a:pt x="12"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2" name="Freeform 328">
              <a:extLst>
                <a:ext uri="{FF2B5EF4-FFF2-40B4-BE49-F238E27FC236}">
                  <a16:creationId xmlns:a16="http://schemas.microsoft.com/office/drawing/2014/main" id="{C0903628-8656-0847-8F44-06984AB7FDFF}"/>
                </a:ext>
              </a:extLst>
            </p:cNvPr>
            <p:cNvSpPr>
              <a:spLocks/>
            </p:cNvSpPr>
            <p:nvPr/>
          </p:nvSpPr>
          <p:spPr bwMode="auto">
            <a:xfrm>
              <a:off x="1101470" y="273452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3" name="Freeform 329">
              <a:extLst>
                <a:ext uri="{FF2B5EF4-FFF2-40B4-BE49-F238E27FC236}">
                  <a16:creationId xmlns:a16="http://schemas.microsoft.com/office/drawing/2014/main" id="{7DD66033-F266-E04B-8FF3-04F207D3CEC7}"/>
                </a:ext>
              </a:extLst>
            </p:cNvPr>
            <p:cNvSpPr>
              <a:spLocks/>
            </p:cNvSpPr>
            <p:nvPr/>
          </p:nvSpPr>
          <p:spPr bwMode="auto">
            <a:xfrm>
              <a:off x="1101470" y="2734525"/>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4" name="Freeform 330">
              <a:extLst>
                <a:ext uri="{FF2B5EF4-FFF2-40B4-BE49-F238E27FC236}">
                  <a16:creationId xmlns:a16="http://schemas.microsoft.com/office/drawing/2014/main" id="{7C9115BF-6989-2C49-B155-34B3BE7DA763}"/>
                </a:ext>
              </a:extLst>
            </p:cNvPr>
            <p:cNvSpPr>
              <a:spLocks/>
            </p:cNvSpPr>
            <p:nvPr/>
          </p:nvSpPr>
          <p:spPr bwMode="auto">
            <a:xfrm>
              <a:off x="1116588" y="27345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5" name="Freeform 331">
              <a:extLst>
                <a:ext uri="{FF2B5EF4-FFF2-40B4-BE49-F238E27FC236}">
                  <a16:creationId xmlns:a16="http://schemas.microsoft.com/office/drawing/2014/main" id="{F2442C95-8A2B-FE46-A3E2-B309E17B7900}"/>
                </a:ext>
              </a:extLst>
            </p:cNvPr>
            <p:cNvSpPr>
              <a:spLocks/>
            </p:cNvSpPr>
            <p:nvPr/>
          </p:nvSpPr>
          <p:spPr bwMode="auto">
            <a:xfrm>
              <a:off x="1120077" y="2728568"/>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6" name="Freeform 332">
              <a:extLst>
                <a:ext uri="{FF2B5EF4-FFF2-40B4-BE49-F238E27FC236}">
                  <a16:creationId xmlns:a16="http://schemas.microsoft.com/office/drawing/2014/main" id="{357E8F0D-C6FA-B24B-A3E1-5AB793B92A58}"/>
                </a:ext>
              </a:extLst>
            </p:cNvPr>
            <p:cNvSpPr>
              <a:spLocks/>
            </p:cNvSpPr>
            <p:nvPr/>
          </p:nvSpPr>
          <p:spPr bwMode="auto">
            <a:xfrm>
              <a:off x="1120077" y="272856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7" name="Freeform 333">
              <a:extLst>
                <a:ext uri="{FF2B5EF4-FFF2-40B4-BE49-F238E27FC236}">
                  <a16:creationId xmlns:a16="http://schemas.microsoft.com/office/drawing/2014/main" id="{109E5B62-A2A7-2644-9B07-BFF268B57CBC}"/>
                </a:ext>
              </a:extLst>
            </p:cNvPr>
            <p:cNvSpPr>
              <a:spLocks/>
            </p:cNvSpPr>
            <p:nvPr/>
          </p:nvSpPr>
          <p:spPr bwMode="auto">
            <a:xfrm>
              <a:off x="1128217" y="2724596"/>
              <a:ext cx="10467" cy="9928"/>
            </a:xfrm>
            <a:custGeom>
              <a:avLst/>
              <a:gdLst>
                <a:gd name="T0" fmla="*/ 2147483646 w 9"/>
                <a:gd name="T1" fmla="*/ 2147483646 h 10"/>
                <a:gd name="T2" fmla="*/ 2147483646 w 9"/>
                <a:gd name="T3" fmla="*/ 2147483646 h 10"/>
                <a:gd name="T4" fmla="*/ 2147483646 w 9"/>
                <a:gd name="T5" fmla="*/ 2147483646 h 10"/>
                <a:gd name="T6" fmla="*/ 2147483646 w 9"/>
                <a:gd name="T7" fmla="*/ 2147483646 h 10"/>
                <a:gd name="T8" fmla="*/ 0 w 9"/>
                <a:gd name="T9" fmla="*/ 2147483646 h 10"/>
                <a:gd name="T10" fmla="*/ 0 w 9"/>
                <a:gd name="T11" fmla="*/ 2147483646 h 10"/>
                <a:gd name="T12" fmla="*/ 0 w 9"/>
                <a:gd name="T13" fmla="*/ 2147483646 h 10"/>
                <a:gd name="T14" fmla="*/ 0 w 9"/>
                <a:gd name="T15" fmla="*/ 0 h 10"/>
                <a:gd name="T16" fmla="*/ 2147483646 w 9"/>
                <a:gd name="T17" fmla="*/ 0 h 10"/>
                <a:gd name="T18" fmla="*/ 2147483646 w 9"/>
                <a:gd name="T19" fmla="*/ 0 h 10"/>
                <a:gd name="T20" fmla="*/ 2147483646 w 9"/>
                <a:gd name="T21" fmla="*/ 0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9" y="7"/>
                  </a:moveTo>
                  <a:lnTo>
                    <a:pt x="6" y="10"/>
                  </a:lnTo>
                  <a:lnTo>
                    <a:pt x="3" y="10"/>
                  </a:lnTo>
                  <a:lnTo>
                    <a:pt x="0" y="10"/>
                  </a:lnTo>
                  <a:lnTo>
                    <a:pt x="0" y="7"/>
                  </a:lnTo>
                  <a:lnTo>
                    <a:pt x="0" y="4"/>
                  </a:lnTo>
                  <a:lnTo>
                    <a:pt x="0" y="0"/>
                  </a:lnTo>
                  <a:lnTo>
                    <a:pt x="3" y="0"/>
                  </a:lnTo>
                  <a:lnTo>
                    <a:pt x="6" y="0"/>
                  </a:lnTo>
                  <a:lnTo>
                    <a:pt x="9" y="4"/>
                  </a:lnTo>
                  <a:lnTo>
                    <a:pt x="9" y="7"/>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8" name="Freeform 334">
              <a:extLst>
                <a:ext uri="{FF2B5EF4-FFF2-40B4-BE49-F238E27FC236}">
                  <a16:creationId xmlns:a16="http://schemas.microsoft.com/office/drawing/2014/main" id="{D0571537-1AB5-FF4E-8DEB-97676063FF12}"/>
                </a:ext>
              </a:extLst>
            </p:cNvPr>
            <p:cNvSpPr>
              <a:spLocks/>
            </p:cNvSpPr>
            <p:nvPr/>
          </p:nvSpPr>
          <p:spPr bwMode="auto">
            <a:xfrm>
              <a:off x="1128217" y="272459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29" name="Freeform 335">
              <a:extLst>
                <a:ext uri="{FF2B5EF4-FFF2-40B4-BE49-F238E27FC236}">
                  <a16:creationId xmlns:a16="http://schemas.microsoft.com/office/drawing/2014/main" id="{18B4A804-F170-9745-9711-571392A4054E}"/>
                </a:ext>
              </a:extLst>
            </p:cNvPr>
            <p:cNvSpPr>
              <a:spLocks/>
            </p:cNvSpPr>
            <p:nvPr/>
          </p:nvSpPr>
          <p:spPr bwMode="auto">
            <a:xfrm>
              <a:off x="1131706" y="2718639"/>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0" name="Freeform 336">
              <a:extLst>
                <a:ext uri="{FF2B5EF4-FFF2-40B4-BE49-F238E27FC236}">
                  <a16:creationId xmlns:a16="http://schemas.microsoft.com/office/drawing/2014/main" id="{5758FC65-7E59-0748-8C0B-2570C9B86FB3}"/>
                </a:ext>
              </a:extLst>
            </p:cNvPr>
            <p:cNvSpPr>
              <a:spLocks/>
            </p:cNvSpPr>
            <p:nvPr/>
          </p:nvSpPr>
          <p:spPr bwMode="auto">
            <a:xfrm>
              <a:off x="1131706" y="2718639"/>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1" name="Freeform 337">
              <a:extLst>
                <a:ext uri="{FF2B5EF4-FFF2-40B4-BE49-F238E27FC236}">
                  <a16:creationId xmlns:a16="http://schemas.microsoft.com/office/drawing/2014/main" id="{DC72C07A-2E6F-CE47-BBE5-9F80BD7D378D}"/>
                </a:ext>
              </a:extLst>
            </p:cNvPr>
            <p:cNvSpPr>
              <a:spLocks/>
            </p:cNvSpPr>
            <p:nvPr/>
          </p:nvSpPr>
          <p:spPr bwMode="auto">
            <a:xfrm>
              <a:off x="1142172" y="271863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2" name="Freeform 338">
              <a:extLst>
                <a:ext uri="{FF2B5EF4-FFF2-40B4-BE49-F238E27FC236}">
                  <a16:creationId xmlns:a16="http://schemas.microsoft.com/office/drawing/2014/main" id="{51CE5900-D1C4-BE40-A984-D426AD4557FF}"/>
                </a:ext>
              </a:extLst>
            </p:cNvPr>
            <p:cNvSpPr>
              <a:spLocks/>
            </p:cNvSpPr>
            <p:nvPr/>
          </p:nvSpPr>
          <p:spPr bwMode="auto">
            <a:xfrm>
              <a:off x="1146824" y="271863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3" name="Freeform 339">
              <a:extLst>
                <a:ext uri="{FF2B5EF4-FFF2-40B4-BE49-F238E27FC236}">
                  <a16:creationId xmlns:a16="http://schemas.microsoft.com/office/drawing/2014/main" id="{1A4182CF-A0A4-4A48-8AC3-24B542CA7862}"/>
                </a:ext>
              </a:extLst>
            </p:cNvPr>
            <p:cNvSpPr>
              <a:spLocks/>
            </p:cNvSpPr>
            <p:nvPr/>
          </p:nvSpPr>
          <p:spPr bwMode="auto">
            <a:xfrm>
              <a:off x="1150313" y="271168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4" name="Freeform 340">
              <a:extLst>
                <a:ext uri="{FF2B5EF4-FFF2-40B4-BE49-F238E27FC236}">
                  <a16:creationId xmlns:a16="http://schemas.microsoft.com/office/drawing/2014/main" id="{149B93B3-9A22-B444-8971-5F3937FEC895}"/>
                </a:ext>
              </a:extLst>
            </p:cNvPr>
            <p:cNvSpPr>
              <a:spLocks/>
            </p:cNvSpPr>
            <p:nvPr/>
          </p:nvSpPr>
          <p:spPr bwMode="auto">
            <a:xfrm>
              <a:off x="1150313" y="270573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5" name="Freeform 341">
              <a:extLst>
                <a:ext uri="{FF2B5EF4-FFF2-40B4-BE49-F238E27FC236}">
                  <a16:creationId xmlns:a16="http://schemas.microsoft.com/office/drawing/2014/main" id="{1B447FAE-CE4A-4E43-96EA-EF225A8CF551}"/>
                </a:ext>
              </a:extLst>
            </p:cNvPr>
            <p:cNvSpPr>
              <a:spLocks/>
            </p:cNvSpPr>
            <p:nvPr/>
          </p:nvSpPr>
          <p:spPr bwMode="auto">
            <a:xfrm>
              <a:off x="1150313" y="2705732"/>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6" name="Freeform 342">
              <a:extLst>
                <a:ext uri="{FF2B5EF4-FFF2-40B4-BE49-F238E27FC236}">
                  <a16:creationId xmlns:a16="http://schemas.microsoft.com/office/drawing/2014/main" id="{11D03F8E-2336-8242-8324-1020A8E32A88}"/>
                </a:ext>
              </a:extLst>
            </p:cNvPr>
            <p:cNvSpPr>
              <a:spLocks/>
            </p:cNvSpPr>
            <p:nvPr/>
          </p:nvSpPr>
          <p:spPr bwMode="auto">
            <a:xfrm>
              <a:off x="1161942" y="2698782"/>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7" name="Freeform 343">
              <a:extLst>
                <a:ext uri="{FF2B5EF4-FFF2-40B4-BE49-F238E27FC236}">
                  <a16:creationId xmlns:a16="http://schemas.microsoft.com/office/drawing/2014/main" id="{0700B835-6D14-0D46-AC45-1875FF0D6603}"/>
                </a:ext>
              </a:extLst>
            </p:cNvPr>
            <p:cNvSpPr>
              <a:spLocks/>
            </p:cNvSpPr>
            <p:nvPr/>
          </p:nvSpPr>
          <p:spPr bwMode="auto">
            <a:xfrm>
              <a:off x="1161942" y="269878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8" name="Freeform 344">
              <a:extLst>
                <a:ext uri="{FF2B5EF4-FFF2-40B4-BE49-F238E27FC236}">
                  <a16:creationId xmlns:a16="http://schemas.microsoft.com/office/drawing/2014/main" id="{592E24D4-15B0-284A-A5E4-322EFB3EF090}"/>
                </a:ext>
              </a:extLst>
            </p:cNvPr>
            <p:cNvSpPr>
              <a:spLocks/>
            </p:cNvSpPr>
            <p:nvPr/>
          </p:nvSpPr>
          <p:spPr bwMode="auto">
            <a:xfrm>
              <a:off x="1165431" y="2692825"/>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39" name="Freeform 345">
              <a:extLst>
                <a:ext uri="{FF2B5EF4-FFF2-40B4-BE49-F238E27FC236}">
                  <a16:creationId xmlns:a16="http://schemas.microsoft.com/office/drawing/2014/main" id="{F7A01AA4-FD45-D045-B328-057288C4046C}"/>
                </a:ext>
              </a:extLst>
            </p:cNvPr>
            <p:cNvSpPr>
              <a:spLocks/>
            </p:cNvSpPr>
            <p:nvPr/>
          </p:nvSpPr>
          <p:spPr bwMode="auto">
            <a:xfrm>
              <a:off x="1165431" y="2692825"/>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0" name="Freeform 346">
              <a:extLst>
                <a:ext uri="{FF2B5EF4-FFF2-40B4-BE49-F238E27FC236}">
                  <a16:creationId xmlns:a16="http://schemas.microsoft.com/office/drawing/2014/main" id="{E2AFF95D-4F51-6140-A029-D5A16FF954EE}"/>
                </a:ext>
              </a:extLst>
            </p:cNvPr>
            <p:cNvSpPr>
              <a:spLocks/>
            </p:cNvSpPr>
            <p:nvPr/>
          </p:nvSpPr>
          <p:spPr bwMode="auto">
            <a:xfrm>
              <a:off x="1168920" y="26928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1" name="Freeform 347">
              <a:extLst>
                <a:ext uri="{FF2B5EF4-FFF2-40B4-BE49-F238E27FC236}">
                  <a16:creationId xmlns:a16="http://schemas.microsoft.com/office/drawing/2014/main" id="{9C3C2A83-3A5D-E047-8CE6-305F566110CB}"/>
                </a:ext>
              </a:extLst>
            </p:cNvPr>
            <p:cNvSpPr>
              <a:spLocks/>
            </p:cNvSpPr>
            <p:nvPr/>
          </p:nvSpPr>
          <p:spPr bwMode="auto">
            <a:xfrm>
              <a:off x="1172408" y="2686868"/>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2" name="Freeform 348">
              <a:extLst>
                <a:ext uri="{FF2B5EF4-FFF2-40B4-BE49-F238E27FC236}">
                  <a16:creationId xmlns:a16="http://schemas.microsoft.com/office/drawing/2014/main" id="{EE86AA88-BC84-6046-B857-7C4028FADD56}"/>
                </a:ext>
              </a:extLst>
            </p:cNvPr>
            <p:cNvSpPr>
              <a:spLocks/>
            </p:cNvSpPr>
            <p:nvPr/>
          </p:nvSpPr>
          <p:spPr bwMode="auto">
            <a:xfrm>
              <a:off x="1172408" y="268686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3" name="Freeform 349">
              <a:extLst>
                <a:ext uri="{FF2B5EF4-FFF2-40B4-BE49-F238E27FC236}">
                  <a16:creationId xmlns:a16="http://schemas.microsoft.com/office/drawing/2014/main" id="{A445A47E-C76A-EB41-B87E-13CC43957ED4}"/>
                </a:ext>
              </a:extLst>
            </p:cNvPr>
            <p:cNvSpPr>
              <a:spLocks/>
            </p:cNvSpPr>
            <p:nvPr/>
          </p:nvSpPr>
          <p:spPr bwMode="auto">
            <a:xfrm>
              <a:off x="1175897" y="267991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4" name="Freeform 350">
              <a:extLst>
                <a:ext uri="{FF2B5EF4-FFF2-40B4-BE49-F238E27FC236}">
                  <a16:creationId xmlns:a16="http://schemas.microsoft.com/office/drawing/2014/main" id="{14419C23-6AD2-F34D-9586-195290033139}"/>
                </a:ext>
              </a:extLst>
            </p:cNvPr>
            <p:cNvSpPr>
              <a:spLocks/>
            </p:cNvSpPr>
            <p:nvPr/>
          </p:nvSpPr>
          <p:spPr bwMode="auto">
            <a:xfrm>
              <a:off x="1175897" y="267991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5" name="Freeform 351">
              <a:extLst>
                <a:ext uri="{FF2B5EF4-FFF2-40B4-BE49-F238E27FC236}">
                  <a16:creationId xmlns:a16="http://schemas.microsoft.com/office/drawing/2014/main" id="{BAFD0241-4CC0-9547-898D-681AD5B8B3E3}"/>
                </a:ext>
              </a:extLst>
            </p:cNvPr>
            <p:cNvSpPr>
              <a:spLocks/>
            </p:cNvSpPr>
            <p:nvPr/>
          </p:nvSpPr>
          <p:spPr bwMode="auto">
            <a:xfrm>
              <a:off x="1180549" y="2676940"/>
              <a:ext cx="10467" cy="9928"/>
            </a:xfrm>
            <a:custGeom>
              <a:avLst/>
              <a:gdLst>
                <a:gd name="T0" fmla="*/ 2147483646 w 9"/>
                <a:gd name="T1" fmla="*/ 2147483646 h 10"/>
                <a:gd name="T2" fmla="*/ 2147483646 w 9"/>
                <a:gd name="T3" fmla="*/ 2147483646 h 10"/>
                <a:gd name="T4" fmla="*/ 2147483646 w 9"/>
                <a:gd name="T5" fmla="*/ 2147483646 h 10"/>
                <a:gd name="T6" fmla="*/ 2147483646 w 9"/>
                <a:gd name="T7" fmla="*/ 2147483646 h 10"/>
                <a:gd name="T8" fmla="*/ 0 w 9"/>
                <a:gd name="T9" fmla="*/ 2147483646 h 10"/>
                <a:gd name="T10" fmla="*/ 0 w 9"/>
                <a:gd name="T11" fmla="*/ 2147483646 h 10"/>
                <a:gd name="T12" fmla="*/ 0 w 9"/>
                <a:gd name="T13" fmla="*/ 2147483646 h 10"/>
                <a:gd name="T14" fmla="*/ 0 w 9"/>
                <a:gd name="T15" fmla="*/ 0 h 10"/>
                <a:gd name="T16" fmla="*/ 2147483646 w 9"/>
                <a:gd name="T17" fmla="*/ 0 h 10"/>
                <a:gd name="T18" fmla="*/ 2147483646 w 9"/>
                <a:gd name="T19" fmla="*/ 0 h 10"/>
                <a:gd name="T20" fmla="*/ 2147483646 w 9"/>
                <a:gd name="T21" fmla="*/ 0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9" y="6"/>
                  </a:moveTo>
                  <a:lnTo>
                    <a:pt x="6" y="10"/>
                  </a:lnTo>
                  <a:lnTo>
                    <a:pt x="3" y="10"/>
                  </a:lnTo>
                  <a:lnTo>
                    <a:pt x="0" y="10"/>
                  </a:lnTo>
                  <a:lnTo>
                    <a:pt x="0" y="6"/>
                  </a:lnTo>
                  <a:lnTo>
                    <a:pt x="0" y="3"/>
                  </a:lnTo>
                  <a:lnTo>
                    <a:pt x="0" y="0"/>
                  </a:lnTo>
                  <a:lnTo>
                    <a:pt x="3" y="0"/>
                  </a:lnTo>
                  <a:lnTo>
                    <a:pt x="6" y="0"/>
                  </a:lnTo>
                  <a:lnTo>
                    <a:pt x="9" y="3"/>
                  </a:lnTo>
                  <a:lnTo>
                    <a:pt x="9" y="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6" name="Freeform 352">
              <a:extLst>
                <a:ext uri="{FF2B5EF4-FFF2-40B4-BE49-F238E27FC236}">
                  <a16:creationId xmlns:a16="http://schemas.microsoft.com/office/drawing/2014/main" id="{9F42831C-DC87-9D44-8A11-F4D5E2B68C20}"/>
                </a:ext>
              </a:extLst>
            </p:cNvPr>
            <p:cNvSpPr>
              <a:spLocks/>
            </p:cNvSpPr>
            <p:nvPr/>
          </p:nvSpPr>
          <p:spPr bwMode="auto">
            <a:xfrm>
              <a:off x="1180549" y="267694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7" name="Freeform 353">
              <a:extLst>
                <a:ext uri="{FF2B5EF4-FFF2-40B4-BE49-F238E27FC236}">
                  <a16:creationId xmlns:a16="http://schemas.microsoft.com/office/drawing/2014/main" id="{EFB52E6D-5BEA-8047-9C2F-B2685520201C}"/>
                </a:ext>
              </a:extLst>
            </p:cNvPr>
            <p:cNvSpPr>
              <a:spLocks/>
            </p:cNvSpPr>
            <p:nvPr/>
          </p:nvSpPr>
          <p:spPr bwMode="auto">
            <a:xfrm>
              <a:off x="1191015" y="266999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8" name="Freeform 354">
              <a:extLst>
                <a:ext uri="{FF2B5EF4-FFF2-40B4-BE49-F238E27FC236}">
                  <a16:creationId xmlns:a16="http://schemas.microsoft.com/office/drawing/2014/main" id="{2828B168-0F91-D640-B589-BEAF3FD544DB}"/>
                </a:ext>
              </a:extLst>
            </p:cNvPr>
            <p:cNvSpPr>
              <a:spLocks/>
            </p:cNvSpPr>
            <p:nvPr/>
          </p:nvSpPr>
          <p:spPr bwMode="auto">
            <a:xfrm>
              <a:off x="1191015" y="266403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49" name="Freeform 355">
              <a:extLst>
                <a:ext uri="{FF2B5EF4-FFF2-40B4-BE49-F238E27FC236}">
                  <a16:creationId xmlns:a16="http://schemas.microsoft.com/office/drawing/2014/main" id="{BBC8A03C-361E-6544-9E77-EACB56BAE28C}"/>
                </a:ext>
              </a:extLst>
            </p:cNvPr>
            <p:cNvSpPr>
              <a:spLocks/>
            </p:cNvSpPr>
            <p:nvPr/>
          </p:nvSpPr>
          <p:spPr bwMode="auto">
            <a:xfrm>
              <a:off x="1191015" y="266403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0" name="Freeform 356">
              <a:extLst>
                <a:ext uri="{FF2B5EF4-FFF2-40B4-BE49-F238E27FC236}">
                  <a16:creationId xmlns:a16="http://schemas.microsoft.com/office/drawing/2014/main" id="{A1CC6E7E-EC36-6149-9345-C562F6F508D4}"/>
                </a:ext>
              </a:extLst>
            </p:cNvPr>
            <p:cNvSpPr>
              <a:spLocks/>
            </p:cNvSpPr>
            <p:nvPr/>
          </p:nvSpPr>
          <p:spPr bwMode="auto">
            <a:xfrm>
              <a:off x="1195667" y="2658076"/>
              <a:ext cx="10467" cy="11914"/>
            </a:xfrm>
            <a:custGeom>
              <a:avLst/>
              <a:gdLst>
                <a:gd name="T0" fmla="*/ 2147483646 w 9"/>
                <a:gd name="T1" fmla="*/ 2147483646 h 12"/>
                <a:gd name="T2" fmla="*/ 2147483646 w 9"/>
                <a:gd name="T3" fmla="*/ 2147483646 h 12"/>
                <a:gd name="T4" fmla="*/ 2147483646 w 9"/>
                <a:gd name="T5" fmla="*/ 2147483646 h 12"/>
                <a:gd name="T6" fmla="*/ 2147483646 w 9"/>
                <a:gd name="T7" fmla="*/ 2147483646 h 12"/>
                <a:gd name="T8" fmla="*/ 0 w 9"/>
                <a:gd name="T9" fmla="*/ 2147483646 h 12"/>
                <a:gd name="T10" fmla="*/ 0 w 9"/>
                <a:gd name="T11" fmla="*/ 2147483646 h 12"/>
                <a:gd name="T12" fmla="*/ 0 w 9"/>
                <a:gd name="T13" fmla="*/ 2147483646 h 12"/>
                <a:gd name="T14" fmla="*/ 0 w 9"/>
                <a:gd name="T15" fmla="*/ 0 h 12"/>
                <a:gd name="T16" fmla="*/ 2147483646 w 9"/>
                <a:gd name="T17" fmla="*/ 0 h 12"/>
                <a:gd name="T18" fmla="*/ 2147483646 w 9"/>
                <a:gd name="T19" fmla="*/ 0 h 12"/>
                <a:gd name="T20" fmla="*/ 2147483646 w 9"/>
                <a:gd name="T21" fmla="*/ 0 h 12"/>
                <a:gd name="T22" fmla="*/ 2147483646 w 9"/>
                <a:gd name="T23" fmla="*/ 2147483646 h 12"/>
                <a:gd name="T24" fmla="*/ 2147483646 w 9"/>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2">
                  <a:moveTo>
                    <a:pt x="9" y="9"/>
                  </a:moveTo>
                  <a:lnTo>
                    <a:pt x="6" y="12"/>
                  </a:lnTo>
                  <a:lnTo>
                    <a:pt x="3" y="12"/>
                  </a:lnTo>
                  <a:lnTo>
                    <a:pt x="0" y="12"/>
                  </a:lnTo>
                  <a:lnTo>
                    <a:pt x="0" y="9"/>
                  </a:lnTo>
                  <a:lnTo>
                    <a:pt x="0" y="3"/>
                  </a:lnTo>
                  <a:lnTo>
                    <a:pt x="0" y="0"/>
                  </a:lnTo>
                  <a:lnTo>
                    <a:pt x="3" y="0"/>
                  </a:lnTo>
                  <a:lnTo>
                    <a:pt x="6" y="0"/>
                  </a:lnTo>
                  <a:lnTo>
                    <a:pt x="9" y="3"/>
                  </a:lnTo>
                  <a:lnTo>
                    <a:pt x="9"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1" name="Freeform 357">
              <a:extLst>
                <a:ext uri="{FF2B5EF4-FFF2-40B4-BE49-F238E27FC236}">
                  <a16:creationId xmlns:a16="http://schemas.microsoft.com/office/drawing/2014/main" id="{104FAF45-342D-5843-8F0D-ECE48667E704}"/>
                </a:ext>
              </a:extLst>
            </p:cNvPr>
            <p:cNvSpPr>
              <a:spLocks/>
            </p:cNvSpPr>
            <p:nvPr/>
          </p:nvSpPr>
          <p:spPr bwMode="auto">
            <a:xfrm>
              <a:off x="1195667" y="2658076"/>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2" name="Freeform 358">
              <a:extLst>
                <a:ext uri="{FF2B5EF4-FFF2-40B4-BE49-F238E27FC236}">
                  <a16:creationId xmlns:a16="http://schemas.microsoft.com/office/drawing/2014/main" id="{6A20660C-FED1-DD4E-8870-9F2963674FFE}"/>
                </a:ext>
              </a:extLst>
            </p:cNvPr>
            <p:cNvSpPr>
              <a:spLocks/>
            </p:cNvSpPr>
            <p:nvPr/>
          </p:nvSpPr>
          <p:spPr bwMode="auto">
            <a:xfrm>
              <a:off x="1199156" y="2651126"/>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3" name="Freeform 359">
              <a:extLst>
                <a:ext uri="{FF2B5EF4-FFF2-40B4-BE49-F238E27FC236}">
                  <a16:creationId xmlns:a16="http://schemas.microsoft.com/office/drawing/2014/main" id="{1D8EF5B7-C878-EA42-9ADC-10DE8BE0EA3D}"/>
                </a:ext>
              </a:extLst>
            </p:cNvPr>
            <p:cNvSpPr>
              <a:spLocks/>
            </p:cNvSpPr>
            <p:nvPr/>
          </p:nvSpPr>
          <p:spPr bwMode="auto">
            <a:xfrm>
              <a:off x="1199156" y="2651126"/>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4" name="Freeform 360">
              <a:extLst>
                <a:ext uri="{FF2B5EF4-FFF2-40B4-BE49-F238E27FC236}">
                  <a16:creationId xmlns:a16="http://schemas.microsoft.com/office/drawing/2014/main" id="{5A828F7C-8CC8-D048-B103-7384E0F8FF0E}"/>
                </a:ext>
              </a:extLst>
            </p:cNvPr>
            <p:cNvSpPr>
              <a:spLocks/>
            </p:cNvSpPr>
            <p:nvPr/>
          </p:nvSpPr>
          <p:spPr bwMode="auto">
            <a:xfrm>
              <a:off x="1206133" y="264516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5" name="Freeform 361">
              <a:extLst>
                <a:ext uri="{FF2B5EF4-FFF2-40B4-BE49-F238E27FC236}">
                  <a16:creationId xmlns:a16="http://schemas.microsoft.com/office/drawing/2014/main" id="{D56C2EBD-B427-EF41-8B47-41651DB06BBC}"/>
                </a:ext>
              </a:extLst>
            </p:cNvPr>
            <p:cNvSpPr>
              <a:spLocks/>
            </p:cNvSpPr>
            <p:nvPr/>
          </p:nvSpPr>
          <p:spPr bwMode="auto">
            <a:xfrm>
              <a:off x="1206133" y="2645169"/>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6" name="Freeform 362">
              <a:extLst>
                <a:ext uri="{FF2B5EF4-FFF2-40B4-BE49-F238E27FC236}">
                  <a16:creationId xmlns:a16="http://schemas.microsoft.com/office/drawing/2014/main" id="{2B44DE94-3C22-534A-BDEC-C130D0F3C065}"/>
                </a:ext>
              </a:extLst>
            </p:cNvPr>
            <p:cNvSpPr>
              <a:spLocks/>
            </p:cNvSpPr>
            <p:nvPr/>
          </p:nvSpPr>
          <p:spPr bwMode="auto">
            <a:xfrm>
              <a:off x="1209622" y="2645169"/>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7" name="Freeform 363">
              <a:extLst>
                <a:ext uri="{FF2B5EF4-FFF2-40B4-BE49-F238E27FC236}">
                  <a16:creationId xmlns:a16="http://schemas.microsoft.com/office/drawing/2014/main" id="{8D168E5D-DEB1-E64B-AD4C-846169A2E8C1}"/>
                </a:ext>
              </a:extLst>
            </p:cNvPr>
            <p:cNvSpPr>
              <a:spLocks/>
            </p:cNvSpPr>
            <p:nvPr/>
          </p:nvSpPr>
          <p:spPr bwMode="auto">
            <a:xfrm>
              <a:off x="1217763" y="2645169"/>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8" name="Freeform 364">
              <a:extLst>
                <a:ext uri="{FF2B5EF4-FFF2-40B4-BE49-F238E27FC236}">
                  <a16:creationId xmlns:a16="http://schemas.microsoft.com/office/drawing/2014/main" id="{BE03ABA1-17CE-874A-8E77-240BE63EF6D1}"/>
                </a:ext>
              </a:extLst>
            </p:cNvPr>
            <p:cNvSpPr>
              <a:spLocks/>
            </p:cNvSpPr>
            <p:nvPr/>
          </p:nvSpPr>
          <p:spPr bwMode="auto">
            <a:xfrm>
              <a:off x="1221251" y="263821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59" name="Freeform 365">
              <a:extLst>
                <a:ext uri="{FF2B5EF4-FFF2-40B4-BE49-F238E27FC236}">
                  <a16:creationId xmlns:a16="http://schemas.microsoft.com/office/drawing/2014/main" id="{8ACCE3F8-6514-7441-9597-7C40192ECE6A}"/>
                </a:ext>
              </a:extLst>
            </p:cNvPr>
            <p:cNvSpPr>
              <a:spLocks/>
            </p:cNvSpPr>
            <p:nvPr/>
          </p:nvSpPr>
          <p:spPr bwMode="auto">
            <a:xfrm>
              <a:off x="1221251" y="263821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0" name="Freeform 366">
              <a:extLst>
                <a:ext uri="{FF2B5EF4-FFF2-40B4-BE49-F238E27FC236}">
                  <a16:creationId xmlns:a16="http://schemas.microsoft.com/office/drawing/2014/main" id="{06616A46-69FC-8B46-8A84-7A32FD350187}"/>
                </a:ext>
              </a:extLst>
            </p:cNvPr>
            <p:cNvSpPr>
              <a:spLocks/>
            </p:cNvSpPr>
            <p:nvPr/>
          </p:nvSpPr>
          <p:spPr bwMode="auto">
            <a:xfrm>
              <a:off x="1224740" y="263226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1" name="Freeform 367">
              <a:extLst>
                <a:ext uri="{FF2B5EF4-FFF2-40B4-BE49-F238E27FC236}">
                  <a16:creationId xmlns:a16="http://schemas.microsoft.com/office/drawing/2014/main" id="{BA0A1C65-C666-C04E-9940-987EFBAC8BAD}"/>
                </a:ext>
              </a:extLst>
            </p:cNvPr>
            <p:cNvSpPr>
              <a:spLocks/>
            </p:cNvSpPr>
            <p:nvPr/>
          </p:nvSpPr>
          <p:spPr bwMode="auto">
            <a:xfrm>
              <a:off x="1224740" y="2632262"/>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2" name="Freeform 368">
              <a:extLst>
                <a:ext uri="{FF2B5EF4-FFF2-40B4-BE49-F238E27FC236}">
                  <a16:creationId xmlns:a16="http://schemas.microsoft.com/office/drawing/2014/main" id="{7B990D24-3A15-224D-A82F-E46608D16D1A}"/>
                </a:ext>
              </a:extLst>
            </p:cNvPr>
            <p:cNvSpPr>
              <a:spLocks/>
            </p:cNvSpPr>
            <p:nvPr/>
          </p:nvSpPr>
          <p:spPr bwMode="auto">
            <a:xfrm>
              <a:off x="1232880" y="2625312"/>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3" name="Freeform 369">
              <a:extLst>
                <a:ext uri="{FF2B5EF4-FFF2-40B4-BE49-F238E27FC236}">
                  <a16:creationId xmlns:a16="http://schemas.microsoft.com/office/drawing/2014/main" id="{59EA014E-7FCF-614D-96B2-1CB935CE61BC}"/>
                </a:ext>
              </a:extLst>
            </p:cNvPr>
            <p:cNvSpPr>
              <a:spLocks/>
            </p:cNvSpPr>
            <p:nvPr/>
          </p:nvSpPr>
          <p:spPr bwMode="auto">
            <a:xfrm>
              <a:off x="1232880" y="262531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4" name="Freeform 370">
              <a:extLst>
                <a:ext uri="{FF2B5EF4-FFF2-40B4-BE49-F238E27FC236}">
                  <a16:creationId xmlns:a16="http://schemas.microsoft.com/office/drawing/2014/main" id="{0F7A2ED4-E5E7-D744-8E58-32B953C343FF}"/>
                </a:ext>
              </a:extLst>
            </p:cNvPr>
            <p:cNvSpPr>
              <a:spLocks/>
            </p:cNvSpPr>
            <p:nvPr/>
          </p:nvSpPr>
          <p:spPr bwMode="auto">
            <a:xfrm>
              <a:off x="1236369" y="262531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5" name="Freeform 371">
              <a:extLst>
                <a:ext uri="{FF2B5EF4-FFF2-40B4-BE49-F238E27FC236}">
                  <a16:creationId xmlns:a16="http://schemas.microsoft.com/office/drawing/2014/main" id="{4FDF9A6A-6778-A547-9AD7-58328A1572E9}"/>
                </a:ext>
              </a:extLst>
            </p:cNvPr>
            <p:cNvSpPr>
              <a:spLocks/>
            </p:cNvSpPr>
            <p:nvPr/>
          </p:nvSpPr>
          <p:spPr bwMode="auto">
            <a:xfrm>
              <a:off x="1239858" y="261935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6" name="Freeform 372">
              <a:extLst>
                <a:ext uri="{FF2B5EF4-FFF2-40B4-BE49-F238E27FC236}">
                  <a16:creationId xmlns:a16="http://schemas.microsoft.com/office/drawing/2014/main" id="{3863CBC6-F944-264E-A41D-B74DEDDB1793}"/>
                </a:ext>
              </a:extLst>
            </p:cNvPr>
            <p:cNvSpPr>
              <a:spLocks/>
            </p:cNvSpPr>
            <p:nvPr/>
          </p:nvSpPr>
          <p:spPr bwMode="auto">
            <a:xfrm>
              <a:off x="1239858" y="261935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7" name="Freeform 373">
              <a:extLst>
                <a:ext uri="{FF2B5EF4-FFF2-40B4-BE49-F238E27FC236}">
                  <a16:creationId xmlns:a16="http://schemas.microsoft.com/office/drawing/2014/main" id="{D61BFDDB-E587-EE4C-B459-68866E3E10BE}"/>
                </a:ext>
              </a:extLst>
            </p:cNvPr>
            <p:cNvSpPr>
              <a:spLocks/>
            </p:cNvSpPr>
            <p:nvPr/>
          </p:nvSpPr>
          <p:spPr bwMode="auto">
            <a:xfrm>
              <a:off x="1243347" y="261240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8" name="Freeform 374">
              <a:extLst>
                <a:ext uri="{FF2B5EF4-FFF2-40B4-BE49-F238E27FC236}">
                  <a16:creationId xmlns:a16="http://schemas.microsoft.com/office/drawing/2014/main" id="{BC2DD15D-B159-7944-9EFB-8E9ECBC94DC7}"/>
                </a:ext>
              </a:extLst>
            </p:cNvPr>
            <p:cNvSpPr>
              <a:spLocks/>
            </p:cNvSpPr>
            <p:nvPr/>
          </p:nvSpPr>
          <p:spPr bwMode="auto">
            <a:xfrm>
              <a:off x="1243347" y="260644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69" name="Freeform 375">
              <a:extLst>
                <a:ext uri="{FF2B5EF4-FFF2-40B4-BE49-F238E27FC236}">
                  <a16:creationId xmlns:a16="http://schemas.microsoft.com/office/drawing/2014/main" id="{B9E71C21-AC64-4E45-B51E-0A9A8BEB76AE}"/>
                </a:ext>
              </a:extLst>
            </p:cNvPr>
            <p:cNvSpPr>
              <a:spLocks/>
            </p:cNvSpPr>
            <p:nvPr/>
          </p:nvSpPr>
          <p:spPr bwMode="auto">
            <a:xfrm>
              <a:off x="1243347" y="260644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0" name="Freeform 376">
              <a:extLst>
                <a:ext uri="{FF2B5EF4-FFF2-40B4-BE49-F238E27FC236}">
                  <a16:creationId xmlns:a16="http://schemas.microsoft.com/office/drawing/2014/main" id="{155A8B04-0AE1-B944-8067-5F5B397DA860}"/>
                </a:ext>
              </a:extLst>
            </p:cNvPr>
            <p:cNvSpPr>
              <a:spLocks/>
            </p:cNvSpPr>
            <p:nvPr/>
          </p:nvSpPr>
          <p:spPr bwMode="auto">
            <a:xfrm>
              <a:off x="1247999" y="259949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1" name="Freeform 377">
              <a:extLst>
                <a:ext uri="{FF2B5EF4-FFF2-40B4-BE49-F238E27FC236}">
                  <a16:creationId xmlns:a16="http://schemas.microsoft.com/office/drawing/2014/main" id="{A83FB7B8-E924-5B46-8991-FB1143F189DE}"/>
                </a:ext>
              </a:extLst>
            </p:cNvPr>
            <p:cNvSpPr>
              <a:spLocks/>
            </p:cNvSpPr>
            <p:nvPr/>
          </p:nvSpPr>
          <p:spPr bwMode="auto">
            <a:xfrm>
              <a:off x="1247999" y="2599498"/>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2" name="Freeform 378">
              <a:extLst>
                <a:ext uri="{FF2B5EF4-FFF2-40B4-BE49-F238E27FC236}">
                  <a16:creationId xmlns:a16="http://schemas.microsoft.com/office/drawing/2014/main" id="{F5DDFE7F-FC1C-3942-B00E-719697084604}"/>
                </a:ext>
              </a:extLst>
            </p:cNvPr>
            <p:cNvSpPr>
              <a:spLocks/>
            </p:cNvSpPr>
            <p:nvPr/>
          </p:nvSpPr>
          <p:spPr bwMode="auto">
            <a:xfrm>
              <a:off x="1258465" y="259354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3" name="Freeform 379">
              <a:extLst>
                <a:ext uri="{FF2B5EF4-FFF2-40B4-BE49-F238E27FC236}">
                  <a16:creationId xmlns:a16="http://schemas.microsoft.com/office/drawing/2014/main" id="{F03B0FF1-D57B-1A48-84A0-D2CA08AC03A2}"/>
                </a:ext>
              </a:extLst>
            </p:cNvPr>
            <p:cNvSpPr>
              <a:spLocks/>
            </p:cNvSpPr>
            <p:nvPr/>
          </p:nvSpPr>
          <p:spPr bwMode="auto">
            <a:xfrm>
              <a:off x="1258465" y="2593541"/>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4" name="Freeform 380">
              <a:extLst>
                <a:ext uri="{FF2B5EF4-FFF2-40B4-BE49-F238E27FC236}">
                  <a16:creationId xmlns:a16="http://schemas.microsoft.com/office/drawing/2014/main" id="{1DC76A02-696D-394A-AF02-E850FCBC375D}"/>
                </a:ext>
              </a:extLst>
            </p:cNvPr>
            <p:cNvSpPr>
              <a:spLocks/>
            </p:cNvSpPr>
            <p:nvPr/>
          </p:nvSpPr>
          <p:spPr bwMode="auto">
            <a:xfrm>
              <a:off x="1277071" y="2587584"/>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4" y="12"/>
                  </a:lnTo>
                  <a:lnTo>
                    <a:pt x="0" y="12"/>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5" name="Freeform 381">
              <a:extLst>
                <a:ext uri="{FF2B5EF4-FFF2-40B4-BE49-F238E27FC236}">
                  <a16:creationId xmlns:a16="http://schemas.microsoft.com/office/drawing/2014/main" id="{BC25D280-B080-6C43-8F1C-8CCB46543425}"/>
                </a:ext>
              </a:extLst>
            </p:cNvPr>
            <p:cNvSpPr>
              <a:spLocks/>
            </p:cNvSpPr>
            <p:nvPr/>
          </p:nvSpPr>
          <p:spPr bwMode="auto">
            <a:xfrm>
              <a:off x="1277071" y="258758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6" name="Freeform 382">
              <a:extLst>
                <a:ext uri="{FF2B5EF4-FFF2-40B4-BE49-F238E27FC236}">
                  <a16:creationId xmlns:a16="http://schemas.microsoft.com/office/drawing/2014/main" id="{B46E7BC0-D334-DF41-9C6A-048420EB9F44}"/>
                </a:ext>
              </a:extLst>
            </p:cNvPr>
            <p:cNvSpPr>
              <a:spLocks/>
            </p:cNvSpPr>
            <p:nvPr/>
          </p:nvSpPr>
          <p:spPr bwMode="auto">
            <a:xfrm>
              <a:off x="1285212" y="2583612"/>
              <a:ext cx="11629" cy="9928"/>
            </a:xfrm>
            <a:custGeom>
              <a:avLst/>
              <a:gdLst>
                <a:gd name="T0" fmla="*/ 2147483646 w 10"/>
                <a:gd name="T1" fmla="*/ 2147483646 h 10"/>
                <a:gd name="T2" fmla="*/ 2147483646 w 10"/>
                <a:gd name="T3" fmla="*/ 2147483646 h 10"/>
                <a:gd name="T4" fmla="*/ 2147483646 w 10"/>
                <a:gd name="T5" fmla="*/ 2147483646 h 10"/>
                <a:gd name="T6" fmla="*/ 2147483646 w 10"/>
                <a:gd name="T7" fmla="*/ 2147483646 h 10"/>
                <a:gd name="T8" fmla="*/ 0 w 10"/>
                <a:gd name="T9" fmla="*/ 2147483646 h 10"/>
                <a:gd name="T10" fmla="*/ 0 w 10"/>
                <a:gd name="T11" fmla="*/ 2147483646 h 10"/>
                <a:gd name="T12" fmla="*/ 0 w 10"/>
                <a:gd name="T13" fmla="*/ 2147483646 h 10"/>
                <a:gd name="T14" fmla="*/ 0 w 10"/>
                <a:gd name="T15" fmla="*/ 0 h 10"/>
                <a:gd name="T16" fmla="*/ 2147483646 w 10"/>
                <a:gd name="T17" fmla="*/ 0 h 10"/>
                <a:gd name="T18" fmla="*/ 2147483646 w 10"/>
                <a:gd name="T19" fmla="*/ 0 h 10"/>
                <a:gd name="T20" fmla="*/ 2147483646 w 10"/>
                <a:gd name="T21" fmla="*/ 0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10" y="7"/>
                  </a:moveTo>
                  <a:lnTo>
                    <a:pt x="6" y="10"/>
                  </a:lnTo>
                  <a:lnTo>
                    <a:pt x="3" y="10"/>
                  </a:lnTo>
                  <a:lnTo>
                    <a:pt x="0" y="10"/>
                  </a:lnTo>
                  <a:lnTo>
                    <a:pt x="0" y="7"/>
                  </a:lnTo>
                  <a:lnTo>
                    <a:pt x="0" y="4"/>
                  </a:lnTo>
                  <a:lnTo>
                    <a:pt x="0" y="0"/>
                  </a:lnTo>
                  <a:lnTo>
                    <a:pt x="3" y="0"/>
                  </a:lnTo>
                  <a:lnTo>
                    <a:pt x="6" y="0"/>
                  </a:lnTo>
                  <a:lnTo>
                    <a:pt x="10" y="4"/>
                  </a:lnTo>
                  <a:lnTo>
                    <a:pt x="10" y="7"/>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7" name="Freeform 383">
              <a:extLst>
                <a:ext uri="{FF2B5EF4-FFF2-40B4-BE49-F238E27FC236}">
                  <a16:creationId xmlns:a16="http://schemas.microsoft.com/office/drawing/2014/main" id="{99358A52-7C36-064F-9035-D283EF5F32CE}"/>
                </a:ext>
              </a:extLst>
            </p:cNvPr>
            <p:cNvSpPr>
              <a:spLocks/>
            </p:cNvSpPr>
            <p:nvPr/>
          </p:nvSpPr>
          <p:spPr bwMode="auto">
            <a:xfrm>
              <a:off x="1285212" y="258361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8" name="Freeform 384">
              <a:extLst>
                <a:ext uri="{FF2B5EF4-FFF2-40B4-BE49-F238E27FC236}">
                  <a16:creationId xmlns:a16="http://schemas.microsoft.com/office/drawing/2014/main" id="{1B0AC74D-4A42-014B-AE8F-AEA732265C69}"/>
                </a:ext>
              </a:extLst>
            </p:cNvPr>
            <p:cNvSpPr>
              <a:spLocks/>
            </p:cNvSpPr>
            <p:nvPr/>
          </p:nvSpPr>
          <p:spPr bwMode="auto">
            <a:xfrm>
              <a:off x="1292190" y="257765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79" name="Freeform 385">
              <a:extLst>
                <a:ext uri="{FF2B5EF4-FFF2-40B4-BE49-F238E27FC236}">
                  <a16:creationId xmlns:a16="http://schemas.microsoft.com/office/drawing/2014/main" id="{B797719A-54E7-B14F-8C1C-340E0BF1AFD9}"/>
                </a:ext>
              </a:extLst>
            </p:cNvPr>
            <p:cNvSpPr>
              <a:spLocks/>
            </p:cNvSpPr>
            <p:nvPr/>
          </p:nvSpPr>
          <p:spPr bwMode="auto">
            <a:xfrm>
              <a:off x="1292190" y="257765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0" name="Freeform 386">
              <a:extLst>
                <a:ext uri="{FF2B5EF4-FFF2-40B4-BE49-F238E27FC236}">
                  <a16:creationId xmlns:a16="http://schemas.microsoft.com/office/drawing/2014/main" id="{4B9C65F8-7B08-AD4F-9A7D-26E9BE006CD8}"/>
                </a:ext>
              </a:extLst>
            </p:cNvPr>
            <p:cNvSpPr>
              <a:spLocks/>
            </p:cNvSpPr>
            <p:nvPr/>
          </p:nvSpPr>
          <p:spPr bwMode="auto">
            <a:xfrm>
              <a:off x="1296841" y="2570706"/>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1" name="Freeform 387">
              <a:extLst>
                <a:ext uri="{FF2B5EF4-FFF2-40B4-BE49-F238E27FC236}">
                  <a16:creationId xmlns:a16="http://schemas.microsoft.com/office/drawing/2014/main" id="{3A45C0FB-736E-6746-AF92-012BE3034D77}"/>
                </a:ext>
              </a:extLst>
            </p:cNvPr>
            <p:cNvSpPr>
              <a:spLocks/>
            </p:cNvSpPr>
            <p:nvPr/>
          </p:nvSpPr>
          <p:spPr bwMode="auto">
            <a:xfrm>
              <a:off x="1296841" y="257070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2" name="Freeform 388">
              <a:extLst>
                <a:ext uri="{FF2B5EF4-FFF2-40B4-BE49-F238E27FC236}">
                  <a16:creationId xmlns:a16="http://schemas.microsoft.com/office/drawing/2014/main" id="{80711C98-1A8A-9640-872A-242A560C6513}"/>
                </a:ext>
              </a:extLst>
            </p:cNvPr>
            <p:cNvSpPr>
              <a:spLocks/>
            </p:cNvSpPr>
            <p:nvPr/>
          </p:nvSpPr>
          <p:spPr bwMode="auto">
            <a:xfrm>
              <a:off x="1300330" y="2564749"/>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3" name="Freeform 389">
              <a:extLst>
                <a:ext uri="{FF2B5EF4-FFF2-40B4-BE49-F238E27FC236}">
                  <a16:creationId xmlns:a16="http://schemas.microsoft.com/office/drawing/2014/main" id="{6ADECD29-BF9C-8F4E-B2E1-A63075973918}"/>
                </a:ext>
              </a:extLst>
            </p:cNvPr>
            <p:cNvSpPr>
              <a:spLocks/>
            </p:cNvSpPr>
            <p:nvPr/>
          </p:nvSpPr>
          <p:spPr bwMode="auto">
            <a:xfrm>
              <a:off x="1300330" y="25647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4" name="Freeform 390">
              <a:extLst>
                <a:ext uri="{FF2B5EF4-FFF2-40B4-BE49-F238E27FC236}">
                  <a16:creationId xmlns:a16="http://schemas.microsoft.com/office/drawing/2014/main" id="{1CC20F6A-3942-DD40-9D12-D907B4112B58}"/>
                </a:ext>
              </a:extLst>
            </p:cNvPr>
            <p:cNvSpPr>
              <a:spLocks/>
            </p:cNvSpPr>
            <p:nvPr/>
          </p:nvSpPr>
          <p:spPr bwMode="auto">
            <a:xfrm>
              <a:off x="1307307" y="256474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5" name="Freeform 391">
              <a:extLst>
                <a:ext uri="{FF2B5EF4-FFF2-40B4-BE49-F238E27FC236}">
                  <a16:creationId xmlns:a16="http://schemas.microsoft.com/office/drawing/2014/main" id="{C56228AF-32C0-8543-ABD3-CD60DFC8FA9F}"/>
                </a:ext>
              </a:extLst>
            </p:cNvPr>
            <p:cNvSpPr>
              <a:spLocks/>
            </p:cNvSpPr>
            <p:nvPr/>
          </p:nvSpPr>
          <p:spPr bwMode="auto">
            <a:xfrm>
              <a:off x="1310796" y="255779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6" name="Freeform 392">
              <a:extLst>
                <a:ext uri="{FF2B5EF4-FFF2-40B4-BE49-F238E27FC236}">
                  <a16:creationId xmlns:a16="http://schemas.microsoft.com/office/drawing/2014/main" id="{8021DB1C-632C-764E-A965-4111A60C3857}"/>
                </a:ext>
              </a:extLst>
            </p:cNvPr>
            <p:cNvSpPr>
              <a:spLocks/>
            </p:cNvSpPr>
            <p:nvPr/>
          </p:nvSpPr>
          <p:spPr bwMode="auto">
            <a:xfrm>
              <a:off x="1310796" y="255184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7" name="Freeform 393">
              <a:extLst>
                <a:ext uri="{FF2B5EF4-FFF2-40B4-BE49-F238E27FC236}">
                  <a16:creationId xmlns:a16="http://schemas.microsoft.com/office/drawing/2014/main" id="{2B1A94DE-04DD-EB41-9C02-15E41DF95E07}"/>
                </a:ext>
              </a:extLst>
            </p:cNvPr>
            <p:cNvSpPr>
              <a:spLocks/>
            </p:cNvSpPr>
            <p:nvPr/>
          </p:nvSpPr>
          <p:spPr bwMode="auto">
            <a:xfrm>
              <a:off x="1310796" y="2551841"/>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6"/>
                  </a:lnTo>
                  <a:lnTo>
                    <a:pt x="0" y="3"/>
                  </a:lnTo>
                  <a:lnTo>
                    <a:pt x="0" y="0"/>
                  </a:lnTo>
                  <a:lnTo>
                    <a:pt x="4" y="0"/>
                  </a:lnTo>
                  <a:lnTo>
                    <a:pt x="13" y="0"/>
                  </a:lnTo>
                  <a:lnTo>
                    <a:pt x="17" y="0"/>
                  </a:lnTo>
                  <a:lnTo>
                    <a:pt x="17" y="3"/>
                  </a:lnTo>
                  <a:lnTo>
                    <a:pt x="17" y="6"/>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8" name="Freeform 394">
              <a:extLst>
                <a:ext uri="{FF2B5EF4-FFF2-40B4-BE49-F238E27FC236}">
                  <a16:creationId xmlns:a16="http://schemas.microsoft.com/office/drawing/2014/main" id="{EC5B6E48-9CE5-584E-A795-A4D5D774E395}"/>
                </a:ext>
              </a:extLst>
            </p:cNvPr>
            <p:cNvSpPr>
              <a:spLocks/>
            </p:cNvSpPr>
            <p:nvPr/>
          </p:nvSpPr>
          <p:spPr bwMode="auto">
            <a:xfrm>
              <a:off x="1322426" y="2545884"/>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89" name="Freeform 395">
              <a:extLst>
                <a:ext uri="{FF2B5EF4-FFF2-40B4-BE49-F238E27FC236}">
                  <a16:creationId xmlns:a16="http://schemas.microsoft.com/office/drawing/2014/main" id="{D765FB30-27C7-9E43-B2DA-147F387A2728}"/>
                </a:ext>
              </a:extLst>
            </p:cNvPr>
            <p:cNvSpPr>
              <a:spLocks/>
            </p:cNvSpPr>
            <p:nvPr/>
          </p:nvSpPr>
          <p:spPr bwMode="auto">
            <a:xfrm>
              <a:off x="1322426" y="254588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0" name="Freeform 396">
              <a:extLst>
                <a:ext uri="{FF2B5EF4-FFF2-40B4-BE49-F238E27FC236}">
                  <a16:creationId xmlns:a16="http://schemas.microsoft.com/office/drawing/2014/main" id="{7E97DF42-C093-6948-BB5B-E9CDD98259AD}"/>
                </a:ext>
              </a:extLst>
            </p:cNvPr>
            <p:cNvSpPr>
              <a:spLocks/>
            </p:cNvSpPr>
            <p:nvPr/>
          </p:nvSpPr>
          <p:spPr bwMode="auto">
            <a:xfrm>
              <a:off x="1325914" y="253893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1" name="Freeform 397">
              <a:extLst>
                <a:ext uri="{FF2B5EF4-FFF2-40B4-BE49-F238E27FC236}">
                  <a16:creationId xmlns:a16="http://schemas.microsoft.com/office/drawing/2014/main" id="{42D264EA-FF66-F349-A689-CFEF14237D97}"/>
                </a:ext>
              </a:extLst>
            </p:cNvPr>
            <p:cNvSpPr>
              <a:spLocks/>
            </p:cNvSpPr>
            <p:nvPr/>
          </p:nvSpPr>
          <p:spPr bwMode="auto">
            <a:xfrm>
              <a:off x="1325914" y="253297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2" name="Freeform 398">
              <a:extLst>
                <a:ext uri="{FF2B5EF4-FFF2-40B4-BE49-F238E27FC236}">
                  <a16:creationId xmlns:a16="http://schemas.microsoft.com/office/drawing/2014/main" id="{6E9FBBE8-BE32-5643-A500-E8F1FFE7062A}"/>
                </a:ext>
              </a:extLst>
            </p:cNvPr>
            <p:cNvSpPr>
              <a:spLocks/>
            </p:cNvSpPr>
            <p:nvPr/>
          </p:nvSpPr>
          <p:spPr bwMode="auto">
            <a:xfrm>
              <a:off x="1325914" y="253297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3" name="Freeform 399">
              <a:extLst>
                <a:ext uri="{FF2B5EF4-FFF2-40B4-BE49-F238E27FC236}">
                  <a16:creationId xmlns:a16="http://schemas.microsoft.com/office/drawing/2014/main" id="{03B19AE5-7B77-A04A-AB88-1E4B62557A99}"/>
                </a:ext>
              </a:extLst>
            </p:cNvPr>
            <p:cNvSpPr>
              <a:spLocks/>
            </p:cNvSpPr>
            <p:nvPr/>
          </p:nvSpPr>
          <p:spPr bwMode="auto">
            <a:xfrm>
              <a:off x="1334055" y="252602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4" name="Freeform 400">
              <a:extLst>
                <a:ext uri="{FF2B5EF4-FFF2-40B4-BE49-F238E27FC236}">
                  <a16:creationId xmlns:a16="http://schemas.microsoft.com/office/drawing/2014/main" id="{FEDF196B-1E26-7F4F-B9B6-007D3DA50BA7}"/>
                </a:ext>
              </a:extLst>
            </p:cNvPr>
            <p:cNvSpPr>
              <a:spLocks/>
            </p:cNvSpPr>
            <p:nvPr/>
          </p:nvSpPr>
          <p:spPr bwMode="auto">
            <a:xfrm>
              <a:off x="1334055" y="2526028"/>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5" name="Freeform 401">
              <a:extLst>
                <a:ext uri="{FF2B5EF4-FFF2-40B4-BE49-F238E27FC236}">
                  <a16:creationId xmlns:a16="http://schemas.microsoft.com/office/drawing/2014/main" id="{CEA42E1E-5C56-6146-BFBC-0DB0AECB849B}"/>
                </a:ext>
              </a:extLst>
            </p:cNvPr>
            <p:cNvSpPr>
              <a:spLocks/>
            </p:cNvSpPr>
            <p:nvPr/>
          </p:nvSpPr>
          <p:spPr bwMode="auto">
            <a:xfrm>
              <a:off x="1349172" y="252602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6" name="Freeform 402">
              <a:extLst>
                <a:ext uri="{FF2B5EF4-FFF2-40B4-BE49-F238E27FC236}">
                  <a16:creationId xmlns:a16="http://schemas.microsoft.com/office/drawing/2014/main" id="{2E6FD7F3-2D5C-A34D-A30B-3FAF3C768791}"/>
                </a:ext>
              </a:extLst>
            </p:cNvPr>
            <p:cNvSpPr>
              <a:spLocks/>
            </p:cNvSpPr>
            <p:nvPr/>
          </p:nvSpPr>
          <p:spPr bwMode="auto">
            <a:xfrm>
              <a:off x="1352662" y="252602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7" name="Freeform 403">
              <a:extLst>
                <a:ext uri="{FF2B5EF4-FFF2-40B4-BE49-F238E27FC236}">
                  <a16:creationId xmlns:a16="http://schemas.microsoft.com/office/drawing/2014/main" id="{504F78F3-7C85-0B40-99D1-1F600AC05655}"/>
                </a:ext>
              </a:extLst>
            </p:cNvPr>
            <p:cNvSpPr>
              <a:spLocks/>
            </p:cNvSpPr>
            <p:nvPr/>
          </p:nvSpPr>
          <p:spPr bwMode="auto">
            <a:xfrm>
              <a:off x="1356150" y="252602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8" name="Freeform 404">
              <a:extLst>
                <a:ext uri="{FF2B5EF4-FFF2-40B4-BE49-F238E27FC236}">
                  <a16:creationId xmlns:a16="http://schemas.microsoft.com/office/drawing/2014/main" id="{1D31709A-521B-D04A-B59F-9F745FFA97E6}"/>
                </a:ext>
              </a:extLst>
            </p:cNvPr>
            <p:cNvSpPr>
              <a:spLocks/>
            </p:cNvSpPr>
            <p:nvPr/>
          </p:nvSpPr>
          <p:spPr bwMode="auto">
            <a:xfrm>
              <a:off x="1359639" y="252007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399" name="Freeform 405">
              <a:extLst>
                <a:ext uri="{FF2B5EF4-FFF2-40B4-BE49-F238E27FC236}">
                  <a16:creationId xmlns:a16="http://schemas.microsoft.com/office/drawing/2014/main" id="{B2BA836A-A0BC-294C-BF3E-28A95116C795}"/>
                </a:ext>
              </a:extLst>
            </p:cNvPr>
            <p:cNvSpPr>
              <a:spLocks/>
            </p:cNvSpPr>
            <p:nvPr/>
          </p:nvSpPr>
          <p:spPr bwMode="auto">
            <a:xfrm>
              <a:off x="1359639" y="251312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0" name="Freeform 407">
              <a:extLst>
                <a:ext uri="{FF2B5EF4-FFF2-40B4-BE49-F238E27FC236}">
                  <a16:creationId xmlns:a16="http://schemas.microsoft.com/office/drawing/2014/main" id="{FC325958-0A73-E247-871C-FA845721F651}"/>
                </a:ext>
              </a:extLst>
            </p:cNvPr>
            <p:cNvSpPr>
              <a:spLocks/>
            </p:cNvSpPr>
            <p:nvPr/>
          </p:nvSpPr>
          <p:spPr bwMode="auto">
            <a:xfrm>
              <a:off x="1359639" y="251312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1" name="Freeform 408">
              <a:extLst>
                <a:ext uri="{FF2B5EF4-FFF2-40B4-BE49-F238E27FC236}">
                  <a16:creationId xmlns:a16="http://schemas.microsoft.com/office/drawing/2014/main" id="{F1E62775-ADB3-AE4B-ABBA-488EF37091CB}"/>
                </a:ext>
              </a:extLst>
            </p:cNvPr>
            <p:cNvSpPr>
              <a:spLocks/>
            </p:cNvSpPr>
            <p:nvPr/>
          </p:nvSpPr>
          <p:spPr bwMode="auto">
            <a:xfrm>
              <a:off x="1364291" y="2513121"/>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2" name="Freeform 409">
              <a:extLst>
                <a:ext uri="{FF2B5EF4-FFF2-40B4-BE49-F238E27FC236}">
                  <a16:creationId xmlns:a16="http://schemas.microsoft.com/office/drawing/2014/main" id="{0AB28BA3-127C-BC45-BE0C-8E534E818126}"/>
                </a:ext>
              </a:extLst>
            </p:cNvPr>
            <p:cNvSpPr>
              <a:spLocks/>
            </p:cNvSpPr>
            <p:nvPr/>
          </p:nvSpPr>
          <p:spPr bwMode="auto">
            <a:xfrm>
              <a:off x="1367780" y="251312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3" name="Freeform 410">
              <a:extLst>
                <a:ext uri="{FF2B5EF4-FFF2-40B4-BE49-F238E27FC236}">
                  <a16:creationId xmlns:a16="http://schemas.microsoft.com/office/drawing/2014/main" id="{FB344239-C193-784B-8929-D35E3B1BE762}"/>
                </a:ext>
              </a:extLst>
            </p:cNvPr>
            <p:cNvSpPr>
              <a:spLocks/>
            </p:cNvSpPr>
            <p:nvPr/>
          </p:nvSpPr>
          <p:spPr bwMode="auto">
            <a:xfrm>
              <a:off x="1374757" y="250716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4" name="Freeform 411">
              <a:extLst>
                <a:ext uri="{FF2B5EF4-FFF2-40B4-BE49-F238E27FC236}">
                  <a16:creationId xmlns:a16="http://schemas.microsoft.com/office/drawing/2014/main" id="{669D4A76-A029-454F-9CFF-5432E57FA0D7}"/>
                </a:ext>
              </a:extLst>
            </p:cNvPr>
            <p:cNvSpPr>
              <a:spLocks/>
            </p:cNvSpPr>
            <p:nvPr/>
          </p:nvSpPr>
          <p:spPr bwMode="auto">
            <a:xfrm>
              <a:off x="1374757" y="250716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5" name="Freeform 412">
              <a:extLst>
                <a:ext uri="{FF2B5EF4-FFF2-40B4-BE49-F238E27FC236}">
                  <a16:creationId xmlns:a16="http://schemas.microsoft.com/office/drawing/2014/main" id="{5F27C17B-F63B-E249-8D4E-1755CAA21764}"/>
                </a:ext>
              </a:extLst>
            </p:cNvPr>
            <p:cNvSpPr>
              <a:spLocks/>
            </p:cNvSpPr>
            <p:nvPr/>
          </p:nvSpPr>
          <p:spPr bwMode="auto">
            <a:xfrm>
              <a:off x="1382898" y="2500214"/>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6" name="Freeform 413">
              <a:extLst>
                <a:ext uri="{FF2B5EF4-FFF2-40B4-BE49-F238E27FC236}">
                  <a16:creationId xmlns:a16="http://schemas.microsoft.com/office/drawing/2014/main" id="{CD35DFB9-1AAA-BB41-8F15-21EF77B57E24}"/>
                </a:ext>
              </a:extLst>
            </p:cNvPr>
            <p:cNvSpPr>
              <a:spLocks/>
            </p:cNvSpPr>
            <p:nvPr/>
          </p:nvSpPr>
          <p:spPr bwMode="auto">
            <a:xfrm>
              <a:off x="1382898" y="2494257"/>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7" name="Freeform 414">
              <a:extLst>
                <a:ext uri="{FF2B5EF4-FFF2-40B4-BE49-F238E27FC236}">
                  <a16:creationId xmlns:a16="http://schemas.microsoft.com/office/drawing/2014/main" id="{00BD1AF0-3BC6-B240-86EF-E43CFB5426C1}"/>
                </a:ext>
              </a:extLst>
            </p:cNvPr>
            <p:cNvSpPr>
              <a:spLocks/>
            </p:cNvSpPr>
            <p:nvPr/>
          </p:nvSpPr>
          <p:spPr bwMode="auto">
            <a:xfrm>
              <a:off x="1382898" y="2487307"/>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8" name="Freeform 415">
              <a:extLst>
                <a:ext uri="{FF2B5EF4-FFF2-40B4-BE49-F238E27FC236}">
                  <a16:creationId xmlns:a16="http://schemas.microsoft.com/office/drawing/2014/main" id="{135A59DC-0A28-694E-9EAB-6FC1E9DC7B3F}"/>
                </a:ext>
              </a:extLst>
            </p:cNvPr>
            <p:cNvSpPr>
              <a:spLocks/>
            </p:cNvSpPr>
            <p:nvPr/>
          </p:nvSpPr>
          <p:spPr bwMode="auto">
            <a:xfrm>
              <a:off x="1382898" y="248730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09" name="Freeform 416">
              <a:extLst>
                <a:ext uri="{FF2B5EF4-FFF2-40B4-BE49-F238E27FC236}">
                  <a16:creationId xmlns:a16="http://schemas.microsoft.com/office/drawing/2014/main" id="{2C121CC5-928C-5F4D-B7B2-C3A2B165442C}"/>
                </a:ext>
              </a:extLst>
            </p:cNvPr>
            <p:cNvSpPr>
              <a:spLocks/>
            </p:cNvSpPr>
            <p:nvPr/>
          </p:nvSpPr>
          <p:spPr bwMode="auto">
            <a:xfrm>
              <a:off x="1386387" y="248135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0" name="Freeform 417">
              <a:extLst>
                <a:ext uri="{FF2B5EF4-FFF2-40B4-BE49-F238E27FC236}">
                  <a16:creationId xmlns:a16="http://schemas.microsoft.com/office/drawing/2014/main" id="{5E41744D-177B-DF4F-8372-D7B9AB09235C}"/>
                </a:ext>
              </a:extLst>
            </p:cNvPr>
            <p:cNvSpPr>
              <a:spLocks/>
            </p:cNvSpPr>
            <p:nvPr/>
          </p:nvSpPr>
          <p:spPr bwMode="auto">
            <a:xfrm>
              <a:off x="1386387" y="248135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1" name="Freeform 418">
              <a:extLst>
                <a:ext uri="{FF2B5EF4-FFF2-40B4-BE49-F238E27FC236}">
                  <a16:creationId xmlns:a16="http://schemas.microsoft.com/office/drawing/2014/main" id="{BA6B0540-DB8C-9A41-BA46-530245260621}"/>
                </a:ext>
              </a:extLst>
            </p:cNvPr>
            <p:cNvSpPr>
              <a:spLocks/>
            </p:cNvSpPr>
            <p:nvPr/>
          </p:nvSpPr>
          <p:spPr bwMode="auto">
            <a:xfrm>
              <a:off x="1398016" y="248135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2" name="Freeform 419">
              <a:extLst>
                <a:ext uri="{FF2B5EF4-FFF2-40B4-BE49-F238E27FC236}">
                  <a16:creationId xmlns:a16="http://schemas.microsoft.com/office/drawing/2014/main" id="{DAD2CEB4-3BE9-584C-BED0-5D571570D0C3}"/>
                </a:ext>
              </a:extLst>
            </p:cNvPr>
            <p:cNvSpPr>
              <a:spLocks/>
            </p:cNvSpPr>
            <p:nvPr/>
          </p:nvSpPr>
          <p:spPr bwMode="auto">
            <a:xfrm>
              <a:off x="1401504" y="2471421"/>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4"/>
                  </a:lnTo>
                  <a:lnTo>
                    <a:pt x="0" y="0"/>
                  </a:lnTo>
                  <a:lnTo>
                    <a:pt x="3" y="0"/>
                  </a:lnTo>
                  <a:lnTo>
                    <a:pt x="6" y="0"/>
                  </a:lnTo>
                  <a:lnTo>
                    <a:pt x="9" y="4"/>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3" name="Freeform 420">
              <a:extLst>
                <a:ext uri="{FF2B5EF4-FFF2-40B4-BE49-F238E27FC236}">
                  <a16:creationId xmlns:a16="http://schemas.microsoft.com/office/drawing/2014/main" id="{B876343A-CDDE-5549-9757-6D5546E6668E}"/>
                </a:ext>
              </a:extLst>
            </p:cNvPr>
            <p:cNvSpPr>
              <a:spLocks/>
            </p:cNvSpPr>
            <p:nvPr/>
          </p:nvSpPr>
          <p:spPr bwMode="auto">
            <a:xfrm>
              <a:off x="1401504" y="247142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4" name="Freeform 421">
              <a:extLst>
                <a:ext uri="{FF2B5EF4-FFF2-40B4-BE49-F238E27FC236}">
                  <a16:creationId xmlns:a16="http://schemas.microsoft.com/office/drawing/2014/main" id="{E24610A2-2902-1041-B28A-329EB80F6155}"/>
                </a:ext>
              </a:extLst>
            </p:cNvPr>
            <p:cNvSpPr>
              <a:spLocks/>
            </p:cNvSpPr>
            <p:nvPr/>
          </p:nvSpPr>
          <p:spPr bwMode="auto">
            <a:xfrm>
              <a:off x="1408482" y="246546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5" name="Freeform 422">
              <a:extLst>
                <a:ext uri="{FF2B5EF4-FFF2-40B4-BE49-F238E27FC236}">
                  <a16:creationId xmlns:a16="http://schemas.microsoft.com/office/drawing/2014/main" id="{04FA66E1-CE72-594C-99DA-E64594197009}"/>
                </a:ext>
              </a:extLst>
            </p:cNvPr>
            <p:cNvSpPr>
              <a:spLocks/>
            </p:cNvSpPr>
            <p:nvPr/>
          </p:nvSpPr>
          <p:spPr bwMode="auto">
            <a:xfrm>
              <a:off x="1408482" y="246546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6" name="Freeform 423">
              <a:extLst>
                <a:ext uri="{FF2B5EF4-FFF2-40B4-BE49-F238E27FC236}">
                  <a16:creationId xmlns:a16="http://schemas.microsoft.com/office/drawing/2014/main" id="{D8161378-4DA8-1B4F-B451-BE5EB91E204A}"/>
                </a:ext>
              </a:extLst>
            </p:cNvPr>
            <p:cNvSpPr>
              <a:spLocks/>
            </p:cNvSpPr>
            <p:nvPr/>
          </p:nvSpPr>
          <p:spPr bwMode="auto">
            <a:xfrm>
              <a:off x="1411971" y="245851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7" name="Freeform 424">
              <a:extLst>
                <a:ext uri="{FF2B5EF4-FFF2-40B4-BE49-F238E27FC236}">
                  <a16:creationId xmlns:a16="http://schemas.microsoft.com/office/drawing/2014/main" id="{30954941-7E38-2B46-8EE6-A4F562217765}"/>
                </a:ext>
              </a:extLst>
            </p:cNvPr>
            <p:cNvSpPr>
              <a:spLocks/>
            </p:cNvSpPr>
            <p:nvPr/>
          </p:nvSpPr>
          <p:spPr bwMode="auto">
            <a:xfrm>
              <a:off x="1411971" y="245255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8" name="Freeform 425">
              <a:extLst>
                <a:ext uri="{FF2B5EF4-FFF2-40B4-BE49-F238E27FC236}">
                  <a16:creationId xmlns:a16="http://schemas.microsoft.com/office/drawing/2014/main" id="{07E274C1-E206-1A45-AD77-E98D9F28D95B}"/>
                </a:ext>
              </a:extLst>
            </p:cNvPr>
            <p:cNvSpPr>
              <a:spLocks/>
            </p:cNvSpPr>
            <p:nvPr/>
          </p:nvSpPr>
          <p:spPr bwMode="auto">
            <a:xfrm>
              <a:off x="1411971" y="2452558"/>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6"/>
                  </a:lnTo>
                  <a:lnTo>
                    <a:pt x="0" y="3"/>
                  </a:lnTo>
                  <a:lnTo>
                    <a:pt x="0" y="0"/>
                  </a:lnTo>
                  <a:lnTo>
                    <a:pt x="4" y="0"/>
                  </a:lnTo>
                  <a:lnTo>
                    <a:pt x="13" y="0"/>
                  </a:lnTo>
                  <a:lnTo>
                    <a:pt x="17" y="0"/>
                  </a:lnTo>
                  <a:lnTo>
                    <a:pt x="17" y="3"/>
                  </a:lnTo>
                  <a:lnTo>
                    <a:pt x="17" y="6"/>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19" name="Freeform 426">
              <a:extLst>
                <a:ext uri="{FF2B5EF4-FFF2-40B4-BE49-F238E27FC236}">
                  <a16:creationId xmlns:a16="http://schemas.microsoft.com/office/drawing/2014/main" id="{8D51F1BC-4A35-A84A-A904-0D9BB12BB85D}"/>
                </a:ext>
              </a:extLst>
            </p:cNvPr>
            <p:cNvSpPr>
              <a:spLocks/>
            </p:cNvSpPr>
            <p:nvPr/>
          </p:nvSpPr>
          <p:spPr bwMode="auto">
            <a:xfrm>
              <a:off x="1423600" y="2446601"/>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0" name="Freeform 427">
              <a:extLst>
                <a:ext uri="{FF2B5EF4-FFF2-40B4-BE49-F238E27FC236}">
                  <a16:creationId xmlns:a16="http://schemas.microsoft.com/office/drawing/2014/main" id="{7E8B06F1-B5CC-9E4A-82DE-188164C2EE45}"/>
                </a:ext>
              </a:extLst>
            </p:cNvPr>
            <p:cNvSpPr>
              <a:spLocks/>
            </p:cNvSpPr>
            <p:nvPr/>
          </p:nvSpPr>
          <p:spPr bwMode="auto">
            <a:xfrm>
              <a:off x="1423600" y="24466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1" name="Freeform 428">
              <a:extLst>
                <a:ext uri="{FF2B5EF4-FFF2-40B4-BE49-F238E27FC236}">
                  <a16:creationId xmlns:a16="http://schemas.microsoft.com/office/drawing/2014/main" id="{4510F00F-E79E-1B40-8A24-27D124F86F69}"/>
                </a:ext>
              </a:extLst>
            </p:cNvPr>
            <p:cNvSpPr>
              <a:spLocks/>
            </p:cNvSpPr>
            <p:nvPr/>
          </p:nvSpPr>
          <p:spPr bwMode="auto">
            <a:xfrm>
              <a:off x="1427089" y="24466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2" name="Freeform 429">
              <a:extLst>
                <a:ext uri="{FF2B5EF4-FFF2-40B4-BE49-F238E27FC236}">
                  <a16:creationId xmlns:a16="http://schemas.microsoft.com/office/drawing/2014/main" id="{2C09031B-5DDD-9F45-85EB-B6A5607AE9CF}"/>
                </a:ext>
              </a:extLst>
            </p:cNvPr>
            <p:cNvSpPr>
              <a:spLocks/>
            </p:cNvSpPr>
            <p:nvPr/>
          </p:nvSpPr>
          <p:spPr bwMode="auto">
            <a:xfrm>
              <a:off x="1431740" y="2439650"/>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3" name="Freeform 430">
              <a:extLst>
                <a:ext uri="{FF2B5EF4-FFF2-40B4-BE49-F238E27FC236}">
                  <a16:creationId xmlns:a16="http://schemas.microsoft.com/office/drawing/2014/main" id="{5FDDCAC7-A04F-B840-A27F-1CC13E95FC02}"/>
                </a:ext>
              </a:extLst>
            </p:cNvPr>
            <p:cNvSpPr>
              <a:spLocks/>
            </p:cNvSpPr>
            <p:nvPr/>
          </p:nvSpPr>
          <p:spPr bwMode="auto">
            <a:xfrm>
              <a:off x="1431740" y="243965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4" name="Freeform 431">
              <a:extLst>
                <a:ext uri="{FF2B5EF4-FFF2-40B4-BE49-F238E27FC236}">
                  <a16:creationId xmlns:a16="http://schemas.microsoft.com/office/drawing/2014/main" id="{2E49F583-36CD-544E-A919-F335B7078A56}"/>
                </a:ext>
              </a:extLst>
            </p:cNvPr>
            <p:cNvSpPr>
              <a:spLocks/>
            </p:cNvSpPr>
            <p:nvPr/>
          </p:nvSpPr>
          <p:spPr bwMode="auto">
            <a:xfrm>
              <a:off x="1435229" y="2433693"/>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5" name="Freeform 432">
              <a:extLst>
                <a:ext uri="{FF2B5EF4-FFF2-40B4-BE49-F238E27FC236}">
                  <a16:creationId xmlns:a16="http://schemas.microsoft.com/office/drawing/2014/main" id="{19D2ECB4-8B99-9D44-B069-920AF2AD7A44}"/>
                </a:ext>
              </a:extLst>
            </p:cNvPr>
            <p:cNvSpPr>
              <a:spLocks/>
            </p:cNvSpPr>
            <p:nvPr/>
          </p:nvSpPr>
          <p:spPr bwMode="auto">
            <a:xfrm>
              <a:off x="1435229" y="243369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6" name="Freeform 433">
              <a:extLst>
                <a:ext uri="{FF2B5EF4-FFF2-40B4-BE49-F238E27FC236}">
                  <a16:creationId xmlns:a16="http://schemas.microsoft.com/office/drawing/2014/main" id="{7E8FFA2D-8A2D-334F-8687-569C8C2EAC13}"/>
                </a:ext>
              </a:extLst>
            </p:cNvPr>
            <p:cNvSpPr>
              <a:spLocks/>
            </p:cNvSpPr>
            <p:nvPr/>
          </p:nvSpPr>
          <p:spPr bwMode="auto">
            <a:xfrm>
              <a:off x="1438718" y="2433693"/>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7" name="Freeform 434">
              <a:extLst>
                <a:ext uri="{FF2B5EF4-FFF2-40B4-BE49-F238E27FC236}">
                  <a16:creationId xmlns:a16="http://schemas.microsoft.com/office/drawing/2014/main" id="{4975DED8-B6BA-924F-8DF2-F51FA960D73F}"/>
                </a:ext>
              </a:extLst>
            </p:cNvPr>
            <p:cNvSpPr>
              <a:spLocks/>
            </p:cNvSpPr>
            <p:nvPr/>
          </p:nvSpPr>
          <p:spPr bwMode="auto">
            <a:xfrm>
              <a:off x="1445695"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8" name="Freeform 435">
              <a:extLst>
                <a:ext uri="{FF2B5EF4-FFF2-40B4-BE49-F238E27FC236}">
                  <a16:creationId xmlns:a16="http://schemas.microsoft.com/office/drawing/2014/main" id="{3FBEC50F-54F9-4F41-9425-A1F2694C4FB8}"/>
                </a:ext>
              </a:extLst>
            </p:cNvPr>
            <p:cNvSpPr>
              <a:spLocks/>
            </p:cNvSpPr>
            <p:nvPr/>
          </p:nvSpPr>
          <p:spPr bwMode="auto">
            <a:xfrm>
              <a:off x="1450347" y="243369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29" name="Freeform 436">
              <a:extLst>
                <a:ext uri="{FF2B5EF4-FFF2-40B4-BE49-F238E27FC236}">
                  <a16:creationId xmlns:a16="http://schemas.microsoft.com/office/drawing/2014/main" id="{34882570-91BC-5946-9DB7-3FB2E92F0116}"/>
                </a:ext>
              </a:extLst>
            </p:cNvPr>
            <p:cNvSpPr>
              <a:spLocks/>
            </p:cNvSpPr>
            <p:nvPr/>
          </p:nvSpPr>
          <p:spPr bwMode="auto">
            <a:xfrm>
              <a:off x="1453836"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0" name="Freeform 437">
              <a:extLst>
                <a:ext uri="{FF2B5EF4-FFF2-40B4-BE49-F238E27FC236}">
                  <a16:creationId xmlns:a16="http://schemas.microsoft.com/office/drawing/2014/main" id="{AD7140E7-8C97-184D-854D-ED127D0CF994}"/>
                </a:ext>
              </a:extLst>
            </p:cNvPr>
            <p:cNvSpPr>
              <a:spLocks/>
            </p:cNvSpPr>
            <p:nvPr/>
          </p:nvSpPr>
          <p:spPr bwMode="auto">
            <a:xfrm>
              <a:off x="1457324"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1" name="Freeform 438">
              <a:extLst>
                <a:ext uri="{FF2B5EF4-FFF2-40B4-BE49-F238E27FC236}">
                  <a16:creationId xmlns:a16="http://schemas.microsoft.com/office/drawing/2014/main" id="{49F10D71-4DE9-814B-A080-82C88E6BA15E}"/>
                </a:ext>
              </a:extLst>
            </p:cNvPr>
            <p:cNvSpPr>
              <a:spLocks/>
            </p:cNvSpPr>
            <p:nvPr/>
          </p:nvSpPr>
          <p:spPr bwMode="auto">
            <a:xfrm>
              <a:off x="1460814" y="24336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2" name="Freeform 439">
              <a:extLst>
                <a:ext uri="{FF2B5EF4-FFF2-40B4-BE49-F238E27FC236}">
                  <a16:creationId xmlns:a16="http://schemas.microsoft.com/office/drawing/2014/main" id="{C3035A77-341E-1242-B826-A7CB7697F6B8}"/>
                </a:ext>
              </a:extLst>
            </p:cNvPr>
            <p:cNvSpPr>
              <a:spLocks/>
            </p:cNvSpPr>
            <p:nvPr/>
          </p:nvSpPr>
          <p:spPr bwMode="auto">
            <a:xfrm>
              <a:off x="1465465" y="2426744"/>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3" name="Freeform 440">
              <a:extLst>
                <a:ext uri="{FF2B5EF4-FFF2-40B4-BE49-F238E27FC236}">
                  <a16:creationId xmlns:a16="http://schemas.microsoft.com/office/drawing/2014/main" id="{C5C38CF5-CE9B-B045-96DB-8566971CA112}"/>
                </a:ext>
              </a:extLst>
            </p:cNvPr>
            <p:cNvSpPr>
              <a:spLocks/>
            </p:cNvSpPr>
            <p:nvPr/>
          </p:nvSpPr>
          <p:spPr bwMode="auto">
            <a:xfrm>
              <a:off x="1465465" y="2420787"/>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4" name="Freeform 441">
              <a:extLst>
                <a:ext uri="{FF2B5EF4-FFF2-40B4-BE49-F238E27FC236}">
                  <a16:creationId xmlns:a16="http://schemas.microsoft.com/office/drawing/2014/main" id="{DED1F32C-5F69-CD48-A9DA-88491C52EB34}"/>
                </a:ext>
              </a:extLst>
            </p:cNvPr>
            <p:cNvSpPr>
              <a:spLocks/>
            </p:cNvSpPr>
            <p:nvPr/>
          </p:nvSpPr>
          <p:spPr bwMode="auto">
            <a:xfrm>
              <a:off x="1465465" y="2420787"/>
              <a:ext cx="13955" cy="8936"/>
            </a:xfrm>
            <a:custGeom>
              <a:avLst/>
              <a:gdLst>
                <a:gd name="T0" fmla="*/ 2147483646 w 12"/>
                <a:gd name="T1" fmla="*/ 2147483646 h 9"/>
                <a:gd name="T2" fmla="*/ 0 w 12"/>
                <a:gd name="T3" fmla="*/ 2147483646 h 9"/>
                <a:gd name="T4" fmla="*/ 0 w 12"/>
                <a:gd name="T5" fmla="*/ 2147483646 h 9"/>
                <a:gd name="T6" fmla="*/ 0 w 12"/>
                <a:gd name="T7" fmla="*/ 2147483646 h 9"/>
                <a:gd name="T8" fmla="*/ 0 w 12"/>
                <a:gd name="T9" fmla="*/ 0 h 9"/>
                <a:gd name="T10" fmla="*/ 2147483646 w 12"/>
                <a:gd name="T11" fmla="*/ 0 h 9"/>
                <a:gd name="T12" fmla="*/ 2147483646 w 12"/>
                <a:gd name="T13" fmla="*/ 0 h 9"/>
                <a:gd name="T14" fmla="*/ 2147483646 w 12"/>
                <a:gd name="T15" fmla="*/ 0 h 9"/>
                <a:gd name="T16" fmla="*/ 2147483646 w 12"/>
                <a:gd name="T17" fmla="*/ 2147483646 h 9"/>
                <a:gd name="T18" fmla="*/ 2147483646 w 12"/>
                <a:gd name="T19" fmla="*/ 2147483646 h 9"/>
                <a:gd name="T20" fmla="*/ 2147483646 w 12"/>
                <a:gd name="T21" fmla="*/ 2147483646 h 9"/>
                <a:gd name="T22" fmla="*/ 2147483646 w 12"/>
                <a:gd name="T23" fmla="*/ 2147483646 h 9"/>
                <a:gd name="T24" fmla="*/ 2147483646 w 1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9">
                  <a:moveTo>
                    <a:pt x="3" y="9"/>
                  </a:moveTo>
                  <a:lnTo>
                    <a:pt x="0" y="6"/>
                  </a:lnTo>
                  <a:lnTo>
                    <a:pt x="0" y="3"/>
                  </a:lnTo>
                  <a:lnTo>
                    <a:pt x="0" y="0"/>
                  </a:lnTo>
                  <a:lnTo>
                    <a:pt x="3" y="0"/>
                  </a:lnTo>
                  <a:lnTo>
                    <a:pt x="9" y="0"/>
                  </a:lnTo>
                  <a:lnTo>
                    <a:pt x="12" y="0"/>
                  </a:lnTo>
                  <a:lnTo>
                    <a:pt x="12" y="3"/>
                  </a:lnTo>
                  <a:lnTo>
                    <a:pt x="12"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5" name="Freeform 442">
              <a:extLst>
                <a:ext uri="{FF2B5EF4-FFF2-40B4-BE49-F238E27FC236}">
                  <a16:creationId xmlns:a16="http://schemas.microsoft.com/office/drawing/2014/main" id="{3A1087CD-92DA-C84B-B8F9-574062BEAADD}"/>
                </a:ext>
              </a:extLst>
            </p:cNvPr>
            <p:cNvSpPr>
              <a:spLocks/>
            </p:cNvSpPr>
            <p:nvPr/>
          </p:nvSpPr>
          <p:spPr bwMode="auto">
            <a:xfrm>
              <a:off x="1472443" y="242078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6" name="Freeform 443">
              <a:extLst>
                <a:ext uri="{FF2B5EF4-FFF2-40B4-BE49-F238E27FC236}">
                  <a16:creationId xmlns:a16="http://schemas.microsoft.com/office/drawing/2014/main" id="{3B34F212-8A60-AD44-9099-907D5E3E9E53}"/>
                </a:ext>
              </a:extLst>
            </p:cNvPr>
            <p:cNvSpPr>
              <a:spLocks/>
            </p:cNvSpPr>
            <p:nvPr/>
          </p:nvSpPr>
          <p:spPr bwMode="auto">
            <a:xfrm>
              <a:off x="1475931" y="242078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7" name="Freeform 444">
              <a:extLst>
                <a:ext uri="{FF2B5EF4-FFF2-40B4-BE49-F238E27FC236}">
                  <a16:creationId xmlns:a16="http://schemas.microsoft.com/office/drawing/2014/main" id="{412B02AF-D17E-8045-A1E1-528F7C99184A}"/>
                </a:ext>
              </a:extLst>
            </p:cNvPr>
            <p:cNvSpPr>
              <a:spLocks/>
            </p:cNvSpPr>
            <p:nvPr/>
          </p:nvSpPr>
          <p:spPr bwMode="auto">
            <a:xfrm>
              <a:off x="1479420" y="241085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8" name="Freeform 445">
              <a:extLst>
                <a:ext uri="{FF2B5EF4-FFF2-40B4-BE49-F238E27FC236}">
                  <a16:creationId xmlns:a16="http://schemas.microsoft.com/office/drawing/2014/main" id="{04D0E752-C74F-F748-B8F7-F3825163CE6B}"/>
                </a:ext>
              </a:extLst>
            </p:cNvPr>
            <p:cNvSpPr>
              <a:spLocks/>
            </p:cNvSpPr>
            <p:nvPr/>
          </p:nvSpPr>
          <p:spPr bwMode="auto">
            <a:xfrm>
              <a:off x="1479420" y="2410858"/>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7"/>
                  </a:lnTo>
                  <a:lnTo>
                    <a:pt x="0" y="3"/>
                  </a:lnTo>
                  <a:lnTo>
                    <a:pt x="0" y="0"/>
                  </a:lnTo>
                  <a:lnTo>
                    <a:pt x="4" y="0"/>
                  </a:lnTo>
                  <a:lnTo>
                    <a:pt x="13" y="0"/>
                  </a:lnTo>
                  <a:lnTo>
                    <a:pt x="17" y="0"/>
                  </a:lnTo>
                  <a:lnTo>
                    <a:pt x="17" y="3"/>
                  </a:lnTo>
                  <a:lnTo>
                    <a:pt x="17" y="7"/>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39" name="Freeform 446">
              <a:extLst>
                <a:ext uri="{FF2B5EF4-FFF2-40B4-BE49-F238E27FC236}">
                  <a16:creationId xmlns:a16="http://schemas.microsoft.com/office/drawing/2014/main" id="{35ABB869-B7D9-D340-8E81-A6CA0A625195}"/>
                </a:ext>
              </a:extLst>
            </p:cNvPr>
            <p:cNvSpPr>
              <a:spLocks/>
            </p:cNvSpPr>
            <p:nvPr/>
          </p:nvSpPr>
          <p:spPr bwMode="auto">
            <a:xfrm>
              <a:off x="1491050" y="241085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0" name="Freeform 447">
              <a:extLst>
                <a:ext uri="{FF2B5EF4-FFF2-40B4-BE49-F238E27FC236}">
                  <a16:creationId xmlns:a16="http://schemas.microsoft.com/office/drawing/2014/main" id="{2E747484-3455-2F4F-8A36-004D20DC725B}"/>
                </a:ext>
              </a:extLst>
            </p:cNvPr>
            <p:cNvSpPr>
              <a:spLocks/>
            </p:cNvSpPr>
            <p:nvPr/>
          </p:nvSpPr>
          <p:spPr bwMode="auto">
            <a:xfrm>
              <a:off x="1494538" y="241085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1" name="Freeform 448">
              <a:extLst>
                <a:ext uri="{FF2B5EF4-FFF2-40B4-BE49-F238E27FC236}">
                  <a16:creationId xmlns:a16="http://schemas.microsoft.com/office/drawing/2014/main" id="{0C04DBDB-E959-864D-BF20-DDFE66D58718}"/>
                </a:ext>
              </a:extLst>
            </p:cNvPr>
            <p:cNvSpPr>
              <a:spLocks/>
            </p:cNvSpPr>
            <p:nvPr/>
          </p:nvSpPr>
          <p:spPr bwMode="auto">
            <a:xfrm>
              <a:off x="1502679" y="241085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2" name="Freeform 449">
              <a:extLst>
                <a:ext uri="{FF2B5EF4-FFF2-40B4-BE49-F238E27FC236}">
                  <a16:creationId xmlns:a16="http://schemas.microsoft.com/office/drawing/2014/main" id="{10E2D79F-640A-C64D-A151-5AD2F8CE4387}"/>
                </a:ext>
              </a:extLst>
            </p:cNvPr>
            <p:cNvSpPr>
              <a:spLocks/>
            </p:cNvSpPr>
            <p:nvPr/>
          </p:nvSpPr>
          <p:spPr bwMode="auto">
            <a:xfrm>
              <a:off x="1506167" y="240490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3" name="Freeform 450">
              <a:extLst>
                <a:ext uri="{FF2B5EF4-FFF2-40B4-BE49-F238E27FC236}">
                  <a16:creationId xmlns:a16="http://schemas.microsoft.com/office/drawing/2014/main" id="{5B8D041D-902D-BE43-B792-025E8958F9FC}"/>
                </a:ext>
              </a:extLst>
            </p:cNvPr>
            <p:cNvSpPr>
              <a:spLocks/>
            </p:cNvSpPr>
            <p:nvPr/>
          </p:nvSpPr>
          <p:spPr bwMode="auto">
            <a:xfrm>
              <a:off x="1506167" y="239795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4" name="Freeform 451">
              <a:extLst>
                <a:ext uri="{FF2B5EF4-FFF2-40B4-BE49-F238E27FC236}">
                  <a16:creationId xmlns:a16="http://schemas.microsoft.com/office/drawing/2014/main" id="{D87ADA13-C27E-B948-97B6-039A4A77A074}"/>
                </a:ext>
              </a:extLst>
            </p:cNvPr>
            <p:cNvSpPr>
              <a:spLocks/>
            </p:cNvSpPr>
            <p:nvPr/>
          </p:nvSpPr>
          <p:spPr bwMode="auto">
            <a:xfrm>
              <a:off x="1506167" y="239795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5" name="Freeform 452">
              <a:extLst>
                <a:ext uri="{FF2B5EF4-FFF2-40B4-BE49-F238E27FC236}">
                  <a16:creationId xmlns:a16="http://schemas.microsoft.com/office/drawing/2014/main" id="{4C67D7AE-6CE5-1C4A-8D11-DB3A9AAE64DC}"/>
                </a:ext>
              </a:extLst>
            </p:cNvPr>
            <p:cNvSpPr>
              <a:spLocks/>
            </p:cNvSpPr>
            <p:nvPr/>
          </p:nvSpPr>
          <p:spPr bwMode="auto">
            <a:xfrm>
              <a:off x="1509656" y="2397951"/>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3"/>
                  </a:lnTo>
                  <a:lnTo>
                    <a:pt x="0" y="0"/>
                  </a:lnTo>
                  <a:lnTo>
                    <a:pt x="4" y="0"/>
                  </a:lnTo>
                  <a:lnTo>
                    <a:pt x="16" y="0"/>
                  </a:lnTo>
                  <a:lnTo>
                    <a:pt x="20" y="0"/>
                  </a:lnTo>
                  <a:lnTo>
                    <a:pt x="20" y="3"/>
                  </a:lnTo>
                  <a:lnTo>
                    <a:pt x="20" y="7"/>
                  </a:lnTo>
                  <a:lnTo>
                    <a:pt x="16"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6" name="Freeform 453">
              <a:extLst>
                <a:ext uri="{FF2B5EF4-FFF2-40B4-BE49-F238E27FC236}">
                  <a16:creationId xmlns:a16="http://schemas.microsoft.com/office/drawing/2014/main" id="{29049AAF-7229-4B43-A1D5-9FD4608DB267}"/>
                </a:ext>
              </a:extLst>
            </p:cNvPr>
            <p:cNvSpPr>
              <a:spLocks/>
            </p:cNvSpPr>
            <p:nvPr/>
          </p:nvSpPr>
          <p:spPr bwMode="auto">
            <a:xfrm>
              <a:off x="1524774" y="239795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7" name="Freeform 454">
              <a:extLst>
                <a:ext uri="{FF2B5EF4-FFF2-40B4-BE49-F238E27FC236}">
                  <a16:creationId xmlns:a16="http://schemas.microsoft.com/office/drawing/2014/main" id="{6119DB06-6832-3C4B-8ABC-DE78A9C16485}"/>
                </a:ext>
              </a:extLst>
            </p:cNvPr>
            <p:cNvSpPr>
              <a:spLocks/>
            </p:cNvSpPr>
            <p:nvPr/>
          </p:nvSpPr>
          <p:spPr bwMode="auto">
            <a:xfrm>
              <a:off x="1528263" y="239199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8" name="Freeform 455">
              <a:extLst>
                <a:ext uri="{FF2B5EF4-FFF2-40B4-BE49-F238E27FC236}">
                  <a16:creationId xmlns:a16="http://schemas.microsoft.com/office/drawing/2014/main" id="{8F2A0D3A-D7DA-A64D-BFDD-CA6F8170F0E3}"/>
                </a:ext>
              </a:extLst>
            </p:cNvPr>
            <p:cNvSpPr>
              <a:spLocks/>
            </p:cNvSpPr>
            <p:nvPr/>
          </p:nvSpPr>
          <p:spPr bwMode="auto">
            <a:xfrm>
              <a:off x="1528263" y="239199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49" name="Freeform 456">
              <a:extLst>
                <a:ext uri="{FF2B5EF4-FFF2-40B4-BE49-F238E27FC236}">
                  <a16:creationId xmlns:a16="http://schemas.microsoft.com/office/drawing/2014/main" id="{A6C633D6-BD4D-2544-B4DE-6B2E19C1ECF1}"/>
                </a:ext>
              </a:extLst>
            </p:cNvPr>
            <p:cNvSpPr>
              <a:spLocks/>
            </p:cNvSpPr>
            <p:nvPr/>
          </p:nvSpPr>
          <p:spPr bwMode="auto">
            <a:xfrm>
              <a:off x="1532915" y="2391994"/>
              <a:ext cx="29073" cy="8936"/>
            </a:xfrm>
            <a:custGeom>
              <a:avLst/>
              <a:gdLst>
                <a:gd name="T0" fmla="*/ 2147483646 w 25"/>
                <a:gd name="T1" fmla="*/ 2147483646 h 9"/>
                <a:gd name="T2" fmla="*/ 0 w 25"/>
                <a:gd name="T3" fmla="*/ 2147483646 h 9"/>
                <a:gd name="T4" fmla="*/ 0 w 25"/>
                <a:gd name="T5" fmla="*/ 2147483646 h 9"/>
                <a:gd name="T6" fmla="*/ 0 w 25"/>
                <a:gd name="T7" fmla="*/ 2147483646 h 9"/>
                <a:gd name="T8" fmla="*/ 0 w 25"/>
                <a:gd name="T9" fmla="*/ 0 h 9"/>
                <a:gd name="T10" fmla="*/ 2147483646 w 25"/>
                <a:gd name="T11" fmla="*/ 0 h 9"/>
                <a:gd name="T12" fmla="*/ 2147483646 w 25"/>
                <a:gd name="T13" fmla="*/ 0 h 9"/>
                <a:gd name="T14" fmla="*/ 2147483646 w 25"/>
                <a:gd name="T15" fmla="*/ 0 h 9"/>
                <a:gd name="T16" fmla="*/ 2147483646 w 25"/>
                <a:gd name="T17" fmla="*/ 2147483646 h 9"/>
                <a:gd name="T18" fmla="*/ 2147483646 w 25"/>
                <a:gd name="T19" fmla="*/ 2147483646 h 9"/>
                <a:gd name="T20" fmla="*/ 2147483646 w 25"/>
                <a:gd name="T21" fmla="*/ 2147483646 h 9"/>
                <a:gd name="T22" fmla="*/ 2147483646 w 25"/>
                <a:gd name="T23" fmla="*/ 2147483646 h 9"/>
                <a:gd name="T24" fmla="*/ 2147483646 w 25"/>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9">
                  <a:moveTo>
                    <a:pt x="3" y="9"/>
                  </a:moveTo>
                  <a:lnTo>
                    <a:pt x="0" y="6"/>
                  </a:lnTo>
                  <a:lnTo>
                    <a:pt x="0" y="3"/>
                  </a:lnTo>
                  <a:lnTo>
                    <a:pt x="0" y="0"/>
                  </a:lnTo>
                  <a:lnTo>
                    <a:pt x="3" y="0"/>
                  </a:lnTo>
                  <a:lnTo>
                    <a:pt x="22" y="0"/>
                  </a:lnTo>
                  <a:lnTo>
                    <a:pt x="25" y="0"/>
                  </a:lnTo>
                  <a:lnTo>
                    <a:pt x="25" y="3"/>
                  </a:lnTo>
                  <a:lnTo>
                    <a:pt x="25" y="6"/>
                  </a:lnTo>
                  <a:lnTo>
                    <a:pt x="22"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0" name="Freeform 457">
              <a:extLst>
                <a:ext uri="{FF2B5EF4-FFF2-40B4-BE49-F238E27FC236}">
                  <a16:creationId xmlns:a16="http://schemas.microsoft.com/office/drawing/2014/main" id="{5DF68ECF-0E29-AD41-8CB2-81C4A1ECE520}"/>
                </a:ext>
              </a:extLst>
            </p:cNvPr>
            <p:cNvSpPr>
              <a:spLocks/>
            </p:cNvSpPr>
            <p:nvPr/>
          </p:nvSpPr>
          <p:spPr bwMode="auto">
            <a:xfrm>
              <a:off x="1555010" y="238206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1" name="Freeform 458">
              <a:extLst>
                <a:ext uri="{FF2B5EF4-FFF2-40B4-BE49-F238E27FC236}">
                  <a16:creationId xmlns:a16="http://schemas.microsoft.com/office/drawing/2014/main" id="{F2E72707-9137-0148-925A-DAE7C99DBA5F}"/>
                </a:ext>
              </a:extLst>
            </p:cNvPr>
            <p:cNvSpPr>
              <a:spLocks/>
            </p:cNvSpPr>
            <p:nvPr/>
          </p:nvSpPr>
          <p:spPr bwMode="auto">
            <a:xfrm>
              <a:off x="1555010" y="238206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2" name="Freeform 459">
              <a:extLst>
                <a:ext uri="{FF2B5EF4-FFF2-40B4-BE49-F238E27FC236}">
                  <a16:creationId xmlns:a16="http://schemas.microsoft.com/office/drawing/2014/main" id="{29A0033D-B8E5-D44B-A3D2-B74E68F137C8}"/>
                </a:ext>
              </a:extLst>
            </p:cNvPr>
            <p:cNvSpPr>
              <a:spLocks/>
            </p:cNvSpPr>
            <p:nvPr/>
          </p:nvSpPr>
          <p:spPr bwMode="auto">
            <a:xfrm>
              <a:off x="1558499" y="2376109"/>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3" y="12"/>
                  </a:lnTo>
                  <a:lnTo>
                    <a:pt x="0" y="12"/>
                  </a:lnTo>
                  <a:lnTo>
                    <a:pt x="0" y="9"/>
                  </a:lnTo>
                  <a:lnTo>
                    <a:pt x="0" y="3"/>
                  </a:lnTo>
                  <a:lnTo>
                    <a:pt x="0" y="0"/>
                  </a:lnTo>
                  <a:lnTo>
                    <a:pt x="3" y="0"/>
                  </a:lnTo>
                  <a:lnTo>
                    <a:pt x="7" y="0"/>
                  </a:lnTo>
                  <a:lnTo>
                    <a:pt x="10" y="3"/>
                  </a:lnTo>
                  <a:lnTo>
                    <a:pt x="10"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3" name="Freeform 460">
              <a:extLst>
                <a:ext uri="{FF2B5EF4-FFF2-40B4-BE49-F238E27FC236}">
                  <a16:creationId xmlns:a16="http://schemas.microsoft.com/office/drawing/2014/main" id="{34CEA24C-E825-C84C-87B0-344246B97C58}"/>
                </a:ext>
              </a:extLst>
            </p:cNvPr>
            <p:cNvSpPr>
              <a:spLocks/>
            </p:cNvSpPr>
            <p:nvPr/>
          </p:nvSpPr>
          <p:spPr bwMode="auto">
            <a:xfrm>
              <a:off x="1558499" y="236915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4" name="Freeform 461">
              <a:extLst>
                <a:ext uri="{FF2B5EF4-FFF2-40B4-BE49-F238E27FC236}">
                  <a16:creationId xmlns:a16="http://schemas.microsoft.com/office/drawing/2014/main" id="{1CF3D4DF-9317-3144-AE22-EB3410ED4F46}"/>
                </a:ext>
              </a:extLst>
            </p:cNvPr>
            <p:cNvSpPr>
              <a:spLocks/>
            </p:cNvSpPr>
            <p:nvPr/>
          </p:nvSpPr>
          <p:spPr bwMode="auto">
            <a:xfrm>
              <a:off x="1558499" y="236915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5" name="Freeform 462">
              <a:extLst>
                <a:ext uri="{FF2B5EF4-FFF2-40B4-BE49-F238E27FC236}">
                  <a16:creationId xmlns:a16="http://schemas.microsoft.com/office/drawing/2014/main" id="{E94345EE-F486-A94A-899B-391BA3DFA689}"/>
                </a:ext>
              </a:extLst>
            </p:cNvPr>
            <p:cNvSpPr>
              <a:spLocks/>
            </p:cNvSpPr>
            <p:nvPr/>
          </p:nvSpPr>
          <p:spPr bwMode="auto">
            <a:xfrm>
              <a:off x="1561987" y="2359231"/>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6" name="Freeform 463">
              <a:extLst>
                <a:ext uri="{FF2B5EF4-FFF2-40B4-BE49-F238E27FC236}">
                  <a16:creationId xmlns:a16="http://schemas.microsoft.com/office/drawing/2014/main" id="{D5C764CA-4D9C-FC49-8AC4-2807213E242D}"/>
                </a:ext>
              </a:extLst>
            </p:cNvPr>
            <p:cNvSpPr>
              <a:spLocks/>
            </p:cNvSpPr>
            <p:nvPr/>
          </p:nvSpPr>
          <p:spPr bwMode="auto">
            <a:xfrm>
              <a:off x="1561987" y="2359231"/>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7"/>
                  </a:lnTo>
                  <a:lnTo>
                    <a:pt x="0" y="4"/>
                  </a:lnTo>
                  <a:lnTo>
                    <a:pt x="0" y="0"/>
                  </a:lnTo>
                  <a:lnTo>
                    <a:pt x="4" y="0"/>
                  </a:lnTo>
                  <a:lnTo>
                    <a:pt x="20" y="0"/>
                  </a:lnTo>
                  <a:lnTo>
                    <a:pt x="23" y="0"/>
                  </a:lnTo>
                  <a:lnTo>
                    <a:pt x="23" y="4"/>
                  </a:lnTo>
                  <a:lnTo>
                    <a:pt x="23" y="7"/>
                  </a:lnTo>
                  <a:lnTo>
                    <a:pt x="2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7" name="Freeform 464">
              <a:extLst>
                <a:ext uri="{FF2B5EF4-FFF2-40B4-BE49-F238E27FC236}">
                  <a16:creationId xmlns:a16="http://schemas.microsoft.com/office/drawing/2014/main" id="{133C70E7-4AAF-2B47-A411-C33A18239FFA}"/>
                </a:ext>
              </a:extLst>
            </p:cNvPr>
            <p:cNvSpPr>
              <a:spLocks/>
            </p:cNvSpPr>
            <p:nvPr/>
          </p:nvSpPr>
          <p:spPr bwMode="auto">
            <a:xfrm>
              <a:off x="1581757" y="2353273"/>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8" name="Freeform 465">
              <a:extLst>
                <a:ext uri="{FF2B5EF4-FFF2-40B4-BE49-F238E27FC236}">
                  <a16:creationId xmlns:a16="http://schemas.microsoft.com/office/drawing/2014/main" id="{80F5F162-4F3D-BA4B-B4EE-7E1051CD45A3}"/>
                </a:ext>
              </a:extLst>
            </p:cNvPr>
            <p:cNvSpPr>
              <a:spLocks/>
            </p:cNvSpPr>
            <p:nvPr/>
          </p:nvSpPr>
          <p:spPr bwMode="auto">
            <a:xfrm>
              <a:off x="1581757" y="235327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59" name="Freeform 466">
              <a:extLst>
                <a:ext uri="{FF2B5EF4-FFF2-40B4-BE49-F238E27FC236}">
                  <a16:creationId xmlns:a16="http://schemas.microsoft.com/office/drawing/2014/main" id="{50DCAAE6-4572-A748-8993-10C4B31CDE73}"/>
                </a:ext>
              </a:extLst>
            </p:cNvPr>
            <p:cNvSpPr>
              <a:spLocks/>
            </p:cNvSpPr>
            <p:nvPr/>
          </p:nvSpPr>
          <p:spPr bwMode="auto">
            <a:xfrm>
              <a:off x="1585246" y="235327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0" name="Freeform 467">
              <a:extLst>
                <a:ext uri="{FF2B5EF4-FFF2-40B4-BE49-F238E27FC236}">
                  <a16:creationId xmlns:a16="http://schemas.microsoft.com/office/drawing/2014/main" id="{E195B01E-FAFC-BD4A-A5F2-C19A3A4EC13C}"/>
                </a:ext>
              </a:extLst>
            </p:cNvPr>
            <p:cNvSpPr>
              <a:spLocks/>
            </p:cNvSpPr>
            <p:nvPr/>
          </p:nvSpPr>
          <p:spPr bwMode="auto">
            <a:xfrm>
              <a:off x="1588735" y="235327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1" name="Freeform 468">
              <a:extLst>
                <a:ext uri="{FF2B5EF4-FFF2-40B4-BE49-F238E27FC236}">
                  <a16:creationId xmlns:a16="http://schemas.microsoft.com/office/drawing/2014/main" id="{649EE478-AA15-1049-8616-33E250E80C98}"/>
                </a:ext>
              </a:extLst>
            </p:cNvPr>
            <p:cNvSpPr>
              <a:spLocks/>
            </p:cNvSpPr>
            <p:nvPr/>
          </p:nvSpPr>
          <p:spPr bwMode="auto">
            <a:xfrm>
              <a:off x="1592223" y="234334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4"/>
                  </a:lnTo>
                  <a:lnTo>
                    <a:pt x="0" y="0"/>
                  </a:lnTo>
                  <a:lnTo>
                    <a:pt x="3" y="0"/>
                  </a:lnTo>
                  <a:lnTo>
                    <a:pt x="7"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2" name="Freeform 469">
              <a:extLst>
                <a:ext uri="{FF2B5EF4-FFF2-40B4-BE49-F238E27FC236}">
                  <a16:creationId xmlns:a16="http://schemas.microsoft.com/office/drawing/2014/main" id="{FF8FD412-74B8-984A-B913-EDEF43273EFB}"/>
                </a:ext>
              </a:extLst>
            </p:cNvPr>
            <p:cNvSpPr>
              <a:spLocks/>
            </p:cNvSpPr>
            <p:nvPr/>
          </p:nvSpPr>
          <p:spPr bwMode="auto">
            <a:xfrm>
              <a:off x="1592223" y="234334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3" name="Freeform 470">
              <a:extLst>
                <a:ext uri="{FF2B5EF4-FFF2-40B4-BE49-F238E27FC236}">
                  <a16:creationId xmlns:a16="http://schemas.microsoft.com/office/drawing/2014/main" id="{F5617C4A-1084-B145-9BBF-D34CE33AA510}"/>
                </a:ext>
              </a:extLst>
            </p:cNvPr>
            <p:cNvSpPr>
              <a:spLocks/>
            </p:cNvSpPr>
            <p:nvPr/>
          </p:nvSpPr>
          <p:spPr bwMode="auto">
            <a:xfrm>
              <a:off x="1600364" y="233738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4" name="Freeform 471">
              <a:extLst>
                <a:ext uri="{FF2B5EF4-FFF2-40B4-BE49-F238E27FC236}">
                  <a16:creationId xmlns:a16="http://schemas.microsoft.com/office/drawing/2014/main" id="{90CA150E-56BE-9344-B0AB-979DE5905BFA}"/>
                </a:ext>
              </a:extLst>
            </p:cNvPr>
            <p:cNvSpPr>
              <a:spLocks/>
            </p:cNvSpPr>
            <p:nvPr/>
          </p:nvSpPr>
          <p:spPr bwMode="auto">
            <a:xfrm>
              <a:off x="1600364" y="233738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5" name="Freeform 472">
              <a:extLst>
                <a:ext uri="{FF2B5EF4-FFF2-40B4-BE49-F238E27FC236}">
                  <a16:creationId xmlns:a16="http://schemas.microsoft.com/office/drawing/2014/main" id="{B0FFBA31-C503-CE46-AFC8-AAF2A2037291}"/>
                </a:ext>
              </a:extLst>
            </p:cNvPr>
            <p:cNvSpPr>
              <a:spLocks/>
            </p:cNvSpPr>
            <p:nvPr/>
          </p:nvSpPr>
          <p:spPr bwMode="auto">
            <a:xfrm>
              <a:off x="1603853" y="233738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6" name="Freeform 473">
              <a:extLst>
                <a:ext uri="{FF2B5EF4-FFF2-40B4-BE49-F238E27FC236}">
                  <a16:creationId xmlns:a16="http://schemas.microsoft.com/office/drawing/2014/main" id="{50707A23-C062-404E-B327-46B7D4C9A9A4}"/>
                </a:ext>
              </a:extLst>
            </p:cNvPr>
            <p:cNvSpPr>
              <a:spLocks/>
            </p:cNvSpPr>
            <p:nvPr/>
          </p:nvSpPr>
          <p:spPr bwMode="auto">
            <a:xfrm>
              <a:off x="1607342" y="233043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4"/>
                  </a:lnTo>
                  <a:lnTo>
                    <a:pt x="0" y="0"/>
                  </a:lnTo>
                  <a:lnTo>
                    <a:pt x="3" y="0"/>
                  </a:lnTo>
                  <a:lnTo>
                    <a:pt x="7" y="0"/>
                  </a:lnTo>
                  <a:lnTo>
                    <a:pt x="10" y="4"/>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7" name="Freeform 474">
              <a:extLst>
                <a:ext uri="{FF2B5EF4-FFF2-40B4-BE49-F238E27FC236}">
                  <a16:creationId xmlns:a16="http://schemas.microsoft.com/office/drawing/2014/main" id="{74388422-B123-CB49-974C-E1FF37333FBE}"/>
                </a:ext>
              </a:extLst>
            </p:cNvPr>
            <p:cNvSpPr>
              <a:spLocks/>
            </p:cNvSpPr>
            <p:nvPr/>
          </p:nvSpPr>
          <p:spPr bwMode="auto">
            <a:xfrm>
              <a:off x="1607342" y="232150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8" name="Freeform 475">
              <a:extLst>
                <a:ext uri="{FF2B5EF4-FFF2-40B4-BE49-F238E27FC236}">
                  <a16:creationId xmlns:a16="http://schemas.microsoft.com/office/drawing/2014/main" id="{70E38A82-140F-3549-8C18-51E02BE6B8DB}"/>
                </a:ext>
              </a:extLst>
            </p:cNvPr>
            <p:cNvSpPr>
              <a:spLocks/>
            </p:cNvSpPr>
            <p:nvPr/>
          </p:nvSpPr>
          <p:spPr bwMode="auto">
            <a:xfrm>
              <a:off x="1607342" y="232150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69" name="Freeform 476">
              <a:extLst>
                <a:ext uri="{FF2B5EF4-FFF2-40B4-BE49-F238E27FC236}">
                  <a16:creationId xmlns:a16="http://schemas.microsoft.com/office/drawing/2014/main" id="{71F76362-8A9E-1A4F-BA65-FFC4F6168897}"/>
                </a:ext>
              </a:extLst>
            </p:cNvPr>
            <p:cNvSpPr>
              <a:spLocks/>
            </p:cNvSpPr>
            <p:nvPr/>
          </p:nvSpPr>
          <p:spPr bwMode="auto">
            <a:xfrm>
              <a:off x="1610830" y="232150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0" name="Freeform 477">
              <a:extLst>
                <a:ext uri="{FF2B5EF4-FFF2-40B4-BE49-F238E27FC236}">
                  <a16:creationId xmlns:a16="http://schemas.microsoft.com/office/drawing/2014/main" id="{7AF68D11-06DE-564B-9E59-D2D8EDA8305A}"/>
                </a:ext>
              </a:extLst>
            </p:cNvPr>
            <p:cNvSpPr>
              <a:spLocks/>
            </p:cNvSpPr>
            <p:nvPr/>
          </p:nvSpPr>
          <p:spPr bwMode="auto">
            <a:xfrm>
              <a:off x="1622459" y="231455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1" name="Freeform 478">
              <a:extLst>
                <a:ext uri="{FF2B5EF4-FFF2-40B4-BE49-F238E27FC236}">
                  <a16:creationId xmlns:a16="http://schemas.microsoft.com/office/drawing/2014/main" id="{F847F185-2E27-514F-843F-3DE1DBBC7972}"/>
                </a:ext>
              </a:extLst>
            </p:cNvPr>
            <p:cNvSpPr>
              <a:spLocks/>
            </p:cNvSpPr>
            <p:nvPr/>
          </p:nvSpPr>
          <p:spPr bwMode="auto">
            <a:xfrm>
              <a:off x="1622459" y="231455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2" name="Freeform 479">
              <a:extLst>
                <a:ext uri="{FF2B5EF4-FFF2-40B4-BE49-F238E27FC236}">
                  <a16:creationId xmlns:a16="http://schemas.microsoft.com/office/drawing/2014/main" id="{4B1C77D1-0E5C-2A40-9749-0171A028DA45}"/>
                </a:ext>
              </a:extLst>
            </p:cNvPr>
            <p:cNvSpPr>
              <a:spLocks/>
            </p:cNvSpPr>
            <p:nvPr/>
          </p:nvSpPr>
          <p:spPr bwMode="auto">
            <a:xfrm>
              <a:off x="1625948" y="230561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3" name="Freeform 480">
              <a:extLst>
                <a:ext uri="{FF2B5EF4-FFF2-40B4-BE49-F238E27FC236}">
                  <a16:creationId xmlns:a16="http://schemas.microsoft.com/office/drawing/2014/main" id="{F1CA9DEC-0012-734B-AA75-771B3C623416}"/>
                </a:ext>
              </a:extLst>
            </p:cNvPr>
            <p:cNvSpPr>
              <a:spLocks/>
            </p:cNvSpPr>
            <p:nvPr/>
          </p:nvSpPr>
          <p:spPr bwMode="auto">
            <a:xfrm>
              <a:off x="1625948" y="230561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4" name="Freeform 481">
              <a:extLst>
                <a:ext uri="{FF2B5EF4-FFF2-40B4-BE49-F238E27FC236}">
                  <a16:creationId xmlns:a16="http://schemas.microsoft.com/office/drawing/2014/main" id="{65599C63-B37B-5D49-A8C4-88652B75E358}"/>
                </a:ext>
              </a:extLst>
            </p:cNvPr>
            <p:cNvSpPr>
              <a:spLocks/>
            </p:cNvSpPr>
            <p:nvPr/>
          </p:nvSpPr>
          <p:spPr bwMode="auto">
            <a:xfrm>
              <a:off x="1637578" y="2305617"/>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5" name="Freeform 482">
              <a:extLst>
                <a:ext uri="{FF2B5EF4-FFF2-40B4-BE49-F238E27FC236}">
                  <a16:creationId xmlns:a16="http://schemas.microsoft.com/office/drawing/2014/main" id="{D4B06AB4-BF5E-0F46-93F4-ED0AF865F635}"/>
                </a:ext>
              </a:extLst>
            </p:cNvPr>
            <p:cNvSpPr>
              <a:spLocks/>
            </p:cNvSpPr>
            <p:nvPr/>
          </p:nvSpPr>
          <p:spPr bwMode="auto">
            <a:xfrm>
              <a:off x="1644555" y="230561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6" name="Freeform 483">
              <a:extLst>
                <a:ext uri="{FF2B5EF4-FFF2-40B4-BE49-F238E27FC236}">
                  <a16:creationId xmlns:a16="http://schemas.microsoft.com/office/drawing/2014/main" id="{F46E96F6-F038-9B43-B463-CC2AAA6AF444}"/>
                </a:ext>
              </a:extLst>
            </p:cNvPr>
            <p:cNvSpPr>
              <a:spLocks/>
            </p:cNvSpPr>
            <p:nvPr/>
          </p:nvSpPr>
          <p:spPr bwMode="auto">
            <a:xfrm>
              <a:off x="1656184" y="229866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7" name="Freeform 484">
              <a:extLst>
                <a:ext uri="{FF2B5EF4-FFF2-40B4-BE49-F238E27FC236}">
                  <a16:creationId xmlns:a16="http://schemas.microsoft.com/office/drawing/2014/main" id="{38EFEBF4-D436-6C4F-8FE6-F18A642D454F}"/>
                </a:ext>
              </a:extLst>
            </p:cNvPr>
            <p:cNvSpPr>
              <a:spLocks/>
            </p:cNvSpPr>
            <p:nvPr/>
          </p:nvSpPr>
          <p:spPr bwMode="auto">
            <a:xfrm>
              <a:off x="1656184" y="2288738"/>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6" y="17"/>
                  </a:lnTo>
                  <a:lnTo>
                    <a:pt x="3" y="17"/>
                  </a:lnTo>
                  <a:lnTo>
                    <a:pt x="0" y="17"/>
                  </a:lnTo>
                  <a:lnTo>
                    <a:pt x="0" y="13"/>
                  </a:lnTo>
                  <a:lnTo>
                    <a:pt x="0" y="4"/>
                  </a:lnTo>
                  <a:lnTo>
                    <a:pt x="0" y="0"/>
                  </a:lnTo>
                  <a:lnTo>
                    <a:pt x="3" y="0"/>
                  </a:lnTo>
                  <a:lnTo>
                    <a:pt x="6"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8" name="Freeform 485">
              <a:extLst>
                <a:ext uri="{FF2B5EF4-FFF2-40B4-BE49-F238E27FC236}">
                  <a16:creationId xmlns:a16="http://schemas.microsoft.com/office/drawing/2014/main" id="{E00B3B1A-26AE-6E42-B56C-CDDF98868FCA}"/>
                </a:ext>
              </a:extLst>
            </p:cNvPr>
            <p:cNvSpPr>
              <a:spLocks/>
            </p:cNvSpPr>
            <p:nvPr/>
          </p:nvSpPr>
          <p:spPr bwMode="auto">
            <a:xfrm>
              <a:off x="1656184" y="228873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79" name="Freeform 486">
              <a:extLst>
                <a:ext uri="{FF2B5EF4-FFF2-40B4-BE49-F238E27FC236}">
                  <a16:creationId xmlns:a16="http://schemas.microsoft.com/office/drawing/2014/main" id="{1B9286F0-A342-E741-8A5A-F4F3118A8EDE}"/>
                </a:ext>
              </a:extLst>
            </p:cNvPr>
            <p:cNvSpPr>
              <a:spLocks/>
            </p:cNvSpPr>
            <p:nvPr/>
          </p:nvSpPr>
          <p:spPr bwMode="auto">
            <a:xfrm>
              <a:off x="1659673" y="228278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0" name="Freeform 487">
              <a:extLst>
                <a:ext uri="{FF2B5EF4-FFF2-40B4-BE49-F238E27FC236}">
                  <a16:creationId xmlns:a16="http://schemas.microsoft.com/office/drawing/2014/main" id="{D50929E4-52A0-0E4C-A528-F30ACF5CFC1F}"/>
                </a:ext>
              </a:extLst>
            </p:cNvPr>
            <p:cNvSpPr>
              <a:spLocks/>
            </p:cNvSpPr>
            <p:nvPr/>
          </p:nvSpPr>
          <p:spPr bwMode="auto">
            <a:xfrm>
              <a:off x="1659673" y="228278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1" name="Freeform 488">
              <a:extLst>
                <a:ext uri="{FF2B5EF4-FFF2-40B4-BE49-F238E27FC236}">
                  <a16:creationId xmlns:a16="http://schemas.microsoft.com/office/drawing/2014/main" id="{10C9FEE9-4A68-D649-B250-AADBFB65F762}"/>
                </a:ext>
              </a:extLst>
            </p:cNvPr>
            <p:cNvSpPr>
              <a:spLocks/>
            </p:cNvSpPr>
            <p:nvPr/>
          </p:nvSpPr>
          <p:spPr bwMode="auto">
            <a:xfrm>
              <a:off x="1667814" y="2272853"/>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4"/>
                  </a:lnTo>
                  <a:lnTo>
                    <a:pt x="0" y="0"/>
                  </a:lnTo>
                  <a:lnTo>
                    <a:pt x="3" y="0"/>
                  </a:lnTo>
                  <a:lnTo>
                    <a:pt x="6" y="0"/>
                  </a:lnTo>
                  <a:lnTo>
                    <a:pt x="9" y="4"/>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2" name="Freeform 489">
              <a:extLst>
                <a:ext uri="{FF2B5EF4-FFF2-40B4-BE49-F238E27FC236}">
                  <a16:creationId xmlns:a16="http://schemas.microsoft.com/office/drawing/2014/main" id="{BE05E6B3-D776-C241-AEA1-6BE4963103A4}"/>
                </a:ext>
              </a:extLst>
            </p:cNvPr>
            <p:cNvSpPr>
              <a:spLocks/>
            </p:cNvSpPr>
            <p:nvPr/>
          </p:nvSpPr>
          <p:spPr bwMode="auto">
            <a:xfrm>
              <a:off x="1667814" y="227285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3" name="Freeform 490">
              <a:extLst>
                <a:ext uri="{FF2B5EF4-FFF2-40B4-BE49-F238E27FC236}">
                  <a16:creationId xmlns:a16="http://schemas.microsoft.com/office/drawing/2014/main" id="{A920682F-CC2C-7148-8804-CBCEAE79FA59}"/>
                </a:ext>
              </a:extLst>
            </p:cNvPr>
            <p:cNvSpPr>
              <a:spLocks/>
            </p:cNvSpPr>
            <p:nvPr/>
          </p:nvSpPr>
          <p:spPr bwMode="auto">
            <a:xfrm>
              <a:off x="1671302" y="227285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4" name="Freeform 491">
              <a:extLst>
                <a:ext uri="{FF2B5EF4-FFF2-40B4-BE49-F238E27FC236}">
                  <a16:creationId xmlns:a16="http://schemas.microsoft.com/office/drawing/2014/main" id="{93917CA1-F2C2-864A-83D3-9E96611C6F1F}"/>
                </a:ext>
              </a:extLst>
            </p:cNvPr>
            <p:cNvSpPr>
              <a:spLocks/>
            </p:cNvSpPr>
            <p:nvPr/>
          </p:nvSpPr>
          <p:spPr bwMode="auto">
            <a:xfrm>
              <a:off x="1682931" y="227285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5" name="Freeform 492">
              <a:extLst>
                <a:ext uri="{FF2B5EF4-FFF2-40B4-BE49-F238E27FC236}">
                  <a16:creationId xmlns:a16="http://schemas.microsoft.com/office/drawing/2014/main" id="{062F8BEB-A2D8-D94E-9349-E389AF417901}"/>
                </a:ext>
              </a:extLst>
            </p:cNvPr>
            <p:cNvSpPr>
              <a:spLocks/>
            </p:cNvSpPr>
            <p:nvPr/>
          </p:nvSpPr>
          <p:spPr bwMode="auto">
            <a:xfrm>
              <a:off x="1686420" y="227285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6" name="Freeform 493">
              <a:extLst>
                <a:ext uri="{FF2B5EF4-FFF2-40B4-BE49-F238E27FC236}">
                  <a16:creationId xmlns:a16="http://schemas.microsoft.com/office/drawing/2014/main" id="{084ACA43-BEF9-924C-84E2-B330724F05EF}"/>
                </a:ext>
              </a:extLst>
            </p:cNvPr>
            <p:cNvSpPr>
              <a:spLocks/>
            </p:cNvSpPr>
            <p:nvPr/>
          </p:nvSpPr>
          <p:spPr bwMode="auto">
            <a:xfrm>
              <a:off x="1689909" y="227285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7" name="Freeform 494">
              <a:extLst>
                <a:ext uri="{FF2B5EF4-FFF2-40B4-BE49-F238E27FC236}">
                  <a16:creationId xmlns:a16="http://schemas.microsoft.com/office/drawing/2014/main" id="{37BEFF0C-FFD2-4A47-A23E-D24C2CDD867B}"/>
                </a:ext>
              </a:extLst>
            </p:cNvPr>
            <p:cNvSpPr>
              <a:spLocks/>
            </p:cNvSpPr>
            <p:nvPr/>
          </p:nvSpPr>
          <p:spPr bwMode="auto">
            <a:xfrm>
              <a:off x="1693398" y="227285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8" name="Freeform 495">
              <a:extLst>
                <a:ext uri="{FF2B5EF4-FFF2-40B4-BE49-F238E27FC236}">
                  <a16:creationId xmlns:a16="http://schemas.microsoft.com/office/drawing/2014/main" id="{4BB5EE45-6637-A340-8E43-B6BA955F9DF0}"/>
                </a:ext>
              </a:extLst>
            </p:cNvPr>
            <p:cNvSpPr>
              <a:spLocks/>
            </p:cNvSpPr>
            <p:nvPr/>
          </p:nvSpPr>
          <p:spPr bwMode="auto">
            <a:xfrm>
              <a:off x="1696886" y="226689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89" name="Freeform 496">
              <a:extLst>
                <a:ext uri="{FF2B5EF4-FFF2-40B4-BE49-F238E27FC236}">
                  <a16:creationId xmlns:a16="http://schemas.microsoft.com/office/drawing/2014/main" id="{9248FCA0-51D2-B74F-BD48-F1782EF41B73}"/>
                </a:ext>
              </a:extLst>
            </p:cNvPr>
            <p:cNvSpPr>
              <a:spLocks/>
            </p:cNvSpPr>
            <p:nvPr/>
          </p:nvSpPr>
          <p:spPr bwMode="auto">
            <a:xfrm>
              <a:off x="1696886" y="226689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0" name="Freeform 497">
              <a:extLst>
                <a:ext uri="{FF2B5EF4-FFF2-40B4-BE49-F238E27FC236}">
                  <a16:creationId xmlns:a16="http://schemas.microsoft.com/office/drawing/2014/main" id="{A8A7BE65-B13F-E544-90F8-EFF33BAC59DB}"/>
                </a:ext>
              </a:extLst>
            </p:cNvPr>
            <p:cNvSpPr>
              <a:spLocks/>
            </p:cNvSpPr>
            <p:nvPr/>
          </p:nvSpPr>
          <p:spPr bwMode="auto">
            <a:xfrm>
              <a:off x="1701538" y="225696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1" name="Freeform 498">
              <a:extLst>
                <a:ext uri="{FF2B5EF4-FFF2-40B4-BE49-F238E27FC236}">
                  <a16:creationId xmlns:a16="http://schemas.microsoft.com/office/drawing/2014/main" id="{A9CC2B2B-7EA8-1A4B-9C1E-DBC51F530F98}"/>
                </a:ext>
              </a:extLst>
            </p:cNvPr>
            <p:cNvSpPr>
              <a:spLocks/>
            </p:cNvSpPr>
            <p:nvPr/>
          </p:nvSpPr>
          <p:spPr bwMode="auto">
            <a:xfrm>
              <a:off x="1701538" y="225696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2" name="Freeform 499">
              <a:extLst>
                <a:ext uri="{FF2B5EF4-FFF2-40B4-BE49-F238E27FC236}">
                  <a16:creationId xmlns:a16="http://schemas.microsoft.com/office/drawing/2014/main" id="{C5712C8C-9286-6C4B-B53C-84B48B5D3911}"/>
                </a:ext>
              </a:extLst>
            </p:cNvPr>
            <p:cNvSpPr>
              <a:spLocks/>
            </p:cNvSpPr>
            <p:nvPr/>
          </p:nvSpPr>
          <p:spPr bwMode="auto">
            <a:xfrm>
              <a:off x="1708516" y="225696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3" name="Freeform 500">
              <a:extLst>
                <a:ext uri="{FF2B5EF4-FFF2-40B4-BE49-F238E27FC236}">
                  <a16:creationId xmlns:a16="http://schemas.microsoft.com/office/drawing/2014/main" id="{C776E8A1-938F-C14C-982F-0CA6794D4677}"/>
                </a:ext>
              </a:extLst>
            </p:cNvPr>
            <p:cNvSpPr>
              <a:spLocks/>
            </p:cNvSpPr>
            <p:nvPr/>
          </p:nvSpPr>
          <p:spPr bwMode="auto">
            <a:xfrm>
              <a:off x="1716656" y="225696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4" name="Freeform 501">
              <a:extLst>
                <a:ext uri="{FF2B5EF4-FFF2-40B4-BE49-F238E27FC236}">
                  <a16:creationId xmlns:a16="http://schemas.microsoft.com/office/drawing/2014/main" id="{C376BBD6-CCD4-2147-A611-BBD3321CA680}"/>
                </a:ext>
              </a:extLst>
            </p:cNvPr>
            <p:cNvSpPr>
              <a:spLocks/>
            </p:cNvSpPr>
            <p:nvPr/>
          </p:nvSpPr>
          <p:spPr bwMode="auto">
            <a:xfrm>
              <a:off x="1720145" y="2247039"/>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5" name="Freeform 502">
              <a:extLst>
                <a:ext uri="{FF2B5EF4-FFF2-40B4-BE49-F238E27FC236}">
                  <a16:creationId xmlns:a16="http://schemas.microsoft.com/office/drawing/2014/main" id="{3859AC66-A429-5442-8B93-F2B0CA5167E6}"/>
                </a:ext>
              </a:extLst>
            </p:cNvPr>
            <p:cNvSpPr>
              <a:spLocks/>
            </p:cNvSpPr>
            <p:nvPr/>
          </p:nvSpPr>
          <p:spPr bwMode="auto">
            <a:xfrm>
              <a:off x="1720145" y="224703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6" name="Freeform 503">
              <a:extLst>
                <a:ext uri="{FF2B5EF4-FFF2-40B4-BE49-F238E27FC236}">
                  <a16:creationId xmlns:a16="http://schemas.microsoft.com/office/drawing/2014/main" id="{480FBE9E-E886-1F41-A037-F917409D1E3F}"/>
                </a:ext>
              </a:extLst>
            </p:cNvPr>
            <p:cNvSpPr>
              <a:spLocks/>
            </p:cNvSpPr>
            <p:nvPr/>
          </p:nvSpPr>
          <p:spPr bwMode="auto">
            <a:xfrm>
              <a:off x="1723634" y="224108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7" name="Freeform 504">
              <a:extLst>
                <a:ext uri="{FF2B5EF4-FFF2-40B4-BE49-F238E27FC236}">
                  <a16:creationId xmlns:a16="http://schemas.microsoft.com/office/drawing/2014/main" id="{94E81F5D-7D11-914E-AE34-416DB1C6AD0C}"/>
                </a:ext>
              </a:extLst>
            </p:cNvPr>
            <p:cNvSpPr>
              <a:spLocks/>
            </p:cNvSpPr>
            <p:nvPr/>
          </p:nvSpPr>
          <p:spPr bwMode="auto">
            <a:xfrm>
              <a:off x="1723634" y="224108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8" name="Freeform 505">
              <a:extLst>
                <a:ext uri="{FF2B5EF4-FFF2-40B4-BE49-F238E27FC236}">
                  <a16:creationId xmlns:a16="http://schemas.microsoft.com/office/drawing/2014/main" id="{0FBFCE1B-946F-EA4A-ADDB-F5E9251F45C2}"/>
                </a:ext>
              </a:extLst>
            </p:cNvPr>
            <p:cNvSpPr>
              <a:spLocks/>
            </p:cNvSpPr>
            <p:nvPr/>
          </p:nvSpPr>
          <p:spPr bwMode="auto">
            <a:xfrm>
              <a:off x="1730611" y="2241082"/>
              <a:ext cx="19770" cy="9928"/>
            </a:xfrm>
            <a:custGeom>
              <a:avLst/>
              <a:gdLst>
                <a:gd name="T0" fmla="*/ 2147483646 w 17"/>
                <a:gd name="T1" fmla="*/ 2147483646 h 10"/>
                <a:gd name="T2" fmla="*/ 0 w 17"/>
                <a:gd name="T3" fmla="*/ 2147483646 h 10"/>
                <a:gd name="T4" fmla="*/ 0 w 17"/>
                <a:gd name="T5" fmla="*/ 2147483646 h 10"/>
                <a:gd name="T6" fmla="*/ 0 w 17"/>
                <a:gd name="T7" fmla="*/ 2147483646 h 10"/>
                <a:gd name="T8" fmla="*/ 0 w 17"/>
                <a:gd name="T9" fmla="*/ 0 h 10"/>
                <a:gd name="T10" fmla="*/ 2147483646 w 17"/>
                <a:gd name="T11" fmla="*/ 0 h 10"/>
                <a:gd name="T12" fmla="*/ 2147483646 w 17"/>
                <a:gd name="T13" fmla="*/ 0 h 10"/>
                <a:gd name="T14" fmla="*/ 2147483646 w 17"/>
                <a:gd name="T15" fmla="*/ 0 h 10"/>
                <a:gd name="T16" fmla="*/ 2147483646 w 17"/>
                <a:gd name="T17" fmla="*/ 2147483646 h 10"/>
                <a:gd name="T18" fmla="*/ 2147483646 w 17"/>
                <a:gd name="T19" fmla="*/ 2147483646 h 10"/>
                <a:gd name="T20" fmla="*/ 2147483646 w 17"/>
                <a:gd name="T21" fmla="*/ 2147483646 h 10"/>
                <a:gd name="T22" fmla="*/ 2147483646 w 17"/>
                <a:gd name="T23" fmla="*/ 2147483646 h 10"/>
                <a:gd name="T24" fmla="*/ 2147483646 w 1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0">
                  <a:moveTo>
                    <a:pt x="4" y="10"/>
                  </a:moveTo>
                  <a:lnTo>
                    <a:pt x="0" y="6"/>
                  </a:lnTo>
                  <a:lnTo>
                    <a:pt x="0" y="3"/>
                  </a:lnTo>
                  <a:lnTo>
                    <a:pt x="0" y="0"/>
                  </a:lnTo>
                  <a:lnTo>
                    <a:pt x="4" y="0"/>
                  </a:lnTo>
                  <a:lnTo>
                    <a:pt x="13" y="0"/>
                  </a:lnTo>
                  <a:lnTo>
                    <a:pt x="17" y="0"/>
                  </a:lnTo>
                  <a:lnTo>
                    <a:pt x="17" y="3"/>
                  </a:lnTo>
                  <a:lnTo>
                    <a:pt x="17" y="6"/>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499" name="Freeform 506">
              <a:extLst>
                <a:ext uri="{FF2B5EF4-FFF2-40B4-BE49-F238E27FC236}">
                  <a16:creationId xmlns:a16="http://schemas.microsoft.com/office/drawing/2014/main" id="{B8778228-7C43-2745-B58B-6775566E8807}"/>
                </a:ext>
              </a:extLst>
            </p:cNvPr>
            <p:cNvSpPr>
              <a:spLocks/>
            </p:cNvSpPr>
            <p:nvPr/>
          </p:nvSpPr>
          <p:spPr bwMode="auto">
            <a:xfrm>
              <a:off x="1742241" y="224108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0" name="Freeform 507">
              <a:extLst>
                <a:ext uri="{FF2B5EF4-FFF2-40B4-BE49-F238E27FC236}">
                  <a16:creationId xmlns:a16="http://schemas.microsoft.com/office/drawing/2014/main" id="{224DBA50-B350-3646-BF24-2185BAFF2BC9}"/>
                </a:ext>
              </a:extLst>
            </p:cNvPr>
            <p:cNvSpPr>
              <a:spLocks/>
            </p:cNvSpPr>
            <p:nvPr/>
          </p:nvSpPr>
          <p:spPr bwMode="auto">
            <a:xfrm>
              <a:off x="1745729" y="223115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4"/>
                  </a:lnTo>
                  <a:lnTo>
                    <a:pt x="0" y="0"/>
                  </a:lnTo>
                  <a:lnTo>
                    <a:pt x="4" y="0"/>
                  </a:lnTo>
                  <a:lnTo>
                    <a:pt x="7"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1" name="Freeform 508">
              <a:extLst>
                <a:ext uri="{FF2B5EF4-FFF2-40B4-BE49-F238E27FC236}">
                  <a16:creationId xmlns:a16="http://schemas.microsoft.com/office/drawing/2014/main" id="{89D1FDA1-D7EA-9B4A-958E-FE666D42C90E}"/>
                </a:ext>
              </a:extLst>
            </p:cNvPr>
            <p:cNvSpPr>
              <a:spLocks/>
            </p:cNvSpPr>
            <p:nvPr/>
          </p:nvSpPr>
          <p:spPr bwMode="auto">
            <a:xfrm>
              <a:off x="1745729" y="223115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2" name="Freeform 509">
              <a:extLst>
                <a:ext uri="{FF2B5EF4-FFF2-40B4-BE49-F238E27FC236}">
                  <a16:creationId xmlns:a16="http://schemas.microsoft.com/office/drawing/2014/main" id="{19078065-8CB7-7848-BF0C-AC010C7409B7}"/>
                </a:ext>
              </a:extLst>
            </p:cNvPr>
            <p:cNvSpPr>
              <a:spLocks/>
            </p:cNvSpPr>
            <p:nvPr/>
          </p:nvSpPr>
          <p:spPr bwMode="auto">
            <a:xfrm>
              <a:off x="1750381" y="2222218"/>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3" name="Freeform 510">
              <a:extLst>
                <a:ext uri="{FF2B5EF4-FFF2-40B4-BE49-F238E27FC236}">
                  <a16:creationId xmlns:a16="http://schemas.microsoft.com/office/drawing/2014/main" id="{D2C55A2D-F1AF-F043-BF55-14593DE547E4}"/>
                </a:ext>
              </a:extLst>
            </p:cNvPr>
            <p:cNvSpPr>
              <a:spLocks/>
            </p:cNvSpPr>
            <p:nvPr/>
          </p:nvSpPr>
          <p:spPr bwMode="auto">
            <a:xfrm>
              <a:off x="1750381" y="2222218"/>
              <a:ext cx="13955" cy="8936"/>
            </a:xfrm>
            <a:custGeom>
              <a:avLst/>
              <a:gdLst>
                <a:gd name="T0" fmla="*/ 2147483646 w 12"/>
                <a:gd name="T1" fmla="*/ 2147483646 h 9"/>
                <a:gd name="T2" fmla="*/ 0 w 12"/>
                <a:gd name="T3" fmla="*/ 2147483646 h 9"/>
                <a:gd name="T4" fmla="*/ 0 w 12"/>
                <a:gd name="T5" fmla="*/ 2147483646 h 9"/>
                <a:gd name="T6" fmla="*/ 0 w 12"/>
                <a:gd name="T7" fmla="*/ 2147483646 h 9"/>
                <a:gd name="T8" fmla="*/ 0 w 12"/>
                <a:gd name="T9" fmla="*/ 0 h 9"/>
                <a:gd name="T10" fmla="*/ 2147483646 w 12"/>
                <a:gd name="T11" fmla="*/ 0 h 9"/>
                <a:gd name="T12" fmla="*/ 2147483646 w 12"/>
                <a:gd name="T13" fmla="*/ 0 h 9"/>
                <a:gd name="T14" fmla="*/ 2147483646 w 12"/>
                <a:gd name="T15" fmla="*/ 0 h 9"/>
                <a:gd name="T16" fmla="*/ 2147483646 w 12"/>
                <a:gd name="T17" fmla="*/ 2147483646 h 9"/>
                <a:gd name="T18" fmla="*/ 2147483646 w 12"/>
                <a:gd name="T19" fmla="*/ 2147483646 h 9"/>
                <a:gd name="T20" fmla="*/ 2147483646 w 12"/>
                <a:gd name="T21" fmla="*/ 2147483646 h 9"/>
                <a:gd name="T22" fmla="*/ 2147483646 w 12"/>
                <a:gd name="T23" fmla="*/ 2147483646 h 9"/>
                <a:gd name="T24" fmla="*/ 2147483646 w 1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9">
                  <a:moveTo>
                    <a:pt x="3" y="9"/>
                  </a:moveTo>
                  <a:lnTo>
                    <a:pt x="0" y="6"/>
                  </a:lnTo>
                  <a:lnTo>
                    <a:pt x="0" y="3"/>
                  </a:lnTo>
                  <a:lnTo>
                    <a:pt x="0" y="0"/>
                  </a:lnTo>
                  <a:lnTo>
                    <a:pt x="3" y="0"/>
                  </a:lnTo>
                  <a:lnTo>
                    <a:pt x="9" y="0"/>
                  </a:lnTo>
                  <a:lnTo>
                    <a:pt x="12" y="0"/>
                  </a:lnTo>
                  <a:lnTo>
                    <a:pt x="12" y="3"/>
                  </a:lnTo>
                  <a:lnTo>
                    <a:pt x="12"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4" name="Freeform 511">
              <a:extLst>
                <a:ext uri="{FF2B5EF4-FFF2-40B4-BE49-F238E27FC236}">
                  <a16:creationId xmlns:a16="http://schemas.microsoft.com/office/drawing/2014/main" id="{DF89E505-ECE5-434A-9D7C-C0DC941BA85A}"/>
                </a:ext>
              </a:extLst>
            </p:cNvPr>
            <p:cNvSpPr>
              <a:spLocks/>
            </p:cNvSpPr>
            <p:nvPr/>
          </p:nvSpPr>
          <p:spPr bwMode="auto">
            <a:xfrm>
              <a:off x="1757358" y="222221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5" name="Freeform 512">
              <a:extLst>
                <a:ext uri="{FF2B5EF4-FFF2-40B4-BE49-F238E27FC236}">
                  <a16:creationId xmlns:a16="http://schemas.microsoft.com/office/drawing/2014/main" id="{850A3DA1-E50A-214C-A997-BE6DCDE11B8B}"/>
                </a:ext>
              </a:extLst>
            </p:cNvPr>
            <p:cNvSpPr>
              <a:spLocks/>
            </p:cNvSpPr>
            <p:nvPr/>
          </p:nvSpPr>
          <p:spPr bwMode="auto">
            <a:xfrm>
              <a:off x="1768987" y="222221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9" y="0"/>
                  </a:lnTo>
                  <a:lnTo>
                    <a:pt x="13" y="0"/>
                  </a:lnTo>
                  <a:lnTo>
                    <a:pt x="13" y="3"/>
                  </a:lnTo>
                  <a:lnTo>
                    <a:pt x="13"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6" name="Freeform 513">
              <a:extLst>
                <a:ext uri="{FF2B5EF4-FFF2-40B4-BE49-F238E27FC236}">
                  <a16:creationId xmlns:a16="http://schemas.microsoft.com/office/drawing/2014/main" id="{F8CD9965-65AA-C641-B0EE-67621FF8FC80}"/>
                </a:ext>
              </a:extLst>
            </p:cNvPr>
            <p:cNvSpPr>
              <a:spLocks/>
            </p:cNvSpPr>
            <p:nvPr/>
          </p:nvSpPr>
          <p:spPr bwMode="auto">
            <a:xfrm>
              <a:off x="1775965" y="222221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7" name="Freeform 514">
              <a:extLst>
                <a:ext uri="{FF2B5EF4-FFF2-40B4-BE49-F238E27FC236}">
                  <a16:creationId xmlns:a16="http://schemas.microsoft.com/office/drawing/2014/main" id="{43DC49CF-EB33-014E-ABCC-1DE0D50CE1BC}"/>
                </a:ext>
              </a:extLst>
            </p:cNvPr>
            <p:cNvSpPr>
              <a:spLocks/>
            </p:cNvSpPr>
            <p:nvPr/>
          </p:nvSpPr>
          <p:spPr bwMode="auto">
            <a:xfrm>
              <a:off x="1779454" y="221229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8" name="Freeform 515">
              <a:extLst>
                <a:ext uri="{FF2B5EF4-FFF2-40B4-BE49-F238E27FC236}">
                  <a16:creationId xmlns:a16="http://schemas.microsoft.com/office/drawing/2014/main" id="{0FB362DA-522B-A448-AF61-F4E81E594103}"/>
                </a:ext>
              </a:extLst>
            </p:cNvPr>
            <p:cNvSpPr>
              <a:spLocks/>
            </p:cNvSpPr>
            <p:nvPr/>
          </p:nvSpPr>
          <p:spPr bwMode="auto">
            <a:xfrm>
              <a:off x="1779454" y="221229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09" name="Freeform 516">
              <a:extLst>
                <a:ext uri="{FF2B5EF4-FFF2-40B4-BE49-F238E27FC236}">
                  <a16:creationId xmlns:a16="http://schemas.microsoft.com/office/drawing/2014/main" id="{A42BBF8E-A31A-6543-B37C-29C6EE73D6EE}"/>
                </a:ext>
              </a:extLst>
            </p:cNvPr>
            <p:cNvSpPr>
              <a:spLocks/>
            </p:cNvSpPr>
            <p:nvPr/>
          </p:nvSpPr>
          <p:spPr bwMode="auto">
            <a:xfrm>
              <a:off x="1787594" y="221229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0" name="Freeform 517">
              <a:extLst>
                <a:ext uri="{FF2B5EF4-FFF2-40B4-BE49-F238E27FC236}">
                  <a16:creationId xmlns:a16="http://schemas.microsoft.com/office/drawing/2014/main" id="{6AFA5F00-2C96-D54F-A1C1-594EF712F3F1}"/>
                </a:ext>
              </a:extLst>
            </p:cNvPr>
            <p:cNvSpPr>
              <a:spLocks/>
            </p:cNvSpPr>
            <p:nvPr/>
          </p:nvSpPr>
          <p:spPr bwMode="auto">
            <a:xfrm>
              <a:off x="1791083" y="220236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4"/>
                  </a:lnTo>
                  <a:lnTo>
                    <a:pt x="0" y="0"/>
                  </a:lnTo>
                  <a:lnTo>
                    <a:pt x="3" y="0"/>
                  </a:lnTo>
                  <a:lnTo>
                    <a:pt x="6" y="0"/>
                  </a:lnTo>
                  <a:lnTo>
                    <a:pt x="10" y="4"/>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1" name="Freeform 518">
              <a:extLst>
                <a:ext uri="{FF2B5EF4-FFF2-40B4-BE49-F238E27FC236}">
                  <a16:creationId xmlns:a16="http://schemas.microsoft.com/office/drawing/2014/main" id="{08D6CDFC-13CD-F745-9F00-C16A1217BD40}"/>
                </a:ext>
              </a:extLst>
            </p:cNvPr>
            <p:cNvSpPr>
              <a:spLocks/>
            </p:cNvSpPr>
            <p:nvPr/>
          </p:nvSpPr>
          <p:spPr bwMode="auto">
            <a:xfrm>
              <a:off x="1791083" y="220236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2" name="Freeform 519">
              <a:extLst>
                <a:ext uri="{FF2B5EF4-FFF2-40B4-BE49-F238E27FC236}">
                  <a16:creationId xmlns:a16="http://schemas.microsoft.com/office/drawing/2014/main" id="{6CAD75F3-CE29-194B-A330-C8D82DC8A016}"/>
                </a:ext>
              </a:extLst>
            </p:cNvPr>
            <p:cNvSpPr>
              <a:spLocks/>
            </p:cNvSpPr>
            <p:nvPr/>
          </p:nvSpPr>
          <p:spPr bwMode="auto">
            <a:xfrm>
              <a:off x="1798061" y="219342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3" name="Freeform 520">
              <a:extLst>
                <a:ext uri="{FF2B5EF4-FFF2-40B4-BE49-F238E27FC236}">
                  <a16:creationId xmlns:a16="http://schemas.microsoft.com/office/drawing/2014/main" id="{0705BB04-10D4-1E45-9365-E2BA6E4C19F0}"/>
                </a:ext>
              </a:extLst>
            </p:cNvPr>
            <p:cNvSpPr>
              <a:spLocks/>
            </p:cNvSpPr>
            <p:nvPr/>
          </p:nvSpPr>
          <p:spPr bwMode="auto">
            <a:xfrm>
              <a:off x="1798061" y="219342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4" name="Freeform 521">
              <a:extLst>
                <a:ext uri="{FF2B5EF4-FFF2-40B4-BE49-F238E27FC236}">
                  <a16:creationId xmlns:a16="http://schemas.microsoft.com/office/drawing/2014/main" id="{005255ED-425E-9E49-B490-304F3C6D5008}"/>
                </a:ext>
              </a:extLst>
            </p:cNvPr>
            <p:cNvSpPr>
              <a:spLocks/>
            </p:cNvSpPr>
            <p:nvPr/>
          </p:nvSpPr>
          <p:spPr bwMode="auto">
            <a:xfrm>
              <a:off x="1802713" y="218349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5" name="Freeform 522">
              <a:extLst>
                <a:ext uri="{FF2B5EF4-FFF2-40B4-BE49-F238E27FC236}">
                  <a16:creationId xmlns:a16="http://schemas.microsoft.com/office/drawing/2014/main" id="{388EC66E-BFD9-984A-B15F-96E5AA824BCB}"/>
                </a:ext>
              </a:extLst>
            </p:cNvPr>
            <p:cNvSpPr>
              <a:spLocks/>
            </p:cNvSpPr>
            <p:nvPr/>
          </p:nvSpPr>
          <p:spPr bwMode="auto">
            <a:xfrm>
              <a:off x="1802713" y="218349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6" name="Freeform 523">
              <a:extLst>
                <a:ext uri="{FF2B5EF4-FFF2-40B4-BE49-F238E27FC236}">
                  <a16:creationId xmlns:a16="http://schemas.microsoft.com/office/drawing/2014/main" id="{4B432AE1-C329-DE40-8AA8-B4175CB56BB3}"/>
                </a:ext>
              </a:extLst>
            </p:cNvPr>
            <p:cNvSpPr>
              <a:spLocks/>
            </p:cNvSpPr>
            <p:nvPr/>
          </p:nvSpPr>
          <p:spPr bwMode="auto">
            <a:xfrm>
              <a:off x="1809690" y="218349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7" name="Freeform 524">
              <a:extLst>
                <a:ext uri="{FF2B5EF4-FFF2-40B4-BE49-F238E27FC236}">
                  <a16:creationId xmlns:a16="http://schemas.microsoft.com/office/drawing/2014/main" id="{F610B0AA-9E5B-ED4F-84D1-E67E6EA1682F}"/>
                </a:ext>
              </a:extLst>
            </p:cNvPr>
            <p:cNvSpPr>
              <a:spLocks/>
            </p:cNvSpPr>
            <p:nvPr/>
          </p:nvSpPr>
          <p:spPr bwMode="auto">
            <a:xfrm>
              <a:off x="1817830" y="218349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8" name="Freeform 525">
              <a:extLst>
                <a:ext uri="{FF2B5EF4-FFF2-40B4-BE49-F238E27FC236}">
                  <a16:creationId xmlns:a16="http://schemas.microsoft.com/office/drawing/2014/main" id="{C158514D-E553-CF4F-81BC-D1D820A8762C}"/>
                </a:ext>
              </a:extLst>
            </p:cNvPr>
            <p:cNvSpPr>
              <a:spLocks/>
            </p:cNvSpPr>
            <p:nvPr/>
          </p:nvSpPr>
          <p:spPr bwMode="auto">
            <a:xfrm>
              <a:off x="1821319" y="2173569"/>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19" name="Freeform 526">
              <a:extLst>
                <a:ext uri="{FF2B5EF4-FFF2-40B4-BE49-F238E27FC236}">
                  <a16:creationId xmlns:a16="http://schemas.microsoft.com/office/drawing/2014/main" id="{103AE8DD-5EF5-0B44-A41B-BB5BDAAD3A15}"/>
                </a:ext>
              </a:extLst>
            </p:cNvPr>
            <p:cNvSpPr>
              <a:spLocks/>
            </p:cNvSpPr>
            <p:nvPr/>
          </p:nvSpPr>
          <p:spPr bwMode="auto">
            <a:xfrm>
              <a:off x="1821319" y="217356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0" name="Freeform 527">
              <a:extLst>
                <a:ext uri="{FF2B5EF4-FFF2-40B4-BE49-F238E27FC236}">
                  <a16:creationId xmlns:a16="http://schemas.microsoft.com/office/drawing/2014/main" id="{9214D9D1-5375-0841-B1E4-9FB785EDF0B1}"/>
                </a:ext>
              </a:extLst>
            </p:cNvPr>
            <p:cNvSpPr>
              <a:spLocks/>
            </p:cNvSpPr>
            <p:nvPr/>
          </p:nvSpPr>
          <p:spPr bwMode="auto">
            <a:xfrm>
              <a:off x="1824808" y="216463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6" y="16"/>
                  </a:lnTo>
                  <a:lnTo>
                    <a:pt x="3" y="16"/>
                  </a:lnTo>
                  <a:lnTo>
                    <a:pt x="0" y="16"/>
                  </a:lnTo>
                  <a:lnTo>
                    <a:pt x="0" y="12"/>
                  </a:lnTo>
                  <a:lnTo>
                    <a:pt x="0" y="3"/>
                  </a:lnTo>
                  <a:lnTo>
                    <a:pt x="0" y="0"/>
                  </a:lnTo>
                  <a:lnTo>
                    <a:pt x="3" y="0"/>
                  </a:lnTo>
                  <a:lnTo>
                    <a:pt x="6" y="0"/>
                  </a:lnTo>
                  <a:lnTo>
                    <a:pt x="10" y="3"/>
                  </a:lnTo>
                  <a:lnTo>
                    <a:pt x="10" y="1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1" name="Freeform 528">
              <a:extLst>
                <a:ext uri="{FF2B5EF4-FFF2-40B4-BE49-F238E27FC236}">
                  <a16:creationId xmlns:a16="http://schemas.microsoft.com/office/drawing/2014/main" id="{86BE93A0-4419-DD43-9310-40497986F868}"/>
                </a:ext>
              </a:extLst>
            </p:cNvPr>
            <p:cNvSpPr>
              <a:spLocks/>
            </p:cNvSpPr>
            <p:nvPr/>
          </p:nvSpPr>
          <p:spPr bwMode="auto">
            <a:xfrm>
              <a:off x="1824808" y="2164633"/>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2" name="Freeform 529">
              <a:extLst>
                <a:ext uri="{FF2B5EF4-FFF2-40B4-BE49-F238E27FC236}">
                  <a16:creationId xmlns:a16="http://schemas.microsoft.com/office/drawing/2014/main" id="{162D382A-36A2-0549-B1B1-A4355C2F685D}"/>
                </a:ext>
              </a:extLst>
            </p:cNvPr>
            <p:cNvSpPr>
              <a:spLocks/>
            </p:cNvSpPr>
            <p:nvPr/>
          </p:nvSpPr>
          <p:spPr bwMode="auto">
            <a:xfrm>
              <a:off x="1836437" y="2154705"/>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3" name="Freeform 530">
              <a:extLst>
                <a:ext uri="{FF2B5EF4-FFF2-40B4-BE49-F238E27FC236}">
                  <a16:creationId xmlns:a16="http://schemas.microsoft.com/office/drawing/2014/main" id="{C9A3A494-E881-204F-8688-1528571E0BE1}"/>
                </a:ext>
              </a:extLst>
            </p:cNvPr>
            <p:cNvSpPr>
              <a:spLocks/>
            </p:cNvSpPr>
            <p:nvPr/>
          </p:nvSpPr>
          <p:spPr bwMode="auto">
            <a:xfrm>
              <a:off x="1836437" y="215470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4" name="Freeform 531">
              <a:extLst>
                <a:ext uri="{FF2B5EF4-FFF2-40B4-BE49-F238E27FC236}">
                  <a16:creationId xmlns:a16="http://schemas.microsoft.com/office/drawing/2014/main" id="{A5E55DF4-0FDB-AC42-BDE1-4E381CCD8A85}"/>
                </a:ext>
              </a:extLst>
            </p:cNvPr>
            <p:cNvSpPr>
              <a:spLocks/>
            </p:cNvSpPr>
            <p:nvPr/>
          </p:nvSpPr>
          <p:spPr bwMode="auto">
            <a:xfrm>
              <a:off x="1843414" y="215470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5" name="Freeform 532">
              <a:extLst>
                <a:ext uri="{FF2B5EF4-FFF2-40B4-BE49-F238E27FC236}">
                  <a16:creationId xmlns:a16="http://schemas.microsoft.com/office/drawing/2014/main" id="{1C742453-82C0-F646-860F-D6CD29505591}"/>
                </a:ext>
              </a:extLst>
            </p:cNvPr>
            <p:cNvSpPr>
              <a:spLocks/>
            </p:cNvSpPr>
            <p:nvPr/>
          </p:nvSpPr>
          <p:spPr bwMode="auto">
            <a:xfrm>
              <a:off x="1851555" y="2144776"/>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6" name="Freeform 533">
              <a:extLst>
                <a:ext uri="{FF2B5EF4-FFF2-40B4-BE49-F238E27FC236}">
                  <a16:creationId xmlns:a16="http://schemas.microsoft.com/office/drawing/2014/main" id="{F2ABEE6E-1EC2-8B4D-9452-D521B38388B1}"/>
                </a:ext>
              </a:extLst>
            </p:cNvPr>
            <p:cNvSpPr>
              <a:spLocks/>
            </p:cNvSpPr>
            <p:nvPr/>
          </p:nvSpPr>
          <p:spPr bwMode="auto">
            <a:xfrm>
              <a:off x="1851555" y="2131869"/>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7" name="Freeform 534">
              <a:extLst>
                <a:ext uri="{FF2B5EF4-FFF2-40B4-BE49-F238E27FC236}">
                  <a16:creationId xmlns:a16="http://schemas.microsoft.com/office/drawing/2014/main" id="{EDA5585C-C6D1-7E46-84C6-6919ECBB91BA}"/>
                </a:ext>
              </a:extLst>
            </p:cNvPr>
            <p:cNvSpPr>
              <a:spLocks/>
            </p:cNvSpPr>
            <p:nvPr/>
          </p:nvSpPr>
          <p:spPr bwMode="auto">
            <a:xfrm>
              <a:off x="1851555" y="213186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8" name="Freeform 535">
              <a:extLst>
                <a:ext uri="{FF2B5EF4-FFF2-40B4-BE49-F238E27FC236}">
                  <a16:creationId xmlns:a16="http://schemas.microsoft.com/office/drawing/2014/main" id="{258E080C-DC51-2049-9897-E8CE757524A2}"/>
                </a:ext>
              </a:extLst>
            </p:cNvPr>
            <p:cNvSpPr>
              <a:spLocks/>
            </p:cNvSpPr>
            <p:nvPr/>
          </p:nvSpPr>
          <p:spPr bwMode="auto">
            <a:xfrm>
              <a:off x="1855044" y="2122934"/>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29" name="Freeform 536">
              <a:extLst>
                <a:ext uri="{FF2B5EF4-FFF2-40B4-BE49-F238E27FC236}">
                  <a16:creationId xmlns:a16="http://schemas.microsoft.com/office/drawing/2014/main" id="{B91F7B79-1679-0942-9FB2-3F69FA47CE9F}"/>
                </a:ext>
              </a:extLst>
            </p:cNvPr>
            <p:cNvSpPr>
              <a:spLocks/>
            </p:cNvSpPr>
            <p:nvPr/>
          </p:nvSpPr>
          <p:spPr bwMode="auto">
            <a:xfrm>
              <a:off x="1855044" y="2122934"/>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0" name="Freeform 537">
              <a:extLst>
                <a:ext uri="{FF2B5EF4-FFF2-40B4-BE49-F238E27FC236}">
                  <a16:creationId xmlns:a16="http://schemas.microsoft.com/office/drawing/2014/main" id="{7D1E256C-3607-4D45-930C-A290E6C95D90}"/>
                </a:ext>
              </a:extLst>
            </p:cNvPr>
            <p:cNvSpPr>
              <a:spLocks/>
            </p:cNvSpPr>
            <p:nvPr/>
          </p:nvSpPr>
          <p:spPr bwMode="auto">
            <a:xfrm>
              <a:off x="1858533" y="212293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1" name="Freeform 538">
              <a:extLst>
                <a:ext uri="{FF2B5EF4-FFF2-40B4-BE49-F238E27FC236}">
                  <a16:creationId xmlns:a16="http://schemas.microsoft.com/office/drawing/2014/main" id="{B45D3B21-BED6-534F-AD79-267112FF3294}"/>
                </a:ext>
              </a:extLst>
            </p:cNvPr>
            <p:cNvSpPr>
              <a:spLocks/>
            </p:cNvSpPr>
            <p:nvPr/>
          </p:nvSpPr>
          <p:spPr bwMode="auto">
            <a:xfrm>
              <a:off x="1862021" y="211300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2" name="Freeform 539">
              <a:extLst>
                <a:ext uri="{FF2B5EF4-FFF2-40B4-BE49-F238E27FC236}">
                  <a16:creationId xmlns:a16="http://schemas.microsoft.com/office/drawing/2014/main" id="{E0DE3E7C-AE63-9245-BD2B-64CCA2DA646A}"/>
                </a:ext>
              </a:extLst>
            </p:cNvPr>
            <p:cNvSpPr>
              <a:spLocks/>
            </p:cNvSpPr>
            <p:nvPr/>
          </p:nvSpPr>
          <p:spPr bwMode="auto">
            <a:xfrm>
              <a:off x="1862021" y="2113005"/>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6"/>
                  </a:lnTo>
                  <a:lnTo>
                    <a:pt x="0" y="3"/>
                  </a:lnTo>
                  <a:lnTo>
                    <a:pt x="0" y="0"/>
                  </a:lnTo>
                  <a:lnTo>
                    <a:pt x="3" y="0"/>
                  </a:lnTo>
                  <a:lnTo>
                    <a:pt x="26" y="0"/>
                  </a:lnTo>
                  <a:lnTo>
                    <a:pt x="29" y="0"/>
                  </a:lnTo>
                  <a:lnTo>
                    <a:pt x="29" y="3"/>
                  </a:lnTo>
                  <a:lnTo>
                    <a:pt x="29" y="6"/>
                  </a:lnTo>
                  <a:lnTo>
                    <a:pt x="2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3" name="Freeform 540">
              <a:extLst>
                <a:ext uri="{FF2B5EF4-FFF2-40B4-BE49-F238E27FC236}">
                  <a16:creationId xmlns:a16="http://schemas.microsoft.com/office/drawing/2014/main" id="{EDFAA68A-24D4-3947-9901-E521943F8552}"/>
                </a:ext>
              </a:extLst>
            </p:cNvPr>
            <p:cNvSpPr>
              <a:spLocks/>
            </p:cNvSpPr>
            <p:nvPr/>
          </p:nvSpPr>
          <p:spPr bwMode="auto">
            <a:xfrm>
              <a:off x="1888769" y="2113005"/>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4" name="Freeform 541">
              <a:extLst>
                <a:ext uri="{FF2B5EF4-FFF2-40B4-BE49-F238E27FC236}">
                  <a16:creationId xmlns:a16="http://schemas.microsoft.com/office/drawing/2014/main" id="{48F2747F-9F28-A744-A37B-ADEB4291054F}"/>
                </a:ext>
              </a:extLst>
            </p:cNvPr>
            <p:cNvSpPr>
              <a:spLocks/>
            </p:cNvSpPr>
            <p:nvPr/>
          </p:nvSpPr>
          <p:spPr bwMode="auto">
            <a:xfrm>
              <a:off x="1899235" y="210307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5" name="Freeform 542">
              <a:extLst>
                <a:ext uri="{FF2B5EF4-FFF2-40B4-BE49-F238E27FC236}">
                  <a16:creationId xmlns:a16="http://schemas.microsoft.com/office/drawing/2014/main" id="{87E7A91D-7245-8644-B8E0-2EB2B71BE7D7}"/>
                </a:ext>
              </a:extLst>
            </p:cNvPr>
            <p:cNvSpPr>
              <a:spLocks/>
            </p:cNvSpPr>
            <p:nvPr/>
          </p:nvSpPr>
          <p:spPr bwMode="auto">
            <a:xfrm>
              <a:off x="1899235" y="210307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6" name="Freeform 543">
              <a:extLst>
                <a:ext uri="{FF2B5EF4-FFF2-40B4-BE49-F238E27FC236}">
                  <a16:creationId xmlns:a16="http://schemas.microsoft.com/office/drawing/2014/main" id="{E9F48B0E-8DDB-FE47-A425-EC96145F163A}"/>
                </a:ext>
              </a:extLst>
            </p:cNvPr>
            <p:cNvSpPr>
              <a:spLocks/>
            </p:cNvSpPr>
            <p:nvPr/>
          </p:nvSpPr>
          <p:spPr bwMode="auto">
            <a:xfrm>
              <a:off x="1907376" y="210307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7" name="Freeform 544">
              <a:extLst>
                <a:ext uri="{FF2B5EF4-FFF2-40B4-BE49-F238E27FC236}">
                  <a16:creationId xmlns:a16="http://schemas.microsoft.com/office/drawing/2014/main" id="{FC832352-854A-534A-8DF4-971990B1B110}"/>
                </a:ext>
              </a:extLst>
            </p:cNvPr>
            <p:cNvSpPr>
              <a:spLocks/>
            </p:cNvSpPr>
            <p:nvPr/>
          </p:nvSpPr>
          <p:spPr bwMode="auto">
            <a:xfrm>
              <a:off x="1910864" y="210307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8" name="Freeform 545">
              <a:extLst>
                <a:ext uri="{FF2B5EF4-FFF2-40B4-BE49-F238E27FC236}">
                  <a16:creationId xmlns:a16="http://schemas.microsoft.com/office/drawing/2014/main" id="{AEDF8797-DA57-CE4E-AF41-2390A6F82BCC}"/>
                </a:ext>
              </a:extLst>
            </p:cNvPr>
            <p:cNvSpPr>
              <a:spLocks/>
            </p:cNvSpPr>
            <p:nvPr/>
          </p:nvSpPr>
          <p:spPr bwMode="auto">
            <a:xfrm>
              <a:off x="1914353" y="210307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7"/>
                  </a:lnTo>
                  <a:lnTo>
                    <a:pt x="0" y="3"/>
                  </a:lnTo>
                  <a:lnTo>
                    <a:pt x="0" y="0"/>
                  </a:lnTo>
                  <a:lnTo>
                    <a:pt x="4" y="0"/>
                  </a:lnTo>
                  <a:lnTo>
                    <a:pt x="13" y="0"/>
                  </a:lnTo>
                  <a:lnTo>
                    <a:pt x="16" y="0"/>
                  </a:lnTo>
                  <a:lnTo>
                    <a:pt x="16" y="3"/>
                  </a:lnTo>
                  <a:lnTo>
                    <a:pt x="16" y="7"/>
                  </a:lnTo>
                  <a:lnTo>
                    <a:pt x="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39" name="Freeform 546">
              <a:extLst>
                <a:ext uri="{FF2B5EF4-FFF2-40B4-BE49-F238E27FC236}">
                  <a16:creationId xmlns:a16="http://schemas.microsoft.com/office/drawing/2014/main" id="{AAECF0F5-A9E9-ED42-AAB6-BC45CFE24114}"/>
                </a:ext>
              </a:extLst>
            </p:cNvPr>
            <p:cNvSpPr>
              <a:spLocks/>
            </p:cNvSpPr>
            <p:nvPr/>
          </p:nvSpPr>
          <p:spPr bwMode="auto">
            <a:xfrm>
              <a:off x="1925982" y="210307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0" name="Freeform 547">
              <a:extLst>
                <a:ext uri="{FF2B5EF4-FFF2-40B4-BE49-F238E27FC236}">
                  <a16:creationId xmlns:a16="http://schemas.microsoft.com/office/drawing/2014/main" id="{62152136-5659-7D4C-B5BA-0370F1F93547}"/>
                </a:ext>
              </a:extLst>
            </p:cNvPr>
            <p:cNvSpPr>
              <a:spLocks/>
            </p:cNvSpPr>
            <p:nvPr/>
          </p:nvSpPr>
          <p:spPr bwMode="auto">
            <a:xfrm>
              <a:off x="1937611" y="210307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1" name="Freeform 548">
              <a:extLst>
                <a:ext uri="{FF2B5EF4-FFF2-40B4-BE49-F238E27FC236}">
                  <a16:creationId xmlns:a16="http://schemas.microsoft.com/office/drawing/2014/main" id="{AACC88CA-9C27-7846-8882-C0B54A2830CB}"/>
                </a:ext>
              </a:extLst>
            </p:cNvPr>
            <p:cNvSpPr>
              <a:spLocks/>
            </p:cNvSpPr>
            <p:nvPr/>
          </p:nvSpPr>
          <p:spPr bwMode="auto">
            <a:xfrm>
              <a:off x="1941100" y="210307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2" name="Freeform 549">
              <a:extLst>
                <a:ext uri="{FF2B5EF4-FFF2-40B4-BE49-F238E27FC236}">
                  <a16:creationId xmlns:a16="http://schemas.microsoft.com/office/drawing/2014/main" id="{5B465161-4D04-574E-8E25-99BB01D74015}"/>
                </a:ext>
              </a:extLst>
            </p:cNvPr>
            <p:cNvSpPr>
              <a:spLocks/>
            </p:cNvSpPr>
            <p:nvPr/>
          </p:nvSpPr>
          <p:spPr bwMode="auto">
            <a:xfrm>
              <a:off x="1944589" y="2090170"/>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4"/>
                  </a:lnTo>
                  <a:lnTo>
                    <a:pt x="0" y="0"/>
                  </a:lnTo>
                  <a:lnTo>
                    <a:pt x="3" y="0"/>
                  </a:lnTo>
                  <a:lnTo>
                    <a:pt x="7" y="0"/>
                  </a:lnTo>
                  <a:lnTo>
                    <a:pt x="10" y="4"/>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3" name="Freeform 550">
              <a:extLst>
                <a:ext uri="{FF2B5EF4-FFF2-40B4-BE49-F238E27FC236}">
                  <a16:creationId xmlns:a16="http://schemas.microsoft.com/office/drawing/2014/main" id="{0F52B5B6-A789-324D-852D-E643695B2AFF}"/>
                </a:ext>
              </a:extLst>
            </p:cNvPr>
            <p:cNvSpPr>
              <a:spLocks/>
            </p:cNvSpPr>
            <p:nvPr/>
          </p:nvSpPr>
          <p:spPr bwMode="auto">
            <a:xfrm>
              <a:off x="1944589" y="209017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4" name="Freeform 551">
              <a:extLst>
                <a:ext uri="{FF2B5EF4-FFF2-40B4-BE49-F238E27FC236}">
                  <a16:creationId xmlns:a16="http://schemas.microsoft.com/office/drawing/2014/main" id="{0AF4BCAA-D7B1-FB44-9B88-1D666C33E424}"/>
                </a:ext>
              </a:extLst>
            </p:cNvPr>
            <p:cNvSpPr>
              <a:spLocks/>
            </p:cNvSpPr>
            <p:nvPr/>
          </p:nvSpPr>
          <p:spPr bwMode="auto">
            <a:xfrm>
              <a:off x="1952729" y="2090170"/>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4"/>
                  </a:lnTo>
                  <a:lnTo>
                    <a:pt x="0" y="0"/>
                  </a:lnTo>
                  <a:lnTo>
                    <a:pt x="3" y="0"/>
                  </a:lnTo>
                  <a:lnTo>
                    <a:pt x="9" y="0"/>
                  </a:lnTo>
                  <a:lnTo>
                    <a:pt x="12" y="0"/>
                  </a:lnTo>
                  <a:lnTo>
                    <a:pt x="12" y="4"/>
                  </a:lnTo>
                  <a:lnTo>
                    <a:pt x="12"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5" name="Freeform 552">
              <a:extLst>
                <a:ext uri="{FF2B5EF4-FFF2-40B4-BE49-F238E27FC236}">
                  <a16:creationId xmlns:a16="http://schemas.microsoft.com/office/drawing/2014/main" id="{54C2BB31-809C-3846-92DE-803DE8EFB89E}"/>
                </a:ext>
              </a:extLst>
            </p:cNvPr>
            <p:cNvSpPr>
              <a:spLocks/>
            </p:cNvSpPr>
            <p:nvPr/>
          </p:nvSpPr>
          <p:spPr bwMode="auto">
            <a:xfrm>
              <a:off x="1959707" y="208123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6" name="Freeform 553">
              <a:extLst>
                <a:ext uri="{FF2B5EF4-FFF2-40B4-BE49-F238E27FC236}">
                  <a16:creationId xmlns:a16="http://schemas.microsoft.com/office/drawing/2014/main" id="{71D1F780-F632-7241-AD31-355E6F22639E}"/>
                </a:ext>
              </a:extLst>
            </p:cNvPr>
            <p:cNvSpPr>
              <a:spLocks/>
            </p:cNvSpPr>
            <p:nvPr/>
          </p:nvSpPr>
          <p:spPr bwMode="auto">
            <a:xfrm>
              <a:off x="1959707" y="208123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7" name="Freeform 554">
              <a:extLst>
                <a:ext uri="{FF2B5EF4-FFF2-40B4-BE49-F238E27FC236}">
                  <a16:creationId xmlns:a16="http://schemas.microsoft.com/office/drawing/2014/main" id="{2335E5ED-0E8D-FE4F-A5FB-D8A05E1C9DC6}"/>
                </a:ext>
              </a:extLst>
            </p:cNvPr>
            <p:cNvSpPr>
              <a:spLocks/>
            </p:cNvSpPr>
            <p:nvPr/>
          </p:nvSpPr>
          <p:spPr bwMode="auto">
            <a:xfrm>
              <a:off x="1966684" y="208123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8" name="Freeform 555">
              <a:extLst>
                <a:ext uri="{FF2B5EF4-FFF2-40B4-BE49-F238E27FC236}">
                  <a16:creationId xmlns:a16="http://schemas.microsoft.com/office/drawing/2014/main" id="{1CA42B8B-8526-7D43-87A8-E8182001457D}"/>
                </a:ext>
              </a:extLst>
            </p:cNvPr>
            <p:cNvSpPr>
              <a:spLocks/>
            </p:cNvSpPr>
            <p:nvPr/>
          </p:nvSpPr>
          <p:spPr bwMode="auto">
            <a:xfrm>
              <a:off x="1971336" y="2081234"/>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49" name="Freeform 556">
              <a:extLst>
                <a:ext uri="{FF2B5EF4-FFF2-40B4-BE49-F238E27FC236}">
                  <a16:creationId xmlns:a16="http://schemas.microsoft.com/office/drawing/2014/main" id="{E622090F-43D7-6E46-A2E6-9E7400C8F9C8}"/>
                </a:ext>
              </a:extLst>
            </p:cNvPr>
            <p:cNvSpPr>
              <a:spLocks/>
            </p:cNvSpPr>
            <p:nvPr/>
          </p:nvSpPr>
          <p:spPr bwMode="auto">
            <a:xfrm>
              <a:off x="1974825" y="206832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0" name="Freeform 557">
              <a:extLst>
                <a:ext uri="{FF2B5EF4-FFF2-40B4-BE49-F238E27FC236}">
                  <a16:creationId xmlns:a16="http://schemas.microsoft.com/office/drawing/2014/main" id="{4E587322-350E-C740-BFA7-11D413B66721}"/>
                </a:ext>
              </a:extLst>
            </p:cNvPr>
            <p:cNvSpPr>
              <a:spLocks/>
            </p:cNvSpPr>
            <p:nvPr/>
          </p:nvSpPr>
          <p:spPr bwMode="auto">
            <a:xfrm>
              <a:off x="1974825" y="206832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1" name="Freeform 558">
              <a:extLst>
                <a:ext uri="{FF2B5EF4-FFF2-40B4-BE49-F238E27FC236}">
                  <a16:creationId xmlns:a16="http://schemas.microsoft.com/office/drawing/2014/main" id="{B53F533D-963A-6642-859F-FDB308507E5B}"/>
                </a:ext>
              </a:extLst>
            </p:cNvPr>
            <p:cNvSpPr>
              <a:spLocks/>
            </p:cNvSpPr>
            <p:nvPr/>
          </p:nvSpPr>
          <p:spPr bwMode="auto">
            <a:xfrm>
              <a:off x="1978313" y="2068327"/>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2" name="Freeform 559">
              <a:extLst>
                <a:ext uri="{FF2B5EF4-FFF2-40B4-BE49-F238E27FC236}">
                  <a16:creationId xmlns:a16="http://schemas.microsoft.com/office/drawing/2014/main" id="{9B8A3BB8-577A-9749-BE78-3A2E8A99D103}"/>
                </a:ext>
              </a:extLst>
            </p:cNvPr>
            <p:cNvSpPr>
              <a:spLocks/>
            </p:cNvSpPr>
            <p:nvPr/>
          </p:nvSpPr>
          <p:spPr bwMode="auto">
            <a:xfrm>
              <a:off x="1986454" y="206832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2" y="0"/>
                  </a:lnTo>
                  <a:lnTo>
                    <a:pt x="16" y="0"/>
                  </a:lnTo>
                  <a:lnTo>
                    <a:pt x="16" y="3"/>
                  </a:lnTo>
                  <a:lnTo>
                    <a:pt x="16" y="6"/>
                  </a:lnTo>
                  <a:lnTo>
                    <a:pt x="12"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3" name="Freeform 560">
              <a:extLst>
                <a:ext uri="{FF2B5EF4-FFF2-40B4-BE49-F238E27FC236}">
                  <a16:creationId xmlns:a16="http://schemas.microsoft.com/office/drawing/2014/main" id="{9986A241-AD97-C749-B6CE-EEC0F146F456}"/>
                </a:ext>
              </a:extLst>
            </p:cNvPr>
            <p:cNvSpPr>
              <a:spLocks/>
            </p:cNvSpPr>
            <p:nvPr/>
          </p:nvSpPr>
          <p:spPr bwMode="auto">
            <a:xfrm>
              <a:off x="1996920" y="205839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4" name="Freeform 561">
              <a:extLst>
                <a:ext uri="{FF2B5EF4-FFF2-40B4-BE49-F238E27FC236}">
                  <a16:creationId xmlns:a16="http://schemas.microsoft.com/office/drawing/2014/main" id="{B39A5069-E4AE-A040-89C2-10D894287635}"/>
                </a:ext>
              </a:extLst>
            </p:cNvPr>
            <p:cNvSpPr>
              <a:spLocks/>
            </p:cNvSpPr>
            <p:nvPr/>
          </p:nvSpPr>
          <p:spPr bwMode="auto">
            <a:xfrm>
              <a:off x="1996920" y="205839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5" name="Freeform 562">
              <a:extLst>
                <a:ext uri="{FF2B5EF4-FFF2-40B4-BE49-F238E27FC236}">
                  <a16:creationId xmlns:a16="http://schemas.microsoft.com/office/drawing/2014/main" id="{1B346D4B-E36E-E541-8C68-BA130440C4E4}"/>
                </a:ext>
              </a:extLst>
            </p:cNvPr>
            <p:cNvSpPr>
              <a:spLocks/>
            </p:cNvSpPr>
            <p:nvPr/>
          </p:nvSpPr>
          <p:spPr bwMode="auto">
            <a:xfrm>
              <a:off x="2000409" y="2045492"/>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6" name="Freeform 563">
              <a:extLst>
                <a:ext uri="{FF2B5EF4-FFF2-40B4-BE49-F238E27FC236}">
                  <a16:creationId xmlns:a16="http://schemas.microsoft.com/office/drawing/2014/main" id="{B2D105E1-AEBE-7D4A-A60E-6C12C2777268}"/>
                </a:ext>
              </a:extLst>
            </p:cNvPr>
            <p:cNvSpPr>
              <a:spLocks/>
            </p:cNvSpPr>
            <p:nvPr/>
          </p:nvSpPr>
          <p:spPr bwMode="auto">
            <a:xfrm>
              <a:off x="2000409" y="2045492"/>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4" y="10"/>
                  </a:moveTo>
                  <a:lnTo>
                    <a:pt x="0" y="7"/>
                  </a:lnTo>
                  <a:lnTo>
                    <a:pt x="0" y="3"/>
                  </a:lnTo>
                  <a:lnTo>
                    <a:pt x="0" y="0"/>
                  </a:lnTo>
                  <a:lnTo>
                    <a:pt x="4" y="0"/>
                  </a:lnTo>
                  <a:lnTo>
                    <a:pt x="23" y="0"/>
                  </a:lnTo>
                  <a:lnTo>
                    <a:pt x="26" y="0"/>
                  </a:lnTo>
                  <a:lnTo>
                    <a:pt x="26" y="3"/>
                  </a:lnTo>
                  <a:lnTo>
                    <a:pt x="26" y="7"/>
                  </a:lnTo>
                  <a:lnTo>
                    <a:pt x="2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7" name="Freeform 564">
              <a:extLst>
                <a:ext uri="{FF2B5EF4-FFF2-40B4-BE49-F238E27FC236}">
                  <a16:creationId xmlns:a16="http://schemas.microsoft.com/office/drawing/2014/main" id="{2CC0B829-EA36-3A4F-91F6-DCE19B54E8F2}"/>
                </a:ext>
              </a:extLst>
            </p:cNvPr>
            <p:cNvSpPr>
              <a:spLocks/>
            </p:cNvSpPr>
            <p:nvPr/>
          </p:nvSpPr>
          <p:spPr bwMode="auto">
            <a:xfrm>
              <a:off x="2023668" y="204549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8" name="Freeform 565">
              <a:extLst>
                <a:ext uri="{FF2B5EF4-FFF2-40B4-BE49-F238E27FC236}">
                  <a16:creationId xmlns:a16="http://schemas.microsoft.com/office/drawing/2014/main" id="{C4539E1E-F301-B64A-9FDD-F7F38D9CF0C7}"/>
                </a:ext>
              </a:extLst>
            </p:cNvPr>
            <p:cNvSpPr>
              <a:spLocks/>
            </p:cNvSpPr>
            <p:nvPr/>
          </p:nvSpPr>
          <p:spPr bwMode="auto">
            <a:xfrm>
              <a:off x="2027156" y="2032585"/>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6" y="20"/>
                  </a:lnTo>
                  <a:lnTo>
                    <a:pt x="3" y="20"/>
                  </a:lnTo>
                  <a:lnTo>
                    <a:pt x="0" y="20"/>
                  </a:lnTo>
                  <a:lnTo>
                    <a:pt x="0" y="16"/>
                  </a:lnTo>
                  <a:lnTo>
                    <a:pt x="0" y="4"/>
                  </a:lnTo>
                  <a:lnTo>
                    <a:pt x="0" y="0"/>
                  </a:lnTo>
                  <a:lnTo>
                    <a:pt x="3" y="0"/>
                  </a:lnTo>
                  <a:lnTo>
                    <a:pt x="6" y="0"/>
                  </a:lnTo>
                  <a:lnTo>
                    <a:pt x="10" y="4"/>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59" name="Freeform 566">
              <a:extLst>
                <a:ext uri="{FF2B5EF4-FFF2-40B4-BE49-F238E27FC236}">
                  <a16:creationId xmlns:a16="http://schemas.microsoft.com/office/drawing/2014/main" id="{625A5987-CEEF-1D49-8990-96279D65F73A}"/>
                </a:ext>
              </a:extLst>
            </p:cNvPr>
            <p:cNvSpPr>
              <a:spLocks/>
            </p:cNvSpPr>
            <p:nvPr/>
          </p:nvSpPr>
          <p:spPr bwMode="auto">
            <a:xfrm>
              <a:off x="2027156" y="2032585"/>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0" name="Freeform 567">
              <a:extLst>
                <a:ext uri="{FF2B5EF4-FFF2-40B4-BE49-F238E27FC236}">
                  <a16:creationId xmlns:a16="http://schemas.microsoft.com/office/drawing/2014/main" id="{13DAC340-98D2-254D-B5D1-1D31A203242F}"/>
                </a:ext>
              </a:extLst>
            </p:cNvPr>
            <p:cNvSpPr>
              <a:spLocks/>
            </p:cNvSpPr>
            <p:nvPr/>
          </p:nvSpPr>
          <p:spPr bwMode="auto">
            <a:xfrm>
              <a:off x="2042274" y="202365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1" name="Freeform 568">
              <a:extLst>
                <a:ext uri="{FF2B5EF4-FFF2-40B4-BE49-F238E27FC236}">
                  <a16:creationId xmlns:a16="http://schemas.microsoft.com/office/drawing/2014/main" id="{354D165E-5B37-154C-8B31-41665D2DF3C0}"/>
                </a:ext>
              </a:extLst>
            </p:cNvPr>
            <p:cNvSpPr>
              <a:spLocks/>
            </p:cNvSpPr>
            <p:nvPr/>
          </p:nvSpPr>
          <p:spPr bwMode="auto">
            <a:xfrm>
              <a:off x="2042274" y="2023650"/>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2" name="Freeform 569">
              <a:extLst>
                <a:ext uri="{FF2B5EF4-FFF2-40B4-BE49-F238E27FC236}">
                  <a16:creationId xmlns:a16="http://schemas.microsoft.com/office/drawing/2014/main" id="{658C7E97-F83E-794E-8C47-81FCAF343FAF}"/>
                </a:ext>
              </a:extLst>
            </p:cNvPr>
            <p:cNvSpPr>
              <a:spLocks/>
            </p:cNvSpPr>
            <p:nvPr/>
          </p:nvSpPr>
          <p:spPr bwMode="auto">
            <a:xfrm>
              <a:off x="2053904" y="202365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3" name="Freeform 570">
              <a:extLst>
                <a:ext uri="{FF2B5EF4-FFF2-40B4-BE49-F238E27FC236}">
                  <a16:creationId xmlns:a16="http://schemas.microsoft.com/office/drawing/2014/main" id="{AA8D730B-12D1-A648-8D5C-C4404D3A2459}"/>
                </a:ext>
              </a:extLst>
            </p:cNvPr>
            <p:cNvSpPr>
              <a:spLocks/>
            </p:cNvSpPr>
            <p:nvPr/>
          </p:nvSpPr>
          <p:spPr bwMode="auto">
            <a:xfrm>
              <a:off x="2057392" y="2023650"/>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9" y="0"/>
                  </a:lnTo>
                  <a:lnTo>
                    <a:pt x="13" y="0"/>
                  </a:lnTo>
                  <a:lnTo>
                    <a:pt x="13" y="3"/>
                  </a:lnTo>
                  <a:lnTo>
                    <a:pt x="13"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4" name="Freeform 571">
              <a:extLst>
                <a:ext uri="{FF2B5EF4-FFF2-40B4-BE49-F238E27FC236}">
                  <a16:creationId xmlns:a16="http://schemas.microsoft.com/office/drawing/2014/main" id="{40782DE2-6941-644C-8828-2593C7D9702B}"/>
                </a:ext>
              </a:extLst>
            </p:cNvPr>
            <p:cNvSpPr>
              <a:spLocks/>
            </p:cNvSpPr>
            <p:nvPr/>
          </p:nvSpPr>
          <p:spPr bwMode="auto">
            <a:xfrm>
              <a:off x="2064370" y="2023650"/>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5" name="Freeform 572">
              <a:extLst>
                <a:ext uri="{FF2B5EF4-FFF2-40B4-BE49-F238E27FC236}">
                  <a16:creationId xmlns:a16="http://schemas.microsoft.com/office/drawing/2014/main" id="{5F4A13E5-E623-444F-BE62-463403702DC7}"/>
                </a:ext>
              </a:extLst>
            </p:cNvPr>
            <p:cNvSpPr>
              <a:spLocks/>
            </p:cNvSpPr>
            <p:nvPr/>
          </p:nvSpPr>
          <p:spPr bwMode="auto">
            <a:xfrm>
              <a:off x="2067859" y="2023650"/>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6" name="Freeform 573">
              <a:extLst>
                <a:ext uri="{FF2B5EF4-FFF2-40B4-BE49-F238E27FC236}">
                  <a16:creationId xmlns:a16="http://schemas.microsoft.com/office/drawing/2014/main" id="{B6673F7A-F014-5C47-9D3C-C608A859484B}"/>
                </a:ext>
              </a:extLst>
            </p:cNvPr>
            <p:cNvSpPr>
              <a:spLocks/>
            </p:cNvSpPr>
            <p:nvPr/>
          </p:nvSpPr>
          <p:spPr bwMode="auto">
            <a:xfrm>
              <a:off x="2075999" y="2023650"/>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7" name="Freeform 574">
              <a:extLst>
                <a:ext uri="{FF2B5EF4-FFF2-40B4-BE49-F238E27FC236}">
                  <a16:creationId xmlns:a16="http://schemas.microsoft.com/office/drawing/2014/main" id="{B2833147-C9F5-BC4C-A8E3-E11C65311B70}"/>
                </a:ext>
              </a:extLst>
            </p:cNvPr>
            <p:cNvSpPr>
              <a:spLocks/>
            </p:cNvSpPr>
            <p:nvPr/>
          </p:nvSpPr>
          <p:spPr bwMode="auto">
            <a:xfrm>
              <a:off x="2079488" y="2023650"/>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8" name="Freeform 575">
              <a:extLst>
                <a:ext uri="{FF2B5EF4-FFF2-40B4-BE49-F238E27FC236}">
                  <a16:creationId xmlns:a16="http://schemas.microsoft.com/office/drawing/2014/main" id="{F192D64A-4F40-C44B-8325-81CC7F38E6D3}"/>
                </a:ext>
              </a:extLst>
            </p:cNvPr>
            <p:cNvSpPr>
              <a:spLocks/>
            </p:cNvSpPr>
            <p:nvPr/>
          </p:nvSpPr>
          <p:spPr bwMode="auto">
            <a:xfrm>
              <a:off x="2082976" y="2010742"/>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69" name="Freeform 576">
              <a:extLst>
                <a:ext uri="{FF2B5EF4-FFF2-40B4-BE49-F238E27FC236}">
                  <a16:creationId xmlns:a16="http://schemas.microsoft.com/office/drawing/2014/main" id="{DFFD004C-37AC-E34C-9946-A19D7B77A9DA}"/>
                </a:ext>
              </a:extLst>
            </p:cNvPr>
            <p:cNvSpPr>
              <a:spLocks/>
            </p:cNvSpPr>
            <p:nvPr/>
          </p:nvSpPr>
          <p:spPr bwMode="auto">
            <a:xfrm>
              <a:off x="2082976" y="201074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0" name="Freeform 577">
              <a:extLst>
                <a:ext uri="{FF2B5EF4-FFF2-40B4-BE49-F238E27FC236}">
                  <a16:creationId xmlns:a16="http://schemas.microsoft.com/office/drawing/2014/main" id="{09742774-2809-1F4D-91B1-5D86FD51B851}"/>
                </a:ext>
              </a:extLst>
            </p:cNvPr>
            <p:cNvSpPr>
              <a:spLocks/>
            </p:cNvSpPr>
            <p:nvPr/>
          </p:nvSpPr>
          <p:spPr bwMode="auto">
            <a:xfrm>
              <a:off x="2094606" y="199783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1" name="Freeform 578">
              <a:extLst>
                <a:ext uri="{FF2B5EF4-FFF2-40B4-BE49-F238E27FC236}">
                  <a16:creationId xmlns:a16="http://schemas.microsoft.com/office/drawing/2014/main" id="{BB5C60B6-052B-054E-8765-E83B7441D3EE}"/>
                </a:ext>
              </a:extLst>
            </p:cNvPr>
            <p:cNvSpPr>
              <a:spLocks/>
            </p:cNvSpPr>
            <p:nvPr/>
          </p:nvSpPr>
          <p:spPr bwMode="auto">
            <a:xfrm>
              <a:off x="2094606" y="199783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2" name="Freeform 579">
              <a:extLst>
                <a:ext uri="{FF2B5EF4-FFF2-40B4-BE49-F238E27FC236}">
                  <a16:creationId xmlns:a16="http://schemas.microsoft.com/office/drawing/2014/main" id="{E140ACFE-2C1E-174F-8CA9-1564EB33F515}"/>
                </a:ext>
              </a:extLst>
            </p:cNvPr>
            <p:cNvSpPr>
              <a:spLocks/>
            </p:cNvSpPr>
            <p:nvPr/>
          </p:nvSpPr>
          <p:spPr bwMode="auto">
            <a:xfrm>
              <a:off x="2098095" y="1984928"/>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3" name="Freeform 580">
              <a:extLst>
                <a:ext uri="{FF2B5EF4-FFF2-40B4-BE49-F238E27FC236}">
                  <a16:creationId xmlns:a16="http://schemas.microsoft.com/office/drawing/2014/main" id="{01848BEF-A91C-3440-A847-D4E4C20FD975}"/>
                </a:ext>
              </a:extLst>
            </p:cNvPr>
            <p:cNvSpPr>
              <a:spLocks/>
            </p:cNvSpPr>
            <p:nvPr/>
          </p:nvSpPr>
          <p:spPr bwMode="auto">
            <a:xfrm>
              <a:off x="2098095" y="198492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4" name="Freeform 581">
              <a:extLst>
                <a:ext uri="{FF2B5EF4-FFF2-40B4-BE49-F238E27FC236}">
                  <a16:creationId xmlns:a16="http://schemas.microsoft.com/office/drawing/2014/main" id="{0BF55F46-37A8-0148-ABE1-52E9E7CBF34E}"/>
                </a:ext>
              </a:extLst>
            </p:cNvPr>
            <p:cNvSpPr>
              <a:spLocks/>
            </p:cNvSpPr>
            <p:nvPr/>
          </p:nvSpPr>
          <p:spPr bwMode="auto">
            <a:xfrm>
              <a:off x="2106235" y="1969043"/>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5" name="Freeform 582">
              <a:extLst>
                <a:ext uri="{FF2B5EF4-FFF2-40B4-BE49-F238E27FC236}">
                  <a16:creationId xmlns:a16="http://schemas.microsoft.com/office/drawing/2014/main" id="{AF92E911-80BC-E94C-B9D9-C6100F38FDE4}"/>
                </a:ext>
              </a:extLst>
            </p:cNvPr>
            <p:cNvSpPr>
              <a:spLocks/>
            </p:cNvSpPr>
            <p:nvPr/>
          </p:nvSpPr>
          <p:spPr bwMode="auto">
            <a:xfrm>
              <a:off x="2106235" y="1969043"/>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6" name="Freeform 583">
              <a:extLst>
                <a:ext uri="{FF2B5EF4-FFF2-40B4-BE49-F238E27FC236}">
                  <a16:creationId xmlns:a16="http://schemas.microsoft.com/office/drawing/2014/main" id="{B9CA88D0-E1E5-4442-B0AA-6B444580A640}"/>
                </a:ext>
              </a:extLst>
            </p:cNvPr>
            <p:cNvSpPr>
              <a:spLocks/>
            </p:cNvSpPr>
            <p:nvPr/>
          </p:nvSpPr>
          <p:spPr bwMode="auto">
            <a:xfrm>
              <a:off x="2109724" y="196904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7" name="Freeform 584">
              <a:extLst>
                <a:ext uri="{FF2B5EF4-FFF2-40B4-BE49-F238E27FC236}">
                  <a16:creationId xmlns:a16="http://schemas.microsoft.com/office/drawing/2014/main" id="{406478CD-75D2-4743-AAA2-CFA878CF9E0F}"/>
                </a:ext>
              </a:extLst>
            </p:cNvPr>
            <p:cNvSpPr>
              <a:spLocks/>
            </p:cNvSpPr>
            <p:nvPr/>
          </p:nvSpPr>
          <p:spPr bwMode="auto">
            <a:xfrm>
              <a:off x="2113212" y="195613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8" name="Freeform 585">
              <a:extLst>
                <a:ext uri="{FF2B5EF4-FFF2-40B4-BE49-F238E27FC236}">
                  <a16:creationId xmlns:a16="http://schemas.microsoft.com/office/drawing/2014/main" id="{876B52E3-6D29-414D-A5C3-940C3DE533BF}"/>
                </a:ext>
              </a:extLst>
            </p:cNvPr>
            <p:cNvSpPr>
              <a:spLocks/>
            </p:cNvSpPr>
            <p:nvPr/>
          </p:nvSpPr>
          <p:spPr bwMode="auto">
            <a:xfrm>
              <a:off x="2113212" y="1956136"/>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6"/>
                  </a:lnTo>
                  <a:lnTo>
                    <a:pt x="0" y="3"/>
                  </a:lnTo>
                  <a:lnTo>
                    <a:pt x="0" y="0"/>
                  </a:lnTo>
                  <a:lnTo>
                    <a:pt x="3" y="0"/>
                  </a:lnTo>
                  <a:lnTo>
                    <a:pt x="26" y="0"/>
                  </a:lnTo>
                  <a:lnTo>
                    <a:pt x="29" y="0"/>
                  </a:lnTo>
                  <a:lnTo>
                    <a:pt x="29" y="3"/>
                  </a:lnTo>
                  <a:lnTo>
                    <a:pt x="29" y="6"/>
                  </a:lnTo>
                  <a:lnTo>
                    <a:pt x="2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79" name="Freeform 586">
              <a:extLst>
                <a:ext uri="{FF2B5EF4-FFF2-40B4-BE49-F238E27FC236}">
                  <a16:creationId xmlns:a16="http://schemas.microsoft.com/office/drawing/2014/main" id="{DB55105E-55B6-184D-A452-360578D33B2F}"/>
                </a:ext>
              </a:extLst>
            </p:cNvPr>
            <p:cNvSpPr>
              <a:spLocks/>
            </p:cNvSpPr>
            <p:nvPr/>
          </p:nvSpPr>
          <p:spPr bwMode="auto">
            <a:xfrm>
              <a:off x="2139960" y="1956136"/>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0" name="Freeform 587">
              <a:extLst>
                <a:ext uri="{FF2B5EF4-FFF2-40B4-BE49-F238E27FC236}">
                  <a16:creationId xmlns:a16="http://schemas.microsoft.com/office/drawing/2014/main" id="{F9171E41-2382-EE49-8AC3-5FA3FBACBFCA}"/>
                </a:ext>
              </a:extLst>
            </p:cNvPr>
            <p:cNvSpPr>
              <a:spLocks/>
            </p:cNvSpPr>
            <p:nvPr/>
          </p:nvSpPr>
          <p:spPr bwMode="auto">
            <a:xfrm>
              <a:off x="2155077" y="1956136"/>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1" name="Freeform 588">
              <a:extLst>
                <a:ext uri="{FF2B5EF4-FFF2-40B4-BE49-F238E27FC236}">
                  <a16:creationId xmlns:a16="http://schemas.microsoft.com/office/drawing/2014/main" id="{41436F67-8D47-C441-B7A1-5176F204018D}"/>
                </a:ext>
              </a:extLst>
            </p:cNvPr>
            <p:cNvSpPr>
              <a:spLocks/>
            </p:cNvSpPr>
            <p:nvPr/>
          </p:nvSpPr>
          <p:spPr bwMode="auto">
            <a:xfrm>
              <a:off x="2169032" y="195613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2" name="Freeform 589">
              <a:extLst>
                <a:ext uri="{FF2B5EF4-FFF2-40B4-BE49-F238E27FC236}">
                  <a16:creationId xmlns:a16="http://schemas.microsoft.com/office/drawing/2014/main" id="{ADDE411C-E221-0745-B2ED-8595C72BB393}"/>
                </a:ext>
              </a:extLst>
            </p:cNvPr>
            <p:cNvSpPr>
              <a:spLocks/>
            </p:cNvSpPr>
            <p:nvPr/>
          </p:nvSpPr>
          <p:spPr bwMode="auto">
            <a:xfrm>
              <a:off x="2173684" y="1956136"/>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3" name="Freeform 590">
              <a:extLst>
                <a:ext uri="{FF2B5EF4-FFF2-40B4-BE49-F238E27FC236}">
                  <a16:creationId xmlns:a16="http://schemas.microsoft.com/office/drawing/2014/main" id="{B6EC9909-495F-0B46-AC88-3DB70E4FC377}"/>
                </a:ext>
              </a:extLst>
            </p:cNvPr>
            <p:cNvSpPr>
              <a:spLocks/>
            </p:cNvSpPr>
            <p:nvPr/>
          </p:nvSpPr>
          <p:spPr bwMode="auto">
            <a:xfrm>
              <a:off x="2180662" y="1956136"/>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4" name="Freeform 591">
              <a:extLst>
                <a:ext uri="{FF2B5EF4-FFF2-40B4-BE49-F238E27FC236}">
                  <a16:creationId xmlns:a16="http://schemas.microsoft.com/office/drawing/2014/main" id="{B1E48319-58E5-B14B-B6DC-EC39FF0BCA1D}"/>
                </a:ext>
              </a:extLst>
            </p:cNvPr>
            <p:cNvSpPr>
              <a:spLocks/>
            </p:cNvSpPr>
            <p:nvPr/>
          </p:nvSpPr>
          <p:spPr bwMode="auto">
            <a:xfrm>
              <a:off x="2188803" y="195613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5" name="Freeform 592">
              <a:extLst>
                <a:ext uri="{FF2B5EF4-FFF2-40B4-BE49-F238E27FC236}">
                  <a16:creationId xmlns:a16="http://schemas.microsoft.com/office/drawing/2014/main" id="{CFC5A89E-D7DA-4944-B129-4D9F7D251AAD}"/>
                </a:ext>
              </a:extLst>
            </p:cNvPr>
            <p:cNvSpPr>
              <a:spLocks/>
            </p:cNvSpPr>
            <p:nvPr/>
          </p:nvSpPr>
          <p:spPr bwMode="auto">
            <a:xfrm>
              <a:off x="2192291" y="1956136"/>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6" name="Freeform 593">
              <a:extLst>
                <a:ext uri="{FF2B5EF4-FFF2-40B4-BE49-F238E27FC236}">
                  <a16:creationId xmlns:a16="http://schemas.microsoft.com/office/drawing/2014/main" id="{DCB018CA-59A6-D64C-9FD8-CABDAC1F5540}"/>
                </a:ext>
              </a:extLst>
            </p:cNvPr>
            <p:cNvSpPr>
              <a:spLocks/>
            </p:cNvSpPr>
            <p:nvPr/>
          </p:nvSpPr>
          <p:spPr bwMode="auto">
            <a:xfrm>
              <a:off x="2202758" y="1956136"/>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7" name="Freeform 594">
              <a:extLst>
                <a:ext uri="{FF2B5EF4-FFF2-40B4-BE49-F238E27FC236}">
                  <a16:creationId xmlns:a16="http://schemas.microsoft.com/office/drawing/2014/main" id="{FC023061-C86E-E849-A4E9-FA39B216CBC5}"/>
                </a:ext>
              </a:extLst>
            </p:cNvPr>
            <p:cNvSpPr>
              <a:spLocks/>
            </p:cNvSpPr>
            <p:nvPr/>
          </p:nvSpPr>
          <p:spPr bwMode="auto">
            <a:xfrm>
              <a:off x="2210898" y="1956136"/>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8" name="Freeform 595">
              <a:extLst>
                <a:ext uri="{FF2B5EF4-FFF2-40B4-BE49-F238E27FC236}">
                  <a16:creationId xmlns:a16="http://schemas.microsoft.com/office/drawing/2014/main" id="{22D8B076-3FE0-0243-A1BA-8C86A443F0DA}"/>
                </a:ext>
              </a:extLst>
            </p:cNvPr>
            <p:cNvSpPr>
              <a:spLocks/>
            </p:cNvSpPr>
            <p:nvPr/>
          </p:nvSpPr>
          <p:spPr bwMode="auto">
            <a:xfrm>
              <a:off x="2222527" y="1956136"/>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89" name="Freeform 596">
              <a:extLst>
                <a:ext uri="{FF2B5EF4-FFF2-40B4-BE49-F238E27FC236}">
                  <a16:creationId xmlns:a16="http://schemas.microsoft.com/office/drawing/2014/main" id="{23302DB5-E5C9-6744-BC67-E450049CBFAA}"/>
                </a:ext>
              </a:extLst>
            </p:cNvPr>
            <p:cNvSpPr>
              <a:spLocks/>
            </p:cNvSpPr>
            <p:nvPr/>
          </p:nvSpPr>
          <p:spPr bwMode="auto">
            <a:xfrm>
              <a:off x="2241134" y="1940251"/>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0" name="Freeform 597">
              <a:extLst>
                <a:ext uri="{FF2B5EF4-FFF2-40B4-BE49-F238E27FC236}">
                  <a16:creationId xmlns:a16="http://schemas.microsoft.com/office/drawing/2014/main" id="{4FD721E1-A1D1-DF43-9CD1-68F935D3E652}"/>
                </a:ext>
              </a:extLst>
            </p:cNvPr>
            <p:cNvSpPr>
              <a:spLocks/>
            </p:cNvSpPr>
            <p:nvPr/>
          </p:nvSpPr>
          <p:spPr bwMode="auto">
            <a:xfrm>
              <a:off x="2241134" y="1940251"/>
              <a:ext cx="37213" cy="8936"/>
            </a:xfrm>
            <a:custGeom>
              <a:avLst/>
              <a:gdLst>
                <a:gd name="T0" fmla="*/ 2147483646 w 32"/>
                <a:gd name="T1" fmla="*/ 2147483646 h 9"/>
                <a:gd name="T2" fmla="*/ 0 w 32"/>
                <a:gd name="T3" fmla="*/ 2147483646 h 9"/>
                <a:gd name="T4" fmla="*/ 0 w 32"/>
                <a:gd name="T5" fmla="*/ 2147483646 h 9"/>
                <a:gd name="T6" fmla="*/ 0 w 32"/>
                <a:gd name="T7" fmla="*/ 2147483646 h 9"/>
                <a:gd name="T8" fmla="*/ 0 w 32"/>
                <a:gd name="T9" fmla="*/ 0 h 9"/>
                <a:gd name="T10" fmla="*/ 2147483646 w 32"/>
                <a:gd name="T11" fmla="*/ 0 h 9"/>
                <a:gd name="T12" fmla="*/ 2147483646 w 32"/>
                <a:gd name="T13" fmla="*/ 0 h 9"/>
                <a:gd name="T14" fmla="*/ 2147483646 w 32"/>
                <a:gd name="T15" fmla="*/ 0 h 9"/>
                <a:gd name="T16" fmla="*/ 2147483646 w 32"/>
                <a:gd name="T17" fmla="*/ 2147483646 h 9"/>
                <a:gd name="T18" fmla="*/ 2147483646 w 32"/>
                <a:gd name="T19" fmla="*/ 2147483646 h 9"/>
                <a:gd name="T20" fmla="*/ 2147483646 w 32"/>
                <a:gd name="T21" fmla="*/ 2147483646 h 9"/>
                <a:gd name="T22" fmla="*/ 2147483646 w 32"/>
                <a:gd name="T23" fmla="*/ 2147483646 h 9"/>
                <a:gd name="T24" fmla="*/ 2147483646 w 3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9">
                  <a:moveTo>
                    <a:pt x="3" y="9"/>
                  </a:moveTo>
                  <a:lnTo>
                    <a:pt x="0" y="6"/>
                  </a:lnTo>
                  <a:lnTo>
                    <a:pt x="0" y="3"/>
                  </a:lnTo>
                  <a:lnTo>
                    <a:pt x="0" y="0"/>
                  </a:lnTo>
                  <a:lnTo>
                    <a:pt x="3" y="0"/>
                  </a:lnTo>
                  <a:lnTo>
                    <a:pt x="29" y="0"/>
                  </a:lnTo>
                  <a:lnTo>
                    <a:pt x="32" y="0"/>
                  </a:lnTo>
                  <a:lnTo>
                    <a:pt x="32" y="3"/>
                  </a:lnTo>
                  <a:lnTo>
                    <a:pt x="32" y="6"/>
                  </a:lnTo>
                  <a:lnTo>
                    <a:pt x="2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1" name="Freeform 598">
              <a:extLst>
                <a:ext uri="{FF2B5EF4-FFF2-40B4-BE49-F238E27FC236}">
                  <a16:creationId xmlns:a16="http://schemas.microsoft.com/office/drawing/2014/main" id="{7128F4E9-92A5-AC46-B9E6-D703EE16DB21}"/>
                </a:ext>
              </a:extLst>
            </p:cNvPr>
            <p:cNvSpPr>
              <a:spLocks/>
            </p:cNvSpPr>
            <p:nvPr/>
          </p:nvSpPr>
          <p:spPr bwMode="auto">
            <a:xfrm>
              <a:off x="2270207" y="1940251"/>
              <a:ext cx="41865" cy="8936"/>
            </a:xfrm>
            <a:custGeom>
              <a:avLst/>
              <a:gdLst>
                <a:gd name="T0" fmla="*/ 2147483646 w 36"/>
                <a:gd name="T1" fmla="*/ 2147483646 h 9"/>
                <a:gd name="T2" fmla="*/ 0 w 36"/>
                <a:gd name="T3" fmla="*/ 2147483646 h 9"/>
                <a:gd name="T4" fmla="*/ 0 w 36"/>
                <a:gd name="T5" fmla="*/ 2147483646 h 9"/>
                <a:gd name="T6" fmla="*/ 0 w 36"/>
                <a:gd name="T7" fmla="*/ 2147483646 h 9"/>
                <a:gd name="T8" fmla="*/ 0 w 36"/>
                <a:gd name="T9" fmla="*/ 0 h 9"/>
                <a:gd name="T10" fmla="*/ 2147483646 w 36"/>
                <a:gd name="T11" fmla="*/ 0 h 9"/>
                <a:gd name="T12" fmla="*/ 2147483646 w 36"/>
                <a:gd name="T13" fmla="*/ 0 h 9"/>
                <a:gd name="T14" fmla="*/ 2147483646 w 36"/>
                <a:gd name="T15" fmla="*/ 0 h 9"/>
                <a:gd name="T16" fmla="*/ 2147483646 w 36"/>
                <a:gd name="T17" fmla="*/ 2147483646 h 9"/>
                <a:gd name="T18" fmla="*/ 2147483646 w 36"/>
                <a:gd name="T19" fmla="*/ 2147483646 h 9"/>
                <a:gd name="T20" fmla="*/ 2147483646 w 36"/>
                <a:gd name="T21" fmla="*/ 2147483646 h 9"/>
                <a:gd name="T22" fmla="*/ 2147483646 w 36"/>
                <a:gd name="T23" fmla="*/ 2147483646 h 9"/>
                <a:gd name="T24" fmla="*/ 2147483646 w 3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9">
                  <a:moveTo>
                    <a:pt x="4" y="9"/>
                  </a:moveTo>
                  <a:lnTo>
                    <a:pt x="0" y="6"/>
                  </a:lnTo>
                  <a:lnTo>
                    <a:pt x="0" y="3"/>
                  </a:lnTo>
                  <a:lnTo>
                    <a:pt x="0" y="0"/>
                  </a:lnTo>
                  <a:lnTo>
                    <a:pt x="4" y="0"/>
                  </a:lnTo>
                  <a:lnTo>
                    <a:pt x="33" y="0"/>
                  </a:lnTo>
                  <a:lnTo>
                    <a:pt x="36" y="0"/>
                  </a:lnTo>
                  <a:lnTo>
                    <a:pt x="36" y="3"/>
                  </a:lnTo>
                  <a:lnTo>
                    <a:pt x="36" y="6"/>
                  </a:lnTo>
                  <a:lnTo>
                    <a:pt x="3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2" name="Freeform 599">
              <a:extLst>
                <a:ext uri="{FF2B5EF4-FFF2-40B4-BE49-F238E27FC236}">
                  <a16:creationId xmlns:a16="http://schemas.microsoft.com/office/drawing/2014/main" id="{747CBEF6-C419-2C40-A60F-99A1708AAF51}"/>
                </a:ext>
              </a:extLst>
            </p:cNvPr>
            <p:cNvSpPr>
              <a:spLocks/>
            </p:cNvSpPr>
            <p:nvPr/>
          </p:nvSpPr>
          <p:spPr bwMode="auto">
            <a:xfrm>
              <a:off x="2303931" y="192734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3" name="Freeform 600">
              <a:extLst>
                <a:ext uri="{FF2B5EF4-FFF2-40B4-BE49-F238E27FC236}">
                  <a16:creationId xmlns:a16="http://schemas.microsoft.com/office/drawing/2014/main" id="{E9E2DBB2-D1E0-6F42-9B10-6EE940312C3C}"/>
                </a:ext>
              </a:extLst>
            </p:cNvPr>
            <p:cNvSpPr>
              <a:spLocks/>
            </p:cNvSpPr>
            <p:nvPr/>
          </p:nvSpPr>
          <p:spPr bwMode="auto">
            <a:xfrm>
              <a:off x="2303931" y="1927343"/>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4" name="Freeform 601">
              <a:extLst>
                <a:ext uri="{FF2B5EF4-FFF2-40B4-BE49-F238E27FC236}">
                  <a16:creationId xmlns:a16="http://schemas.microsoft.com/office/drawing/2014/main" id="{0ACC6BF0-6DA4-F845-B349-E98E49C7DA9C}"/>
                </a:ext>
              </a:extLst>
            </p:cNvPr>
            <p:cNvSpPr>
              <a:spLocks/>
            </p:cNvSpPr>
            <p:nvPr/>
          </p:nvSpPr>
          <p:spPr bwMode="auto">
            <a:xfrm>
              <a:off x="2312072" y="1911458"/>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5" name="Freeform 602">
              <a:extLst>
                <a:ext uri="{FF2B5EF4-FFF2-40B4-BE49-F238E27FC236}">
                  <a16:creationId xmlns:a16="http://schemas.microsoft.com/office/drawing/2014/main" id="{32429805-0537-BD41-BE9B-1F9A744D14B5}"/>
                </a:ext>
              </a:extLst>
            </p:cNvPr>
            <p:cNvSpPr>
              <a:spLocks/>
            </p:cNvSpPr>
            <p:nvPr/>
          </p:nvSpPr>
          <p:spPr bwMode="auto">
            <a:xfrm>
              <a:off x="2312072" y="1911458"/>
              <a:ext cx="37213" cy="8936"/>
            </a:xfrm>
            <a:custGeom>
              <a:avLst/>
              <a:gdLst>
                <a:gd name="T0" fmla="*/ 2147483646 w 32"/>
                <a:gd name="T1" fmla="*/ 2147483646 h 9"/>
                <a:gd name="T2" fmla="*/ 0 w 32"/>
                <a:gd name="T3" fmla="*/ 2147483646 h 9"/>
                <a:gd name="T4" fmla="*/ 0 w 32"/>
                <a:gd name="T5" fmla="*/ 2147483646 h 9"/>
                <a:gd name="T6" fmla="*/ 0 w 32"/>
                <a:gd name="T7" fmla="*/ 2147483646 h 9"/>
                <a:gd name="T8" fmla="*/ 0 w 32"/>
                <a:gd name="T9" fmla="*/ 0 h 9"/>
                <a:gd name="T10" fmla="*/ 2147483646 w 32"/>
                <a:gd name="T11" fmla="*/ 0 h 9"/>
                <a:gd name="T12" fmla="*/ 2147483646 w 32"/>
                <a:gd name="T13" fmla="*/ 0 h 9"/>
                <a:gd name="T14" fmla="*/ 2147483646 w 32"/>
                <a:gd name="T15" fmla="*/ 0 h 9"/>
                <a:gd name="T16" fmla="*/ 2147483646 w 32"/>
                <a:gd name="T17" fmla="*/ 2147483646 h 9"/>
                <a:gd name="T18" fmla="*/ 2147483646 w 32"/>
                <a:gd name="T19" fmla="*/ 2147483646 h 9"/>
                <a:gd name="T20" fmla="*/ 2147483646 w 32"/>
                <a:gd name="T21" fmla="*/ 2147483646 h 9"/>
                <a:gd name="T22" fmla="*/ 2147483646 w 32"/>
                <a:gd name="T23" fmla="*/ 2147483646 h 9"/>
                <a:gd name="T24" fmla="*/ 2147483646 w 3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9">
                  <a:moveTo>
                    <a:pt x="3" y="9"/>
                  </a:moveTo>
                  <a:lnTo>
                    <a:pt x="0" y="6"/>
                  </a:lnTo>
                  <a:lnTo>
                    <a:pt x="0" y="3"/>
                  </a:lnTo>
                  <a:lnTo>
                    <a:pt x="0" y="0"/>
                  </a:lnTo>
                  <a:lnTo>
                    <a:pt x="3" y="0"/>
                  </a:lnTo>
                  <a:lnTo>
                    <a:pt x="29" y="0"/>
                  </a:lnTo>
                  <a:lnTo>
                    <a:pt x="32" y="0"/>
                  </a:lnTo>
                  <a:lnTo>
                    <a:pt x="32" y="3"/>
                  </a:lnTo>
                  <a:lnTo>
                    <a:pt x="32" y="6"/>
                  </a:lnTo>
                  <a:lnTo>
                    <a:pt x="2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6" name="Freeform 603">
              <a:extLst>
                <a:ext uri="{FF2B5EF4-FFF2-40B4-BE49-F238E27FC236}">
                  <a16:creationId xmlns:a16="http://schemas.microsoft.com/office/drawing/2014/main" id="{CA576F76-DF90-DA49-83A5-3351FD817AD2}"/>
                </a:ext>
              </a:extLst>
            </p:cNvPr>
            <p:cNvSpPr>
              <a:spLocks/>
            </p:cNvSpPr>
            <p:nvPr/>
          </p:nvSpPr>
          <p:spPr bwMode="auto">
            <a:xfrm>
              <a:off x="2342308" y="191145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7" name="Freeform 604">
              <a:extLst>
                <a:ext uri="{FF2B5EF4-FFF2-40B4-BE49-F238E27FC236}">
                  <a16:creationId xmlns:a16="http://schemas.microsoft.com/office/drawing/2014/main" id="{7FFCC373-F7A0-0144-9634-03DDC1736F9C}"/>
                </a:ext>
              </a:extLst>
            </p:cNvPr>
            <p:cNvSpPr>
              <a:spLocks/>
            </p:cNvSpPr>
            <p:nvPr/>
          </p:nvSpPr>
          <p:spPr bwMode="auto">
            <a:xfrm>
              <a:off x="2345797" y="191145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8" name="Freeform 605">
              <a:extLst>
                <a:ext uri="{FF2B5EF4-FFF2-40B4-BE49-F238E27FC236}">
                  <a16:creationId xmlns:a16="http://schemas.microsoft.com/office/drawing/2014/main" id="{CBAFD035-339A-6747-AC37-158AC38895B8}"/>
                </a:ext>
              </a:extLst>
            </p:cNvPr>
            <p:cNvSpPr>
              <a:spLocks/>
            </p:cNvSpPr>
            <p:nvPr/>
          </p:nvSpPr>
          <p:spPr bwMode="auto">
            <a:xfrm>
              <a:off x="2349286" y="191145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599" name="Freeform 606">
              <a:extLst>
                <a:ext uri="{FF2B5EF4-FFF2-40B4-BE49-F238E27FC236}">
                  <a16:creationId xmlns:a16="http://schemas.microsoft.com/office/drawing/2014/main" id="{C44202B8-E404-E74F-910B-B824D1D2D2F9}"/>
                </a:ext>
              </a:extLst>
            </p:cNvPr>
            <p:cNvSpPr>
              <a:spLocks/>
            </p:cNvSpPr>
            <p:nvPr/>
          </p:nvSpPr>
          <p:spPr bwMode="auto">
            <a:xfrm>
              <a:off x="2352774" y="1911458"/>
              <a:ext cx="41865" cy="8936"/>
            </a:xfrm>
            <a:custGeom>
              <a:avLst/>
              <a:gdLst>
                <a:gd name="T0" fmla="*/ 2147483646 w 36"/>
                <a:gd name="T1" fmla="*/ 2147483646 h 9"/>
                <a:gd name="T2" fmla="*/ 0 w 36"/>
                <a:gd name="T3" fmla="*/ 2147483646 h 9"/>
                <a:gd name="T4" fmla="*/ 0 w 36"/>
                <a:gd name="T5" fmla="*/ 2147483646 h 9"/>
                <a:gd name="T6" fmla="*/ 0 w 36"/>
                <a:gd name="T7" fmla="*/ 2147483646 h 9"/>
                <a:gd name="T8" fmla="*/ 0 w 36"/>
                <a:gd name="T9" fmla="*/ 0 h 9"/>
                <a:gd name="T10" fmla="*/ 2147483646 w 36"/>
                <a:gd name="T11" fmla="*/ 0 h 9"/>
                <a:gd name="T12" fmla="*/ 2147483646 w 36"/>
                <a:gd name="T13" fmla="*/ 0 h 9"/>
                <a:gd name="T14" fmla="*/ 2147483646 w 36"/>
                <a:gd name="T15" fmla="*/ 0 h 9"/>
                <a:gd name="T16" fmla="*/ 2147483646 w 36"/>
                <a:gd name="T17" fmla="*/ 2147483646 h 9"/>
                <a:gd name="T18" fmla="*/ 2147483646 w 36"/>
                <a:gd name="T19" fmla="*/ 2147483646 h 9"/>
                <a:gd name="T20" fmla="*/ 2147483646 w 36"/>
                <a:gd name="T21" fmla="*/ 2147483646 h 9"/>
                <a:gd name="T22" fmla="*/ 2147483646 w 36"/>
                <a:gd name="T23" fmla="*/ 2147483646 h 9"/>
                <a:gd name="T24" fmla="*/ 2147483646 w 3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9">
                  <a:moveTo>
                    <a:pt x="4" y="9"/>
                  </a:moveTo>
                  <a:lnTo>
                    <a:pt x="0" y="6"/>
                  </a:lnTo>
                  <a:lnTo>
                    <a:pt x="0" y="3"/>
                  </a:lnTo>
                  <a:lnTo>
                    <a:pt x="0" y="0"/>
                  </a:lnTo>
                  <a:lnTo>
                    <a:pt x="4" y="0"/>
                  </a:lnTo>
                  <a:lnTo>
                    <a:pt x="33" y="0"/>
                  </a:lnTo>
                  <a:lnTo>
                    <a:pt x="36" y="0"/>
                  </a:lnTo>
                  <a:lnTo>
                    <a:pt x="36" y="3"/>
                  </a:lnTo>
                  <a:lnTo>
                    <a:pt x="36" y="6"/>
                  </a:lnTo>
                  <a:lnTo>
                    <a:pt x="3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0" name="Freeform 608">
              <a:extLst>
                <a:ext uri="{FF2B5EF4-FFF2-40B4-BE49-F238E27FC236}">
                  <a16:creationId xmlns:a16="http://schemas.microsoft.com/office/drawing/2014/main" id="{0323EDCB-41A3-474A-A71F-B8685580E964}"/>
                </a:ext>
              </a:extLst>
            </p:cNvPr>
            <p:cNvSpPr>
              <a:spLocks/>
            </p:cNvSpPr>
            <p:nvPr/>
          </p:nvSpPr>
          <p:spPr bwMode="auto">
            <a:xfrm>
              <a:off x="2386498" y="191145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1" name="Freeform 609">
              <a:extLst>
                <a:ext uri="{FF2B5EF4-FFF2-40B4-BE49-F238E27FC236}">
                  <a16:creationId xmlns:a16="http://schemas.microsoft.com/office/drawing/2014/main" id="{819C235C-85EF-9344-B8D4-75A6AA590CE9}"/>
                </a:ext>
              </a:extLst>
            </p:cNvPr>
            <p:cNvSpPr>
              <a:spLocks/>
            </p:cNvSpPr>
            <p:nvPr/>
          </p:nvSpPr>
          <p:spPr bwMode="auto">
            <a:xfrm>
              <a:off x="2394639" y="1891601"/>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4"/>
                  </a:lnTo>
                  <a:lnTo>
                    <a:pt x="0" y="0"/>
                  </a:lnTo>
                  <a:lnTo>
                    <a:pt x="3" y="0"/>
                  </a:lnTo>
                  <a:lnTo>
                    <a:pt x="6" y="0"/>
                  </a:lnTo>
                  <a:lnTo>
                    <a:pt x="9" y="4"/>
                  </a:lnTo>
                  <a:lnTo>
                    <a:pt x="9" y="2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2" name="Freeform 610">
              <a:extLst>
                <a:ext uri="{FF2B5EF4-FFF2-40B4-BE49-F238E27FC236}">
                  <a16:creationId xmlns:a16="http://schemas.microsoft.com/office/drawing/2014/main" id="{7C355CBF-820C-884C-BEB3-0ED57C611E24}"/>
                </a:ext>
              </a:extLst>
            </p:cNvPr>
            <p:cNvSpPr>
              <a:spLocks/>
            </p:cNvSpPr>
            <p:nvPr/>
          </p:nvSpPr>
          <p:spPr bwMode="auto">
            <a:xfrm>
              <a:off x="2394639" y="189160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3" name="Freeform 611">
              <a:extLst>
                <a:ext uri="{FF2B5EF4-FFF2-40B4-BE49-F238E27FC236}">
                  <a16:creationId xmlns:a16="http://schemas.microsoft.com/office/drawing/2014/main" id="{847D0538-06FC-FA4A-8286-1552CF916BE1}"/>
                </a:ext>
              </a:extLst>
            </p:cNvPr>
            <p:cNvSpPr>
              <a:spLocks/>
            </p:cNvSpPr>
            <p:nvPr/>
          </p:nvSpPr>
          <p:spPr bwMode="auto">
            <a:xfrm>
              <a:off x="2401617" y="1891601"/>
              <a:ext cx="56984" cy="9928"/>
            </a:xfrm>
            <a:custGeom>
              <a:avLst/>
              <a:gdLst>
                <a:gd name="T0" fmla="*/ 2147483646 w 49"/>
                <a:gd name="T1" fmla="*/ 2147483646 h 10"/>
                <a:gd name="T2" fmla="*/ 0 w 49"/>
                <a:gd name="T3" fmla="*/ 2147483646 h 10"/>
                <a:gd name="T4" fmla="*/ 0 w 49"/>
                <a:gd name="T5" fmla="*/ 2147483646 h 10"/>
                <a:gd name="T6" fmla="*/ 0 w 49"/>
                <a:gd name="T7" fmla="*/ 2147483646 h 10"/>
                <a:gd name="T8" fmla="*/ 0 w 49"/>
                <a:gd name="T9" fmla="*/ 0 h 10"/>
                <a:gd name="T10" fmla="*/ 2147483646 w 49"/>
                <a:gd name="T11" fmla="*/ 0 h 10"/>
                <a:gd name="T12" fmla="*/ 2147483646 w 49"/>
                <a:gd name="T13" fmla="*/ 0 h 10"/>
                <a:gd name="T14" fmla="*/ 2147483646 w 49"/>
                <a:gd name="T15" fmla="*/ 0 h 10"/>
                <a:gd name="T16" fmla="*/ 2147483646 w 49"/>
                <a:gd name="T17" fmla="*/ 2147483646 h 10"/>
                <a:gd name="T18" fmla="*/ 2147483646 w 49"/>
                <a:gd name="T19" fmla="*/ 2147483646 h 10"/>
                <a:gd name="T20" fmla="*/ 2147483646 w 49"/>
                <a:gd name="T21" fmla="*/ 2147483646 h 10"/>
                <a:gd name="T22" fmla="*/ 2147483646 w 49"/>
                <a:gd name="T23" fmla="*/ 2147483646 h 10"/>
                <a:gd name="T24" fmla="*/ 2147483646 w 4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9" h="10">
                  <a:moveTo>
                    <a:pt x="3" y="10"/>
                  </a:moveTo>
                  <a:lnTo>
                    <a:pt x="0" y="7"/>
                  </a:lnTo>
                  <a:lnTo>
                    <a:pt x="0" y="4"/>
                  </a:lnTo>
                  <a:lnTo>
                    <a:pt x="0" y="0"/>
                  </a:lnTo>
                  <a:lnTo>
                    <a:pt x="3" y="0"/>
                  </a:lnTo>
                  <a:lnTo>
                    <a:pt x="45" y="0"/>
                  </a:lnTo>
                  <a:lnTo>
                    <a:pt x="49" y="0"/>
                  </a:lnTo>
                  <a:lnTo>
                    <a:pt x="49" y="4"/>
                  </a:lnTo>
                  <a:lnTo>
                    <a:pt x="49" y="7"/>
                  </a:lnTo>
                  <a:lnTo>
                    <a:pt x="45"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4" name="Freeform 612">
              <a:extLst>
                <a:ext uri="{FF2B5EF4-FFF2-40B4-BE49-F238E27FC236}">
                  <a16:creationId xmlns:a16="http://schemas.microsoft.com/office/drawing/2014/main" id="{259F2EF1-65DF-E949-B2E2-7356EF488A94}"/>
                </a:ext>
              </a:extLst>
            </p:cNvPr>
            <p:cNvSpPr>
              <a:spLocks/>
            </p:cNvSpPr>
            <p:nvPr/>
          </p:nvSpPr>
          <p:spPr bwMode="auto">
            <a:xfrm>
              <a:off x="2450460" y="1875716"/>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3" y="23"/>
                  </a:lnTo>
                  <a:lnTo>
                    <a:pt x="0" y="23"/>
                  </a:lnTo>
                  <a:lnTo>
                    <a:pt x="0" y="20"/>
                  </a:lnTo>
                  <a:lnTo>
                    <a:pt x="0" y="3"/>
                  </a:lnTo>
                  <a:lnTo>
                    <a:pt x="0" y="0"/>
                  </a:lnTo>
                  <a:lnTo>
                    <a:pt x="3" y="0"/>
                  </a:lnTo>
                  <a:lnTo>
                    <a:pt x="7" y="0"/>
                  </a:lnTo>
                  <a:lnTo>
                    <a:pt x="10" y="3"/>
                  </a:lnTo>
                  <a:lnTo>
                    <a:pt x="10" y="2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5" name="Freeform 613">
              <a:extLst>
                <a:ext uri="{FF2B5EF4-FFF2-40B4-BE49-F238E27FC236}">
                  <a16:creationId xmlns:a16="http://schemas.microsoft.com/office/drawing/2014/main" id="{F7D4D725-469C-7E4E-BC8F-BAD090B6A7E5}"/>
                </a:ext>
              </a:extLst>
            </p:cNvPr>
            <p:cNvSpPr>
              <a:spLocks/>
            </p:cNvSpPr>
            <p:nvPr/>
          </p:nvSpPr>
          <p:spPr bwMode="auto">
            <a:xfrm>
              <a:off x="2450460" y="1875716"/>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6" name="Freeform 614">
              <a:extLst>
                <a:ext uri="{FF2B5EF4-FFF2-40B4-BE49-F238E27FC236}">
                  <a16:creationId xmlns:a16="http://schemas.microsoft.com/office/drawing/2014/main" id="{F74D26A7-8F67-2240-963D-C610C7A0A57C}"/>
                </a:ext>
              </a:extLst>
            </p:cNvPr>
            <p:cNvSpPr>
              <a:spLocks/>
            </p:cNvSpPr>
            <p:nvPr/>
          </p:nvSpPr>
          <p:spPr bwMode="auto">
            <a:xfrm>
              <a:off x="2465577" y="1856852"/>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2"/>
                  </a:moveTo>
                  <a:lnTo>
                    <a:pt x="6" y="26"/>
                  </a:lnTo>
                  <a:lnTo>
                    <a:pt x="3" y="26"/>
                  </a:lnTo>
                  <a:lnTo>
                    <a:pt x="0" y="26"/>
                  </a:lnTo>
                  <a:lnTo>
                    <a:pt x="0" y="22"/>
                  </a:lnTo>
                  <a:lnTo>
                    <a:pt x="0" y="3"/>
                  </a:lnTo>
                  <a:lnTo>
                    <a:pt x="0" y="0"/>
                  </a:lnTo>
                  <a:lnTo>
                    <a:pt x="3" y="0"/>
                  </a:lnTo>
                  <a:lnTo>
                    <a:pt x="6" y="0"/>
                  </a:lnTo>
                  <a:lnTo>
                    <a:pt x="10" y="3"/>
                  </a:lnTo>
                  <a:lnTo>
                    <a:pt x="10" y="2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7" name="Freeform 615">
              <a:extLst>
                <a:ext uri="{FF2B5EF4-FFF2-40B4-BE49-F238E27FC236}">
                  <a16:creationId xmlns:a16="http://schemas.microsoft.com/office/drawing/2014/main" id="{32FBE7FA-DFF7-8949-B962-ECF4378CA308}"/>
                </a:ext>
              </a:extLst>
            </p:cNvPr>
            <p:cNvSpPr>
              <a:spLocks/>
            </p:cNvSpPr>
            <p:nvPr/>
          </p:nvSpPr>
          <p:spPr bwMode="auto">
            <a:xfrm>
              <a:off x="2465577" y="185685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8" name="Freeform 616">
              <a:extLst>
                <a:ext uri="{FF2B5EF4-FFF2-40B4-BE49-F238E27FC236}">
                  <a16:creationId xmlns:a16="http://schemas.microsoft.com/office/drawing/2014/main" id="{DC7E807E-3C6D-D744-8E72-BA15BE8B05EA}"/>
                </a:ext>
              </a:extLst>
            </p:cNvPr>
            <p:cNvSpPr>
              <a:spLocks/>
            </p:cNvSpPr>
            <p:nvPr/>
          </p:nvSpPr>
          <p:spPr bwMode="auto">
            <a:xfrm>
              <a:off x="2477206" y="1856852"/>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9" y="0"/>
                  </a:lnTo>
                  <a:lnTo>
                    <a:pt x="13" y="0"/>
                  </a:lnTo>
                  <a:lnTo>
                    <a:pt x="13" y="3"/>
                  </a:lnTo>
                  <a:lnTo>
                    <a:pt x="13" y="6"/>
                  </a:lnTo>
                  <a:lnTo>
                    <a:pt x="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09" name="Freeform 617">
              <a:extLst>
                <a:ext uri="{FF2B5EF4-FFF2-40B4-BE49-F238E27FC236}">
                  <a16:creationId xmlns:a16="http://schemas.microsoft.com/office/drawing/2014/main" id="{56910957-B5CF-7340-924B-7272DFE7A9F2}"/>
                </a:ext>
              </a:extLst>
            </p:cNvPr>
            <p:cNvSpPr>
              <a:spLocks/>
            </p:cNvSpPr>
            <p:nvPr/>
          </p:nvSpPr>
          <p:spPr bwMode="auto">
            <a:xfrm>
              <a:off x="2484184" y="185685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0" name="Freeform 618">
              <a:extLst>
                <a:ext uri="{FF2B5EF4-FFF2-40B4-BE49-F238E27FC236}">
                  <a16:creationId xmlns:a16="http://schemas.microsoft.com/office/drawing/2014/main" id="{41E4B9A9-13DC-484F-9FE7-178EFF62067C}"/>
                </a:ext>
              </a:extLst>
            </p:cNvPr>
            <p:cNvSpPr>
              <a:spLocks/>
            </p:cNvSpPr>
            <p:nvPr/>
          </p:nvSpPr>
          <p:spPr bwMode="auto">
            <a:xfrm>
              <a:off x="2487673" y="1836995"/>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3"/>
                  </a:moveTo>
                  <a:lnTo>
                    <a:pt x="7" y="26"/>
                  </a:lnTo>
                  <a:lnTo>
                    <a:pt x="4" y="26"/>
                  </a:lnTo>
                  <a:lnTo>
                    <a:pt x="0" y="26"/>
                  </a:lnTo>
                  <a:lnTo>
                    <a:pt x="0" y="23"/>
                  </a:lnTo>
                  <a:lnTo>
                    <a:pt x="0" y="4"/>
                  </a:lnTo>
                  <a:lnTo>
                    <a:pt x="0" y="0"/>
                  </a:lnTo>
                  <a:lnTo>
                    <a:pt x="4" y="0"/>
                  </a:lnTo>
                  <a:lnTo>
                    <a:pt x="7" y="0"/>
                  </a:lnTo>
                  <a:lnTo>
                    <a:pt x="10" y="4"/>
                  </a:lnTo>
                  <a:lnTo>
                    <a:pt x="10" y="2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1" name="Freeform 619">
              <a:extLst>
                <a:ext uri="{FF2B5EF4-FFF2-40B4-BE49-F238E27FC236}">
                  <a16:creationId xmlns:a16="http://schemas.microsoft.com/office/drawing/2014/main" id="{D21C1B57-61AA-184C-A7B1-DAD77F1EEC6C}"/>
                </a:ext>
              </a:extLst>
            </p:cNvPr>
            <p:cNvSpPr>
              <a:spLocks/>
            </p:cNvSpPr>
            <p:nvPr/>
          </p:nvSpPr>
          <p:spPr bwMode="auto">
            <a:xfrm>
              <a:off x="2487673" y="1836995"/>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7"/>
                  </a:lnTo>
                  <a:lnTo>
                    <a:pt x="0" y="4"/>
                  </a:lnTo>
                  <a:lnTo>
                    <a:pt x="0" y="0"/>
                  </a:lnTo>
                  <a:lnTo>
                    <a:pt x="4" y="0"/>
                  </a:lnTo>
                  <a:lnTo>
                    <a:pt x="20" y="0"/>
                  </a:lnTo>
                  <a:lnTo>
                    <a:pt x="23" y="0"/>
                  </a:lnTo>
                  <a:lnTo>
                    <a:pt x="23" y="4"/>
                  </a:lnTo>
                  <a:lnTo>
                    <a:pt x="23" y="7"/>
                  </a:lnTo>
                  <a:lnTo>
                    <a:pt x="2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2" name="Freeform 620">
              <a:extLst>
                <a:ext uri="{FF2B5EF4-FFF2-40B4-BE49-F238E27FC236}">
                  <a16:creationId xmlns:a16="http://schemas.microsoft.com/office/drawing/2014/main" id="{3FA872F8-D5CE-4B4A-BC05-3364E9852FDE}"/>
                </a:ext>
              </a:extLst>
            </p:cNvPr>
            <p:cNvSpPr>
              <a:spLocks/>
            </p:cNvSpPr>
            <p:nvPr/>
          </p:nvSpPr>
          <p:spPr bwMode="auto">
            <a:xfrm>
              <a:off x="2507442" y="1818131"/>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3"/>
                  </a:lnTo>
                  <a:lnTo>
                    <a:pt x="0" y="0"/>
                  </a:lnTo>
                  <a:lnTo>
                    <a:pt x="3" y="0"/>
                  </a:lnTo>
                  <a:lnTo>
                    <a:pt x="6" y="0"/>
                  </a:lnTo>
                  <a:lnTo>
                    <a:pt x="9" y="3"/>
                  </a:lnTo>
                  <a:lnTo>
                    <a:pt x="9" y="2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3" name="Freeform 621">
              <a:extLst>
                <a:ext uri="{FF2B5EF4-FFF2-40B4-BE49-F238E27FC236}">
                  <a16:creationId xmlns:a16="http://schemas.microsoft.com/office/drawing/2014/main" id="{0AA228BD-6B48-FC40-840C-A66447604493}"/>
                </a:ext>
              </a:extLst>
            </p:cNvPr>
            <p:cNvSpPr>
              <a:spLocks/>
            </p:cNvSpPr>
            <p:nvPr/>
          </p:nvSpPr>
          <p:spPr bwMode="auto">
            <a:xfrm>
              <a:off x="2507442" y="1818131"/>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3"/>
                  </a:lnTo>
                  <a:lnTo>
                    <a:pt x="0" y="0"/>
                  </a:lnTo>
                  <a:lnTo>
                    <a:pt x="3" y="0"/>
                  </a:lnTo>
                  <a:lnTo>
                    <a:pt x="9" y="0"/>
                  </a:lnTo>
                  <a:lnTo>
                    <a:pt x="12" y="0"/>
                  </a:lnTo>
                  <a:lnTo>
                    <a:pt x="12" y="3"/>
                  </a:lnTo>
                  <a:lnTo>
                    <a:pt x="12" y="7"/>
                  </a:lnTo>
                  <a:lnTo>
                    <a:pt x="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4" name="Freeform 622">
              <a:extLst>
                <a:ext uri="{FF2B5EF4-FFF2-40B4-BE49-F238E27FC236}">
                  <a16:creationId xmlns:a16="http://schemas.microsoft.com/office/drawing/2014/main" id="{9E2AA0B2-4BB9-6D47-9849-A6B86045DC60}"/>
                </a:ext>
              </a:extLst>
            </p:cNvPr>
            <p:cNvSpPr>
              <a:spLocks/>
            </p:cNvSpPr>
            <p:nvPr/>
          </p:nvSpPr>
          <p:spPr bwMode="auto">
            <a:xfrm>
              <a:off x="2514420" y="181813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5" name="Freeform 623">
              <a:extLst>
                <a:ext uri="{FF2B5EF4-FFF2-40B4-BE49-F238E27FC236}">
                  <a16:creationId xmlns:a16="http://schemas.microsoft.com/office/drawing/2014/main" id="{DDE756E9-25E0-8B4A-A6D7-50C60DD011D2}"/>
                </a:ext>
              </a:extLst>
            </p:cNvPr>
            <p:cNvSpPr>
              <a:spLocks/>
            </p:cNvSpPr>
            <p:nvPr/>
          </p:nvSpPr>
          <p:spPr bwMode="auto">
            <a:xfrm>
              <a:off x="2521397" y="1818131"/>
              <a:ext cx="82568" cy="9928"/>
            </a:xfrm>
            <a:custGeom>
              <a:avLst/>
              <a:gdLst>
                <a:gd name="T0" fmla="*/ 2147483646 w 71"/>
                <a:gd name="T1" fmla="*/ 2147483646 h 10"/>
                <a:gd name="T2" fmla="*/ 0 w 71"/>
                <a:gd name="T3" fmla="*/ 2147483646 h 10"/>
                <a:gd name="T4" fmla="*/ 0 w 71"/>
                <a:gd name="T5" fmla="*/ 2147483646 h 10"/>
                <a:gd name="T6" fmla="*/ 0 w 71"/>
                <a:gd name="T7" fmla="*/ 2147483646 h 10"/>
                <a:gd name="T8" fmla="*/ 0 w 71"/>
                <a:gd name="T9" fmla="*/ 0 h 10"/>
                <a:gd name="T10" fmla="*/ 2147483646 w 71"/>
                <a:gd name="T11" fmla="*/ 0 h 10"/>
                <a:gd name="T12" fmla="*/ 2147483646 w 71"/>
                <a:gd name="T13" fmla="*/ 0 h 10"/>
                <a:gd name="T14" fmla="*/ 2147483646 w 71"/>
                <a:gd name="T15" fmla="*/ 0 h 10"/>
                <a:gd name="T16" fmla="*/ 2147483646 w 71"/>
                <a:gd name="T17" fmla="*/ 2147483646 h 10"/>
                <a:gd name="T18" fmla="*/ 2147483646 w 71"/>
                <a:gd name="T19" fmla="*/ 2147483646 h 10"/>
                <a:gd name="T20" fmla="*/ 2147483646 w 71"/>
                <a:gd name="T21" fmla="*/ 2147483646 h 10"/>
                <a:gd name="T22" fmla="*/ 2147483646 w 71"/>
                <a:gd name="T23" fmla="*/ 2147483646 h 10"/>
                <a:gd name="T24" fmla="*/ 2147483646 w 7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0">
                  <a:moveTo>
                    <a:pt x="4" y="10"/>
                  </a:moveTo>
                  <a:lnTo>
                    <a:pt x="0" y="7"/>
                  </a:lnTo>
                  <a:lnTo>
                    <a:pt x="0" y="3"/>
                  </a:lnTo>
                  <a:lnTo>
                    <a:pt x="0" y="0"/>
                  </a:lnTo>
                  <a:lnTo>
                    <a:pt x="4" y="0"/>
                  </a:lnTo>
                  <a:lnTo>
                    <a:pt x="68" y="0"/>
                  </a:lnTo>
                  <a:lnTo>
                    <a:pt x="71" y="0"/>
                  </a:lnTo>
                  <a:lnTo>
                    <a:pt x="71" y="3"/>
                  </a:lnTo>
                  <a:lnTo>
                    <a:pt x="71" y="7"/>
                  </a:lnTo>
                  <a:lnTo>
                    <a:pt x="68"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6" name="Freeform 624">
              <a:extLst>
                <a:ext uri="{FF2B5EF4-FFF2-40B4-BE49-F238E27FC236}">
                  <a16:creationId xmlns:a16="http://schemas.microsoft.com/office/drawing/2014/main" id="{D48C38D2-E168-7E44-B886-ECCC637F87A5}"/>
                </a:ext>
              </a:extLst>
            </p:cNvPr>
            <p:cNvSpPr>
              <a:spLocks/>
            </p:cNvSpPr>
            <p:nvPr/>
          </p:nvSpPr>
          <p:spPr bwMode="auto">
            <a:xfrm>
              <a:off x="2596988" y="1799267"/>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2"/>
                  </a:moveTo>
                  <a:lnTo>
                    <a:pt x="6" y="26"/>
                  </a:lnTo>
                  <a:lnTo>
                    <a:pt x="3" y="26"/>
                  </a:lnTo>
                  <a:lnTo>
                    <a:pt x="0" y="26"/>
                  </a:lnTo>
                  <a:lnTo>
                    <a:pt x="0" y="22"/>
                  </a:lnTo>
                  <a:lnTo>
                    <a:pt x="0" y="3"/>
                  </a:lnTo>
                  <a:lnTo>
                    <a:pt x="0" y="0"/>
                  </a:lnTo>
                  <a:lnTo>
                    <a:pt x="3" y="0"/>
                  </a:lnTo>
                  <a:lnTo>
                    <a:pt x="6" y="0"/>
                  </a:lnTo>
                  <a:lnTo>
                    <a:pt x="10" y="3"/>
                  </a:lnTo>
                  <a:lnTo>
                    <a:pt x="10" y="2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7" name="Freeform 625">
              <a:extLst>
                <a:ext uri="{FF2B5EF4-FFF2-40B4-BE49-F238E27FC236}">
                  <a16:creationId xmlns:a16="http://schemas.microsoft.com/office/drawing/2014/main" id="{8B533A87-3D4F-E345-A1E9-B4DBB386A85E}"/>
                </a:ext>
              </a:extLst>
            </p:cNvPr>
            <p:cNvSpPr>
              <a:spLocks/>
            </p:cNvSpPr>
            <p:nvPr/>
          </p:nvSpPr>
          <p:spPr bwMode="auto">
            <a:xfrm>
              <a:off x="2596988" y="179926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8" name="Freeform 626">
              <a:extLst>
                <a:ext uri="{FF2B5EF4-FFF2-40B4-BE49-F238E27FC236}">
                  <a16:creationId xmlns:a16="http://schemas.microsoft.com/office/drawing/2014/main" id="{D475D1A7-A0D8-A640-8766-9CD7A6AD13CE}"/>
                </a:ext>
              </a:extLst>
            </p:cNvPr>
            <p:cNvSpPr>
              <a:spLocks/>
            </p:cNvSpPr>
            <p:nvPr/>
          </p:nvSpPr>
          <p:spPr bwMode="auto">
            <a:xfrm>
              <a:off x="2600476" y="1799267"/>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19" name="Freeform 627">
              <a:extLst>
                <a:ext uri="{FF2B5EF4-FFF2-40B4-BE49-F238E27FC236}">
                  <a16:creationId xmlns:a16="http://schemas.microsoft.com/office/drawing/2014/main" id="{43BAF3FC-133E-6840-A7F6-7D3CA2835629}"/>
                </a:ext>
              </a:extLst>
            </p:cNvPr>
            <p:cNvSpPr>
              <a:spLocks/>
            </p:cNvSpPr>
            <p:nvPr/>
          </p:nvSpPr>
          <p:spPr bwMode="auto">
            <a:xfrm>
              <a:off x="2615594" y="1799267"/>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19" y="0"/>
                  </a:lnTo>
                  <a:lnTo>
                    <a:pt x="23" y="0"/>
                  </a:lnTo>
                  <a:lnTo>
                    <a:pt x="23" y="3"/>
                  </a:lnTo>
                  <a:lnTo>
                    <a:pt x="23" y="6"/>
                  </a:lnTo>
                  <a:lnTo>
                    <a:pt x="19"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0" name="Freeform 628">
              <a:extLst>
                <a:ext uri="{FF2B5EF4-FFF2-40B4-BE49-F238E27FC236}">
                  <a16:creationId xmlns:a16="http://schemas.microsoft.com/office/drawing/2014/main" id="{301439BD-7B92-6847-9986-344537EE7380}"/>
                </a:ext>
              </a:extLst>
            </p:cNvPr>
            <p:cNvSpPr>
              <a:spLocks/>
            </p:cNvSpPr>
            <p:nvPr/>
          </p:nvSpPr>
          <p:spPr bwMode="auto">
            <a:xfrm>
              <a:off x="2634201" y="179926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1" name="Freeform 629">
              <a:extLst>
                <a:ext uri="{FF2B5EF4-FFF2-40B4-BE49-F238E27FC236}">
                  <a16:creationId xmlns:a16="http://schemas.microsoft.com/office/drawing/2014/main" id="{33902A5C-5380-034F-AC76-1CE6AD48496B}"/>
                </a:ext>
              </a:extLst>
            </p:cNvPr>
            <p:cNvSpPr>
              <a:spLocks/>
            </p:cNvSpPr>
            <p:nvPr/>
          </p:nvSpPr>
          <p:spPr bwMode="auto">
            <a:xfrm>
              <a:off x="2637690" y="1799267"/>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6" y="0"/>
                  </a:lnTo>
                  <a:lnTo>
                    <a:pt x="20" y="0"/>
                  </a:lnTo>
                  <a:lnTo>
                    <a:pt x="20" y="3"/>
                  </a:lnTo>
                  <a:lnTo>
                    <a:pt x="20" y="6"/>
                  </a:lnTo>
                  <a:lnTo>
                    <a:pt x="16"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2" name="Freeform 630">
              <a:extLst>
                <a:ext uri="{FF2B5EF4-FFF2-40B4-BE49-F238E27FC236}">
                  <a16:creationId xmlns:a16="http://schemas.microsoft.com/office/drawing/2014/main" id="{2D8DCCAA-4201-9144-BFB7-A7682A14DAB9}"/>
                </a:ext>
              </a:extLst>
            </p:cNvPr>
            <p:cNvSpPr>
              <a:spLocks/>
            </p:cNvSpPr>
            <p:nvPr/>
          </p:nvSpPr>
          <p:spPr bwMode="auto">
            <a:xfrm>
              <a:off x="2652808" y="1779410"/>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3"/>
                  </a:moveTo>
                  <a:lnTo>
                    <a:pt x="7" y="26"/>
                  </a:lnTo>
                  <a:lnTo>
                    <a:pt x="3" y="26"/>
                  </a:lnTo>
                  <a:lnTo>
                    <a:pt x="0" y="26"/>
                  </a:lnTo>
                  <a:lnTo>
                    <a:pt x="0" y="23"/>
                  </a:lnTo>
                  <a:lnTo>
                    <a:pt x="0" y="4"/>
                  </a:lnTo>
                  <a:lnTo>
                    <a:pt x="0" y="0"/>
                  </a:lnTo>
                  <a:lnTo>
                    <a:pt x="3" y="0"/>
                  </a:lnTo>
                  <a:lnTo>
                    <a:pt x="7" y="0"/>
                  </a:lnTo>
                  <a:lnTo>
                    <a:pt x="10" y="4"/>
                  </a:lnTo>
                  <a:lnTo>
                    <a:pt x="10" y="23"/>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3" name="Freeform 631">
              <a:extLst>
                <a:ext uri="{FF2B5EF4-FFF2-40B4-BE49-F238E27FC236}">
                  <a16:creationId xmlns:a16="http://schemas.microsoft.com/office/drawing/2014/main" id="{534108B6-3147-4B40-8D25-9580A711D1C5}"/>
                </a:ext>
              </a:extLst>
            </p:cNvPr>
            <p:cNvSpPr>
              <a:spLocks/>
            </p:cNvSpPr>
            <p:nvPr/>
          </p:nvSpPr>
          <p:spPr bwMode="auto">
            <a:xfrm>
              <a:off x="2652808" y="1779410"/>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3" y="10"/>
                  </a:moveTo>
                  <a:lnTo>
                    <a:pt x="0" y="7"/>
                  </a:lnTo>
                  <a:lnTo>
                    <a:pt x="0" y="4"/>
                  </a:lnTo>
                  <a:lnTo>
                    <a:pt x="0" y="0"/>
                  </a:lnTo>
                  <a:lnTo>
                    <a:pt x="3" y="0"/>
                  </a:lnTo>
                  <a:lnTo>
                    <a:pt x="16" y="0"/>
                  </a:lnTo>
                  <a:lnTo>
                    <a:pt x="20" y="0"/>
                  </a:lnTo>
                  <a:lnTo>
                    <a:pt x="20" y="4"/>
                  </a:lnTo>
                  <a:lnTo>
                    <a:pt x="20"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4" name="Freeform 632">
              <a:extLst>
                <a:ext uri="{FF2B5EF4-FFF2-40B4-BE49-F238E27FC236}">
                  <a16:creationId xmlns:a16="http://schemas.microsoft.com/office/drawing/2014/main" id="{7E33EE10-F259-134E-ABF8-CB5EA76E17D7}"/>
                </a:ext>
              </a:extLst>
            </p:cNvPr>
            <p:cNvSpPr>
              <a:spLocks/>
            </p:cNvSpPr>
            <p:nvPr/>
          </p:nvSpPr>
          <p:spPr bwMode="auto">
            <a:xfrm>
              <a:off x="2667925" y="1757568"/>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7" y="29"/>
                  </a:lnTo>
                  <a:lnTo>
                    <a:pt x="3" y="29"/>
                  </a:lnTo>
                  <a:lnTo>
                    <a:pt x="0" y="29"/>
                  </a:lnTo>
                  <a:lnTo>
                    <a:pt x="0" y="26"/>
                  </a:lnTo>
                  <a:lnTo>
                    <a:pt x="0" y="3"/>
                  </a:lnTo>
                  <a:lnTo>
                    <a:pt x="0" y="0"/>
                  </a:lnTo>
                  <a:lnTo>
                    <a:pt x="3" y="0"/>
                  </a:lnTo>
                  <a:lnTo>
                    <a:pt x="7" y="0"/>
                  </a:lnTo>
                  <a:lnTo>
                    <a:pt x="10" y="3"/>
                  </a:lnTo>
                  <a:lnTo>
                    <a:pt x="10" y="2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5" name="Freeform 633">
              <a:extLst>
                <a:ext uri="{FF2B5EF4-FFF2-40B4-BE49-F238E27FC236}">
                  <a16:creationId xmlns:a16="http://schemas.microsoft.com/office/drawing/2014/main" id="{71B4D0CC-C54B-A248-9688-85102654DFBF}"/>
                </a:ext>
              </a:extLst>
            </p:cNvPr>
            <p:cNvSpPr>
              <a:spLocks/>
            </p:cNvSpPr>
            <p:nvPr/>
          </p:nvSpPr>
          <p:spPr bwMode="auto">
            <a:xfrm>
              <a:off x="2667925" y="175756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6" name="Freeform 634">
              <a:extLst>
                <a:ext uri="{FF2B5EF4-FFF2-40B4-BE49-F238E27FC236}">
                  <a16:creationId xmlns:a16="http://schemas.microsoft.com/office/drawing/2014/main" id="{EF3FA5C9-B23D-4045-84AC-3F4260F77D34}"/>
                </a:ext>
              </a:extLst>
            </p:cNvPr>
            <p:cNvSpPr>
              <a:spLocks/>
            </p:cNvSpPr>
            <p:nvPr/>
          </p:nvSpPr>
          <p:spPr bwMode="auto">
            <a:xfrm>
              <a:off x="2671415" y="1757568"/>
              <a:ext cx="41865" cy="8936"/>
            </a:xfrm>
            <a:custGeom>
              <a:avLst/>
              <a:gdLst>
                <a:gd name="T0" fmla="*/ 2147483646 w 36"/>
                <a:gd name="T1" fmla="*/ 2147483646 h 9"/>
                <a:gd name="T2" fmla="*/ 0 w 36"/>
                <a:gd name="T3" fmla="*/ 2147483646 h 9"/>
                <a:gd name="T4" fmla="*/ 0 w 36"/>
                <a:gd name="T5" fmla="*/ 2147483646 h 9"/>
                <a:gd name="T6" fmla="*/ 0 w 36"/>
                <a:gd name="T7" fmla="*/ 2147483646 h 9"/>
                <a:gd name="T8" fmla="*/ 0 w 36"/>
                <a:gd name="T9" fmla="*/ 0 h 9"/>
                <a:gd name="T10" fmla="*/ 2147483646 w 36"/>
                <a:gd name="T11" fmla="*/ 0 h 9"/>
                <a:gd name="T12" fmla="*/ 2147483646 w 36"/>
                <a:gd name="T13" fmla="*/ 0 h 9"/>
                <a:gd name="T14" fmla="*/ 2147483646 w 36"/>
                <a:gd name="T15" fmla="*/ 0 h 9"/>
                <a:gd name="T16" fmla="*/ 2147483646 w 36"/>
                <a:gd name="T17" fmla="*/ 2147483646 h 9"/>
                <a:gd name="T18" fmla="*/ 2147483646 w 36"/>
                <a:gd name="T19" fmla="*/ 2147483646 h 9"/>
                <a:gd name="T20" fmla="*/ 2147483646 w 36"/>
                <a:gd name="T21" fmla="*/ 2147483646 h 9"/>
                <a:gd name="T22" fmla="*/ 2147483646 w 36"/>
                <a:gd name="T23" fmla="*/ 2147483646 h 9"/>
                <a:gd name="T24" fmla="*/ 2147483646 w 3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9">
                  <a:moveTo>
                    <a:pt x="4" y="9"/>
                  </a:moveTo>
                  <a:lnTo>
                    <a:pt x="0" y="6"/>
                  </a:lnTo>
                  <a:lnTo>
                    <a:pt x="0" y="3"/>
                  </a:lnTo>
                  <a:lnTo>
                    <a:pt x="0" y="0"/>
                  </a:lnTo>
                  <a:lnTo>
                    <a:pt x="4" y="0"/>
                  </a:lnTo>
                  <a:lnTo>
                    <a:pt x="33" y="0"/>
                  </a:lnTo>
                  <a:lnTo>
                    <a:pt x="36" y="0"/>
                  </a:lnTo>
                  <a:lnTo>
                    <a:pt x="36" y="3"/>
                  </a:lnTo>
                  <a:lnTo>
                    <a:pt x="36" y="6"/>
                  </a:lnTo>
                  <a:lnTo>
                    <a:pt x="3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7" name="Freeform 635">
              <a:extLst>
                <a:ext uri="{FF2B5EF4-FFF2-40B4-BE49-F238E27FC236}">
                  <a16:creationId xmlns:a16="http://schemas.microsoft.com/office/drawing/2014/main" id="{EB5C18B0-B451-2548-9B9B-BB0D9D5DDB59}"/>
                </a:ext>
              </a:extLst>
            </p:cNvPr>
            <p:cNvSpPr>
              <a:spLocks/>
            </p:cNvSpPr>
            <p:nvPr/>
          </p:nvSpPr>
          <p:spPr bwMode="auto">
            <a:xfrm>
              <a:off x="2705139" y="1757568"/>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8" name="Freeform 636">
              <a:extLst>
                <a:ext uri="{FF2B5EF4-FFF2-40B4-BE49-F238E27FC236}">
                  <a16:creationId xmlns:a16="http://schemas.microsoft.com/office/drawing/2014/main" id="{27CDF5AC-58A4-3749-B945-54E5117075ED}"/>
                </a:ext>
              </a:extLst>
            </p:cNvPr>
            <p:cNvSpPr>
              <a:spLocks/>
            </p:cNvSpPr>
            <p:nvPr/>
          </p:nvSpPr>
          <p:spPr bwMode="auto">
            <a:xfrm>
              <a:off x="2716768" y="1757568"/>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29" name="Freeform 637">
              <a:extLst>
                <a:ext uri="{FF2B5EF4-FFF2-40B4-BE49-F238E27FC236}">
                  <a16:creationId xmlns:a16="http://schemas.microsoft.com/office/drawing/2014/main" id="{389BC3D8-9E7A-904E-A08E-C792C5845EE1}"/>
                </a:ext>
              </a:extLst>
            </p:cNvPr>
            <p:cNvSpPr>
              <a:spLocks/>
            </p:cNvSpPr>
            <p:nvPr/>
          </p:nvSpPr>
          <p:spPr bwMode="auto">
            <a:xfrm>
              <a:off x="2731887" y="1757568"/>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2" y="0"/>
                  </a:lnTo>
                  <a:lnTo>
                    <a:pt x="26" y="0"/>
                  </a:lnTo>
                  <a:lnTo>
                    <a:pt x="26" y="3"/>
                  </a:lnTo>
                  <a:lnTo>
                    <a:pt x="26" y="6"/>
                  </a:lnTo>
                  <a:lnTo>
                    <a:pt x="22"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0" name="Freeform 638">
              <a:extLst>
                <a:ext uri="{FF2B5EF4-FFF2-40B4-BE49-F238E27FC236}">
                  <a16:creationId xmlns:a16="http://schemas.microsoft.com/office/drawing/2014/main" id="{E186A789-AFB1-9B47-9A91-A3037F5D422A}"/>
                </a:ext>
              </a:extLst>
            </p:cNvPr>
            <p:cNvSpPr>
              <a:spLocks/>
            </p:cNvSpPr>
            <p:nvPr/>
          </p:nvSpPr>
          <p:spPr bwMode="auto">
            <a:xfrm>
              <a:off x="2753982" y="1731754"/>
              <a:ext cx="11629" cy="31771"/>
            </a:xfrm>
            <a:custGeom>
              <a:avLst/>
              <a:gdLst>
                <a:gd name="T0" fmla="*/ 2147483646 w 10"/>
                <a:gd name="T1" fmla="*/ 2147483646 h 32"/>
                <a:gd name="T2" fmla="*/ 2147483646 w 10"/>
                <a:gd name="T3" fmla="*/ 2147483646 h 32"/>
                <a:gd name="T4" fmla="*/ 2147483646 w 10"/>
                <a:gd name="T5" fmla="*/ 2147483646 h 32"/>
                <a:gd name="T6" fmla="*/ 2147483646 w 10"/>
                <a:gd name="T7" fmla="*/ 2147483646 h 32"/>
                <a:gd name="T8" fmla="*/ 0 w 10"/>
                <a:gd name="T9" fmla="*/ 2147483646 h 32"/>
                <a:gd name="T10" fmla="*/ 0 w 10"/>
                <a:gd name="T11" fmla="*/ 2147483646 h 32"/>
                <a:gd name="T12" fmla="*/ 0 w 10"/>
                <a:gd name="T13" fmla="*/ 2147483646 h 32"/>
                <a:gd name="T14" fmla="*/ 0 w 10"/>
                <a:gd name="T15" fmla="*/ 0 h 32"/>
                <a:gd name="T16" fmla="*/ 2147483646 w 10"/>
                <a:gd name="T17" fmla="*/ 0 h 32"/>
                <a:gd name="T18" fmla="*/ 2147483646 w 10"/>
                <a:gd name="T19" fmla="*/ 0 h 32"/>
                <a:gd name="T20" fmla="*/ 2147483646 w 10"/>
                <a:gd name="T21" fmla="*/ 0 h 32"/>
                <a:gd name="T22" fmla="*/ 2147483646 w 10"/>
                <a:gd name="T23" fmla="*/ 2147483646 h 32"/>
                <a:gd name="T24" fmla="*/ 2147483646 w 10"/>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2">
                  <a:moveTo>
                    <a:pt x="10" y="29"/>
                  </a:moveTo>
                  <a:lnTo>
                    <a:pt x="7" y="32"/>
                  </a:lnTo>
                  <a:lnTo>
                    <a:pt x="3" y="32"/>
                  </a:lnTo>
                  <a:lnTo>
                    <a:pt x="0" y="32"/>
                  </a:lnTo>
                  <a:lnTo>
                    <a:pt x="0" y="29"/>
                  </a:lnTo>
                  <a:lnTo>
                    <a:pt x="0" y="3"/>
                  </a:lnTo>
                  <a:lnTo>
                    <a:pt x="0" y="0"/>
                  </a:lnTo>
                  <a:lnTo>
                    <a:pt x="3" y="0"/>
                  </a:lnTo>
                  <a:lnTo>
                    <a:pt x="7" y="0"/>
                  </a:lnTo>
                  <a:lnTo>
                    <a:pt x="10" y="3"/>
                  </a:lnTo>
                  <a:lnTo>
                    <a:pt x="10" y="2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1" name="Freeform 639">
              <a:extLst>
                <a:ext uri="{FF2B5EF4-FFF2-40B4-BE49-F238E27FC236}">
                  <a16:creationId xmlns:a16="http://schemas.microsoft.com/office/drawing/2014/main" id="{F13C90DB-30C4-8147-A717-B9C0FF44389D}"/>
                </a:ext>
              </a:extLst>
            </p:cNvPr>
            <p:cNvSpPr>
              <a:spLocks/>
            </p:cNvSpPr>
            <p:nvPr/>
          </p:nvSpPr>
          <p:spPr bwMode="auto">
            <a:xfrm>
              <a:off x="2753982" y="1731754"/>
              <a:ext cx="60472" cy="9928"/>
            </a:xfrm>
            <a:custGeom>
              <a:avLst/>
              <a:gdLst>
                <a:gd name="T0" fmla="*/ 2147483646 w 52"/>
                <a:gd name="T1" fmla="*/ 2147483646 h 10"/>
                <a:gd name="T2" fmla="*/ 0 w 52"/>
                <a:gd name="T3" fmla="*/ 2147483646 h 10"/>
                <a:gd name="T4" fmla="*/ 0 w 52"/>
                <a:gd name="T5" fmla="*/ 2147483646 h 10"/>
                <a:gd name="T6" fmla="*/ 0 w 52"/>
                <a:gd name="T7" fmla="*/ 2147483646 h 10"/>
                <a:gd name="T8" fmla="*/ 0 w 52"/>
                <a:gd name="T9" fmla="*/ 0 h 10"/>
                <a:gd name="T10" fmla="*/ 2147483646 w 52"/>
                <a:gd name="T11" fmla="*/ 0 h 10"/>
                <a:gd name="T12" fmla="*/ 2147483646 w 52"/>
                <a:gd name="T13" fmla="*/ 0 h 10"/>
                <a:gd name="T14" fmla="*/ 2147483646 w 52"/>
                <a:gd name="T15" fmla="*/ 0 h 10"/>
                <a:gd name="T16" fmla="*/ 2147483646 w 52"/>
                <a:gd name="T17" fmla="*/ 2147483646 h 10"/>
                <a:gd name="T18" fmla="*/ 2147483646 w 52"/>
                <a:gd name="T19" fmla="*/ 2147483646 h 10"/>
                <a:gd name="T20" fmla="*/ 2147483646 w 52"/>
                <a:gd name="T21" fmla="*/ 2147483646 h 10"/>
                <a:gd name="T22" fmla="*/ 2147483646 w 52"/>
                <a:gd name="T23" fmla="*/ 2147483646 h 10"/>
                <a:gd name="T24" fmla="*/ 2147483646 w 5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10">
                  <a:moveTo>
                    <a:pt x="3" y="10"/>
                  </a:moveTo>
                  <a:lnTo>
                    <a:pt x="0" y="6"/>
                  </a:lnTo>
                  <a:lnTo>
                    <a:pt x="0" y="3"/>
                  </a:lnTo>
                  <a:lnTo>
                    <a:pt x="0" y="0"/>
                  </a:lnTo>
                  <a:lnTo>
                    <a:pt x="3" y="0"/>
                  </a:lnTo>
                  <a:lnTo>
                    <a:pt x="49" y="0"/>
                  </a:lnTo>
                  <a:lnTo>
                    <a:pt x="52" y="0"/>
                  </a:lnTo>
                  <a:lnTo>
                    <a:pt x="52" y="3"/>
                  </a:lnTo>
                  <a:lnTo>
                    <a:pt x="52" y="6"/>
                  </a:lnTo>
                  <a:lnTo>
                    <a:pt x="4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2" name="Freeform 640">
              <a:extLst>
                <a:ext uri="{FF2B5EF4-FFF2-40B4-BE49-F238E27FC236}">
                  <a16:creationId xmlns:a16="http://schemas.microsoft.com/office/drawing/2014/main" id="{EE998D67-297E-C147-BF8D-44E3BBB91E5E}"/>
                </a:ext>
              </a:extLst>
            </p:cNvPr>
            <p:cNvSpPr>
              <a:spLocks/>
            </p:cNvSpPr>
            <p:nvPr/>
          </p:nvSpPr>
          <p:spPr bwMode="auto">
            <a:xfrm>
              <a:off x="2806314" y="1708918"/>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7" y="29"/>
                  </a:lnTo>
                  <a:lnTo>
                    <a:pt x="4" y="29"/>
                  </a:lnTo>
                  <a:lnTo>
                    <a:pt x="0" y="29"/>
                  </a:lnTo>
                  <a:lnTo>
                    <a:pt x="0" y="26"/>
                  </a:lnTo>
                  <a:lnTo>
                    <a:pt x="0" y="4"/>
                  </a:lnTo>
                  <a:lnTo>
                    <a:pt x="0" y="0"/>
                  </a:lnTo>
                  <a:lnTo>
                    <a:pt x="4" y="0"/>
                  </a:lnTo>
                  <a:lnTo>
                    <a:pt x="7" y="0"/>
                  </a:lnTo>
                  <a:lnTo>
                    <a:pt x="10" y="4"/>
                  </a:lnTo>
                  <a:lnTo>
                    <a:pt x="10" y="26"/>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3" name="Freeform 641">
              <a:extLst>
                <a:ext uri="{FF2B5EF4-FFF2-40B4-BE49-F238E27FC236}">
                  <a16:creationId xmlns:a16="http://schemas.microsoft.com/office/drawing/2014/main" id="{A3185FD8-72F9-6A43-A124-7C1ACE59E300}"/>
                </a:ext>
              </a:extLst>
            </p:cNvPr>
            <p:cNvSpPr>
              <a:spLocks/>
            </p:cNvSpPr>
            <p:nvPr/>
          </p:nvSpPr>
          <p:spPr bwMode="auto">
            <a:xfrm>
              <a:off x="2806314" y="1708918"/>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4" y="10"/>
                  </a:moveTo>
                  <a:lnTo>
                    <a:pt x="0" y="7"/>
                  </a:lnTo>
                  <a:lnTo>
                    <a:pt x="0" y="4"/>
                  </a:lnTo>
                  <a:lnTo>
                    <a:pt x="0" y="0"/>
                  </a:lnTo>
                  <a:lnTo>
                    <a:pt x="4" y="0"/>
                  </a:lnTo>
                  <a:lnTo>
                    <a:pt x="23" y="0"/>
                  </a:lnTo>
                  <a:lnTo>
                    <a:pt x="26" y="0"/>
                  </a:lnTo>
                  <a:lnTo>
                    <a:pt x="26" y="4"/>
                  </a:lnTo>
                  <a:lnTo>
                    <a:pt x="26" y="7"/>
                  </a:lnTo>
                  <a:lnTo>
                    <a:pt x="2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4" name="Freeform 642">
              <a:extLst>
                <a:ext uri="{FF2B5EF4-FFF2-40B4-BE49-F238E27FC236}">
                  <a16:creationId xmlns:a16="http://schemas.microsoft.com/office/drawing/2014/main" id="{5B04FFE6-63EF-0940-9F67-4B1B3B65F55F}"/>
                </a:ext>
              </a:extLst>
            </p:cNvPr>
            <p:cNvSpPr>
              <a:spLocks/>
            </p:cNvSpPr>
            <p:nvPr/>
          </p:nvSpPr>
          <p:spPr bwMode="auto">
            <a:xfrm>
              <a:off x="2829572" y="1708918"/>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4"/>
                  </a:lnTo>
                  <a:lnTo>
                    <a:pt x="0" y="0"/>
                  </a:lnTo>
                  <a:lnTo>
                    <a:pt x="3" y="0"/>
                  </a:lnTo>
                  <a:lnTo>
                    <a:pt x="19" y="0"/>
                  </a:lnTo>
                  <a:lnTo>
                    <a:pt x="22" y="0"/>
                  </a:lnTo>
                  <a:lnTo>
                    <a:pt x="22" y="4"/>
                  </a:lnTo>
                  <a:lnTo>
                    <a:pt x="22" y="7"/>
                  </a:lnTo>
                  <a:lnTo>
                    <a:pt x="1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5" name="Freeform 643">
              <a:extLst>
                <a:ext uri="{FF2B5EF4-FFF2-40B4-BE49-F238E27FC236}">
                  <a16:creationId xmlns:a16="http://schemas.microsoft.com/office/drawing/2014/main" id="{68F13539-FF71-5440-89A5-02FF017C67A2}"/>
                </a:ext>
              </a:extLst>
            </p:cNvPr>
            <p:cNvSpPr>
              <a:spLocks/>
            </p:cNvSpPr>
            <p:nvPr/>
          </p:nvSpPr>
          <p:spPr bwMode="auto">
            <a:xfrm>
              <a:off x="2848179" y="1708918"/>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2" y="0"/>
                  </a:lnTo>
                  <a:lnTo>
                    <a:pt x="26" y="0"/>
                  </a:lnTo>
                  <a:lnTo>
                    <a:pt x="26" y="4"/>
                  </a:lnTo>
                  <a:lnTo>
                    <a:pt x="26" y="7"/>
                  </a:lnTo>
                  <a:lnTo>
                    <a:pt x="22"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6" name="Freeform 644">
              <a:extLst>
                <a:ext uri="{FF2B5EF4-FFF2-40B4-BE49-F238E27FC236}">
                  <a16:creationId xmlns:a16="http://schemas.microsoft.com/office/drawing/2014/main" id="{4108642C-87B8-804F-8BD4-621D3844633D}"/>
                </a:ext>
              </a:extLst>
            </p:cNvPr>
            <p:cNvSpPr>
              <a:spLocks/>
            </p:cNvSpPr>
            <p:nvPr/>
          </p:nvSpPr>
          <p:spPr bwMode="auto">
            <a:xfrm>
              <a:off x="2870274" y="1708918"/>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7" name="Freeform 645">
              <a:extLst>
                <a:ext uri="{FF2B5EF4-FFF2-40B4-BE49-F238E27FC236}">
                  <a16:creationId xmlns:a16="http://schemas.microsoft.com/office/drawing/2014/main" id="{86121826-FB9C-AF44-8A6C-7F5B99EE4414}"/>
                </a:ext>
              </a:extLst>
            </p:cNvPr>
            <p:cNvSpPr>
              <a:spLocks/>
            </p:cNvSpPr>
            <p:nvPr/>
          </p:nvSpPr>
          <p:spPr bwMode="auto">
            <a:xfrm>
              <a:off x="2885392" y="1708918"/>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8" name="Freeform 646">
              <a:extLst>
                <a:ext uri="{FF2B5EF4-FFF2-40B4-BE49-F238E27FC236}">
                  <a16:creationId xmlns:a16="http://schemas.microsoft.com/office/drawing/2014/main" id="{E29CF207-2EF3-CC4B-81C8-C6FDF8A1EA11}"/>
                </a:ext>
              </a:extLst>
            </p:cNvPr>
            <p:cNvSpPr>
              <a:spLocks/>
            </p:cNvSpPr>
            <p:nvPr/>
          </p:nvSpPr>
          <p:spPr bwMode="auto">
            <a:xfrm>
              <a:off x="2897021" y="1708918"/>
              <a:ext cx="62798" cy="9928"/>
            </a:xfrm>
            <a:custGeom>
              <a:avLst/>
              <a:gdLst>
                <a:gd name="T0" fmla="*/ 2147483646 w 54"/>
                <a:gd name="T1" fmla="*/ 2147483646 h 10"/>
                <a:gd name="T2" fmla="*/ 0 w 54"/>
                <a:gd name="T3" fmla="*/ 2147483646 h 10"/>
                <a:gd name="T4" fmla="*/ 0 w 54"/>
                <a:gd name="T5" fmla="*/ 2147483646 h 10"/>
                <a:gd name="T6" fmla="*/ 0 w 54"/>
                <a:gd name="T7" fmla="*/ 2147483646 h 10"/>
                <a:gd name="T8" fmla="*/ 0 w 54"/>
                <a:gd name="T9" fmla="*/ 0 h 10"/>
                <a:gd name="T10" fmla="*/ 2147483646 w 54"/>
                <a:gd name="T11" fmla="*/ 0 h 10"/>
                <a:gd name="T12" fmla="*/ 2147483646 w 54"/>
                <a:gd name="T13" fmla="*/ 0 h 10"/>
                <a:gd name="T14" fmla="*/ 2147483646 w 54"/>
                <a:gd name="T15" fmla="*/ 0 h 10"/>
                <a:gd name="T16" fmla="*/ 2147483646 w 54"/>
                <a:gd name="T17" fmla="*/ 2147483646 h 10"/>
                <a:gd name="T18" fmla="*/ 2147483646 w 54"/>
                <a:gd name="T19" fmla="*/ 2147483646 h 10"/>
                <a:gd name="T20" fmla="*/ 2147483646 w 54"/>
                <a:gd name="T21" fmla="*/ 2147483646 h 10"/>
                <a:gd name="T22" fmla="*/ 2147483646 w 54"/>
                <a:gd name="T23" fmla="*/ 2147483646 h 10"/>
                <a:gd name="T24" fmla="*/ 2147483646 w 5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 h="10">
                  <a:moveTo>
                    <a:pt x="3" y="10"/>
                  </a:moveTo>
                  <a:lnTo>
                    <a:pt x="0" y="7"/>
                  </a:lnTo>
                  <a:lnTo>
                    <a:pt x="0" y="4"/>
                  </a:lnTo>
                  <a:lnTo>
                    <a:pt x="0" y="0"/>
                  </a:lnTo>
                  <a:lnTo>
                    <a:pt x="3" y="0"/>
                  </a:lnTo>
                  <a:lnTo>
                    <a:pt x="51" y="0"/>
                  </a:lnTo>
                  <a:lnTo>
                    <a:pt x="54" y="0"/>
                  </a:lnTo>
                  <a:lnTo>
                    <a:pt x="54" y="4"/>
                  </a:lnTo>
                  <a:lnTo>
                    <a:pt x="54" y="7"/>
                  </a:lnTo>
                  <a:lnTo>
                    <a:pt x="51"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39" name="Freeform 647">
              <a:extLst>
                <a:ext uri="{FF2B5EF4-FFF2-40B4-BE49-F238E27FC236}">
                  <a16:creationId xmlns:a16="http://schemas.microsoft.com/office/drawing/2014/main" id="{07A44D2F-8313-7E40-BD57-991682B502CB}"/>
                </a:ext>
              </a:extLst>
            </p:cNvPr>
            <p:cNvSpPr>
              <a:spLocks/>
            </p:cNvSpPr>
            <p:nvPr/>
          </p:nvSpPr>
          <p:spPr bwMode="auto">
            <a:xfrm>
              <a:off x="2952842" y="170891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0" name="Freeform 648">
              <a:extLst>
                <a:ext uri="{FF2B5EF4-FFF2-40B4-BE49-F238E27FC236}">
                  <a16:creationId xmlns:a16="http://schemas.microsoft.com/office/drawing/2014/main" id="{771A4B75-F55B-1F49-A4C4-9E44DE980A25}"/>
                </a:ext>
              </a:extLst>
            </p:cNvPr>
            <p:cNvSpPr>
              <a:spLocks/>
            </p:cNvSpPr>
            <p:nvPr/>
          </p:nvSpPr>
          <p:spPr bwMode="auto">
            <a:xfrm>
              <a:off x="2956330" y="1708918"/>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4"/>
                  </a:lnTo>
                  <a:lnTo>
                    <a:pt x="0" y="0"/>
                  </a:lnTo>
                  <a:lnTo>
                    <a:pt x="3" y="0"/>
                  </a:lnTo>
                  <a:lnTo>
                    <a:pt x="26" y="0"/>
                  </a:lnTo>
                  <a:lnTo>
                    <a:pt x="29" y="0"/>
                  </a:lnTo>
                  <a:lnTo>
                    <a:pt x="29" y="4"/>
                  </a:lnTo>
                  <a:lnTo>
                    <a:pt x="29" y="7"/>
                  </a:lnTo>
                  <a:lnTo>
                    <a:pt x="2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1" name="Freeform 649">
              <a:extLst>
                <a:ext uri="{FF2B5EF4-FFF2-40B4-BE49-F238E27FC236}">
                  <a16:creationId xmlns:a16="http://schemas.microsoft.com/office/drawing/2014/main" id="{D0063CF6-D0F1-9C45-833A-9B7994B75224}"/>
                </a:ext>
              </a:extLst>
            </p:cNvPr>
            <p:cNvSpPr>
              <a:spLocks/>
            </p:cNvSpPr>
            <p:nvPr/>
          </p:nvSpPr>
          <p:spPr bwMode="auto">
            <a:xfrm>
              <a:off x="2983078" y="1708918"/>
              <a:ext cx="44191" cy="9928"/>
            </a:xfrm>
            <a:custGeom>
              <a:avLst/>
              <a:gdLst>
                <a:gd name="T0" fmla="*/ 2147483646 w 38"/>
                <a:gd name="T1" fmla="*/ 2147483646 h 10"/>
                <a:gd name="T2" fmla="*/ 0 w 38"/>
                <a:gd name="T3" fmla="*/ 2147483646 h 10"/>
                <a:gd name="T4" fmla="*/ 0 w 38"/>
                <a:gd name="T5" fmla="*/ 2147483646 h 10"/>
                <a:gd name="T6" fmla="*/ 0 w 38"/>
                <a:gd name="T7" fmla="*/ 2147483646 h 10"/>
                <a:gd name="T8" fmla="*/ 0 w 38"/>
                <a:gd name="T9" fmla="*/ 0 h 10"/>
                <a:gd name="T10" fmla="*/ 2147483646 w 38"/>
                <a:gd name="T11" fmla="*/ 0 h 10"/>
                <a:gd name="T12" fmla="*/ 2147483646 w 38"/>
                <a:gd name="T13" fmla="*/ 0 h 10"/>
                <a:gd name="T14" fmla="*/ 2147483646 w 38"/>
                <a:gd name="T15" fmla="*/ 0 h 10"/>
                <a:gd name="T16" fmla="*/ 2147483646 w 38"/>
                <a:gd name="T17" fmla="*/ 2147483646 h 10"/>
                <a:gd name="T18" fmla="*/ 2147483646 w 38"/>
                <a:gd name="T19" fmla="*/ 2147483646 h 10"/>
                <a:gd name="T20" fmla="*/ 2147483646 w 38"/>
                <a:gd name="T21" fmla="*/ 2147483646 h 10"/>
                <a:gd name="T22" fmla="*/ 2147483646 w 38"/>
                <a:gd name="T23" fmla="*/ 2147483646 h 10"/>
                <a:gd name="T24" fmla="*/ 2147483646 w 3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0">
                  <a:moveTo>
                    <a:pt x="3" y="10"/>
                  </a:moveTo>
                  <a:lnTo>
                    <a:pt x="0" y="7"/>
                  </a:lnTo>
                  <a:lnTo>
                    <a:pt x="0" y="4"/>
                  </a:lnTo>
                  <a:lnTo>
                    <a:pt x="0" y="0"/>
                  </a:lnTo>
                  <a:lnTo>
                    <a:pt x="3" y="0"/>
                  </a:lnTo>
                  <a:lnTo>
                    <a:pt x="35" y="0"/>
                  </a:lnTo>
                  <a:lnTo>
                    <a:pt x="38" y="0"/>
                  </a:lnTo>
                  <a:lnTo>
                    <a:pt x="38" y="4"/>
                  </a:lnTo>
                  <a:lnTo>
                    <a:pt x="38" y="7"/>
                  </a:lnTo>
                  <a:lnTo>
                    <a:pt x="35"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2" name="Freeform 650">
              <a:extLst>
                <a:ext uri="{FF2B5EF4-FFF2-40B4-BE49-F238E27FC236}">
                  <a16:creationId xmlns:a16="http://schemas.microsoft.com/office/drawing/2014/main" id="{9626B8A7-CF5A-A645-AEF6-7415466A6AE8}"/>
                </a:ext>
              </a:extLst>
            </p:cNvPr>
            <p:cNvSpPr>
              <a:spLocks/>
            </p:cNvSpPr>
            <p:nvPr/>
          </p:nvSpPr>
          <p:spPr bwMode="auto">
            <a:xfrm>
              <a:off x="3020291" y="170891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3" name="Freeform 651">
              <a:extLst>
                <a:ext uri="{FF2B5EF4-FFF2-40B4-BE49-F238E27FC236}">
                  <a16:creationId xmlns:a16="http://schemas.microsoft.com/office/drawing/2014/main" id="{2D339027-2683-8648-8791-12F2B6C44179}"/>
                </a:ext>
              </a:extLst>
            </p:cNvPr>
            <p:cNvSpPr>
              <a:spLocks/>
            </p:cNvSpPr>
            <p:nvPr/>
          </p:nvSpPr>
          <p:spPr bwMode="auto">
            <a:xfrm>
              <a:off x="3027269" y="1708918"/>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4" y="10"/>
                  </a:moveTo>
                  <a:lnTo>
                    <a:pt x="0" y="7"/>
                  </a:lnTo>
                  <a:lnTo>
                    <a:pt x="0" y="4"/>
                  </a:lnTo>
                  <a:lnTo>
                    <a:pt x="0" y="0"/>
                  </a:lnTo>
                  <a:lnTo>
                    <a:pt x="4" y="0"/>
                  </a:lnTo>
                  <a:lnTo>
                    <a:pt x="39" y="0"/>
                  </a:lnTo>
                  <a:lnTo>
                    <a:pt x="42" y="0"/>
                  </a:lnTo>
                  <a:lnTo>
                    <a:pt x="42" y="4"/>
                  </a:lnTo>
                  <a:lnTo>
                    <a:pt x="42" y="7"/>
                  </a:lnTo>
                  <a:lnTo>
                    <a:pt x="39"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4" name="Freeform 652">
              <a:extLst>
                <a:ext uri="{FF2B5EF4-FFF2-40B4-BE49-F238E27FC236}">
                  <a16:creationId xmlns:a16="http://schemas.microsoft.com/office/drawing/2014/main" id="{35193FFC-C9E7-5D46-B37F-C9EE0316FCE8}"/>
                </a:ext>
              </a:extLst>
            </p:cNvPr>
            <p:cNvSpPr>
              <a:spLocks/>
            </p:cNvSpPr>
            <p:nvPr/>
          </p:nvSpPr>
          <p:spPr bwMode="auto">
            <a:xfrm>
              <a:off x="3069134" y="1708918"/>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2" y="0"/>
                  </a:lnTo>
                  <a:lnTo>
                    <a:pt x="26" y="0"/>
                  </a:lnTo>
                  <a:lnTo>
                    <a:pt x="26" y="4"/>
                  </a:lnTo>
                  <a:lnTo>
                    <a:pt x="26" y="7"/>
                  </a:lnTo>
                  <a:lnTo>
                    <a:pt x="22"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5" name="Freeform 653">
              <a:extLst>
                <a:ext uri="{FF2B5EF4-FFF2-40B4-BE49-F238E27FC236}">
                  <a16:creationId xmlns:a16="http://schemas.microsoft.com/office/drawing/2014/main" id="{E0868CAD-82A5-C142-9BFD-57BBA497F2DF}"/>
                </a:ext>
              </a:extLst>
            </p:cNvPr>
            <p:cNvSpPr>
              <a:spLocks/>
            </p:cNvSpPr>
            <p:nvPr/>
          </p:nvSpPr>
          <p:spPr bwMode="auto">
            <a:xfrm>
              <a:off x="3091229" y="1671190"/>
              <a:ext cx="11629" cy="44678"/>
            </a:xfrm>
            <a:custGeom>
              <a:avLst/>
              <a:gdLst>
                <a:gd name="T0" fmla="*/ 2147483646 w 10"/>
                <a:gd name="T1" fmla="*/ 2147483646 h 45"/>
                <a:gd name="T2" fmla="*/ 2147483646 w 10"/>
                <a:gd name="T3" fmla="*/ 2147483646 h 45"/>
                <a:gd name="T4" fmla="*/ 2147483646 w 10"/>
                <a:gd name="T5" fmla="*/ 2147483646 h 45"/>
                <a:gd name="T6" fmla="*/ 2147483646 w 10"/>
                <a:gd name="T7" fmla="*/ 2147483646 h 45"/>
                <a:gd name="T8" fmla="*/ 0 w 10"/>
                <a:gd name="T9" fmla="*/ 2147483646 h 45"/>
                <a:gd name="T10" fmla="*/ 0 w 10"/>
                <a:gd name="T11" fmla="*/ 2147483646 h 45"/>
                <a:gd name="T12" fmla="*/ 0 w 10"/>
                <a:gd name="T13" fmla="*/ 2147483646 h 45"/>
                <a:gd name="T14" fmla="*/ 0 w 10"/>
                <a:gd name="T15" fmla="*/ 0 h 45"/>
                <a:gd name="T16" fmla="*/ 2147483646 w 10"/>
                <a:gd name="T17" fmla="*/ 0 h 45"/>
                <a:gd name="T18" fmla="*/ 2147483646 w 10"/>
                <a:gd name="T19" fmla="*/ 0 h 45"/>
                <a:gd name="T20" fmla="*/ 2147483646 w 10"/>
                <a:gd name="T21" fmla="*/ 0 h 45"/>
                <a:gd name="T22" fmla="*/ 2147483646 w 10"/>
                <a:gd name="T23" fmla="*/ 2147483646 h 45"/>
                <a:gd name="T24" fmla="*/ 2147483646 w 10"/>
                <a:gd name="T25" fmla="*/ 2147483646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45">
                  <a:moveTo>
                    <a:pt x="10" y="42"/>
                  </a:moveTo>
                  <a:lnTo>
                    <a:pt x="7" y="45"/>
                  </a:lnTo>
                  <a:lnTo>
                    <a:pt x="3" y="45"/>
                  </a:lnTo>
                  <a:lnTo>
                    <a:pt x="0" y="45"/>
                  </a:lnTo>
                  <a:lnTo>
                    <a:pt x="0" y="42"/>
                  </a:lnTo>
                  <a:lnTo>
                    <a:pt x="0" y="3"/>
                  </a:lnTo>
                  <a:lnTo>
                    <a:pt x="0" y="0"/>
                  </a:lnTo>
                  <a:lnTo>
                    <a:pt x="3" y="0"/>
                  </a:lnTo>
                  <a:lnTo>
                    <a:pt x="7" y="0"/>
                  </a:lnTo>
                  <a:lnTo>
                    <a:pt x="10" y="3"/>
                  </a:lnTo>
                  <a:lnTo>
                    <a:pt x="10" y="42"/>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6" name="Freeform 654">
              <a:extLst>
                <a:ext uri="{FF2B5EF4-FFF2-40B4-BE49-F238E27FC236}">
                  <a16:creationId xmlns:a16="http://schemas.microsoft.com/office/drawing/2014/main" id="{C7152749-1F68-BD4E-A9BE-A0C6895BFFDA}"/>
                </a:ext>
              </a:extLst>
            </p:cNvPr>
            <p:cNvSpPr>
              <a:spLocks/>
            </p:cNvSpPr>
            <p:nvPr/>
          </p:nvSpPr>
          <p:spPr bwMode="auto">
            <a:xfrm>
              <a:off x="3091229" y="1671190"/>
              <a:ext cx="33725" cy="8936"/>
            </a:xfrm>
            <a:custGeom>
              <a:avLst/>
              <a:gdLst>
                <a:gd name="T0" fmla="*/ 2147483646 w 29"/>
                <a:gd name="T1" fmla="*/ 2147483646 h 9"/>
                <a:gd name="T2" fmla="*/ 0 w 29"/>
                <a:gd name="T3" fmla="*/ 2147483646 h 9"/>
                <a:gd name="T4" fmla="*/ 0 w 29"/>
                <a:gd name="T5" fmla="*/ 2147483646 h 9"/>
                <a:gd name="T6" fmla="*/ 0 w 29"/>
                <a:gd name="T7" fmla="*/ 2147483646 h 9"/>
                <a:gd name="T8" fmla="*/ 0 w 29"/>
                <a:gd name="T9" fmla="*/ 0 h 9"/>
                <a:gd name="T10" fmla="*/ 2147483646 w 29"/>
                <a:gd name="T11" fmla="*/ 0 h 9"/>
                <a:gd name="T12" fmla="*/ 2147483646 w 29"/>
                <a:gd name="T13" fmla="*/ 0 h 9"/>
                <a:gd name="T14" fmla="*/ 2147483646 w 29"/>
                <a:gd name="T15" fmla="*/ 0 h 9"/>
                <a:gd name="T16" fmla="*/ 2147483646 w 29"/>
                <a:gd name="T17" fmla="*/ 2147483646 h 9"/>
                <a:gd name="T18" fmla="*/ 2147483646 w 29"/>
                <a:gd name="T19" fmla="*/ 2147483646 h 9"/>
                <a:gd name="T20" fmla="*/ 2147483646 w 29"/>
                <a:gd name="T21" fmla="*/ 2147483646 h 9"/>
                <a:gd name="T22" fmla="*/ 2147483646 w 29"/>
                <a:gd name="T23" fmla="*/ 2147483646 h 9"/>
                <a:gd name="T24" fmla="*/ 2147483646 w 2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9">
                  <a:moveTo>
                    <a:pt x="3" y="9"/>
                  </a:moveTo>
                  <a:lnTo>
                    <a:pt x="0" y="6"/>
                  </a:lnTo>
                  <a:lnTo>
                    <a:pt x="0" y="3"/>
                  </a:lnTo>
                  <a:lnTo>
                    <a:pt x="0" y="0"/>
                  </a:lnTo>
                  <a:lnTo>
                    <a:pt x="3" y="0"/>
                  </a:lnTo>
                  <a:lnTo>
                    <a:pt x="26" y="0"/>
                  </a:lnTo>
                  <a:lnTo>
                    <a:pt x="29" y="0"/>
                  </a:lnTo>
                  <a:lnTo>
                    <a:pt x="29" y="3"/>
                  </a:lnTo>
                  <a:lnTo>
                    <a:pt x="29" y="6"/>
                  </a:lnTo>
                  <a:lnTo>
                    <a:pt x="26"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7" name="Freeform 655">
              <a:extLst>
                <a:ext uri="{FF2B5EF4-FFF2-40B4-BE49-F238E27FC236}">
                  <a16:creationId xmlns:a16="http://schemas.microsoft.com/office/drawing/2014/main" id="{B16D7FEA-CDB9-6F40-BC26-87B1DD245412}"/>
                </a:ext>
              </a:extLst>
            </p:cNvPr>
            <p:cNvSpPr>
              <a:spLocks/>
            </p:cNvSpPr>
            <p:nvPr/>
          </p:nvSpPr>
          <p:spPr bwMode="auto">
            <a:xfrm>
              <a:off x="3117976" y="1671190"/>
              <a:ext cx="55820" cy="8936"/>
            </a:xfrm>
            <a:custGeom>
              <a:avLst/>
              <a:gdLst>
                <a:gd name="T0" fmla="*/ 2147483646 w 48"/>
                <a:gd name="T1" fmla="*/ 2147483646 h 9"/>
                <a:gd name="T2" fmla="*/ 0 w 48"/>
                <a:gd name="T3" fmla="*/ 2147483646 h 9"/>
                <a:gd name="T4" fmla="*/ 0 w 48"/>
                <a:gd name="T5" fmla="*/ 2147483646 h 9"/>
                <a:gd name="T6" fmla="*/ 0 w 48"/>
                <a:gd name="T7" fmla="*/ 2147483646 h 9"/>
                <a:gd name="T8" fmla="*/ 0 w 48"/>
                <a:gd name="T9" fmla="*/ 0 h 9"/>
                <a:gd name="T10" fmla="*/ 2147483646 w 48"/>
                <a:gd name="T11" fmla="*/ 0 h 9"/>
                <a:gd name="T12" fmla="*/ 2147483646 w 48"/>
                <a:gd name="T13" fmla="*/ 0 h 9"/>
                <a:gd name="T14" fmla="*/ 2147483646 w 48"/>
                <a:gd name="T15" fmla="*/ 0 h 9"/>
                <a:gd name="T16" fmla="*/ 2147483646 w 48"/>
                <a:gd name="T17" fmla="*/ 2147483646 h 9"/>
                <a:gd name="T18" fmla="*/ 2147483646 w 48"/>
                <a:gd name="T19" fmla="*/ 2147483646 h 9"/>
                <a:gd name="T20" fmla="*/ 2147483646 w 48"/>
                <a:gd name="T21" fmla="*/ 2147483646 h 9"/>
                <a:gd name="T22" fmla="*/ 2147483646 w 48"/>
                <a:gd name="T23" fmla="*/ 2147483646 h 9"/>
                <a:gd name="T24" fmla="*/ 2147483646 w 48"/>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9">
                  <a:moveTo>
                    <a:pt x="3" y="9"/>
                  </a:moveTo>
                  <a:lnTo>
                    <a:pt x="0" y="6"/>
                  </a:lnTo>
                  <a:lnTo>
                    <a:pt x="0" y="3"/>
                  </a:lnTo>
                  <a:lnTo>
                    <a:pt x="0" y="0"/>
                  </a:lnTo>
                  <a:lnTo>
                    <a:pt x="3" y="0"/>
                  </a:lnTo>
                  <a:lnTo>
                    <a:pt x="45" y="0"/>
                  </a:lnTo>
                  <a:lnTo>
                    <a:pt x="48" y="0"/>
                  </a:lnTo>
                  <a:lnTo>
                    <a:pt x="48" y="3"/>
                  </a:lnTo>
                  <a:lnTo>
                    <a:pt x="48" y="6"/>
                  </a:lnTo>
                  <a:lnTo>
                    <a:pt x="45"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8" name="Freeform 656">
              <a:extLst>
                <a:ext uri="{FF2B5EF4-FFF2-40B4-BE49-F238E27FC236}">
                  <a16:creationId xmlns:a16="http://schemas.microsoft.com/office/drawing/2014/main" id="{0E1DEB9E-E9A4-CE4F-9CA8-2C4AF749474F}"/>
                </a:ext>
              </a:extLst>
            </p:cNvPr>
            <p:cNvSpPr>
              <a:spLocks/>
            </p:cNvSpPr>
            <p:nvPr/>
          </p:nvSpPr>
          <p:spPr bwMode="auto">
            <a:xfrm>
              <a:off x="3166819" y="1671190"/>
              <a:ext cx="33725" cy="8936"/>
            </a:xfrm>
            <a:custGeom>
              <a:avLst/>
              <a:gdLst>
                <a:gd name="T0" fmla="*/ 2147483646 w 29"/>
                <a:gd name="T1" fmla="*/ 2147483646 h 9"/>
                <a:gd name="T2" fmla="*/ 0 w 29"/>
                <a:gd name="T3" fmla="*/ 2147483646 h 9"/>
                <a:gd name="T4" fmla="*/ 0 w 29"/>
                <a:gd name="T5" fmla="*/ 2147483646 h 9"/>
                <a:gd name="T6" fmla="*/ 0 w 29"/>
                <a:gd name="T7" fmla="*/ 2147483646 h 9"/>
                <a:gd name="T8" fmla="*/ 0 w 29"/>
                <a:gd name="T9" fmla="*/ 0 h 9"/>
                <a:gd name="T10" fmla="*/ 2147483646 w 29"/>
                <a:gd name="T11" fmla="*/ 0 h 9"/>
                <a:gd name="T12" fmla="*/ 2147483646 w 29"/>
                <a:gd name="T13" fmla="*/ 0 h 9"/>
                <a:gd name="T14" fmla="*/ 2147483646 w 29"/>
                <a:gd name="T15" fmla="*/ 0 h 9"/>
                <a:gd name="T16" fmla="*/ 2147483646 w 29"/>
                <a:gd name="T17" fmla="*/ 2147483646 h 9"/>
                <a:gd name="T18" fmla="*/ 2147483646 w 29"/>
                <a:gd name="T19" fmla="*/ 2147483646 h 9"/>
                <a:gd name="T20" fmla="*/ 2147483646 w 29"/>
                <a:gd name="T21" fmla="*/ 2147483646 h 9"/>
                <a:gd name="T22" fmla="*/ 2147483646 w 29"/>
                <a:gd name="T23" fmla="*/ 2147483646 h 9"/>
                <a:gd name="T24" fmla="*/ 2147483646 w 2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9">
                  <a:moveTo>
                    <a:pt x="3" y="9"/>
                  </a:moveTo>
                  <a:lnTo>
                    <a:pt x="0" y="6"/>
                  </a:lnTo>
                  <a:lnTo>
                    <a:pt x="0" y="3"/>
                  </a:lnTo>
                  <a:lnTo>
                    <a:pt x="0" y="0"/>
                  </a:lnTo>
                  <a:lnTo>
                    <a:pt x="3" y="0"/>
                  </a:lnTo>
                  <a:lnTo>
                    <a:pt x="25" y="0"/>
                  </a:lnTo>
                  <a:lnTo>
                    <a:pt x="29" y="0"/>
                  </a:lnTo>
                  <a:lnTo>
                    <a:pt x="29" y="3"/>
                  </a:lnTo>
                  <a:lnTo>
                    <a:pt x="29" y="6"/>
                  </a:lnTo>
                  <a:lnTo>
                    <a:pt x="25" y="9"/>
                  </a:lnTo>
                  <a:lnTo>
                    <a:pt x="3" y="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49" name="Freeform 657">
              <a:extLst>
                <a:ext uri="{FF2B5EF4-FFF2-40B4-BE49-F238E27FC236}">
                  <a16:creationId xmlns:a16="http://schemas.microsoft.com/office/drawing/2014/main" id="{07A1A1C0-0D81-254A-9F08-DB1B6ACC6ED7}"/>
                </a:ext>
              </a:extLst>
            </p:cNvPr>
            <p:cNvSpPr>
              <a:spLocks/>
            </p:cNvSpPr>
            <p:nvPr/>
          </p:nvSpPr>
          <p:spPr bwMode="auto">
            <a:xfrm>
              <a:off x="3192403" y="1625519"/>
              <a:ext cx="11629" cy="51628"/>
            </a:xfrm>
            <a:custGeom>
              <a:avLst/>
              <a:gdLst>
                <a:gd name="T0" fmla="*/ 2147483646 w 10"/>
                <a:gd name="T1" fmla="*/ 2147483646 h 52"/>
                <a:gd name="T2" fmla="*/ 2147483646 w 10"/>
                <a:gd name="T3" fmla="*/ 2147483646 h 52"/>
                <a:gd name="T4" fmla="*/ 2147483646 w 10"/>
                <a:gd name="T5" fmla="*/ 2147483646 h 52"/>
                <a:gd name="T6" fmla="*/ 2147483646 w 10"/>
                <a:gd name="T7" fmla="*/ 2147483646 h 52"/>
                <a:gd name="T8" fmla="*/ 0 w 10"/>
                <a:gd name="T9" fmla="*/ 2147483646 h 52"/>
                <a:gd name="T10" fmla="*/ 0 w 10"/>
                <a:gd name="T11" fmla="*/ 2147483646 h 52"/>
                <a:gd name="T12" fmla="*/ 0 w 10"/>
                <a:gd name="T13" fmla="*/ 2147483646 h 52"/>
                <a:gd name="T14" fmla="*/ 0 w 10"/>
                <a:gd name="T15" fmla="*/ 0 h 52"/>
                <a:gd name="T16" fmla="*/ 2147483646 w 10"/>
                <a:gd name="T17" fmla="*/ 0 h 52"/>
                <a:gd name="T18" fmla="*/ 2147483646 w 10"/>
                <a:gd name="T19" fmla="*/ 0 h 52"/>
                <a:gd name="T20" fmla="*/ 2147483646 w 10"/>
                <a:gd name="T21" fmla="*/ 0 h 52"/>
                <a:gd name="T22" fmla="*/ 2147483646 w 10"/>
                <a:gd name="T23" fmla="*/ 2147483646 h 52"/>
                <a:gd name="T24" fmla="*/ 2147483646 w 10"/>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52">
                  <a:moveTo>
                    <a:pt x="10" y="49"/>
                  </a:moveTo>
                  <a:lnTo>
                    <a:pt x="7" y="52"/>
                  </a:lnTo>
                  <a:lnTo>
                    <a:pt x="3" y="52"/>
                  </a:lnTo>
                  <a:lnTo>
                    <a:pt x="0" y="52"/>
                  </a:lnTo>
                  <a:lnTo>
                    <a:pt x="0" y="49"/>
                  </a:lnTo>
                  <a:lnTo>
                    <a:pt x="0" y="4"/>
                  </a:lnTo>
                  <a:lnTo>
                    <a:pt x="0" y="0"/>
                  </a:lnTo>
                  <a:lnTo>
                    <a:pt x="3" y="0"/>
                  </a:lnTo>
                  <a:lnTo>
                    <a:pt x="7" y="0"/>
                  </a:lnTo>
                  <a:lnTo>
                    <a:pt x="10" y="4"/>
                  </a:lnTo>
                  <a:lnTo>
                    <a:pt x="10" y="49"/>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0" name="Freeform 658">
              <a:extLst>
                <a:ext uri="{FF2B5EF4-FFF2-40B4-BE49-F238E27FC236}">
                  <a16:creationId xmlns:a16="http://schemas.microsoft.com/office/drawing/2014/main" id="{181AB11F-264B-B04C-86BA-E05320502325}"/>
                </a:ext>
              </a:extLst>
            </p:cNvPr>
            <p:cNvSpPr>
              <a:spLocks/>
            </p:cNvSpPr>
            <p:nvPr/>
          </p:nvSpPr>
          <p:spPr bwMode="auto">
            <a:xfrm>
              <a:off x="3192403" y="1625519"/>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3" y="0"/>
                  </a:lnTo>
                  <a:lnTo>
                    <a:pt x="26" y="0"/>
                  </a:lnTo>
                  <a:lnTo>
                    <a:pt x="26" y="4"/>
                  </a:lnTo>
                  <a:lnTo>
                    <a:pt x="26" y="7"/>
                  </a:lnTo>
                  <a:lnTo>
                    <a:pt x="23"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1" name="Freeform 659">
              <a:extLst>
                <a:ext uri="{FF2B5EF4-FFF2-40B4-BE49-F238E27FC236}">
                  <a16:creationId xmlns:a16="http://schemas.microsoft.com/office/drawing/2014/main" id="{A2999BEE-C25A-8B48-9BA4-218428A15735}"/>
                </a:ext>
              </a:extLst>
            </p:cNvPr>
            <p:cNvSpPr>
              <a:spLocks/>
            </p:cNvSpPr>
            <p:nvPr/>
          </p:nvSpPr>
          <p:spPr bwMode="auto">
            <a:xfrm>
              <a:off x="3215662" y="1625519"/>
              <a:ext cx="59309" cy="9928"/>
            </a:xfrm>
            <a:custGeom>
              <a:avLst/>
              <a:gdLst>
                <a:gd name="T0" fmla="*/ 2147483646 w 51"/>
                <a:gd name="T1" fmla="*/ 2147483646 h 10"/>
                <a:gd name="T2" fmla="*/ 0 w 51"/>
                <a:gd name="T3" fmla="*/ 2147483646 h 10"/>
                <a:gd name="T4" fmla="*/ 0 w 51"/>
                <a:gd name="T5" fmla="*/ 2147483646 h 10"/>
                <a:gd name="T6" fmla="*/ 0 w 51"/>
                <a:gd name="T7" fmla="*/ 2147483646 h 10"/>
                <a:gd name="T8" fmla="*/ 0 w 51"/>
                <a:gd name="T9" fmla="*/ 0 h 10"/>
                <a:gd name="T10" fmla="*/ 2147483646 w 51"/>
                <a:gd name="T11" fmla="*/ 0 h 10"/>
                <a:gd name="T12" fmla="*/ 2147483646 w 51"/>
                <a:gd name="T13" fmla="*/ 0 h 10"/>
                <a:gd name="T14" fmla="*/ 2147483646 w 51"/>
                <a:gd name="T15" fmla="*/ 0 h 10"/>
                <a:gd name="T16" fmla="*/ 2147483646 w 51"/>
                <a:gd name="T17" fmla="*/ 2147483646 h 10"/>
                <a:gd name="T18" fmla="*/ 2147483646 w 51"/>
                <a:gd name="T19" fmla="*/ 2147483646 h 10"/>
                <a:gd name="T20" fmla="*/ 2147483646 w 51"/>
                <a:gd name="T21" fmla="*/ 2147483646 h 10"/>
                <a:gd name="T22" fmla="*/ 2147483646 w 51"/>
                <a:gd name="T23" fmla="*/ 2147483646 h 10"/>
                <a:gd name="T24" fmla="*/ 2147483646 w 5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1" h="10">
                  <a:moveTo>
                    <a:pt x="3" y="10"/>
                  </a:moveTo>
                  <a:lnTo>
                    <a:pt x="0" y="7"/>
                  </a:lnTo>
                  <a:lnTo>
                    <a:pt x="0" y="4"/>
                  </a:lnTo>
                  <a:lnTo>
                    <a:pt x="0" y="0"/>
                  </a:lnTo>
                  <a:lnTo>
                    <a:pt x="3" y="0"/>
                  </a:lnTo>
                  <a:lnTo>
                    <a:pt x="48" y="0"/>
                  </a:lnTo>
                  <a:lnTo>
                    <a:pt x="51" y="0"/>
                  </a:lnTo>
                  <a:lnTo>
                    <a:pt x="51" y="4"/>
                  </a:lnTo>
                  <a:lnTo>
                    <a:pt x="51" y="7"/>
                  </a:lnTo>
                  <a:lnTo>
                    <a:pt x="48"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2" name="Freeform 660">
              <a:extLst>
                <a:ext uri="{FF2B5EF4-FFF2-40B4-BE49-F238E27FC236}">
                  <a16:creationId xmlns:a16="http://schemas.microsoft.com/office/drawing/2014/main" id="{0640E5CB-5C16-4B4A-BD35-A2B6D1AABAB4}"/>
                </a:ext>
              </a:extLst>
            </p:cNvPr>
            <p:cNvSpPr>
              <a:spLocks/>
            </p:cNvSpPr>
            <p:nvPr/>
          </p:nvSpPr>
          <p:spPr bwMode="auto">
            <a:xfrm>
              <a:off x="3267993" y="1625519"/>
              <a:ext cx="86056" cy="9928"/>
            </a:xfrm>
            <a:custGeom>
              <a:avLst/>
              <a:gdLst>
                <a:gd name="T0" fmla="*/ 2147483646 w 74"/>
                <a:gd name="T1" fmla="*/ 2147483646 h 10"/>
                <a:gd name="T2" fmla="*/ 0 w 74"/>
                <a:gd name="T3" fmla="*/ 2147483646 h 10"/>
                <a:gd name="T4" fmla="*/ 0 w 74"/>
                <a:gd name="T5" fmla="*/ 2147483646 h 10"/>
                <a:gd name="T6" fmla="*/ 0 w 74"/>
                <a:gd name="T7" fmla="*/ 2147483646 h 10"/>
                <a:gd name="T8" fmla="*/ 0 w 74"/>
                <a:gd name="T9" fmla="*/ 0 h 10"/>
                <a:gd name="T10" fmla="*/ 2147483646 w 74"/>
                <a:gd name="T11" fmla="*/ 0 h 10"/>
                <a:gd name="T12" fmla="*/ 2147483646 w 74"/>
                <a:gd name="T13" fmla="*/ 0 h 10"/>
                <a:gd name="T14" fmla="*/ 2147483646 w 74"/>
                <a:gd name="T15" fmla="*/ 0 h 10"/>
                <a:gd name="T16" fmla="*/ 2147483646 w 74"/>
                <a:gd name="T17" fmla="*/ 2147483646 h 10"/>
                <a:gd name="T18" fmla="*/ 2147483646 w 74"/>
                <a:gd name="T19" fmla="*/ 2147483646 h 10"/>
                <a:gd name="T20" fmla="*/ 2147483646 w 74"/>
                <a:gd name="T21" fmla="*/ 2147483646 h 10"/>
                <a:gd name="T22" fmla="*/ 2147483646 w 74"/>
                <a:gd name="T23" fmla="*/ 2147483646 h 10"/>
                <a:gd name="T24" fmla="*/ 2147483646 w 7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0">
                  <a:moveTo>
                    <a:pt x="3" y="10"/>
                  </a:moveTo>
                  <a:lnTo>
                    <a:pt x="0" y="7"/>
                  </a:lnTo>
                  <a:lnTo>
                    <a:pt x="0" y="4"/>
                  </a:lnTo>
                  <a:lnTo>
                    <a:pt x="0" y="0"/>
                  </a:lnTo>
                  <a:lnTo>
                    <a:pt x="3" y="0"/>
                  </a:lnTo>
                  <a:lnTo>
                    <a:pt x="71" y="0"/>
                  </a:lnTo>
                  <a:lnTo>
                    <a:pt x="74" y="0"/>
                  </a:lnTo>
                  <a:lnTo>
                    <a:pt x="74" y="4"/>
                  </a:lnTo>
                  <a:lnTo>
                    <a:pt x="74" y="7"/>
                  </a:lnTo>
                  <a:lnTo>
                    <a:pt x="71"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3" name="Freeform 661">
              <a:extLst>
                <a:ext uri="{FF2B5EF4-FFF2-40B4-BE49-F238E27FC236}">
                  <a16:creationId xmlns:a16="http://schemas.microsoft.com/office/drawing/2014/main" id="{3DF0E309-F032-184A-827A-69E4B4AED006}"/>
                </a:ext>
              </a:extLst>
            </p:cNvPr>
            <p:cNvSpPr>
              <a:spLocks/>
            </p:cNvSpPr>
            <p:nvPr/>
          </p:nvSpPr>
          <p:spPr bwMode="auto">
            <a:xfrm>
              <a:off x="3345909" y="1625519"/>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7"/>
                  </a:lnTo>
                  <a:lnTo>
                    <a:pt x="0" y="4"/>
                  </a:lnTo>
                  <a:lnTo>
                    <a:pt x="0" y="0"/>
                  </a:lnTo>
                  <a:lnTo>
                    <a:pt x="4" y="0"/>
                  </a:lnTo>
                  <a:lnTo>
                    <a:pt x="20" y="0"/>
                  </a:lnTo>
                  <a:lnTo>
                    <a:pt x="23" y="0"/>
                  </a:lnTo>
                  <a:lnTo>
                    <a:pt x="23" y="4"/>
                  </a:lnTo>
                  <a:lnTo>
                    <a:pt x="23" y="7"/>
                  </a:lnTo>
                  <a:lnTo>
                    <a:pt x="20"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4" name="Freeform 662">
              <a:extLst>
                <a:ext uri="{FF2B5EF4-FFF2-40B4-BE49-F238E27FC236}">
                  <a16:creationId xmlns:a16="http://schemas.microsoft.com/office/drawing/2014/main" id="{6BAC51BE-E559-8942-A95B-CEBD144BD99A}"/>
                </a:ext>
              </a:extLst>
            </p:cNvPr>
            <p:cNvSpPr>
              <a:spLocks/>
            </p:cNvSpPr>
            <p:nvPr/>
          </p:nvSpPr>
          <p:spPr bwMode="auto">
            <a:xfrm>
              <a:off x="3364516" y="1574884"/>
              <a:ext cx="11629" cy="57585"/>
            </a:xfrm>
            <a:custGeom>
              <a:avLst/>
              <a:gdLst>
                <a:gd name="T0" fmla="*/ 2147483646 w 10"/>
                <a:gd name="T1" fmla="*/ 2147483646 h 58"/>
                <a:gd name="T2" fmla="*/ 2147483646 w 10"/>
                <a:gd name="T3" fmla="*/ 2147483646 h 58"/>
                <a:gd name="T4" fmla="*/ 2147483646 w 10"/>
                <a:gd name="T5" fmla="*/ 2147483646 h 58"/>
                <a:gd name="T6" fmla="*/ 2147483646 w 10"/>
                <a:gd name="T7" fmla="*/ 2147483646 h 58"/>
                <a:gd name="T8" fmla="*/ 0 w 10"/>
                <a:gd name="T9" fmla="*/ 2147483646 h 58"/>
                <a:gd name="T10" fmla="*/ 0 w 10"/>
                <a:gd name="T11" fmla="*/ 2147483646 h 58"/>
                <a:gd name="T12" fmla="*/ 0 w 10"/>
                <a:gd name="T13" fmla="*/ 2147483646 h 58"/>
                <a:gd name="T14" fmla="*/ 0 w 10"/>
                <a:gd name="T15" fmla="*/ 0 h 58"/>
                <a:gd name="T16" fmla="*/ 2147483646 w 10"/>
                <a:gd name="T17" fmla="*/ 0 h 58"/>
                <a:gd name="T18" fmla="*/ 2147483646 w 10"/>
                <a:gd name="T19" fmla="*/ 0 h 58"/>
                <a:gd name="T20" fmla="*/ 2147483646 w 10"/>
                <a:gd name="T21" fmla="*/ 0 h 58"/>
                <a:gd name="T22" fmla="*/ 2147483646 w 10"/>
                <a:gd name="T23" fmla="*/ 2147483646 h 58"/>
                <a:gd name="T24" fmla="*/ 2147483646 w 10"/>
                <a:gd name="T25" fmla="*/ 214748364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58">
                  <a:moveTo>
                    <a:pt x="10" y="55"/>
                  </a:moveTo>
                  <a:lnTo>
                    <a:pt x="7" y="58"/>
                  </a:lnTo>
                  <a:lnTo>
                    <a:pt x="4" y="58"/>
                  </a:lnTo>
                  <a:lnTo>
                    <a:pt x="0" y="58"/>
                  </a:lnTo>
                  <a:lnTo>
                    <a:pt x="0" y="55"/>
                  </a:lnTo>
                  <a:lnTo>
                    <a:pt x="0" y="3"/>
                  </a:lnTo>
                  <a:lnTo>
                    <a:pt x="0" y="0"/>
                  </a:lnTo>
                  <a:lnTo>
                    <a:pt x="4" y="0"/>
                  </a:lnTo>
                  <a:lnTo>
                    <a:pt x="7" y="0"/>
                  </a:lnTo>
                  <a:lnTo>
                    <a:pt x="10" y="3"/>
                  </a:lnTo>
                  <a:lnTo>
                    <a:pt x="10" y="55"/>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5" name="Freeform 663">
              <a:extLst>
                <a:ext uri="{FF2B5EF4-FFF2-40B4-BE49-F238E27FC236}">
                  <a16:creationId xmlns:a16="http://schemas.microsoft.com/office/drawing/2014/main" id="{731F30DD-47A2-A94C-B309-5C865CF96512}"/>
                </a:ext>
              </a:extLst>
            </p:cNvPr>
            <p:cNvSpPr>
              <a:spLocks/>
            </p:cNvSpPr>
            <p:nvPr/>
          </p:nvSpPr>
          <p:spPr bwMode="auto">
            <a:xfrm>
              <a:off x="3364516" y="1574884"/>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4" y="10"/>
                  </a:moveTo>
                  <a:lnTo>
                    <a:pt x="0" y="6"/>
                  </a:lnTo>
                  <a:lnTo>
                    <a:pt x="0" y="3"/>
                  </a:lnTo>
                  <a:lnTo>
                    <a:pt x="0" y="0"/>
                  </a:lnTo>
                  <a:lnTo>
                    <a:pt x="4" y="0"/>
                  </a:lnTo>
                  <a:lnTo>
                    <a:pt x="26" y="0"/>
                  </a:lnTo>
                  <a:lnTo>
                    <a:pt x="29" y="0"/>
                  </a:lnTo>
                  <a:lnTo>
                    <a:pt x="29" y="3"/>
                  </a:lnTo>
                  <a:lnTo>
                    <a:pt x="29" y="6"/>
                  </a:lnTo>
                  <a:lnTo>
                    <a:pt x="26"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6" name="Freeform 664">
              <a:extLst>
                <a:ext uri="{FF2B5EF4-FFF2-40B4-BE49-F238E27FC236}">
                  <a16:creationId xmlns:a16="http://schemas.microsoft.com/office/drawing/2014/main" id="{79AFBBA9-63B3-5B44-BF61-B9B5598118E7}"/>
                </a:ext>
              </a:extLst>
            </p:cNvPr>
            <p:cNvSpPr>
              <a:spLocks/>
            </p:cNvSpPr>
            <p:nvPr/>
          </p:nvSpPr>
          <p:spPr bwMode="auto">
            <a:xfrm>
              <a:off x="3391263" y="1574884"/>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3" y="10"/>
                  </a:moveTo>
                  <a:lnTo>
                    <a:pt x="0" y="6"/>
                  </a:lnTo>
                  <a:lnTo>
                    <a:pt x="0" y="3"/>
                  </a:lnTo>
                  <a:lnTo>
                    <a:pt x="0" y="0"/>
                  </a:lnTo>
                  <a:lnTo>
                    <a:pt x="3" y="0"/>
                  </a:lnTo>
                  <a:lnTo>
                    <a:pt x="19" y="0"/>
                  </a:lnTo>
                  <a:lnTo>
                    <a:pt x="23" y="0"/>
                  </a:lnTo>
                  <a:lnTo>
                    <a:pt x="23" y="3"/>
                  </a:lnTo>
                  <a:lnTo>
                    <a:pt x="23" y="6"/>
                  </a:lnTo>
                  <a:lnTo>
                    <a:pt x="1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7" name="Freeform 665">
              <a:extLst>
                <a:ext uri="{FF2B5EF4-FFF2-40B4-BE49-F238E27FC236}">
                  <a16:creationId xmlns:a16="http://schemas.microsoft.com/office/drawing/2014/main" id="{DCCC9724-6EE4-384C-AF44-2C5E8CB9ED41}"/>
                </a:ext>
              </a:extLst>
            </p:cNvPr>
            <p:cNvSpPr>
              <a:spLocks/>
            </p:cNvSpPr>
            <p:nvPr/>
          </p:nvSpPr>
          <p:spPr bwMode="auto">
            <a:xfrm>
              <a:off x="3409869" y="1574884"/>
              <a:ext cx="94197" cy="9928"/>
            </a:xfrm>
            <a:custGeom>
              <a:avLst/>
              <a:gdLst>
                <a:gd name="T0" fmla="*/ 2147483646 w 81"/>
                <a:gd name="T1" fmla="*/ 2147483646 h 10"/>
                <a:gd name="T2" fmla="*/ 0 w 81"/>
                <a:gd name="T3" fmla="*/ 2147483646 h 10"/>
                <a:gd name="T4" fmla="*/ 0 w 81"/>
                <a:gd name="T5" fmla="*/ 2147483646 h 10"/>
                <a:gd name="T6" fmla="*/ 0 w 81"/>
                <a:gd name="T7" fmla="*/ 2147483646 h 10"/>
                <a:gd name="T8" fmla="*/ 0 w 81"/>
                <a:gd name="T9" fmla="*/ 0 h 10"/>
                <a:gd name="T10" fmla="*/ 2147483646 w 81"/>
                <a:gd name="T11" fmla="*/ 0 h 10"/>
                <a:gd name="T12" fmla="*/ 2147483646 w 81"/>
                <a:gd name="T13" fmla="*/ 0 h 10"/>
                <a:gd name="T14" fmla="*/ 2147483646 w 81"/>
                <a:gd name="T15" fmla="*/ 0 h 10"/>
                <a:gd name="T16" fmla="*/ 2147483646 w 81"/>
                <a:gd name="T17" fmla="*/ 2147483646 h 10"/>
                <a:gd name="T18" fmla="*/ 2147483646 w 81"/>
                <a:gd name="T19" fmla="*/ 2147483646 h 10"/>
                <a:gd name="T20" fmla="*/ 2147483646 w 81"/>
                <a:gd name="T21" fmla="*/ 2147483646 h 10"/>
                <a:gd name="T22" fmla="*/ 2147483646 w 81"/>
                <a:gd name="T23" fmla="*/ 2147483646 h 10"/>
                <a:gd name="T24" fmla="*/ 2147483646 w 8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1" h="10">
                  <a:moveTo>
                    <a:pt x="3" y="10"/>
                  </a:moveTo>
                  <a:lnTo>
                    <a:pt x="0" y="6"/>
                  </a:lnTo>
                  <a:lnTo>
                    <a:pt x="0" y="3"/>
                  </a:lnTo>
                  <a:lnTo>
                    <a:pt x="0" y="0"/>
                  </a:lnTo>
                  <a:lnTo>
                    <a:pt x="3" y="0"/>
                  </a:lnTo>
                  <a:lnTo>
                    <a:pt x="78" y="0"/>
                  </a:lnTo>
                  <a:lnTo>
                    <a:pt x="81" y="0"/>
                  </a:lnTo>
                  <a:lnTo>
                    <a:pt x="81" y="3"/>
                  </a:lnTo>
                  <a:lnTo>
                    <a:pt x="81" y="6"/>
                  </a:lnTo>
                  <a:lnTo>
                    <a:pt x="78"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8" name="Freeform 666">
              <a:extLst>
                <a:ext uri="{FF2B5EF4-FFF2-40B4-BE49-F238E27FC236}">
                  <a16:creationId xmlns:a16="http://schemas.microsoft.com/office/drawing/2014/main" id="{8FB619D7-D362-CC4C-A5C7-B53D10C6FF27}"/>
                </a:ext>
              </a:extLst>
            </p:cNvPr>
            <p:cNvSpPr>
              <a:spLocks/>
            </p:cNvSpPr>
            <p:nvPr/>
          </p:nvSpPr>
          <p:spPr bwMode="auto">
            <a:xfrm>
              <a:off x="3495926" y="1510349"/>
              <a:ext cx="11629" cy="70492"/>
            </a:xfrm>
            <a:custGeom>
              <a:avLst/>
              <a:gdLst>
                <a:gd name="T0" fmla="*/ 2147483646 w 10"/>
                <a:gd name="T1" fmla="*/ 2147483646 h 71"/>
                <a:gd name="T2" fmla="*/ 2147483646 w 10"/>
                <a:gd name="T3" fmla="*/ 2147483646 h 71"/>
                <a:gd name="T4" fmla="*/ 2147483646 w 10"/>
                <a:gd name="T5" fmla="*/ 2147483646 h 71"/>
                <a:gd name="T6" fmla="*/ 2147483646 w 10"/>
                <a:gd name="T7" fmla="*/ 2147483646 h 71"/>
                <a:gd name="T8" fmla="*/ 0 w 10"/>
                <a:gd name="T9" fmla="*/ 2147483646 h 71"/>
                <a:gd name="T10" fmla="*/ 0 w 10"/>
                <a:gd name="T11" fmla="*/ 2147483646 h 71"/>
                <a:gd name="T12" fmla="*/ 0 w 10"/>
                <a:gd name="T13" fmla="*/ 2147483646 h 71"/>
                <a:gd name="T14" fmla="*/ 0 w 10"/>
                <a:gd name="T15" fmla="*/ 0 h 71"/>
                <a:gd name="T16" fmla="*/ 2147483646 w 10"/>
                <a:gd name="T17" fmla="*/ 0 h 71"/>
                <a:gd name="T18" fmla="*/ 2147483646 w 10"/>
                <a:gd name="T19" fmla="*/ 0 h 71"/>
                <a:gd name="T20" fmla="*/ 2147483646 w 10"/>
                <a:gd name="T21" fmla="*/ 0 h 71"/>
                <a:gd name="T22" fmla="*/ 2147483646 w 10"/>
                <a:gd name="T23" fmla="*/ 2147483646 h 71"/>
                <a:gd name="T24" fmla="*/ 2147483646 w 10"/>
                <a:gd name="T25" fmla="*/ 2147483646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71">
                  <a:moveTo>
                    <a:pt x="10" y="68"/>
                  </a:moveTo>
                  <a:lnTo>
                    <a:pt x="7" y="71"/>
                  </a:lnTo>
                  <a:lnTo>
                    <a:pt x="4" y="71"/>
                  </a:lnTo>
                  <a:lnTo>
                    <a:pt x="0" y="71"/>
                  </a:lnTo>
                  <a:lnTo>
                    <a:pt x="0" y="68"/>
                  </a:lnTo>
                  <a:lnTo>
                    <a:pt x="0" y="4"/>
                  </a:lnTo>
                  <a:lnTo>
                    <a:pt x="0" y="0"/>
                  </a:lnTo>
                  <a:lnTo>
                    <a:pt x="4" y="0"/>
                  </a:lnTo>
                  <a:lnTo>
                    <a:pt x="7" y="0"/>
                  </a:lnTo>
                  <a:lnTo>
                    <a:pt x="10" y="4"/>
                  </a:lnTo>
                  <a:lnTo>
                    <a:pt x="10" y="68"/>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59" name="Freeform 667">
              <a:extLst>
                <a:ext uri="{FF2B5EF4-FFF2-40B4-BE49-F238E27FC236}">
                  <a16:creationId xmlns:a16="http://schemas.microsoft.com/office/drawing/2014/main" id="{5CFFE17C-E43F-E841-884C-9B694E18D36B}"/>
                </a:ext>
              </a:extLst>
            </p:cNvPr>
            <p:cNvSpPr>
              <a:spLocks/>
            </p:cNvSpPr>
            <p:nvPr/>
          </p:nvSpPr>
          <p:spPr bwMode="auto">
            <a:xfrm>
              <a:off x="3495926" y="1510349"/>
              <a:ext cx="251191" cy="9928"/>
            </a:xfrm>
            <a:custGeom>
              <a:avLst/>
              <a:gdLst>
                <a:gd name="T0" fmla="*/ 2147483646 w 216"/>
                <a:gd name="T1" fmla="*/ 2147483646 h 10"/>
                <a:gd name="T2" fmla="*/ 0 w 216"/>
                <a:gd name="T3" fmla="*/ 2147483646 h 10"/>
                <a:gd name="T4" fmla="*/ 0 w 216"/>
                <a:gd name="T5" fmla="*/ 2147483646 h 10"/>
                <a:gd name="T6" fmla="*/ 0 w 216"/>
                <a:gd name="T7" fmla="*/ 2147483646 h 10"/>
                <a:gd name="T8" fmla="*/ 0 w 216"/>
                <a:gd name="T9" fmla="*/ 0 h 10"/>
                <a:gd name="T10" fmla="*/ 2147483646 w 216"/>
                <a:gd name="T11" fmla="*/ 0 h 10"/>
                <a:gd name="T12" fmla="*/ 2147483646 w 216"/>
                <a:gd name="T13" fmla="*/ 0 h 10"/>
                <a:gd name="T14" fmla="*/ 2147483646 w 216"/>
                <a:gd name="T15" fmla="*/ 0 h 10"/>
                <a:gd name="T16" fmla="*/ 2147483646 w 216"/>
                <a:gd name="T17" fmla="*/ 2147483646 h 10"/>
                <a:gd name="T18" fmla="*/ 2147483646 w 216"/>
                <a:gd name="T19" fmla="*/ 2147483646 h 10"/>
                <a:gd name="T20" fmla="*/ 2147483646 w 216"/>
                <a:gd name="T21" fmla="*/ 2147483646 h 10"/>
                <a:gd name="T22" fmla="*/ 2147483646 w 216"/>
                <a:gd name="T23" fmla="*/ 2147483646 h 10"/>
                <a:gd name="T24" fmla="*/ 2147483646 w 2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6" h="10">
                  <a:moveTo>
                    <a:pt x="4" y="10"/>
                  </a:moveTo>
                  <a:lnTo>
                    <a:pt x="0" y="7"/>
                  </a:lnTo>
                  <a:lnTo>
                    <a:pt x="0" y="4"/>
                  </a:lnTo>
                  <a:lnTo>
                    <a:pt x="0" y="0"/>
                  </a:lnTo>
                  <a:lnTo>
                    <a:pt x="4" y="0"/>
                  </a:lnTo>
                  <a:lnTo>
                    <a:pt x="213" y="0"/>
                  </a:lnTo>
                  <a:lnTo>
                    <a:pt x="216" y="0"/>
                  </a:lnTo>
                  <a:lnTo>
                    <a:pt x="216" y="4"/>
                  </a:lnTo>
                  <a:lnTo>
                    <a:pt x="216" y="7"/>
                  </a:lnTo>
                  <a:lnTo>
                    <a:pt x="213" y="10"/>
                  </a:lnTo>
                  <a:lnTo>
                    <a:pt x="4"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0" name="Freeform 668">
              <a:extLst>
                <a:ext uri="{FF2B5EF4-FFF2-40B4-BE49-F238E27FC236}">
                  <a16:creationId xmlns:a16="http://schemas.microsoft.com/office/drawing/2014/main" id="{2A33482F-BD3F-FF49-A402-1AD622EEA8DA}"/>
                </a:ext>
              </a:extLst>
            </p:cNvPr>
            <p:cNvSpPr>
              <a:spLocks/>
            </p:cNvSpPr>
            <p:nvPr/>
          </p:nvSpPr>
          <p:spPr bwMode="auto">
            <a:xfrm>
              <a:off x="3740139" y="1510349"/>
              <a:ext cx="141876" cy="9928"/>
            </a:xfrm>
            <a:custGeom>
              <a:avLst/>
              <a:gdLst>
                <a:gd name="T0" fmla="*/ 2147483646 w 122"/>
                <a:gd name="T1" fmla="*/ 2147483646 h 10"/>
                <a:gd name="T2" fmla="*/ 0 w 122"/>
                <a:gd name="T3" fmla="*/ 2147483646 h 10"/>
                <a:gd name="T4" fmla="*/ 0 w 122"/>
                <a:gd name="T5" fmla="*/ 2147483646 h 10"/>
                <a:gd name="T6" fmla="*/ 0 w 122"/>
                <a:gd name="T7" fmla="*/ 2147483646 h 10"/>
                <a:gd name="T8" fmla="*/ 0 w 122"/>
                <a:gd name="T9" fmla="*/ 0 h 10"/>
                <a:gd name="T10" fmla="*/ 2147483646 w 122"/>
                <a:gd name="T11" fmla="*/ 0 h 10"/>
                <a:gd name="T12" fmla="*/ 2147483646 w 122"/>
                <a:gd name="T13" fmla="*/ 0 h 10"/>
                <a:gd name="T14" fmla="*/ 2147483646 w 122"/>
                <a:gd name="T15" fmla="*/ 0 h 10"/>
                <a:gd name="T16" fmla="*/ 2147483646 w 122"/>
                <a:gd name="T17" fmla="*/ 2147483646 h 10"/>
                <a:gd name="T18" fmla="*/ 2147483646 w 122"/>
                <a:gd name="T19" fmla="*/ 2147483646 h 10"/>
                <a:gd name="T20" fmla="*/ 2147483646 w 122"/>
                <a:gd name="T21" fmla="*/ 2147483646 h 10"/>
                <a:gd name="T22" fmla="*/ 2147483646 w 122"/>
                <a:gd name="T23" fmla="*/ 2147483646 h 10"/>
                <a:gd name="T24" fmla="*/ 2147483646 w 1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2" h="10">
                  <a:moveTo>
                    <a:pt x="3" y="10"/>
                  </a:moveTo>
                  <a:lnTo>
                    <a:pt x="0" y="7"/>
                  </a:lnTo>
                  <a:lnTo>
                    <a:pt x="0" y="4"/>
                  </a:lnTo>
                  <a:lnTo>
                    <a:pt x="0" y="0"/>
                  </a:lnTo>
                  <a:lnTo>
                    <a:pt x="3" y="0"/>
                  </a:lnTo>
                  <a:lnTo>
                    <a:pt x="119" y="0"/>
                  </a:lnTo>
                  <a:lnTo>
                    <a:pt x="122" y="0"/>
                  </a:lnTo>
                  <a:lnTo>
                    <a:pt x="122" y="4"/>
                  </a:lnTo>
                  <a:lnTo>
                    <a:pt x="122" y="7"/>
                  </a:lnTo>
                  <a:lnTo>
                    <a:pt x="119"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1" name="Freeform 669">
              <a:extLst>
                <a:ext uri="{FF2B5EF4-FFF2-40B4-BE49-F238E27FC236}">
                  <a16:creationId xmlns:a16="http://schemas.microsoft.com/office/drawing/2014/main" id="{ADD05A87-EDA9-894D-9DB4-1D6D1C46F015}"/>
                </a:ext>
              </a:extLst>
            </p:cNvPr>
            <p:cNvSpPr>
              <a:spLocks/>
            </p:cNvSpPr>
            <p:nvPr/>
          </p:nvSpPr>
          <p:spPr bwMode="auto">
            <a:xfrm>
              <a:off x="3875038" y="1510349"/>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2" y="0"/>
                  </a:lnTo>
                  <a:lnTo>
                    <a:pt x="26" y="0"/>
                  </a:lnTo>
                  <a:lnTo>
                    <a:pt x="26" y="4"/>
                  </a:lnTo>
                  <a:lnTo>
                    <a:pt x="26" y="7"/>
                  </a:lnTo>
                  <a:lnTo>
                    <a:pt x="22"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2" name="Freeform 670">
              <a:extLst>
                <a:ext uri="{FF2B5EF4-FFF2-40B4-BE49-F238E27FC236}">
                  <a16:creationId xmlns:a16="http://schemas.microsoft.com/office/drawing/2014/main" id="{B524FF1B-2E27-6D42-8913-2559BE0A016B}"/>
                </a:ext>
              </a:extLst>
            </p:cNvPr>
            <p:cNvSpPr>
              <a:spLocks/>
            </p:cNvSpPr>
            <p:nvPr/>
          </p:nvSpPr>
          <p:spPr bwMode="auto">
            <a:xfrm>
              <a:off x="3897134" y="1510349"/>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3" y="10"/>
                  </a:moveTo>
                  <a:lnTo>
                    <a:pt x="0" y="7"/>
                  </a:lnTo>
                  <a:lnTo>
                    <a:pt x="0" y="4"/>
                  </a:lnTo>
                  <a:lnTo>
                    <a:pt x="0" y="0"/>
                  </a:lnTo>
                  <a:lnTo>
                    <a:pt x="3" y="0"/>
                  </a:lnTo>
                  <a:lnTo>
                    <a:pt x="32" y="0"/>
                  </a:lnTo>
                  <a:lnTo>
                    <a:pt x="36" y="0"/>
                  </a:lnTo>
                  <a:lnTo>
                    <a:pt x="36" y="4"/>
                  </a:lnTo>
                  <a:lnTo>
                    <a:pt x="36" y="7"/>
                  </a:lnTo>
                  <a:lnTo>
                    <a:pt x="32"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3" name="Freeform 671">
              <a:extLst>
                <a:ext uri="{FF2B5EF4-FFF2-40B4-BE49-F238E27FC236}">
                  <a16:creationId xmlns:a16="http://schemas.microsoft.com/office/drawing/2014/main" id="{AE8901C1-A34B-C840-A36C-32E765417677}"/>
                </a:ext>
              </a:extLst>
            </p:cNvPr>
            <p:cNvSpPr>
              <a:spLocks/>
            </p:cNvSpPr>
            <p:nvPr/>
          </p:nvSpPr>
          <p:spPr bwMode="auto">
            <a:xfrm>
              <a:off x="3930858" y="15103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4" name="Freeform 672">
              <a:extLst>
                <a:ext uri="{FF2B5EF4-FFF2-40B4-BE49-F238E27FC236}">
                  <a16:creationId xmlns:a16="http://schemas.microsoft.com/office/drawing/2014/main" id="{9569872E-6431-324C-BC76-3ED40210691E}"/>
                </a:ext>
              </a:extLst>
            </p:cNvPr>
            <p:cNvSpPr>
              <a:spLocks/>
            </p:cNvSpPr>
            <p:nvPr/>
          </p:nvSpPr>
          <p:spPr bwMode="auto">
            <a:xfrm>
              <a:off x="3938999" y="1510349"/>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4"/>
                  </a:lnTo>
                  <a:lnTo>
                    <a:pt x="0" y="0"/>
                  </a:lnTo>
                  <a:lnTo>
                    <a:pt x="3" y="0"/>
                  </a:lnTo>
                  <a:lnTo>
                    <a:pt x="25" y="0"/>
                  </a:lnTo>
                  <a:lnTo>
                    <a:pt x="29" y="0"/>
                  </a:lnTo>
                  <a:lnTo>
                    <a:pt x="29" y="4"/>
                  </a:lnTo>
                  <a:lnTo>
                    <a:pt x="29" y="7"/>
                  </a:lnTo>
                  <a:lnTo>
                    <a:pt x="25"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5" name="Freeform 673">
              <a:extLst>
                <a:ext uri="{FF2B5EF4-FFF2-40B4-BE49-F238E27FC236}">
                  <a16:creationId xmlns:a16="http://schemas.microsoft.com/office/drawing/2014/main" id="{48068858-6C1D-D94E-9E4A-77FE63D44F6C}"/>
                </a:ext>
              </a:extLst>
            </p:cNvPr>
            <p:cNvSpPr>
              <a:spLocks/>
            </p:cNvSpPr>
            <p:nvPr/>
          </p:nvSpPr>
          <p:spPr bwMode="auto">
            <a:xfrm>
              <a:off x="3964583" y="1510349"/>
              <a:ext cx="150017" cy="9928"/>
            </a:xfrm>
            <a:custGeom>
              <a:avLst/>
              <a:gdLst>
                <a:gd name="T0" fmla="*/ 2147483646 w 129"/>
                <a:gd name="T1" fmla="*/ 2147483646 h 10"/>
                <a:gd name="T2" fmla="*/ 0 w 129"/>
                <a:gd name="T3" fmla="*/ 2147483646 h 10"/>
                <a:gd name="T4" fmla="*/ 0 w 129"/>
                <a:gd name="T5" fmla="*/ 2147483646 h 10"/>
                <a:gd name="T6" fmla="*/ 0 w 129"/>
                <a:gd name="T7" fmla="*/ 2147483646 h 10"/>
                <a:gd name="T8" fmla="*/ 0 w 129"/>
                <a:gd name="T9" fmla="*/ 0 h 10"/>
                <a:gd name="T10" fmla="*/ 2147483646 w 129"/>
                <a:gd name="T11" fmla="*/ 0 h 10"/>
                <a:gd name="T12" fmla="*/ 2147483646 w 129"/>
                <a:gd name="T13" fmla="*/ 0 h 10"/>
                <a:gd name="T14" fmla="*/ 2147483646 w 129"/>
                <a:gd name="T15" fmla="*/ 0 h 10"/>
                <a:gd name="T16" fmla="*/ 2147483646 w 129"/>
                <a:gd name="T17" fmla="*/ 2147483646 h 10"/>
                <a:gd name="T18" fmla="*/ 2147483646 w 129"/>
                <a:gd name="T19" fmla="*/ 2147483646 h 10"/>
                <a:gd name="T20" fmla="*/ 2147483646 w 129"/>
                <a:gd name="T21" fmla="*/ 2147483646 h 10"/>
                <a:gd name="T22" fmla="*/ 2147483646 w 129"/>
                <a:gd name="T23" fmla="*/ 2147483646 h 10"/>
                <a:gd name="T24" fmla="*/ 2147483646 w 1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9" h="10">
                  <a:moveTo>
                    <a:pt x="3" y="10"/>
                  </a:moveTo>
                  <a:lnTo>
                    <a:pt x="0" y="7"/>
                  </a:lnTo>
                  <a:lnTo>
                    <a:pt x="0" y="4"/>
                  </a:lnTo>
                  <a:lnTo>
                    <a:pt x="0" y="0"/>
                  </a:lnTo>
                  <a:lnTo>
                    <a:pt x="3" y="0"/>
                  </a:lnTo>
                  <a:lnTo>
                    <a:pt x="126" y="0"/>
                  </a:lnTo>
                  <a:lnTo>
                    <a:pt x="129" y="0"/>
                  </a:lnTo>
                  <a:lnTo>
                    <a:pt x="129" y="4"/>
                  </a:lnTo>
                  <a:lnTo>
                    <a:pt x="129" y="7"/>
                  </a:lnTo>
                  <a:lnTo>
                    <a:pt x="126"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6" name="Freeform 674">
              <a:extLst>
                <a:ext uri="{FF2B5EF4-FFF2-40B4-BE49-F238E27FC236}">
                  <a16:creationId xmlns:a16="http://schemas.microsoft.com/office/drawing/2014/main" id="{88A8CC24-E837-BA49-AE34-E284AA9C2A7F}"/>
                </a:ext>
              </a:extLst>
            </p:cNvPr>
            <p:cNvSpPr>
              <a:spLocks/>
            </p:cNvSpPr>
            <p:nvPr/>
          </p:nvSpPr>
          <p:spPr bwMode="auto">
            <a:xfrm>
              <a:off x="4107622" y="1510349"/>
              <a:ext cx="104663" cy="9928"/>
            </a:xfrm>
            <a:custGeom>
              <a:avLst/>
              <a:gdLst>
                <a:gd name="T0" fmla="*/ 2147483646 w 90"/>
                <a:gd name="T1" fmla="*/ 2147483646 h 10"/>
                <a:gd name="T2" fmla="*/ 0 w 90"/>
                <a:gd name="T3" fmla="*/ 2147483646 h 10"/>
                <a:gd name="T4" fmla="*/ 0 w 90"/>
                <a:gd name="T5" fmla="*/ 2147483646 h 10"/>
                <a:gd name="T6" fmla="*/ 0 w 90"/>
                <a:gd name="T7" fmla="*/ 2147483646 h 10"/>
                <a:gd name="T8" fmla="*/ 0 w 90"/>
                <a:gd name="T9" fmla="*/ 0 h 10"/>
                <a:gd name="T10" fmla="*/ 2147483646 w 90"/>
                <a:gd name="T11" fmla="*/ 0 h 10"/>
                <a:gd name="T12" fmla="*/ 2147483646 w 90"/>
                <a:gd name="T13" fmla="*/ 0 h 10"/>
                <a:gd name="T14" fmla="*/ 2147483646 w 90"/>
                <a:gd name="T15" fmla="*/ 0 h 10"/>
                <a:gd name="T16" fmla="*/ 2147483646 w 90"/>
                <a:gd name="T17" fmla="*/ 2147483646 h 10"/>
                <a:gd name="T18" fmla="*/ 2147483646 w 90"/>
                <a:gd name="T19" fmla="*/ 2147483646 h 10"/>
                <a:gd name="T20" fmla="*/ 2147483646 w 90"/>
                <a:gd name="T21" fmla="*/ 2147483646 h 10"/>
                <a:gd name="T22" fmla="*/ 2147483646 w 90"/>
                <a:gd name="T23" fmla="*/ 2147483646 h 10"/>
                <a:gd name="T24" fmla="*/ 2147483646 w 9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
                  <a:moveTo>
                    <a:pt x="3" y="10"/>
                  </a:moveTo>
                  <a:lnTo>
                    <a:pt x="0" y="7"/>
                  </a:lnTo>
                  <a:lnTo>
                    <a:pt x="0" y="4"/>
                  </a:lnTo>
                  <a:lnTo>
                    <a:pt x="0" y="0"/>
                  </a:lnTo>
                  <a:lnTo>
                    <a:pt x="3" y="0"/>
                  </a:lnTo>
                  <a:lnTo>
                    <a:pt x="87" y="0"/>
                  </a:lnTo>
                  <a:lnTo>
                    <a:pt x="90" y="0"/>
                  </a:lnTo>
                  <a:lnTo>
                    <a:pt x="90" y="4"/>
                  </a:lnTo>
                  <a:lnTo>
                    <a:pt x="90" y="7"/>
                  </a:lnTo>
                  <a:lnTo>
                    <a:pt x="87" y="10"/>
                  </a:lnTo>
                  <a:lnTo>
                    <a:pt x="3" y="10"/>
                  </a:lnTo>
                  <a:close/>
                </a:path>
              </a:pathLst>
            </a:custGeom>
            <a:solidFill>
              <a:srgbClr val="0080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7" name="Freeform 677">
              <a:extLst>
                <a:ext uri="{FF2B5EF4-FFF2-40B4-BE49-F238E27FC236}">
                  <a16:creationId xmlns:a16="http://schemas.microsoft.com/office/drawing/2014/main" id="{DA891700-3096-D448-A6CE-C1FA1EB0C448}"/>
                </a:ext>
              </a:extLst>
            </p:cNvPr>
            <p:cNvSpPr>
              <a:spLocks/>
            </p:cNvSpPr>
            <p:nvPr/>
          </p:nvSpPr>
          <p:spPr bwMode="auto">
            <a:xfrm>
              <a:off x="921217" y="2836788"/>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4" y="10"/>
                  </a:moveTo>
                  <a:lnTo>
                    <a:pt x="0" y="7"/>
                  </a:lnTo>
                  <a:lnTo>
                    <a:pt x="0" y="3"/>
                  </a:lnTo>
                  <a:lnTo>
                    <a:pt x="0" y="0"/>
                  </a:lnTo>
                  <a:lnTo>
                    <a:pt x="4" y="0"/>
                  </a:lnTo>
                  <a:lnTo>
                    <a:pt x="39" y="0"/>
                  </a:lnTo>
                  <a:lnTo>
                    <a:pt x="42" y="0"/>
                  </a:lnTo>
                  <a:lnTo>
                    <a:pt x="42" y="3"/>
                  </a:lnTo>
                  <a:lnTo>
                    <a:pt x="42" y="7"/>
                  </a:lnTo>
                  <a:lnTo>
                    <a:pt x="39"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8" name="Freeform 678">
              <a:extLst>
                <a:ext uri="{FF2B5EF4-FFF2-40B4-BE49-F238E27FC236}">
                  <a16:creationId xmlns:a16="http://schemas.microsoft.com/office/drawing/2014/main" id="{6D13F737-7E87-3842-893D-3D94DA657AE7}"/>
                </a:ext>
              </a:extLst>
            </p:cNvPr>
            <p:cNvSpPr>
              <a:spLocks/>
            </p:cNvSpPr>
            <p:nvPr/>
          </p:nvSpPr>
          <p:spPr bwMode="auto">
            <a:xfrm>
              <a:off x="963082" y="2827852"/>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2"/>
                  </a:moveTo>
                  <a:lnTo>
                    <a:pt x="6" y="16"/>
                  </a:lnTo>
                  <a:lnTo>
                    <a:pt x="3" y="16"/>
                  </a:lnTo>
                  <a:lnTo>
                    <a:pt x="0" y="16"/>
                  </a:lnTo>
                  <a:lnTo>
                    <a:pt x="0" y="12"/>
                  </a:lnTo>
                  <a:lnTo>
                    <a:pt x="0" y="3"/>
                  </a:lnTo>
                  <a:lnTo>
                    <a:pt x="0" y="0"/>
                  </a:lnTo>
                  <a:lnTo>
                    <a:pt x="3" y="0"/>
                  </a:lnTo>
                  <a:lnTo>
                    <a:pt x="6" y="0"/>
                  </a:lnTo>
                  <a:lnTo>
                    <a:pt x="9" y="3"/>
                  </a:lnTo>
                  <a:lnTo>
                    <a:pt x="9" y="1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69" name="Freeform 679">
              <a:extLst>
                <a:ext uri="{FF2B5EF4-FFF2-40B4-BE49-F238E27FC236}">
                  <a16:creationId xmlns:a16="http://schemas.microsoft.com/office/drawing/2014/main" id="{F61B5A31-C2F3-0047-8A2F-924D37A24A0C}"/>
                </a:ext>
              </a:extLst>
            </p:cNvPr>
            <p:cNvSpPr>
              <a:spLocks/>
            </p:cNvSpPr>
            <p:nvPr/>
          </p:nvSpPr>
          <p:spPr bwMode="auto">
            <a:xfrm>
              <a:off x="963082" y="2827852"/>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2" y="0"/>
                  </a:lnTo>
                  <a:lnTo>
                    <a:pt x="26" y="0"/>
                  </a:lnTo>
                  <a:lnTo>
                    <a:pt x="26" y="3"/>
                  </a:lnTo>
                  <a:lnTo>
                    <a:pt x="26" y="6"/>
                  </a:lnTo>
                  <a:lnTo>
                    <a:pt x="2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0" name="Freeform 680">
              <a:extLst>
                <a:ext uri="{FF2B5EF4-FFF2-40B4-BE49-F238E27FC236}">
                  <a16:creationId xmlns:a16="http://schemas.microsoft.com/office/drawing/2014/main" id="{11556556-7689-5B45-862C-23F36362C9CF}"/>
                </a:ext>
              </a:extLst>
            </p:cNvPr>
            <p:cNvSpPr>
              <a:spLocks/>
            </p:cNvSpPr>
            <p:nvPr/>
          </p:nvSpPr>
          <p:spPr bwMode="auto">
            <a:xfrm>
              <a:off x="985178" y="282090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1" name="Freeform 681">
              <a:extLst>
                <a:ext uri="{FF2B5EF4-FFF2-40B4-BE49-F238E27FC236}">
                  <a16:creationId xmlns:a16="http://schemas.microsoft.com/office/drawing/2014/main" id="{FD26A360-2096-5248-BB8D-2AD835035BF2}"/>
                </a:ext>
              </a:extLst>
            </p:cNvPr>
            <p:cNvSpPr>
              <a:spLocks/>
            </p:cNvSpPr>
            <p:nvPr/>
          </p:nvSpPr>
          <p:spPr bwMode="auto">
            <a:xfrm>
              <a:off x="985178" y="282090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2" name="Freeform 682">
              <a:extLst>
                <a:ext uri="{FF2B5EF4-FFF2-40B4-BE49-F238E27FC236}">
                  <a16:creationId xmlns:a16="http://schemas.microsoft.com/office/drawing/2014/main" id="{7A6AE1EB-2B75-AC46-9BE5-2DF093E419D3}"/>
                </a:ext>
              </a:extLst>
            </p:cNvPr>
            <p:cNvSpPr>
              <a:spLocks/>
            </p:cNvSpPr>
            <p:nvPr/>
          </p:nvSpPr>
          <p:spPr bwMode="auto">
            <a:xfrm>
              <a:off x="988667" y="281494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3" name="Freeform 683">
              <a:extLst>
                <a:ext uri="{FF2B5EF4-FFF2-40B4-BE49-F238E27FC236}">
                  <a16:creationId xmlns:a16="http://schemas.microsoft.com/office/drawing/2014/main" id="{4F6B9E5C-C624-3445-B50B-E3843A26DCBF}"/>
                </a:ext>
              </a:extLst>
            </p:cNvPr>
            <p:cNvSpPr>
              <a:spLocks/>
            </p:cNvSpPr>
            <p:nvPr/>
          </p:nvSpPr>
          <p:spPr bwMode="auto">
            <a:xfrm>
              <a:off x="988667" y="280501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4" name="Freeform 684">
              <a:extLst>
                <a:ext uri="{FF2B5EF4-FFF2-40B4-BE49-F238E27FC236}">
                  <a16:creationId xmlns:a16="http://schemas.microsoft.com/office/drawing/2014/main" id="{829F0586-4C25-BF4B-8304-58E3695DAB9B}"/>
                </a:ext>
              </a:extLst>
            </p:cNvPr>
            <p:cNvSpPr>
              <a:spLocks/>
            </p:cNvSpPr>
            <p:nvPr/>
          </p:nvSpPr>
          <p:spPr bwMode="auto">
            <a:xfrm>
              <a:off x="988667" y="2799060"/>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7" y="12"/>
                  </a:lnTo>
                  <a:lnTo>
                    <a:pt x="4" y="12"/>
                  </a:lnTo>
                  <a:lnTo>
                    <a:pt x="0" y="12"/>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5" name="Freeform 685">
              <a:extLst>
                <a:ext uri="{FF2B5EF4-FFF2-40B4-BE49-F238E27FC236}">
                  <a16:creationId xmlns:a16="http://schemas.microsoft.com/office/drawing/2014/main" id="{EA361079-DA20-6B4B-A193-9D1D16D15162}"/>
                </a:ext>
              </a:extLst>
            </p:cNvPr>
            <p:cNvSpPr>
              <a:spLocks/>
            </p:cNvSpPr>
            <p:nvPr/>
          </p:nvSpPr>
          <p:spPr bwMode="auto">
            <a:xfrm>
              <a:off x="988667" y="2799060"/>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6" name="Freeform 686">
              <a:extLst>
                <a:ext uri="{FF2B5EF4-FFF2-40B4-BE49-F238E27FC236}">
                  <a16:creationId xmlns:a16="http://schemas.microsoft.com/office/drawing/2014/main" id="{A1B6CF0B-35A5-E748-A6AB-9474789D42F1}"/>
                </a:ext>
              </a:extLst>
            </p:cNvPr>
            <p:cNvSpPr>
              <a:spLocks/>
            </p:cNvSpPr>
            <p:nvPr/>
          </p:nvSpPr>
          <p:spPr bwMode="auto">
            <a:xfrm>
              <a:off x="993318" y="2792110"/>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7" name="Freeform 687">
              <a:extLst>
                <a:ext uri="{FF2B5EF4-FFF2-40B4-BE49-F238E27FC236}">
                  <a16:creationId xmlns:a16="http://schemas.microsoft.com/office/drawing/2014/main" id="{5F1150B9-6912-554D-B200-C3A7CA5BCCC8}"/>
                </a:ext>
              </a:extLst>
            </p:cNvPr>
            <p:cNvSpPr>
              <a:spLocks/>
            </p:cNvSpPr>
            <p:nvPr/>
          </p:nvSpPr>
          <p:spPr bwMode="auto">
            <a:xfrm>
              <a:off x="993318" y="279211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8" name="Freeform 688">
              <a:extLst>
                <a:ext uri="{FF2B5EF4-FFF2-40B4-BE49-F238E27FC236}">
                  <a16:creationId xmlns:a16="http://schemas.microsoft.com/office/drawing/2014/main" id="{F5C2B2DC-1F3A-CB46-BD36-86BEB37F614B}"/>
                </a:ext>
              </a:extLst>
            </p:cNvPr>
            <p:cNvSpPr>
              <a:spLocks/>
            </p:cNvSpPr>
            <p:nvPr/>
          </p:nvSpPr>
          <p:spPr bwMode="auto">
            <a:xfrm>
              <a:off x="1007273" y="2782182"/>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79" name="Freeform 689">
              <a:extLst>
                <a:ext uri="{FF2B5EF4-FFF2-40B4-BE49-F238E27FC236}">
                  <a16:creationId xmlns:a16="http://schemas.microsoft.com/office/drawing/2014/main" id="{6BAB97AC-797F-CA42-B7BE-A0A9F36022DE}"/>
                </a:ext>
              </a:extLst>
            </p:cNvPr>
            <p:cNvSpPr>
              <a:spLocks/>
            </p:cNvSpPr>
            <p:nvPr/>
          </p:nvSpPr>
          <p:spPr bwMode="auto">
            <a:xfrm>
              <a:off x="1007273" y="277622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0" name="Freeform 690">
              <a:extLst>
                <a:ext uri="{FF2B5EF4-FFF2-40B4-BE49-F238E27FC236}">
                  <a16:creationId xmlns:a16="http://schemas.microsoft.com/office/drawing/2014/main" id="{77EAA15C-4509-7C4F-93F0-5DE9ACFBD9A3}"/>
                </a:ext>
              </a:extLst>
            </p:cNvPr>
            <p:cNvSpPr>
              <a:spLocks/>
            </p:cNvSpPr>
            <p:nvPr/>
          </p:nvSpPr>
          <p:spPr bwMode="auto">
            <a:xfrm>
              <a:off x="1007273" y="27762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1" name="Freeform 691">
              <a:extLst>
                <a:ext uri="{FF2B5EF4-FFF2-40B4-BE49-F238E27FC236}">
                  <a16:creationId xmlns:a16="http://schemas.microsoft.com/office/drawing/2014/main" id="{D96ABCA4-961B-EE48-8D6C-D2DAB940D465}"/>
                </a:ext>
              </a:extLst>
            </p:cNvPr>
            <p:cNvSpPr>
              <a:spLocks/>
            </p:cNvSpPr>
            <p:nvPr/>
          </p:nvSpPr>
          <p:spPr bwMode="auto">
            <a:xfrm>
              <a:off x="1011925" y="2769274"/>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2" name="Freeform 692">
              <a:extLst>
                <a:ext uri="{FF2B5EF4-FFF2-40B4-BE49-F238E27FC236}">
                  <a16:creationId xmlns:a16="http://schemas.microsoft.com/office/drawing/2014/main" id="{554F4EDA-2F77-6A4F-8769-EB3173703B14}"/>
                </a:ext>
              </a:extLst>
            </p:cNvPr>
            <p:cNvSpPr>
              <a:spLocks/>
            </p:cNvSpPr>
            <p:nvPr/>
          </p:nvSpPr>
          <p:spPr bwMode="auto">
            <a:xfrm>
              <a:off x="1011925" y="2769274"/>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3" name="Freeform 693">
              <a:extLst>
                <a:ext uri="{FF2B5EF4-FFF2-40B4-BE49-F238E27FC236}">
                  <a16:creationId xmlns:a16="http://schemas.microsoft.com/office/drawing/2014/main" id="{3F11E1E8-D238-024C-8090-2DBB37768AD2}"/>
                </a:ext>
              </a:extLst>
            </p:cNvPr>
            <p:cNvSpPr>
              <a:spLocks/>
            </p:cNvSpPr>
            <p:nvPr/>
          </p:nvSpPr>
          <p:spPr bwMode="auto">
            <a:xfrm>
              <a:off x="1015414" y="276033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4" name="Freeform 694">
              <a:extLst>
                <a:ext uri="{FF2B5EF4-FFF2-40B4-BE49-F238E27FC236}">
                  <a16:creationId xmlns:a16="http://schemas.microsoft.com/office/drawing/2014/main" id="{ECE45BF1-E72E-6D4A-BE31-FA044C069831}"/>
                </a:ext>
              </a:extLst>
            </p:cNvPr>
            <p:cNvSpPr>
              <a:spLocks/>
            </p:cNvSpPr>
            <p:nvPr/>
          </p:nvSpPr>
          <p:spPr bwMode="auto">
            <a:xfrm>
              <a:off x="1015414" y="2760339"/>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5" name="Freeform 695">
              <a:extLst>
                <a:ext uri="{FF2B5EF4-FFF2-40B4-BE49-F238E27FC236}">
                  <a16:creationId xmlns:a16="http://schemas.microsoft.com/office/drawing/2014/main" id="{1BAEF121-56E2-374E-BA98-D03B1D6720B1}"/>
                </a:ext>
              </a:extLst>
            </p:cNvPr>
            <p:cNvSpPr>
              <a:spLocks/>
            </p:cNvSpPr>
            <p:nvPr/>
          </p:nvSpPr>
          <p:spPr bwMode="auto">
            <a:xfrm>
              <a:off x="1018903" y="2747432"/>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6" name="Freeform 696">
              <a:extLst>
                <a:ext uri="{FF2B5EF4-FFF2-40B4-BE49-F238E27FC236}">
                  <a16:creationId xmlns:a16="http://schemas.microsoft.com/office/drawing/2014/main" id="{D6CA7596-1B93-EF46-BE45-F1324AA5ADE4}"/>
                </a:ext>
              </a:extLst>
            </p:cNvPr>
            <p:cNvSpPr>
              <a:spLocks/>
            </p:cNvSpPr>
            <p:nvPr/>
          </p:nvSpPr>
          <p:spPr bwMode="auto">
            <a:xfrm>
              <a:off x="1018903" y="273750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7" name="Freeform 697">
              <a:extLst>
                <a:ext uri="{FF2B5EF4-FFF2-40B4-BE49-F238E27FC236}">
                  <a16:creationId xmlns:a16="http://schemas.microsoft.com/office/drawing/2014/main" id="{6E6EADBC-C14A-F143-9731-712F8254F8CA}"/>
                </a:ext>
              </a:extLst>
            </p:cNvPr>
            <p:cNvSpPr>
              <a:spLocks/>
            </p:cNvSpPr>
            <p:nvPr/>
          </p:nvSpPr>
          <p:spPr bwMode="auto">
            <a:xfrm>
              <a:off x="1018903" y="2737503"/>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8" name="Freeform 698">
              <a:extLst>
                <a:ext uri="{FF2B5EF4-FFF2-40B4-BE49-F238E27FC236}">
                  <a16:creationId xmlns:a16="http://schemas.microsoft.com/office/drawing/2014/main" id="{F766CA13-9A5F-3945-96B9-ADC75954A376}"/>
                </a:ext>
              </a:extLst>
            </p:cNvPr>
            <p:cNvSpPr>
              <a:spLocks/>
            </p:cNvSpPr>
            <p:nvPr/>
          </p:nvSpPr>
          <p:spPr bwMode="auto">
            <a:xfrm>
              <a:off x="1034021" y="273154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6" y="13"/>
                  </a:lnTo>
                  <a:lnTo>
                    <a:pt x="3" y="13"/>
                  </a:lnTo>
                  <a:lnTo>
                    <a:pt x="0" y="13"/>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89" name="Freeform 699">
              <a:extLst>
                <a:ext uri="{FF2B5EF4-FFF2-40B4-BE49-F238E27FC236}">
                  <a16:creationId xmlns:a16="http://schemas.microsoft.com/office/drawing/2014/main" id="{D26230AE-365F-7648-AEDE-AB714004E559}"/>
                </a:ext>
              </a:extLst>
            </p:cNvPr>
            <p:cNvSpPr>
              <a:spLocks/>
            </p:cNvSpPr>
            <p:nvPr/>
          </p:nvSpPr>
          <p:spPr bwMode="auto">
            <a:xfrm>
              <a:off x="1034021" y="273154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0" name="Freeform 700">
              <a:extLst>
                <a:ext uri="{FF2B5EF4-FFF2-40B4-BE49-F238E27FC236}">
                  <a16:creationId xmlns:a16="http://schemas.microsoft.com/office/drawing/2014/main" id="{77703CEA-100A-A74A-AD9B-978186611405}"/>
                </a:ext>
              </a:extLst>
            </p:cNvPr>
            <p:cNvSpPr>
              <a:spLocks/>
            </p:cNvSpPr>
            <p:nvPr/>
          </p:nvSpPr>
          <p:spPr bwMode="auto">
            <a:xfrm>
              <a:off x="1037509" y="272459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4"/>
                  </a:lnTo>
                  <a:lnTo>
                    <a:pt x="0" y="0"/>
                  </a:lnTo>
                  <a:lnTo>
                    <a:pt x="3"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1" name="Freeform 701">
              <a:extLst>
                <a:ext uri="{FF2B5EF4-FFF2-40B4-BE49-F238E27FC236}">
                  <a16:creationId xmlns:a16="http://schemas.microsoft.com/office/drawing/2014/main" id="{151E43C6-4E81-DE4F-BE1B-AB20C6DB7FC6}"/>
                </a:ext>
              </a:extLst>
            </p:cNvPr>
            <p:cNvSpPr>
              <a:spLocks/>
            </p:cNvSpPr>
            <p:nvPr/>
          </p:nvSpPr>
          <p:spPr bwMode="auto">
            <a:xfrm>
              <a:off x="1037509" y="272459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2" name="Freeform 702">
              <a:extLst>
                <a:ext uri="{FF2B5EF4-FFF2-40B4-BE49-F238E27FC236}">
                  <a16:creationId xmlns:a16="http://schemas.microsoft.com/office/drawing/2014/main" id="{F26388B3-06BF-4349-9690-C2D8D3CBB084}"/>
                </a:ext>
              </a:extLst>
            </p:cNvPr>
            <p:cNvSpPr>
              <a:spLocks/>
            </p:cNvSpPr>
            <p:nvPr/>
          </p:nvSpPr>
          <p:spPr bwMode="auto">
            <a:xfrm>
              <a:off x="1040999" y="271566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3" name="Freeform 703">
              <a:extLst>
                <a:ext uri="{FF2B5EF4-FFF2-40B4-BE49-F238E27FC236}">
                  <a16:creationId xmlns:a16="http://schemas.microsoft.com/office/drawing/2014/main" id="{5D340832-52D3-D344-8F2B-10AD2333C69C}"/>
                </a:ext>
              </a:extLst>
            </p:cNvPr>
            <p:cNvSpPr>
              <a:spLocks/>
            </p:cNvSpPr>
            <p:nvPr/>
          </p:nvSpPr>
          <p:spPr bwMode="auto">
            <a:xfrm>
              <a:off x="1040999" y="271566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4" name="Freeform 704">
              <a:extLst>
                <a:ext uri="{FF2B5EF4-FFF2-40B4-BE49-F238E27FC236}">
                  <a16:creationId xmlns:a16="http://schemas.microsoft.com/office/drawing/2014/main" id="{E8C104AF-C02A-A340-907E-20B8CEAA2E31}"/>
                </a:ext>
              </a:extLst>
            </p:cNvPr>
            <p:cNvSpPr>
              <a:spLocks/>
            </p:cNvSpPr>
            <p:nvPr/>
          </p:nvSpPr>
          <p:spPr bwMode="auto">
            <a:xfrm>
              <a:off x="1049139" y="270871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5" name="Freeform 705">
              <a:extLst>
                <a:ext uri="{FF2B5EF4-FFF2-40B4-BE49-F238E27FC236}">
                  <a16:creationId xmlns:a16="http://schemas.microsoft.com/office/drawing/2014/main" id="{A020B7B2-DCCD-9844-9C83-87958086C580}"/>
                </a:ext>
              </a:extLst>
            </p:cNvPr>
            <p:cNvSpPr>
              <a:spLocks/>
            </p:cNvSpPr>
            <p:nvPr/>
          </p:nvSpPr>
          <p:spPr bwMode="auto">
            <a:xfrm>
              <a:off x="1049139" y="270871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6" name="Freeform 706">
              <a:extLst>
                <a:ext uri="{FF2B5EF4-FFF2-40B4-BE49-F238E27FC236}">
                  <a16:creationId xmlns:a16="http://schemas.microsoft.com/office/drawing/2014/main" id="{73065D36-DE1D-AD4B-9E8F-C0BFE1F270E7}"/>
                </a:ext>
              </a:extLst>
            </p:cNvPr>
            <p:cNvSpPr>
              <a:spLocks/>
            </p:cNvSpPr>
            <p:nvPr/>
          </p:nvSpPr>
          <p:spPr bwMode="auto">
            <a:xfrm>
              <a:off x="1052628" y="270275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7" name="Freeform 707">
              <a:extLst>
                <a:ext uri="{FF2B5EF4-FFF2-40B4-BE49-F238E27FC236}">
                  <a16:creationId xmlns:a16="http://schemas.microsoft.com/office/drawing/2014/main" id="{937547B1-807F-974A-8AAF-DFC2159C616C}"/>
                </a:ext>
              </a:extLst>
            </p:cNvPr>
            <p:cNvSpPr>
              <a:spLocks/>
            </p:cNvSpPr>
            <p:nvPr/>
          </p:nvSpPr>
          <p:spPr bwMode="auto">
            <a:xfrm>
              <a:off x="1052628" y="270275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8" name="Freeform 708">
              <a:extLst>
                <a:ext uri="{FF2B5EF4-FFF2-40B4-BE49-F238E27FC236}">
                  <a16:creationId xmlns:a16="http://schemas.microsoft.com/office/drawing/2014/main" id="{60B78EB4-3343-A44F-9109-7A3718E83404}"/>
                </a:ext>
              </a:extLst>
            </p:cNvPr>
            <p:cNvSpPr>
              <a:spLocks/>
            </p:cNvSpPr>
            <p:nvPr/>
          </p:nvSpPr>
          <p:spPr bwMode="auto">
            <a:xfrm>
              <a:off x="1060768" y="2692826"/>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699" name="Freeform 709">
              <a:extLst>
                <a:ext uri="{FF2B5EF4-FFF2-40B4-BE49-F238E27FC236}">
                  <a16:creationId xmlns:a16="http://schemas.microsoft.com/office/drawing/2014/main" id="{CF75FC78-54A7-C545-A227-8CD2CEAC6D49}"/>
                </a:ext>
              </a:extLst>
            </p:cNvPr>
            <p:cNvSpPr>
              <a:spLocks/>
            </p:cNvSpPr>
            <p:nvPr/>
          </p:nvSpPr>
          <p:spPr bwMode="auto">
            <a:xfrm>
              <a:off x="1060768" y="2692826"/>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6"/>
                  </a:lnTo>
                  <a:lnTo>
                    <a:pt x="0" y="3"/>
                  </a:lnTo>
                  <a:lnTo>
                    <a:pt x="0" y="0"/>
                  </a:lnTo>
                  <a:lnTo>
                    <a:pt x="3" y="0"/>
                  </a:lnTo>
                  <a:lnTo>
                    <a:pt x="9" y="0"/>
                  </a:lnTo>
                  <a:lnTo>
                    <a:pt x="12" y="0"/>
                  </a:lnTo>
                  <a:lnTo>
                    <a:pt x="12" y="3"/>
                  </a:lnTo>
                  <a:lnTo>
                    <a:pt x="12"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0" name="Freeform 710">
              <a:extLst>
                <a:ext uri="{FF2B5EF4-FFF2-40B4-BE49-F238E27FC236}">
                  <a16:creationId xmlns:a16="http://schemas.microsoft.com/office/drawing/2014/main" id="{418158AC-8EE1-D14D-B33B-1470675C6DEB}"/>
                </a:ext>
              </a:extLst>
            </p:cNvPr>
            <p:cNvSpPr>
              <a:spLocks/>
            </p:cNvSpPr>
            <p:nvPr/>
          </p:nvSpPr>
          <p:spPr bwMode="auto">
            <a:xfrm>
              <a:off x="1067745" y="2686869"/>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1" name="Freeform 711">
              <a:extLst>
                <a:ext uri="{FF2B5EF4-FFF2-40B4-BE49-F238E27FC236}">
                  <a16:creationId xmlns:a16="http://schemas.microsoft.com/office/drawing/2014/main" id="{7C13C6F2-CA0E-8C45-B1E9-61D8C3682CE2}"/>
                </a:ext>
              </a:extLst>
            </p:cNvPr>
            <p:cNvSpPr>
              <a:spLocks/>
            </p:cNvSpPr>
            <p:nvPr/>
          </p:nvSpPr>
          <p:spPr bwMode="auto">
            <a:xfrm>
              <a:off x="1067745" y="2686869"/>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2" name="Freeform 712">
              <a:extLst>
                <a:ext uri="{FF2B5EF4-FFF2-40B4-BE49-F238E27FC236}">
                  <a16:creationId xmlns:a16="http://schemas.microsoft.com/office/drawing/2014/main" id="{FF14A45B-46A5-4F47-BDCB-2A5B5D10E88B}"/>
                </a:ext>
              </a:extLst>
            </p:cNvPr>
            <p:cNvSpPr>
              <a:spLocks/>
            </p:cNvSpPr>
            <p:nvPr/>
          </p:nvSpPr>
          <p:spPr bwMode="auto">
            <a:xfrm>
              <a:off x="1074723" y="267694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3" name="Freeform 713">
              <a:extLst>
                <a:ext uri="{FF2B5EF4-FFF2-40B4-BE49-F238E27FC236}">
                  <a16:creationId xmlns:a16="http://schemas.microsoft.com/office/drawing/2014/main" id="{FB508667-119D-9A42-B19B-70EDC60D3814}"/>
                </a:ext>
              </a:extLst>
            </p:cNvPr>
            <p:cNvSpPr>
              <a:spLocks/>
            </p:cNvSpPr>
            <p:nvPr/>
          </p:nvSpPr>
          <p:spPr bwMode="auto">
            <a:xfrm>
              <a:off x="1074723" y="266999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4" name="Freeform 714">
              <a:extLst>
                <a:ext uri="{FF2B5EF4-FFF2-40B4-BE49-F238E27FC236}">
                  <a16:creationId xmlns:a16="http://schemas.microsoft.com/office/drawing/2014/main" id="{C0846F9E-4B0D-9143-BC6D-9E80C09D1B18}"/>
                </a:ext>
              </a:extLst>
            </p:cNvPr>
            <p:cNvSpPr>
              <a:spLocks/>
            </p:cNvSpPr>
            <p:nvPr/>
          </p:nvSpPr>
          <p:spPr bwMode="auto">
            <a:xfrm>
              <a:off x="1074723" y="266403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5" name="Freeform 715">
              <a:extLst>
                <a:ext uri="{FF2B5EF4-FFF2-40B4-BE49-F238E27FC236}">
                  <a16:creationId xmlns:a16="http://schemas.microsoft.com/office/drawing/2014/main" id="{AFC96260-E2E2-2D41-807D-E5C85E944D09}"/>
                </a:ext>
              </a:extLst>
            </p:cNvPr>
            <p:cNvSpPr>
              <a:spLocks/>
            </p:cNvSpPr>
            <p:nvPr/>
          </p:nvSpPr>
          <p:spPr bwMode="auto">
            <a:xfrm>
              <a:off x="1074723" y="266403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6" name="Freeform 716">
              <a:extLst>
                <a:ext uri="{FF2B5EF4-FFF2-40B4-BE49-F238E27FC236}">
                  <a16:creationId xmlns:a16="http://schemas.microsoft.com/office/drawing/2014/main" id="{1D0A90ED-9E3C-0046-A13B-F129631FA84A}"/>
                </a:ext>
              </a:extLst>
            </p:cNvPr>
            <p:cNvSpPr>
              <a:spLocks/>
            </p:cNvSpPr>
            <p:nvPr/>
          </p:nvSpPr>
          <p:spPr bwMode="auto">
            <a:xfrm>
              <a:off x="1082864" y="265410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7" name="Freeform 717">
              <a:extLst>
                <a:ext uri="{FF2B5EF4-FFF2-40B4-BE49-F238E27FC236}">
                  <a16:creationId xmlns:a16="http://schemas.microsoft.com/office/drawing/2014/main" id="{19F00750-DEF4-2D46-BF61-F9AE74300921}"/>
                </a:ext>
              </a:extLst>
            </p:cNvPr>
            <p:cNvSpPr>
              <a:spLocks/>
            </p:cNvSpPr>
            <p:nvPr/>
          </p:nvSpPr>
          <p:spPr bwMode="auto">
            <a:xfrm>
              <a:off x="1082864" y="264814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8" name="Freeform 718">
              <a:extLst>
                <a:ext uri="{FF2B5EF4-FFF2-40B4-BE49-F238E27FC236}">
                  <a16:creationId xmlns:a16="http://schemas.microsoft.com/office/drawing/2014/main" id="{9B4440DC-54FF-464C-85A6-67E63654F01A}"/>
                </a:ext>
              </a:extLst>
            </p:cNvPr>
            <p:cNvSpPr>
              <a:spLocks/>
            </p:cNvSpPr>
            <p:nvPr/>
          </p:nvSpPr>
          <p:spPr bwMode="auto">
            <a:xfrm>
              <a:off x="1082864" y="264814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09" name="Freeform 719">
              <a:extLst>
                <a:ext uri="{FF2B5EF4-FFF2-40B4-BE49-F238E27FC236}">
                  <a16:creationId xmlns:a16="http://schemas.microsoft.com/office/drawing/2014/main" id="{BD64FE8E-DB25-4C4B-9AAC-8B99745C893C}"/>
                </a:ext>
              </a:extLst>
            </p:cNvPr>
            <p:cNvSpPr>
              <a:spLocks/>
            </p:cNvSpPr>
            <p:nvPr/>
          </p:nvSpPr>
          <p:spPr bwMode="auto">
            <a:xfrm>
              <a:off x="1089841" y="264119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0" name="Freeform 720">
              <a:extLst>
                <a:ext uri="{FF2B5EF4-FFF2-40B4-BE49-F238E27FC236}">
                  <a16:creationId xmlns:a16="http://schemas.microsoft.com/office/drawing/2014/main" id="{33471248-A078-CF47-8A6E-5B4EBE31B69B}"/>
                </a:ext>
              </a:extLst>
            </p:cNvPr>
            <p:cNvSpPr>
              <a:spLocks/>
            </p:cNvSpPr>
            <p:nvPr/>
          </p:nvSpPr>
          <p:spPr bwMode="auto">
            <a:xfrm>
              <a:off x="1089841" y="264119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1" name="Freeform 721">
              <a:extLst>
                <a:ext uri="{FF2B5EF4-FFF2-40B4-BE49-F238E27FC236}">
                  <a16:creationId xmlns:a16="http://schemas.microsoft.com/office/drawing/2014/main" id="{5364A030-8B4E-5D4F-AF07-DDBFE050781A}"/>
                </a:ext>
              </a:extLst>
            </p:cNvPr>
            <p:cNvSpPr>
              <a:spLocks/>
            </p:cNvSpPr>
            <p:nvPr/>
          </p:nvSpPr>
          <p:spPr bwMode="auto">
            <a:xfrm>
              <a:off x="1094493" y="2632262"/>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2" name="Freeform 722">
              <a:extLst>
                <a:ext uri="{FF2B5EF4-FFF2-40B4-BE49-F238E27FC236}">
                  <a16:creationId xmlns:a16="http://schemas.microsoft.com/office/drawing/2014/main" id="{3E5488F1-BC9C-8544-843A-FEC145A449A8}"/>
                </a:ext>
              </a:extLst>
            </p:cNvPr>
            <p:cNvSpPr>
              <a:spLocks/>
            </p:cNvSpPr>
            <p:nvPr/>
          </p:nvSpPr>
          <p:spPr bwMode="auto">
            <a:xfrm>
              <a:off x="1094493" y="263226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2" y="0"/>
                  </a:lnTo>
                  <a:lnTo>
                    <a:pt x="16" y="0"/>
                  </a:lnTo>
                  <a:lnTo>
                    <a:pt x="16" y="3"/>
                  </a:lnTo>
                  <a:lnTo>
                    <a:pt x="16" y="6"/>
                  </a:lnTo>
                  <a:lnTo>
                    <a:pt x="1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3" name="Freeform 723">
              <a:extLst>
                <a:ext uri="{FF2B5EF4-FFF2-40B4-BE49-F238E27FC236}">
                  <a16:creationId xmlns:a16="http://schemas.microsoft.com/office/drawing/2014/main" id="{AE10BFB9-E0CD-0D46-9FAE-B134DEA537EB}"/>
                </a:ext>
              </a:extLst>
            </p:cNvPr>
            <p:cNvSpPr>
              <a:spLocks/>
            </p:cNvSpPr>
            <p:nvPr/>
          </p:nvSpPr>
          <p:spPr bwMode="auto">
            <a:xfrm>
              <a:off x="1104959" y="262531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4" name="Freeform 724">
              <a:extLst>
                <a:ext uri="{FF2B5EF4-FFF2-40B4-BE49-F238E27FC236}">
                  <a16:creationId xmlns:a16="http://schemas.microsoft.com/office/drawing/2014/main" id="{C4AEE7F4-F669-BC4B-B996-85FC51D3F43A}"/>
                </a:ext>
              </a:extLst>
            </p:cNvPr>
            <p:cNvSpPr>
              <a:spLocks/>
            </p:cNvSpPr>
            <p:nvPr/>
          </p:nvSpPr>
          <p:spPr bwMode="auto">
            <a:xfrm>
              <a:off x="1104959" y="262531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5" name="Freeform 725">
              <a:extLst>
                <a:ext uri="{FF2B5EF4-FFF2-40B4-BE49-F238E27FC236}">
                  <a16:creationId xmlns:a16="http://schemas.microsoft.com/office/drawing/2014/main" id="{9DABD1F5-92E4-5C49-96BE-4222CE08571D}"/>
                </a:ext>
              </a:extLst>
            </p:cNvPr>
            <p:cNvSpPr>
              <a:spLocks/>
            </p:cNvSpPr>
            <p:nvPr/>
          </p:nvSpPr>
          <p:spPr bwMode="auto">
            <a:xfrm>
              <a:off x="1113100" y="2619355"/>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6" name="Freeform 726">
              <a:extLst>
                <a:ext uri="{FF2B5EF4-FFF2-40B4-BE49-F238E27FC236}">
                  <a16:creationId xmlns:a16="http://schemas.microsoft.com/office/drawing/2014/main" id="{48D03B5B-54B9-8940-9248-872D6395972E}"/>
                </a:ext>
              </a:extLst>
            </p:cNvPr>
            <p:cNvSpPr>
              <a:spLocks/>
            </p:cNvSpPr>
            <p:nvPr/>
          </p:nvSpPr>
          <p:spPr bwMode="auto">
            <a:xfrm>
              <a:off x="1113100" y="2619355"/>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9" y="0"/>
                  </a:lnTo>
                  <a:lnTo>
                    <a:pt x="13" y="0"/>
                  </a:lnTo>
                  <a:lnTo>
                    <a:pt x="13" y="3"/>
                  </a:lnTo>
                  <a:lnTo>
                    <a:pt x="13" y="6"/>
                  </a:lnTo>
                  <a:lnTo>
                    <a:pt x="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7" name="Freeform 727">
              <a:extLst>
                <a:ext uri="{FF2B5EF4-FFF2-40B4-BE49-F238E27FC236}">
                  <a16:creationId xmlns:a16="http://schemas.microsoft.com/office/drawing/2014/main" id="{7D84D1AD-C24E-4044-BB5A-4859FD1D1B5C}"/>
                </a:ext>
              </a:extLst>
            </p:cNvPr>
            <p:cNvSpPr>
              <a:spLocks/>
            </p:cNvSpPr>
            <p:nvPr/>
          </p:nvSpPr>
          <p:spPr bwMode="auto">
            <a:xfrm>
              <a:off x="1120077" y="260942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8" name="Freeform 728">
              <a:extLst>
                <a:ext uri="{FF2B5EF4-FFF2-40B4-BE49-F238E27FC236}">
                  <a16:creationId xmlns:a16="http://schemas.microsoft.com/office/drawing/2014/main" id="{61F11B60-7B05-F64D-B382-AFAA77672705}"/>
                </a:ext>
              </a:extLst>
            </p:cNvPr>
            <p:cNvSpPr>
              <a:spLocks/>
            </p:cNvSpPr>
            <p:nvPr/>
          </p:nvSpPr>
          <p:spPr bwMode="auto">
            <a:xfrm>
              <a:off x="1120077" y="2609427"/>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3" y="10"/>
                  </a:moveTo>
                  <a:lnTo>
                    <a:pt x="0" y="7"/>
                  </a:lnTo>
                  <a:lnTo>
                    <a:pt x="0" y="3"/>
                  </a:lnTo>
                  <a:lnTo>
                    <a:pt x="0" y="0"/>
                  </a:lnTo>
                  <a:lnTo>
                    <a:pt x="3" y="0"/>
                  </a:lnTo>
                  <a:lnTo>
                    <a:pt x="19" y="0"/>
                  </a:lnTo>
                  <a:lnTo>
                    <a:pt x="23" y="0"/>
                  </a:lnTo>
                  <a:lnTo>
                    <a:pt x="23" y="3"/>
                  </a:lnTo>
                  <a:lnTo>
                    <a:pt x="23" y="7"/>
                  </a:lnTo>
                  <a:lnTo>
                    <a:pt x="1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19" name="Freeform 729">
              <a:extLst>
                <a:ext uri="{FF2B5EF4-FFF2-40B4-BE49-F238E27FC236}">
                  <a16:creationId xmlns:a16="http://schemas.microsoft.com/office/drawing/2014/main" id="{FB596FD8-CE37-C443-BC63-DB5F337CE84A}"/>
                </a:ext>
              </a:extLst>
            </p:cNvPr>
            <p:cNvSpPr>
              <a:spLocks/>
            </p:cNvSpPr>
            <p:nvPr/>
          </p:nvSpPr>
          <p:spPr bwMode="auto">
            <a:xfrm>
              <a:off x="1138684" y="260347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0" name="Freeform 730">
              <a:extLst>
                <a:ext uri="{FF2B5EF4-FFF2-40B4-BE49-F238E27FC236}">
                  <a16:creationId xmlns:a16="http://schemas.microsoft.com/office/drawing/2014/main" id="{DAC58D72-891A-394C-9A98-E48A8B087ACA}"/>
                </a:ext>
              </a:extLst>
            </p:cNvPr>
            <p:cNvSpPr>
              <a:spLocks/>
            </p:cNvSpPr>
            <p:nvPr/>
          </p:nvSpPr>
          <p:spPr bwMode="auto">
            <a:xfrm>
              <a:off x="1138684" y="259652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1" name="Freeform 731">
              <a:extLst>
                <a:ext uri="{FF2B5EF4-FFF2-40B4-BE49-F238E27FC236}">
                  <a16:creationId xmlns:a16="http://schemas.microsoft.com/office/drawing/2014/main" id="{163C54DF-FDB8-4E45-9A2C-4B7B1EEA93B4}"/>
                </a:ext>
              </a:extLst>
            </p:cNvPr>
            <p:cNvSpPr>
              <a:spLocks/>
            </p:cNvSpPr>
            <p:nvPr/>
          </p:nvSpPr>
          <p:spPr bwMode="auto">
            <a:xfrm>
              <a:off x="1138684" y="258758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2" name="Freeform 732">
              <a:extLst>
                <a:ext uri="{FF2B5EF4-FFF2-40B4-BE49-F238E27FC236}">
                  <a16:creationId xmlns:a16="http://schemas.microsoft.com/office/drawing/2014/main" id="{E62DE2FD-1258-BA47-AE0F-2DA336FB6227}"/>
                </a:ext>
              </a:extLst>
            </p:cNvPr>
            <p:cNvSpPr>
              <a:spLocks/>
            </p:cNvSpPr>
            <p:nvPr/>
          </p:nvSpPr>
          <p:spPr bwMode="auto">
            <a:xfrm>
              <a:off x="1138684" y="2580634"/>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3" name="Freeform 733">
              <a:extLst>
                <a:ext uri="{FF2B5EF4-FFF2-40B4-BE49-F238E27FC236}">
                  <a16:creationId xmlns:a16="http://schemas.microsoft.com/office/drawing/2014/main" id="{6D2BC3F4-C906-E749-8493-A9AD7634B4A2}"/>
                </a:ext>
              </a:extLst>
            </p:cNvPr>
            <p:cNvSpPr>
              <a:spLocks/>
            </p:cNvSpPr>
            <p:nvPr/>
          </p:nvSpPr>
          <p:spPr bwMode="auto">
            <a:xfrm>
              <a:off x="1138684" y="257467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3" y="13"/>
                  </a:lnTo>
                  <a:lnTo>
                    <a:pt x="0" y="13"/>
                  </a:lnTo>
                  <a:lnTo>
                    <a:pt x="0" y="9"/>
                  </a:lnTo>
                  <a:lnTo>
                    <a:pt x="0" y="3"/>
                  </a:lnTo>
                  <a:lnTo>
                    <a:pt x="0" y="0"/>
                  </a:lnTo>
                  <a:lnTo>
                    <a:pt x="3"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4" name="Freeform 734">
              <a:extLst>
                <a:ext uri="{FF2B5EF4-FFF2-40B4-BE49-F238E27FC236}">
                  <a16:creationId xmlns:a16="http://schemas.microsoft.com/office/drawing/2014/main" id="{C39E408E-920A-7240-B822-E748F0146C80}"/>
                </a:ext>
              </a:extLst>
            </p:cNvPr>
            <p:cNvSpPr>
              <a:spLocks/>
            </p:cNvSpPr>
            <p:nvPr/>
          </p:nvSpPr>
          <p:spPr bwMode="auto">
            <a:xfrm>
              <a:off x="1138684" y="2574677"/>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5" name="Freeform 735">
              <a:extLst>
                <a:ext uri="{FF2B5EF4-FFF2-40B4-BE49-F238E27FC236}">
                  <a16:creationId xmlns:a16="http://schemas.microsoft.com/office/drawing/2014/main" id="{E1F808FF-C38C-2B42-A53F-F2E6BD688BEE}"/>
                </a:ext>
              </a:extLst>
            </p:cNvPr>
            <p:cNvSpPr>
              <a:spLocks/>
            </p:cNvSpPr>
            <p:nvPr/>
          </p:nvSpPr>
          <p:spPr bwMode="auto">
            <a:xfrm>
              <a:off x="1142172" y="256474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6" name="Freeform 736">
              <a:extLst>
                <a:ext uri="{FF2B5EF4-FFF2-40B4-BE49-F238E27FC236}">
                  <a16:creationId xmlns:a16="http://schemas.microsoft.com/office/drawing/2014/main" id="{038B29E1-C58C-3042-A04A-2C720B1EF7DA}"/>
                </a:ext>
              </a:extLst>
            </p:cNvPr>
            <p:cNvSpPr>
              <a:spLocks/>
            </p:cNvSpPr>
            <p:nvPr/>
          </p:nvSpPr>
          <p:spPr bwMode="auto">
            <a:xfrm>
              <a:off x="1142172" y="25647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7" name="Freeform 737">
              <a:extLst>
                <a:ext uri="{FF2B5EF4-FFF2-40B4-BE49-F238E27FC236}">
                  <a16:creationId xmlns:a16="http://schemas.microsoft.com/office/drawing/2014/main" id="{1A2141B7-6B23-174C-8E70-0DA01AA6B411}"/>
                </a:ext>
              </a:extLst>
            </p:cNvPr>
            <p:cNvSpPr>
              <a:spLocks/>
            </p:cNvSpPr>
            <p:nvPr/>
          </p:nvSpPr>
          <p:spPr bwMode="auto">
            <a:xfrm>
              <a:off x="1150313" y="2557799"/>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8" name="Freeform 738">
              <a:extLst>
                <a:ext uri="{FF2B5EF4-FFF2-40B4-BE49-F238E27FC236}">
                  <a16:creationId xmlns:a16="http://schemas.microsoft.com/office/drawing/2014/main" id="{A1DFD287-6CF9-A64E-AC84-5172FE7DEA82}"/>
                </a:ext>
              </a:extLst>
            </p:cNvPr>
            <p:cNvSpPr>
              <a:spLocks/>
            </p:cNvSpPr>
            <p:nvPr/>
          </p:nvSpPr>
          <p:spPr bwMode="auto">
            <a:xfrm>
              <a:off x="1150313" y="255779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29" name="Freeform 739">
              <a:extLst>
                <a:ext uri="{FF2B5EF4-FFF2-40B4-BE49-F238E27FC236}">
                  <a16:creationId xmlns:a16="http://schemas.microsoft.com/office/drawing/2014/main" id="{7E3E06B2-AC7C-284E-8A64-8C1E295D4D08}"/>
                </a:ext>
              </a:extLst>
            </p:cNvPr>
            <p:cNvSpPr>
              <a:spLocks/>
            </p:cNvSpPr>
            <p:nvPr/>
          </p:nvSpPr>
          <p:spPr bwMode="auto">
            <a:xfrm>
              <a:off x="1157291" y="255184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0" name="Freeform 740">
              <a:extLst>
                <a:ext uri="{FF2B5EF4-FFF2-40B4-BE49-F238E27FC236}">
                  <a16:creationId xmlns:a16="http://schemas.microsoft.com/office/drawing/2014/main" id="{48942092-5A87-8B49-A746-CA47869F0B9F}"/>
                </a:ext>
              </a:extLst>
            </p:cNvPr>
            <p:cNvSpPr>
              <a:spLocks/>
            </p:cNvSpPr>
            <p:nvPr/>
          </p:nvSpPr>
          <p:spPr bwMode="auto">
            <a:xfrm>
              <a:off x="1157291" y="255184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1" name="Freeform 741">
              <a:extLst>
                <a:ext uri="{FF2B5EF4-FFF2-40B4-BE49-F238E27FC236}">
                  <a16:creationId xmlns:a16="http://schemas.microsoft.com/office/drawing/2014/main" id="{CB08D5C4-1313-924A-84F0-C1E46D27E3DB}"/>
                </a:ext>
              </a:extLst>
            </p:cNvPr>
            <p:cNvSpPr>
              <a:spLocks/>
            </p:cNvSpPr>
            <p:nvPr/>
          </p:nvSpPr>
          <p:spPr bwMode="auto">
            <a:xfrm>
              <a:off x="1161942" y="2541914"/>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4"/>
                  </a:lnTo>
                  <a:lnTo>
                    <a:pt x="0" y="0"/>
                  </a:lnTo>
                  <a:lnTo>
                    <a:pt x="3" y="0"/>
                  </a:lnTo>
                  <a:lnTo>
                    <a:pt x="6" y="0"/>
                  </a:lnTo>
                  <a:lnTo>
                    <a:pt x="9" y="4"/>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2" name="Freeform 742">
              <a:extLst>
                <a:ext uri="{FF2B5EF4-FFF2-40B4-BE49-F238E27FC236}">
                  <a16:creationId xmlns:a16="http://schemas.microsoft.com/office/drawing/2014/main" id="{1F227541-C13E-BF44-BE97-9316B652E590}"/>
                </a:ext>
              </a:extLst>
            </p:cNvPr>
            <p:cNvSpPr>
              <a:spLocks/>
            </p:cNvSpPr>
            <p:nvPr/>
          </p:nvSpPr>
          <p:spPr bwMode="auto">
            <a:xfrm>
              <a:off x="1161942" y="2535957"/>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3" name="Freeform 743">
              <a:extLst>
                <a:ext uri="{FF2B5EF4-FFF2-40B4-BE49-F238E27FC236}">
                  <a16:creationId xmlns:a16="http://schemas.microsoft.com/office/drawing/2014/main" id="{2F5FBAC5-4776-A44A-8474-DA5533E1F017}"/>
                </a:ext>
              </a:extLst>
            </p:cNvPr>
            <p:cNvSpPr>
              <a:spLocks/>
            </p:cNvSpPr>
            <p:nvPr/>
          </p:nvSpPr>
          <p:spPr bwMode="auto">
            <a:xfrm>
              <a:off x="1161942" y="2535957"/>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6"/>
                  </a:lnTo>
                  <a:lnTo>
                    <a:pt x="0" y="3"/>
                  </a:lnTo>
                  <a:lnTo>
                    <a:pt x="0" y="0"/>
                  </a:lnTo>
                  <a:lnTo>
                    <a:pt x="3" y="0"/>
                  </a:lnTo>
                  <a:lnTo>
                    <a:pt x="9" y="0"/>
                  </a:lnTo>
                  <a:lnTo>
                    <a:pt x="12" y="0"/>
                  </a:lnTo>
                  <a:lnTo>
                    <a:pt x="12" y="3"/>
                  </a:lnTo>
                  <a:lnTo>
                    <a:pt x="12"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4" name="Freeform 744">
              <a:extLst>
                <a:ext uri="{FF2B5EF4-FFF2-40B4-BE49-F238E27FC236}">
                  <a16:creationId xmlns:a16="http://schemas.microsoft.com/office/drawing/2014/main" id="{D8A15E49-51DA-8D46-AEE0-625FD51653C1}"/>
                </a:ext>
              </a:extLst>
            </p:cNvPr>
            <p:cNvSpPr>
              <a:spLocks/>
            </p:cNvSpPr>
            <p:nvPr/>
          </p:nvSpPr>
          <p:spPr bwMode="auto">
            <a:xfrm>
              <a:off x="1168920" y="252900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5" name="Freeform 745">
              <a:extLst>
                <a:ext uri="{FF2B5EF4-FFF2-40B4-BE49-F238E27FC236}">
                  <a16:creationId xmlns:a16="http://schemas.microsoft.com/office/drawing/2014/main" id="{5D2379D0-EDC1-0642-9598-D209E9A083C6}"/>
                </a:ext>
              </a:extLst>
            </p:cNvPr>
            <p:cNvSpPr>
              <a:spLocks/>
            </p:cNvSpPr>
            <p:nvPr/>
          </p:nvSpPr>
          <p:spPr bwMode="auto">
            <a:xfrm>
              <a:off x="1168920" y="252007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6" name="Freeform 746">
              <a:extLst>
                <a:ext uri="{FF2B5EF4-FFF2-40B4-BE49-F238E27FC236}">
                  <a16:creationId xmlns:a16="http://schemas.microsoft.com/office/drawing/2014/main" id="{1FADEC1B-2FB2-4747-99C9-B37E43A61651}"/>
                </a:ext>
              </a:extLst>
            </p:cNvPr>
            <p:cNvSpPr>
              <a:spLocks/>
            </p:cNvSpPr>
            <p:nvPr/>
          </p:nvSpPr>
          <p:spPr bwMode="auto">
            <a:xfrm>
              <a:off x="1168920" y="252007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7" name="Freeform 747">
              <a:extLst>
                <a:ext uri="{FF2B5EF4-FFF2-40B4-BE49-F238E27FC236}">
                  <a16:creationId xmlns:a16="http://schemas.microsoft.com/office/drawing/2014/main" id="{AC42BEBB-CE41-5240-BBC4-1D2B7771DCB6}"/>
                </a:ext>
              </a:extLst>
            </p:cNvPr>
            <p:cNvSpPr>
              <a:spLocks/>
            </p:cNvSpPr>
            <p:nvPr/>
          </p:nvSpPr>
          <p:spPr bwMode="auto">
            <a:xfrm>
              <a:off x="1172408" y="252007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8" name="Freeform 748">
              <a:extLst>
                <a:ext uri="{FF2B5EF4-FFF2-40B4-BE49-F238E27FC236}">
                  <a16:creationId xmlns:a16="http://schemas.microsoft.com/office/drawing/2014/main" id="{7BC2ED55-B13C-D34D-89AC-93303CF3C0A5}"/>
                </a:ext>
              </a:extLst>
            </p:cNvPr>
            <p:cNvSpPr>
              <a:spLocks/>
            </p:cNvSpPr>
            <p:nvPr/>
          </p:nvSpPr>
          <p:spPr bwMode="auto">
            <a:xfrm>
              <a:off x="1175897" y="251312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39" name="Freeform 749">
              <a:extLst>
                <a:ext uri="{FF2B5EF4-FFF2-40B4-BE49-F238E27FC236}">
                  <a16:creationId xmlns:a16="http://schemas.microsoft.com/office/drawing/2014/main" id="{95B2C24E-003E-474D-BF21-496DE24D07BC}"/>
                </a:ext>
              </a:extLst>
            </p:cNvPr>
            <p:cNvSpPr>
              <a:spLocks/>
            </p:cNvSpPr>
            <p:nvPr/>
          </p:nvSpPr>
          <p:spPr bwMode="auto">
            <a:xfrm>
              <a:off x="1175897" y="251312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0" name="Freeform 750">
              <a:extLst>
                <a:ext uri="{FF2B5EF4-FFF2-40B4-BE49-F238E27FC236}">
                  <a16:creationId xmlns:a16="http://schemas.microsoft.com/office/drawing/2014/main" id="{F4C3121B-D9B2-1742-B675-5E6D4CB57615}"/>
                </a:ext>
              </a:extLst>
            </p:cNvPr>
            <p:cNvSpPr>
              <a:spLocks/>
            </p:cNvSpPr>
            <p:nvPr/>
          </p:nvSpPr>
          <p:spPr bwMode="auto">
            <a:xfrm>
              <a:off x="1180549" y="2513121"/>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1" name="Freeform 751">
              <a:extLst>
                <a:ext uri="{FF2B5EF4-FFF2-40B4-BE49-F238E27FC236}">
                  <a16:creationId xmlns:a16="http://schemas.microsoft.com/office/drawing/2014/main" id="{2C9999CF-F85C-A94A-B1D0-E704D12A27CC}"/>
                </a:ext>
              </a:extLst>
            </p:cNvPr>
            <p:cNvSpPr>
              <a:spLocks/>
            </p:cNvSpPr>
            <p:nvPr/>
          </p:nvSpPr>
          <p:spPr bwMode="auto">
            <a:xfrm>
              <a:off x="1184038" y="250418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2" name="Freeform 752">
              <a:extLst>
                <a:ext uri="{FF2B5EF4-FFF2-40B4-BE49-F238E27FC236}">
                  <a16:creationId xmlns:a16="http://schemas.microsoft.com/office/drawing/2014/main" id="{791C5713-0C61-384A-83CF-BD28AF846893}"/>
                </a:ext>
              </a:extLst>
            </p:cNvPr>
            <p:cNvSpPr>
              <a:spLocks/>
            </p:cNvSpPr>
            <p:nvPr/>
          </p:nvSpPr>
          <p:spPr bwMode="auto">
            <a:xfrm>
              <a:off x="1184038" y="250418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3" name="Freeform 753">
              <a:extLst>
                <a:ext uri="{FF2B5EF4-FFF2-40B4-BE49-F238E27FC236}">
                  <a16:creationId xmlns:a16="http://schemas.microsoft.com/office/drawing/2014/main" id="{FB8BE896-1638-5B48-90DA-B9C23BDD43A2}"/>
                </a:ext>
              </a:extLst>
            </p:cNvPr>
            <p:cNvSpPr>
              <a:spLocks/>
            </p:cNvSpPr>
            <p:nvPr/>
          </p:nvSpPr>
          <p:spPr bwMode="auto">
            <a:xfrm>
              <a:off x="1187527" y="249723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4" name="Freeform 754">
              <a:extLst>
                <a:ext uri="{FF2B5EF4-FFF2-40B4-BE49-F238E27FC236}">
                  <a16:creationId xmlns:a16="http://schemas.microsoft.com/office/drawing/2014/main" id="{D6AD7463-7E26-E149-9596-C78EA5D3B684}"/>
                </a:ext>
              </a:extLst>
            </p:cNvPr>
            <p:cNvSpPr>
              <a:spLocks/>
            </p:cNvSpPr>
            <p:nvPr/>
          </p:nvSpPr>
          <p:spPr bwMode="auto">
            <a:xfrm>
              <a:off x="1187527" y="249723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5" name="Freeform 755">
              <a:extLst>
                <a:ext uri="{FF2B5EF4-FFF2-40B4-BE49-F238E27FC236}">
                  <a16:creationId xmlns:a16="http://schemas.microsoft.com/office/drawing/2014/main" id="{353E8DFA-E2EF-6040-BBE0-E7D3A301E017}"/>
                </a:ext>
              </a:extLst>
            </p:cNvPr>
            <p:cNvSpPr>
              <a:spLocks/>
            </p:cNvSpPr>
            <p:nvPr/>
          </p:nvSpPr>
          <p:spPr bwMode="auto">
            <a:xfrm>
              <a:off x="1191015" y="249127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6" name="Freeform 756">
              <a:extLst>
                <a:ext uri="{FF2B5EF4-FFF2-40B4-BE49-F238E27FC236}">
                  <a16:creationId xmlns:a16="http://schemas.microsoft.com/office/drawing/2014/main" id="{86C45059-7B1A-914F-9AB1-CF961D6364C2}"/>
                </a:ext>
              </a:extLst>
            </p:cNvPr>
            <p:cNvSpPr>
              <a:spLocks/>
            </p:cNvSpPr>
            <p:nvPr/>
          </p:nvSpPr>
          <p:spPr bwMode="auto">
            <a:xfrm>
              <a:off x="1191015" y="249127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7" name="Freeform 757">
              <a:extLst>
                <a:ext uri="{FF2B5EF4-FFF2-40B4-BE49-F238E27FC236}">
                  <a16:creationId xmlns:a16="http://schemas.microsoft.com/office/drawing/2014/main" id="{B75B9E7C-0562-ED4B-8069-1A12A77089D2}"/>
                </a:ext>
              </a:extLst>
            </p:cNvPr>
            <p:cNvSpPr>
              <a:spLocks/>
            </p:cNvSpPr>
            <p:nvPr/>
          </p:nvSpPr>
          <p:spPr bwMode="auto">
            <a:xfrm>
              <a:off x="1195667" y="249127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8" name="Freeform 758">
              <a:extLst>
                <a:ext uri="{FF2B5EF4-FFF2-40B4-BE49-F238E27FC236}">
                  <a16:creationId xmlns:a16="http://schemas.microsoft.com/office/drawing/2014/main" id="{668758DC-0244-7F42-A8E9-20EC269C1792}"/>
                </a:ext>
              </a:extLst>
            </p:cNvPr>
            <p:cNvSpPr>
              <a:spLocks/>
            </p:cNvSpPr>
            <p:nvPr/>
          </p:nvSpPr>
          <p:spPr bwMode="auto">
            <a:xfrm>
              <a:off x="1199156" y="2481350"/>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49" name="Freeform 759">
              <a:extLst>
                <a:ext uri="{FF2B5EF4-FFF2-40B4-BE49-F238E27FC236}">
                  <a16:creationId xmlns:a16="http://schemas.microsoft.com/office/drawing/2014/main" id="{C4969DAD-F76E-784C-B154-6486F6F98D93}"/>
                </a:ext>
              </a:extLst>
            </p:cNvPr>
            <p:cNvSpPr>
              <a:spLocks/>
            </p:cNvSpPr>
            <p:nvPr/>
          </p:nvSpPr>
          <p:spPr bwMode="auto">
            <a:xfrm>
              <a:off x="1199156" y="248135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0" name="Freeform 760">
              <a:extLst>
                <a:ext uri="{FF2B5EF4-FFF2-40B4-BE49-F238E27FC236}">
                  <a16:creationId xmlns:a16="http://schemas.microsoft.com/office/drawing/2014/main" id="{8247CD7C-27B6-9B44-BCD9-40A3076E7FCA}"/>
                </a:ext>
              </a:extLst>
            </p:cNvPr>
            <p:cNvSpPr>
              <a:spLocks/>
            </p:cNvSpPr>
            <p:nvPr/>
          </p:nvSpPr>
          <p:spPr bwMode="auto">
            <a:xfrm>
              <a:off x="1202644" y="2475393"/>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1" name="Freeform 761">
              <a:extLst>
                <a:ext uri="{FF2B5EF4-FFF2-40B4-BE49-F238E27FC236}">
                  <a16:creationId xmlns:a16="http://schemas.microsoft.com/office/drawing/2014/main" id="{84FD812F-3400-F84E-A5C4-6B5620FD236A}"/>
                </a:ext>
              </a:extLst>
            </p:cNvPr>
            <p:cNvSpPr>
              <a:spLocks/>
            </p:cNvSpPr>
            <p:nvPr/>
          </p:nvSpPr>
          <p:spPr bwMode="auto">
            <a:xfrm>
              <a:off x="1202644" y="247539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2" name="Freeform 762">
              <a:extLst>
                <a:ext uri="{FF2B5EF4-FFF2-40B4-BE49-F238E27FC236}">
                  <a16:creationId xmlns:a16="http://schemas.microsoft.com/office/drawing/2014/main" id="{4BB559A8-BC0A-A44C-8252-AC4045A60BA8}"/>
                </a:ext>
              </a:extLst>
            </p:cNvPr>
            <p:cNvSpPr>
              <a:spLocks/>
            </p:cNvSpPr>
            <p:nvPr/>
          </p:nvSpPr>
          <p:spPr bwMode="auto">
            <a:xfrm>
              <a:off x="1206133" y="246546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3" name="Freeform 763">
              <a:extLst>
                <a:ext uri="{FF2B5EF4-FFF2-40B4-BE49-F238E27FC236}">
                  <a16:creationId xmlns:a16="http://schemas.microsoft.com/office/drawing/2014/main" id="{F3C1192C-0908-4E4A-AFF0-3ED77619179B}"/>
                </a:ext>
              </a:extLst>
            </p:cNvPr>
            <p:cNvSpPr>
              <a:spLocks/>
            </p:cNvSpPr>
            <p:nvPr/>
          </p:nvSpPr>
          <p:spPr bwMode="auto">
            <a:xfrm>
              <a:off x="1206133" y="246546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4" name="Freeform 764">
              <a:extLst>
                <a:ext uri="{FF2B5EF4-FFF2-40B4-BE49-F238E27FC236}">
                  <a16:creationId xmlns:a16="http://schemas.microsoft.com/office/drawing/2014/main" id="{6DA89D30-F4D2-0B4E-B8C7-A3A32BAEEF42}"/>
                </a:ext>
              </a:extLst>
            </p:cNvPr>
            <p:cNvSpPr>
              <a:spLocks/>
            </p:cNvSpPr>
            <p:nvPr/>
          </p:nvSpPr>
          <p:spPr bwMode="auto">
            <a:xfrm>
              <a:off x="1209622" y="245851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5" name="Freeform 765">
              <a:extLst>
                <a:ext uri="{FF2B5EF4-FFF2-40B4-BE49-F238E27FC236}">
                  <a16:creationId xmlns:a16="http://schemas.microsoft.com/office/drawing/2014/main" id="{4F8FF142-DB05-D94A-9B47-68833FD1A7A4}"/>
                </a:ext>
              </a:extLst>
            </p:cNvPr>
            <p:cNvSpPr>
              <a:spLocks/>
            </p:cNvSpPr>
            <p:nvPr/>
          </p:nvSpPr>
          <p:spPr bwMode="auto">
            <a:xfrm>
              <a:off x="1209622" y="245851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6" name="Freeform 766">
              <a:extLst>
                <a:ext uri="{FF2B5EF4-FFF2-40B4-BE49-F238E27FC236}">
                  <a16:creationId xmlns:a16="http://schemas.microsoft.com/office/drawing/2014/main" id="{13BBE68B-B25F-4242-B339-CBF6E59DCB79}"/>
                </a:ext>
              </a:extLst>
            </p:cNvPr>
            <p:cNvSpPr>
              <a:spLocks/>
            </p:cNvSpPr>
            <p:nvPr/>
          </p:nvSpPr>
          <p:spPr bwMode="auto">
            <a:xfrm>
              <a:off x="1214274" y="2452558"/>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3"/>
                  </a:lnTo>
                  <a:lnTo>
                    <a:pt x="0" y="0"/>
                  </a:lnTo>
                  <a:lnTo>
                    <a:pt x="3" y="0"/>
                  </a:lnTo>
                  <a:lnTo>
                    <a:pt x="6" y="0"/>
                  </a:lnTo>
                  <a:lnTo>
                    <a:pt x="9" y="3"/>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7" name="Freeform 767">
              <a:extLst>
                <a:ext uri="{FF2B5EF4-FFF2-40B4-BE49-F238E27FC236}">
                  <a16:creationId xmlns:a16="http://schemas.microsoft.com/office/drawing/2014/main" id="{4C89D681-EE9D-EF4A-A940-05078AAED1F8}"/>
                </a:ext>
              </a:extLst>
            </p:cNvPr>
            <p:cNvSpPr>
              <a:spLocks/>
            </p:cNvSpPr>
            <p:nvPr/>
          </p:nvSpPr>
          <p:spPr bwMode="auto">
            <a:xfrm>
              <a:off x="1214274" y="245255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8" name="Freeform 768">
              <a:extLst>
                <a:ext uri="{FF2B5EF4-FFF2-40B4-BE49-F238E27FC236}">
                  <a16:creationId xmlns:a16="http://schemas.microsoft.com/office/drawing/2014/main" id="{A02AEE70-E445-2D43-98DC-3F5D5B758E4F}"/>
                </a:ext>
              </a:extLst>
            </p:cNvPr>
            <p:cNvSpPr>
              <a:spLocks/>
            </p:cNvSpPr>
            <p:nvPr/>
          </p:nvSpPr>
          <p:spPr bwMode="auto">
            <a:xfrm>
              <a:off x="1217763" y="245255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59" name="Freeform 769">
              <a:extLst>
                <a:ext uri="{FF2B5EF4-FFF2-40B4-BE49-F238E27FC236}">
                  <a16:creationId xmlns:a16="http://schemas.microsoft.com/office/drawing/2014/main" id="{10E5019F-DF7A-FE46-8F08-AE9A4CF65527}"/>
                </a:ext>
              </a:extLst>
            </p:cNvPr>
            <p:cNvSpPr>
              <a:spLocks/>
            </p:cNvSpPr>
            <p:nvPr/>
          </p:nvSpPr>
          <p:spPr bwMode="auto">
            <a:xfrm>
              <a:off x="1221251" y="244262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4"/>
                  </a:lnTo>
                  <a:lnTo>
                    <a:pt x="0" y="0"/>
                  </a:lnTo>
                  <a:lnTo>
                    <a:pt x="3"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0" name="Freeform 770">
              <a:extLst>
                <a:ext uri="{FF2B5EF4-FFF2-40B4-BE49-F238E27FC236}">
                  <a16:creationId xmlns:a16="http://schemas.microsoft.com/office/drawing/2014/main" id="{137C29F9-CF3D-9F40-A58E-75D01EE403B6}"/>
                </a:ext>
              </a:extLst>
            </p:cNvPr>
            <p:cNvSpPr>
              <a:spLocks/>
            </p:cNvSpPr>
            <p:nvPr/>
          </p:nvSpPr>
          <p:spPr bwMode="auto">
            <a:xfrm>
              <a:off x="1221251" y="243667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3"/>
                  </a:lnTo>
                  <a:lnTo>
                    <a:pt x="0" y="0"/>
                  </a:lnTo>
                  <a:lnTo>
                    <a:pt x="3"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1" name="Freeform 771">
              <a:extLst>
                <a:ext uri="{FF2B5EF4-FFF2-40B4-BE49-F238E27FC236}">
                  <a16:creationId xmlns:a16="http://schemas.microsoft.com/office/drawing/2014/main" id="{AFA91BCC-4DFD-9D4C-A12E-4A3C85A46537}"/>
                </a:ext>
              </a:extLst>
            </p:cNvPr>
            <p:cNvSpPr>
              <a:spLocks/>
            </p:cNvSpPr>
            <p:nvPr/>
          </p:nvSpPr>
          <p:spPr bwMode="auto">
            <a:xfrm>
              <a:off x="1221251" y="242674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2" name="Freeform 772">
              <a:extLst>
                <a:ext uri="{FF2B5EF4-FFF2-40B4-BE49-F238E27FC236}">
                  <a16:creationId xmlns:a16="http://schemas.microsoft.com/office/drawing/2014/main" id="{63F2ABFA-7940-844A-B444-CEB1A68F0E62}"/>
                </a:ext>
              </a:extLst>
            </p:cNvPr>
            <p:cNvSpPr>
              <a:spLocks/>
            </p:cNvSpPr>
            <p:nvPr/>
          </p:nvSpPr>
          <p:spPr bwMode="auto">
            <a:xfrm>
              <a:off x="1221251" y="242674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3" name="Freeform 773">
              <a:extLst>
                <a:ext uri="{FF2B5EF4-FFF2-40B4-BE49-F238E27FC236}">
                  <a16:creationId xmlns:a16="http://schemas.microsoft.com/office/drawing/2014/main" id="{0F6BC75C-698B-9A46-93FC-A75F7FEA90A0}"/>
                </a:ext>
              </a:extLst>
            </p:cNvPr>
            <p:cNvSpPr>
              <a:spLocks/>
            </p:cNvSpPr>
            <p:nvPr/>
          </p:nvSpPr>
          <p:spPr bwMode="auto">
            <a:xfrm>
              <a:off x="1224740" y="242078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4" name="Freeform 774">
              <a:extLst>
                <a:ext uri="{FF2B5EF4-FFF2-40B4-BE49-F238E27FC236}">
                  <a16:creationId xmlns:a16="http://schemas.microsoft.com/office/drawing/2014/main" id="{997B4C4D-92E8-5B46-9098-9EBBE0DA3B90}"/>
                </a:ext>
              </a:extLst>
            </p:cNvPr>
            <p:cNvSpPr>
              <a:spLocks/>
            </p:cNvSpPr>
            <p:nvPr/>
          </p:nvSpPr>
          <p:spPr bwMode="auto">
            <a:xfrm>
              <a:off x="1224740" y="2420787"/>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5" name="Freeform 775">
              <a:extLst>
                <a:ext uri="{FF2B5EF4-FFF2-40B4-BE49-F238E27FC236}">
                  <a16:creationId xmlns:a16="http://schemas.microsoft.com/office/drawing/2014/main" id="{AC2BC217-7829-1543-88A7-2BE1CADA9A0A}"/>
                </a:ext>
              </a:extLst>
            </p:cNvPr>
            <p:cNvSpPr>
              <a:spLocks/>
            </p:cNvSpPr>
            <p:nvPr/>
          </p:nvSpPr>
          <p:spPr bwMode="auto">
            <a:xfrm>
              <a:off x="1232880" y="2410858"/>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6" name="Freeform 776">
              <a:extLst>
                <a:ext uri="{FF2B5EF4-FFF2-40B4-BE49-F238E27FC236}">
                  <a16:creationId xmlns:a16="http://schemas.microsoft.com/office/drawing/2014/main" id="{767641A6-493F-664F-987A-B7A933EC767B}"/>
                </a:ext>
              </a:extLst>
            </p:cNvPr>
            <p:cNvSpPr>
              <a:spLocks/>
            </p:cNvSpPr>
            <p:nvPr/>
          </p:nvSpPr>
          <p:spPr bwMode="auto">
            <a:xfrm>
              <a:off x="1232880" y="241085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7" name="Freeform 777">
              <a:extLst>
                <a:ext uri="{FF2B5EF4-FFF2-40B4-BE49-F238E27FC236}">
                  <a16:creationId xmlns:a16="http://schemas.microsoft.com/office/drawing/2014/main" id="{94879F75-59D3-9E47-A34B-8C7B84ED19A6}"/>
                </a:ext>
              </a:extLst>
            </p:cNvPr>
            <p:cNvSpPr>
              <a:spLocks/>
            </p:cNvSpPr>
            <p:nvPr/>
          </p:nvSpPr>
          <p:spPr bwMode="auto">
            <a:xfrm>
              <a:off x="1236369" y="241085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8" name="Freeform 778">
              <a:extLst>
                <a:ext uri="{FF2B5EF4-FFF2-40B4-BE49-F238E27FC236}">
                  <a16:creationId xmlns:a16="http://schemas.microsoft.com/office/drawing/2014/main" id="{199B7E54-0186-5E42-B215-C169AFE6A385}"/>
                </a:ext>
              </a:extLst>
            </p:cNvPr>
            <p:cNvSpPr>
              <a:spLocks/>
            </p:cNvSpPr>
            <p:nvPr/>
          </p:nvSpPr>
          <p:spPr bwMode="auto">
            <a:xfrm>
              <a:off x="1243347" y="240490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69" name="Freeform 779">
              <a:extLst>
                <a:ext uri="{FF2B5EF4-FFF2-40B4-BE49-F238E27FC236}">
                  <a16:creationId xmlns:a16="http://schemas.microsoft.com/office/drawing/2014/main" id="{B70F60C9-727C-1B45-A5E9-653C805F3552}"/>
                </a:ext>
              </a:extLst>
            </p:cNvPr>
            <p:cNvSpPr>
              <a:spLocks/>
            </p:cNvSpPr>
            <p:nvPr/>
          </p:nvSpPr>
          <p:spPr bwMode="auto">
            <a:xfrm>
              <a:off x="1243347" y="240490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0" name="Freeform 780">
              <a:extLst>
                <a:ext uri="{FF2B5EF4-FFF2-40B4-BE49-F238E27FC236}">
                  <a16:creationId xmlns:a16="http://schemas.microsoft.com/office/drawing/2014/main" id="{C7581827-DAEE-844D-AE96-C48D5287E73A}"/>
                </a:ext>
              </a:extLst>
            </p:cNvPr>
            <p:cNvSpPr>
              <a:spLocks/>
            </p:cNvSpPr>
            <p:nvPr/>
          </p:nvSpPr>
          <p:spPr bwMode="auto">
            <a:xfrm>
              <a:off x="1247999" y="2394973"/>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1" name="Freeform 781">
              <a:extLst>
                <a:ext uri="{FF2B5EF4-FFF2-40B4-BE49-F238E27FC236}">
                  <a16:creationId xmlns:a16="http://schemas.microsoft.com/office/drawing/2014/main" id="{8C608B61-F709-314F-B93C-18D27F90982D}"/>
                </a:ext>
              </a:extLst>
            </p:cNvPr>
            <p:cNvSpPr>
              <a:spLocks/>
            </p:cNvSpPr>
            <p:nvPr/>
          </p:nvSpPr>
          <p:spPr bwMode="auto">
            <a:xfrm>
              <a:off x="1247999" y="2394973"/>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2" name="Freeform 782">
              <a:extLst>
                <a:ext uri="{FF2B5EF4-FFF2-40B4-BE49-F238E27FC236}">
                  <a16:creationId xmlns:a16="http://schemas.microsoft.com/office/drawing/2014/main" id="{15C4EF12-2583-C945-B325-1D3B317880A8}"/>
                </a:ext>
              </a:extLst>
            </p:cNvPr>
            <p:cNvSpPr>
              <a:spLocks/>
            </p:cNvSpPr>
            <p:nvPr/>
          </p:nvSpPr>
          <p:spPr bwMode="auto">
            <a:xfrm>
              <a:off x="1251487" y="2388023"/>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3" name="Freeform 783">
              <a:extLst>
                <a:ext uri="{FF2B5EF4-FFF2-40B4-BE49-F238E27FC236}">
                  <a16:creationId xmlns:a16="http://schemas.microsoft.com/office/drawing/2014/main" id="{6E0C6B48-6894-E743-A781-3480921F6AFA}"/>
                </a:ext>
              </a:extLst>
            </p:cNvPr>
            <p:cNvSpPr>
              <a:spLocks/>
            </p:cNvSpPr>
            <p:nvPr/>
          </p:nvSpPr>
          <p:spPr bwMode="auto">
            <a:xfrm>
              <a:off x="1251487" y="238802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4" name="Freeform 784">
              <a:extLst>
                <a:ext uri="{FF2B5EF4-FFF2-40B4-BE49-F238E27FC236}">
                  <a16:creationId xmlns:a16="http://schemas.microsoft.com/office/drawing/2014/main" id="{FB7D1F77-3B90-A24C-8B00-0CBDCBA8D098}"/>
                </a:ext>
              </a:extLst>
            </p:cNvPr>
            <p:cNvSpPr>
              <a:spLocks/>
            </p:cNvSpPr>
            <p:nvPr/>
          </p:nvSpPr>
          <p:spPr bwMode="auto">
            <a:xfrm>
              <a:off x="1254976" y="237908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5" name="Freeform 785">
              <a:extLst>
                <a:ext uri="{FF2B5EF4-FFF2-40B4-BE49-F238E27FC236}">
                  <a16:creationId xmlns:a16="http://schemas.microsoft.com/office/drawing/2014/main" id="{FA55DCBA-E599-434B-B37D-CBF4BEE092C3}"/>
                </a:ext>
              </a:extLst>
            </p:cNvPr>
            <p:cNvSpPr>
              <a:spLocks/>
            </p:cNvSpPr>
            <p:nvPr/>
          </p:nvSpPr>
          <p:spPr bwMode="auto">
            <a:xfrm>
              <a:off x="1254976" y="237213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3" y="13"/>
                  </a:lnTo>
                  <a:lnTo>
                    <a:pt x="0" y="13"/>
                  </a:lnTo>
                  <a:lnTo>
                    <a:pt x="0" y="10"/>
                  </a:lnTo>
                  <a:lnTo>
                    <a:pt x="0" y="4"/>
                  </a:lnTo>
                  <a:lnTo>
                    <a:pt x="0" y="0"/>
                  </a:lnTo>
                  <a:lnTo>
                    <a:pt x="3"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6" name="Freeform 786">
              <a:extLst>
                <a:ext uri="{FF2B5EF4-FFF2-40B4-BE49-F238E27FC236}">
                  <a16:creationId xmlns:a16="http://schemas.microsoft.com/office/drawing/2014/main" id="{96536BE8-06FB-8B4A-91E7-060641E6D57B}"/>
                </a:ext>
              </a:extLst>
            </p:cNvPr>
            <p:cNvSpPr>
              <a:spLocks/>
            </p:cNvSpPr>
            <p:nvPr/>
          </p:nvSpPr>
          <p:spPr bwMode="auto">
            <a:xfrm>
              <a:off x="1254976" y="236320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7" name="Freeform 787">
              <a:extLst>
                <a:ext uri="{FF2B5EF4-FFF2-40B4-BE49-F238E27FC236}">
                  <a16:creationId xmlns:a16="http://schemas.microsoft.com/office/drawing/2014/main" id="{A5824D55-E18D-1E4A-A321-C949C241FD79}"/>
                </a:ext>
              </a:extLst>
            </p:cNvPr>
            <p:cNvSpPr>
              <a:spLocks/>
            </p:cNvSpPr>
            <p:nvPr/>
          </p:nvSpPr>
          <p:spPr bwMode="auto">
            <a:xfrm>
              <a:off x="1254976" y="236320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8" name="Freeform 788">
              <a:extLst>
                <a:ext uri="{FF2B5EF4-FFF2-40B4-BE49-F238E27FC236}">
                  <a16:creationId xmlns:a16="http://schemas.microsoft.com/office/drawing/2014/main" id="{AC18B028-95F2-B544-ACF6-E69FA201F026}"/>
                </a:ext>
              </a:extLst>
            </p:cNvPr>
            <p:cNvSpPr>
              <a:spLocks/>
            </p:cNvSpPr>
            <p:nvPr/>
          </p:nvSpPr>
          <p:spPr bwMode="auto">
            <a:xfrm>
              <a:off x="1258465" y="235625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79" name="Freeform 789">
              <a:extLst>
                <a:ext uri="{FF2B5EF4-FFF2-40B4-BE49-F238E27FC236}">
                  <a16:creationId xmlns:a16="http://schemas.microsoft.com/office/drawing/2014/main" id="{F1372597-CF80-0F4A-8801-1BD6589C3164}"/>
                </a:ext>
              </a:extLst>
            </p:cNvPr>
            <p:cNvSpPr>
              <a:spLocks/>
            </p:cNvSpPr>
            <p:nvPr/>
          </p:nvSpPr>
          <p:spPr bwMode="auto">
            <a:xfrm>
              <a:off x="1258465" y="235625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0" name="Freeform 790">
              <a:extLst>
                <a:ext uri="{FF2B5EF4-FFF2-40B4-BE49-F238E27FC236}">
                  <a16:creationId xmlns:a16="http://schemas.microsoft.com/office/drawing/2014/main" id="{E6597CF2-E484-064E-86D7-DA652A450037}"/>
                </a:ext>
              </a:extLst>
            </p:cNvPr>
            <p:cNvSpPr>
              <a:spLocks/>
            </p:cNvSpPr>
            <p:nvPr/>
          </p:nvSpPr>
          <p:spPr bwMode="auto">
            <a:xfrm>
              <a:off x="1263116" y="2356252"/>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3"/>
                  </a:lnTo>
                  <a:lnTo>
                    <a:pt x="0" y="0"/>
                  </a:lnTo>
                  <a:lnTo>
                    <a:pt x="3" y="0"/>
                  </a:lnTo>
                  <a:lnTo>
                    <a:pt x="9" y="0"/>
                  </a:lnTo>
                  <a:lnTo>
                    <a:pt x="12" y="0"/>
                  </a:lnTo>
                  <a:lnTo>
                    <a:pt x="12" y="3"/>
                  </a:lnTo>
                  <a:lnTo>
                    <a:pt x="12" y="7"/>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1" name="Freeform 791">
              <a:extLst>
                <a:ext uri="{FF2B5EF4-FFF2-40B4-BE49-F238E27FC236}">
                  <a16:creationId xmlns:a16="http://schemas.microsoft.com/office/drawing/2014/main" id="{F78A0241-CA9A-1447-A4AD-467E66B7DD37}"/>
                </a:ext>
              </a:extLst>
            </p:cNvPr>
            <p:cNvSpPr>
              <a:spLocks/>
            </p:cNvSpPr>
            <p:nvPr/>
          </p:nvSpPr>
          <p:spPr bwMode="auto">
            <a:xfrm>
              <a:off x="1270094" y="235625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2" name="Freeform 792">
              <a:extLst>
                <a:ext uri="{FF2B5EF4-FFF2-40B4-BE49-F238E27FC236}">
                  <a16:creationId xmlns:a16="http://schemas.microsoft.com/office/drawing/2014/main" id="{06540AF9-2500-7E4C-AFFF-FC6B4CE28B28}"/>
                </a:ext>
              </a:extLst>
            </p:cNvPr>
            <p:cNvSpPr>
              <a:spLocks/>
            </p:cNvSpPr>
            <p:nvPr/>
          </p:nvSpPr>
          <p:spPr bwMode="auto">
            <a:xfrm>
              <a:off x="1277071" y="234731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4" y="16"/>
                  </a:lnTo>
                  <a:lnTo>
                    <a:pt x="0" y="16"/>
                  </a:lnTo>
                  <a:lnTo>
                    <a:pt x="0" y="12"/>
                  </a:lnTo>
                  <a:lnTo>
                    <a:pt x="0" y="3"/>
                  </a:lnTo>
                  <a:lnTo>
                    <a:pt x="0" y="0"/>
                  </a:lnTo>
                  <a:lnTo>
                    <a:pt x="4" y="0"/>
                  </a:lnTo>
                  <a:lnTo>
                    <a:pt x="7" y="0"/>
                  </a:lnTo>
                  <a:lnTo>
                    <a:pt x="10" y="3"/>
                  </a:lnTo>
                  <a:lnTo>
                    <a:pt x="10" y="1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3" name="Freeform 793">
              <a:extLst>
                <a:ext uri="{FF2B5EF4-FFF2-40B4-BE49-F238E27FC236}">
                  <a16:creationId xmlns:a16="http://schemas.microsoft.com/office/drawing/2014/main" id="{2FACA177-7624-4C48-94D6-481CAF1B69D3}"/>
                </a:ext>
              </a:extLst>
            </p:cNvPr>
            <p:cNvSpPr>
              <a:spLocks/>
            </p:cNvSpPr>
            <p:nvPr/>
          </p:nvSpPr>
          <p:spPr bwMode="auto">
            <a:xfrm>
              <a:off x="1277071" y="234036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4" name="Freeform 794">
              <a:extLst>
                <a:ext uri="{FF2B5EF4-FFF2-40B4-BE49-F238E27FC236}">
                  <a16:creationId xmlns:a16="http://schemas.microsoft.com/office/drawing/2014/main" id="{1DD61CB3-92C8-F740-8629-29A595A0E5F3}"/>
                </a:ext>
              </a:extLst>
            </p:cNvPr>
            <p:cNvSpPr>
              <a:spLocks/>
            </p:cNvSpPr>
            <p:nvPr/>
          </p:nvSpPr>
          <p:spPr bwMode="auto">
            <a:xfrm>
              <a:off x="1277071" y="234036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5" name="Freeform 795">
              <a:extLst>
                <a:ext uri="{FF2B5EF4-FFF2-40B4-BE49-F238E27FC236}">
                  <a16:creationId xmlns:a16="http://schemas.microsoft.com/office/drawing/2014/main" id="{2747AFF1-EC1C-4244-8619-3369114B4877}"/>
                </a:ext>
              </a:extLst>
            </p:cNvPr>
            <p:cNvSpPr>
              <a:spLocks/>
            </p:cNvSpPr>
            <p:nvPr/>
          </p:nvSpPr>
          <p:spPr bwMode="auto">
            <a:xfrm>
              <a:off x="1281723" y="2330438"/>
              <a:ext cx="10467" cy="16879"/>
            </a:xfrm>
            <a:custGeom>
              <a:avLst/>
              <a:gdLst>
                <a:gd name="T0" fmla="*/ 2147483646 w 9"/>
                <a:gd name="T1" fmla="*/ 2147483646 h 17"/>
                <a:gd name="T2" fmla="*/ 2147483646 w 9"/>
                <a:gd name="T3" fmla="*/ 2147483646 h 17"/>
                <a:gd name="T4" fmla="*/ 2147483646 w 9"/>
                <a:gd name="T5" fmla="*/ 2147483646 h 17"/>
                <a:gd name="T6" fmla="*/ 2147483646 w 9"/>
                <a:gd name="T7" fmla="*/ 2147483646 h 17"/>
                <a:gd name="T8" fmla="*/ 0 w 9"/>
                <a:gd name="T9" fmla="*/ 2147483646 h 17"/>
                <a:gd name="T10" fmla="*/ 0 w 9"/>
                <a:gd name="T11" fmla="*/ 2147483646 h 17"/>
                <a:gd name="T12" fmla="*/ 0 w 9"/>
                <a:gd name="T13" fmla="*/ 2147483646 h 17"/>
                <a:gd name="T14" fmla="*/ 0 w 9"/>
                <a:gd name="T15" fmla="*/ 0 h 17"/>
                <a:gd name="T16" fmla="*/ 2147483646 w 9"/>
                <a:gd name="T17" fmla="*/ 0 h 17"/>
                <a:gd name="T18" fmla="*/ 2147483646 w 9"/>
                <a:gd name="T19" fmla="*/ 0 h 17"/>
                <a:gd name="T20" fmla="*/ 2147483646 w 9"/>
                <a:gd name="T21" fmla="*/ 0 h 17"/>
                <a:gd name="T22" fmla="*/ 2147483646 w 9"/>
                <a:gd name="T23" fmla="*/ 2147483646 h 17"/>
                <a:gd name="T24" fmla="*/ 2147483646 w 9"/>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7">
                  <a:moveTo>
                    <a:pt x="9" y="13"/>
                  </a:moveTo>
                  <a:lnTo>
                    <a:pt x="6" y="17"/>
                  </a:lnTo>
                  <a:lnTo>
                    <a:pt x="3" y="17"/>
                  </a:lnTo>
                  <a:lnTo>
                    <a:pt x="0" y="17"/>
                  </a:lnTo>
                  <a:lnTo>
                    <a:pt x="0" y="13"/>
                  </a:lnTo>
                  <a:lnTo>
                    <a:pt x="0" y="4"/>
                  </a:lnTo>
                  <a:lnTo>
                    <a:pt x="0" y="0"/>
                  </a:lnTo>
                  <a:lnTo>
                    <a:pt x="3" y="0"/>
                  </a:lnTo>
                  <a:lnTo>
                    <a:pt x="6" y="0"/>
                  </a:lnTo>
                  <a:lnTo>
                    <a:pt x="9" y="4"/>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6" name="Freeform 796">
              <a:extLst>
                <a:ext uri="{FF2B5EF4-FFF2-40B4-BE49-F238E27FC236}">
                  <a16:creationId xmlns:a16="http://schemas.microsoft.com/office/drawing/2014/main" id="{3E5F69B8-D918-6D49-82DA-3DB656BB20FD}"/>
                </a:ext>
              </a:extLst>
            </p:cNvPr>
            <p:cNvSpPr>
              <a:spLocks/>
            </p:cNvSpPr>
            <p:nvPr/>
          </p:nvSpPr>
          <p:spPr bwMode="auto">
            <a:xfrm>
              <a:off x="1281723" y="2330438"/>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7" name="Freeform 797">
              <a:extLst>
                <a:ext uri="{FF2B5EF4-FFF2-40B4-BE49-F238E27FC236}">
                  <a16:creationId xmlns:a16="http://schemas.microsoft.com/office/drawing/2014/main" id="{ECC4EBE8-482E-4249-8621-0442BF31EC76}"/>
                </a:ext>
              </a:extLst>
            </p:cNvPr>
            <p:cNvSpPr>
              <a:spLocks/>
            </p:cNvSpPr>
            <p:nvPr/>
          </p:nvSpPr>
          <p:spPr bwMode="auto">
            <a:xfrm>
              <a:off x="1285212" y="2324481"/>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8" name="Freeform 798">
              <a:extLst>
                <a:ext uri="{FF2B5EF4-FFF2-40B4-BE49-F238E27FC236}">
                  <a16:creationId xmlns:a16="http://schemas.microsoft.com/office/drawing/2014/main" id="{73A34336-D007-7C41-ADF2-30D3EFF6621C}"/>
                </a:ext>
              </a:extLst>
            </p:cNvPr>
            <p:cNvSpPr>
              <a:spLocks/>
            </p:cNvSpPr>
            <p:nvPr/>
          </p:nvSpPr>
          <p:spPr bwMode="auto">
            <a:xfrm>
              <a:off x="1285212" y="231455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89" name="Freeform 799">
              <a:extLst>
                <a:ext uri="{FF2B5EF4-FFF2-40B4-BE49-F238E27FC236}">
                  <a16:creationId xmlns:a16="http://schemas.microsoft.com/office/drawing/2014/main" id="{13C37C79-5DD9-7447-886F-6C0297C82BCE}"/>
                </a:ext>
              </a:extLst>
            </p:cNvPr>
            <p:cNvSpPr>
              <a:spLocks/>
            </p:cNvSpPr>
            <p:nvPr/>
          </p:nvSpPr>
          <p:spPr bwMode="auto">
            <a:xfrm>
              <a:off x="1285212" y="2314552"/>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0" name="Freeform 800">
              <a:extLst>
                <a:ext uri="{FF2B5EF4-FFF2-40B4-BE49-F238E27FC236}">
                  <a16:creationId xmlns:a16="http://schemas.microsoft.com/office/drawing/2014/main" id="{224490F0-F1B1-5C40-A647-1AA41513947F}"/>
                </a:ext>
              </a:extLst>
            </p:cNvPr>
            <p:cNvSpPr>
              <a:spLocks/>
            </p:cNvSpPr>
            <p:nvPr/>
          </p:nvSpPr>
          <p:spPr bwMode="auto">
            <a:xfrm>
              <a:off x="1300330" y="2308595"/>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1" name="Freeform 801">
              <a:extLst>
                <a:ext uri="{FF2B5EF4-FFF2-40B4-BE49-F238E27FC236}">
                  <a16:creationId xmlns:a16="http://schemas.microsoft.com/office/drawing/2014/main" id="{2A885940-5C0A-6244-A055-8FB02F3DBBF7}"/>
                </a:ext>
              </a:extLst>
            </p:cNvPr>
            <p:cNvSpPr>
              <a:spLocks/>
            </p:cNvSpPr>
            <p:nvPr/>
          </p:nvSpPr>
          <p:spPr bwMode="auto">
            <a:xfrm>
              <a:off x="1300330" y="2308595"/>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2" name="Freeform 802">
              <a:extLst>
                <a:ext uri="{FF2B5EF4-FFF2-40B4-BE49-F238E27FC236}">
                  <a16:creationId xmlns:a16="http://schemas.microsoft.com/office/drawing/2014/main" id="{29CBEEAF-7AB0-0746-9DE9-6E19F76130D9}"/>
                </a:ext>
              </a:extLst>
            </p:cNvPr>
            <p:cNvSpPr>
              <a:spLocks/>
            </p:cNvSpPr>
            <p:nvPr/>
          </p:nvSpPr>
          <p:spPr bwMode="auto">
            <a:xfrm>
              <a:off x="1303819" y="2298667"/>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3" name="Freeform 803">
              <a:extLst>
                <a:ext uri="{FF2B5EF4-FFF2-40B4-BE49-F238E27FC236}">
                  <a16:creationId xmlns:a16="http://schemas.microsoft.com/office/drawing/2014/main" id="{6CAE6FB0-E58A-784A-B5D2-B4FC469F3151}"/>
                </a:ext>
              </a:extLst>
            </p:cNvPr>
            <p:cNvSpPr>
              <a:spLocks/>
            </p:cNvSpPr>
            <p:nvPr/>
          </p:nvSpPr>
          <p:spPr bwMode="auto">
            <a:xfrm>
              <a:off x="1303819" y="2292710"/>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6" y="13"/>
                  </a:lnTo>
                  <a:lnTo>
                    <a:pt x="3" y="13"/>
                  </a:lnTo>
                  <a:lnTo>
                    <a:pt x="0" y="13"/>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4" name="Freeform 804">
              <a:extLst>
                <a:ext uri="{FF2B5EF4-FFF2-40B4-BE49-F238E27FC236}">
                  <a16:creationId xmlns:a16="http://schemas.microsoft.com/office/drawing/2014/main" id="{97879FE5-9A8D-ED41-8BFA-0D31E55FE0C2}"/>
                </a:ext>
              </a:extLst>
            </p:cNvPr>
            <p:cNvSpPr>
              <a:spLocks/>
            </p:cNvSpPr>
            <p:nvPr/>
          </p:nvSpPr>
          <p:spPr bwMode="auto">
            <a:xfrm>
              <a:off x="1303819" y="2292710"/>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5" name="Freeform 805">
              <a:extLst>
                <a:ext uri="{FF2B5EF4-FFF2-40B4-BE49-F238E27FC236}">
                  <a16:creationId xmlns:a16="http://schemas.microsoft.com/office/drawing/2014/main" id="{986050FD-C90D-1448-949B-6D47EC53D0F9}"/>
                </a:ext>
              </a:extLst>
            </p:cNvPr>
            <p:cNvSpPr>
              <a:spLocks/>
            </p:cNvSpPr>
            <p:nvPr/>
          </p:nvSpPr>
          <p:spPr bwMode="auto">
            <a:xfrm>
              <a:off x="1318936" y="228278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6" name="Freeform 806">
              <a:extLst>
                <a:ext uri="{FF2B5EF4-FFF2-40B4-BE49-F238E27FC236}">
                  <a16:creationId xmlns:a16="http://schemas.microsoft.com/office/drawing/2014/main" id="{80981A32-93C8-544B-AD18-C5D977C3370C}"/>
                </a:ext>
              </a:extLst>
            </p:cNvPr>
            <p:cNvSpPr>
              <a:spLocks/>
            </p:cNvSpPr>
            <p:nvPr/>
          </p:nvSpPr>
          <p:spPr bwMode="auto">
            <a:xfrm>
              <a:off x="1318936" y="2276824"/>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7" name="Freeform 807">
              <a:extLst>
                <a:ext uri="{FF2B5EF4-FFF2-40B4-BE49-F238E27FC236}">
                  <a16:creationId xmlns:a16="http://schemas.microsoft.com/office/drawing/2014/main" id="{5AFAA9E3-F307-9B42-9D86-359B2F10A246}"/>
                </a:ext>
              </a:extLst>
            </p:cNvPr>
            <p:cNvSpPr>
              <a:spLocks/>
            </p:cNvSpPr>
            <p:nvPr/>
          </p:nvSpPr>
          <p:spPr bwMode="auto">
            <a:xfrm>
              <a:off x="1318936" y="226689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8" name="Freeform 809">
              <a:extLst>
                <a:ext uri="{FF2B5EF4-FFF2-40B4-BE49-F238E27FC236}">
                  <a16:creationId xmlns:a16="http://schemas.microsoft.com/office/drawing/2014/main" id="{107F37E9-C43E-E644-9826-152DFC46754B}"/>
                </a:ext>
              </a:extLst>
            </p:cNvPr>
            <p:cNvSpPr>
              <a:spLocks/>
            </p:cNvSpPr>
            <p:nvPr/>
          </p:nvSpPr>
          <p:spPr bwMode="auto">
            <a:xfrm>
              <a:off x="1318936" y="2266896"/>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799" name="Freeform 810">
              <a:extLst>
                <a:ext uri="{FF2B5EF4-FFF2-40B4-BE49-F238E27FC236}">
                  <a16:creationId xmlns:a16="http://schemas.microsoft.com/office/drawing/2014/main" id="{7D171C38-20CB-2043-A53B-8F19B33B8E26}"/>
                </a:ext>
              </a:extLst>
            </p:cNvPr>
            <p:cNvSpPr>
              <a:spLocks/>
            </p:cNvSpPr>
            <p:nvPr/>
          </p:nvSpPr>
          <p:spPr bwMode="auto">
            <a:xfrm>
              <a:off x="1330566" y="2259946"/>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10"/>
                  </a:moveTo>
                  <a:lnTo>
                    <a:pt x="6" y="13"/>
                  </a:lnTo>
                  <a:lnTo>
                    <a:pt x="3" y="13"/>
                  </a:lnTo>
                  <a:lnTo>
                    <a:pt x="0" y="13"/>
                  </a:lnTo>
                  <a:lnTo>
                    <a:pt x="0" y="10"/>
                  </a:lnTo>
                  <a:lnTo>
                    <a:pt x="0" y="4"/>
                  </a:lnTo>
                  <a:lnTo>
                    <a:pt x="0" y="0"/>
                  </a:lnTo>
                  <a:lnTo>
                    <a:pt x="3" y="0"/>
                  </a:lnTo>
                  <a:lnTo>
                    <a:pt x="6" y="0"/>
                  </a:lnTo>
                  <a:lnTo>
                    <a:pt x="9" y="4"/>
                  </a:lnTo>
                  <a:lnTo>
                    <a:pt x="9"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0" name="Freeform 811">
              <a:extLst>
                <a:ext uri="{FF2B5EF4-FFF2-40B4-BE49-F238E27FC236}">
                  <a16:creationId xmlns:a16="http://schemas.microsoft.com/office/drawing/2014/main" id="{4A48B063-522D-3342-982A-A6A8D848A13C}"/>
                </a:ext>
              </a:extLst>
            </p:cNvPr>
            <p:cNvSpPr>
              <a:spLocks/>
            </p:cNvSpPr>
            <p:nvPr/>
          </p:nvSpPr>
          <p:spPr bwMode="auto">
            <a:xfrm>
              <a:off x="1330566" y="225994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1" name="Freeform 812">
              <a:extLst>
                <a:ext uri="{FF2B5EF4-FFF2-40B4-BE49-F238E27FC236}">
                  <a16:creationId xmlns:a16="http://schemas.microsoft.com/office/drawing/2014/main" id="{1B994612-6399-BF44-B38F-D4BD721A2657}"/>
                </a:ext>
              </a:extLst>
            </p:cNvPr>
            <p:cNvSpPr>
              <a:spLocks/>
            </p:cNvSpPr>
            <p:nvPr/>
          </p:nvSpPr>
          <p:spPr bwMode="auto">
            <a:xfrm>
              <a:off x="1334055" y="2251010"/>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2" name="Freeform 813">
              <a:extLst>
                <a:ext uri="{FF2B5EF4-FFF2-40B4-BE49-F238E27FC236}">
                  <a16:creationId xmlns:a16="http://schemas.microsoft.com/office/drawing/2014/main" id="{F919E9A5-2E33-2D48-A3C1-2800C1B2A4C3}"/>
                </a:ext>
              </a:extLst>
            </p:cNvPr>
            <p:cNvSpPr>
              <a:spLocks/>
            </p:cNvSpPr>
            <p:nvPr/>
          </p:nvSpPr>
          <p:spPr bwMode="auto">
            <a:xfrm>
              <a:off x="1334055" y="225101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3" name="Freeform 814">
              <a:extLst>
                <a:ext uri="{FF2B5EF4-FFF2-40B4-BE49-F238E27FC236}">
                  <a16:creationId xmlns:a16="http://schemas.microsoft.com/office/drawing/2014/main" id="{C56F4719-B830-8A4D-B3C5-6229B29ADD7B}"/>
                </a:ext>
              </a:extLst>
            </p:cNvPr>
            <p:cNvSpPr>
              <a:spLocks/>
            </p:cNvSpPr>
            <p:nvPr/>
          </p:nvSpPr>
          <p:spPr bwMode="auto">
            <a:xfrm>
              <a:off x="1337543" y="224108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4" name="Freeform 815">
              <a:extLst>
                <a:ext uri="{FF2B5EF4-FFF2-40B4-BE49-F238E27FC236}">
                  <a16:creationId xmlns:a16="http://schemas.microsoft.com/office/drawing/2014/main" id="{986307DF-D369-E742-8BF0-6F1C4DD671E4}"/>
                </a:ext>
              </a:extLst>
            </p:cNvPr>
            <p:cNvSpPr>
              <a:spLocks/>
            </p:cNvSpPr>
            <p:nvPr/>
          </p:nvSpPr>
          <p:spPr bwMode="auto">
            <a:xfrm>
              <a:off x="1337543" y="2235125"/>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5" name="Freeform 816">
              <a:extLst>
                <a:ext uri="{FF2B5EF4-FFF2-40B4-BE49-F238E27FC236}">
                  <a16:creationId xmlns:a16="http://schemas.microsoft.com/office/drawing/2014/main" id="{E7A7E6B9-3335-ED42-ADFC-13B13346031A}"/>
                </a:ext>
              </a:extLst>
            </p:cNvPr>
            <p:cNvSpPr>
              <a:spLocks/>
            </p:cNvSpPr>
            <p:nvPr/>
          </p:nvSpPr>
          <p:spPr bwMode="auto">
            <a:xfrm>
              <a:off x="1337543" y="223512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6" name="Freeform 817">
              <a:extLst>
                <a:ext uri="{FF2B5EF4-FFF2-40B4-BE49-F238E27FC236}">
                  <a16:creationId xmlns:a16="http://schemas.microsoft.com/office/drawing/2014/main" id="{645BA75A-E5E6-C945-9A68-04C881F95FC2}"/>
                </a:ext>
              </a:extLst>
            </p:cNvPr>
            <p:cNvSpPr>
              <a:spLocks/>
            </p:cNvSpPr>
            <p:nvPr/>
          </p:nvSpPr>
          <p:spPr bwMode="auto">
            <a:xfrm>
              <a:off x="1341032" y="222519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7" name="Freeform 818">
              <a:extLst>
                <a:ext uri="{FF2B5EF4-FFF2-40B4-BE49-F238E27FC236}">
                  <a16:creationId xmlns:a16="http://schemas.microsoft.com/office/drawing/2014/main" id="{A1BDE781-71E5-7A4F-9A41-36CADEF35E42}"/>
                </a:ext>
              </a:extLst>
            </p:cNvPr>
            <p:cNvSpPr>
              <a:spLocks/>
            </p:cNvSpPr>
            <p:nvPr/>
          </p:nvSpPr>
          <p:spPr bwMode="auto">
            <a:xfrm>
              <a:off x="1341032" y="222519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8" name="Freeform 819">
              <a:extLst>
                <a:ext uri="{FF2B5EF4-FFF2-40B4-BE49-F238E27FC236}">
                  <a16:creationId xmlns:a16="http://schemas.microsoft.com/office/drawing/2014/main" id="{477BC80E-0F5D-DE44-BB26-218E7C4274A2}"/>
                </a:ext>
              </a:extLst>
            </p:cNvPr>
            <p:cNvSpPr>
              <a:spLocks/>
            </p:cNvSpPr>
            <p:nvPr/>
          </p:nvSpPr>
          <p:spPr bwMode="auto">
            <a:xfrm>
              <a:off x="1344521" y="221824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4"/>
                  </a:lnTo>
                  <a:lnTo>
                    <a:pt x="0" y="0"/>
                  </a:lnTo>
                  <a:lnTo>
                    <a:pt x="4" y="0"/>
                  </a:lnTo>
                  <a:lnTo>
                    <a:pt x="7"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09" name="Freeform 820">
              <a:extLst>
                <a:ext uri="{FF2B5EF4-FFF2-40B4-BE49-F238E27FC236}">
                  <a16:creationId xmlns:a16="http://schemas.microsoft.com/office/drawing/2014/main" id="{903DA046-6DA7-2042-A02D-046C0188ED83}"/>
                </a:ext>
              </a:extLst>
            </p:cNvPr>
            <p:cNvSpPr>
              <a:spLocks/>
            </p:cNvSpPr>
            <p:nvPr/>
          </p:nvSpPr>
          <p:spPr bwMode="auto">
            <a:xfrm>
              <a:off x="1344521" y="221824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0" name="Freeform 821">
              <a:extLst>
                <a:ext uri="{FF2B5EF4-FFF2-40B4-BE49-F238E27FC236}">
                  <a16:creationId xmlns:a16="http://schemas.microsoft.com/office/drawing/2014/main" id="{21C8E5D4-5F83-534F-A786-7D5E8A089E56}"/>
                </a:ext>
              </a:extLst>
            </p:cNvPr>
            <p:cNvSpPr>
              <a:spLocks/>
            </p:cNvSpPr>
            <p:nvPr/>
          </p:nvSpPr>
          <p:spPr bwMode="auto">
            <a:xfrm>
              <a:off x="1349172" y="22182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1" name="Freeform 822">
              <a:extLst>
                <a:ext uri="{FF2B5EF4-FFF2-40B4-BE49-F238E27FC236}">
                  <a16:creationId xmlns:a16="http://schemas.microsoft.com/office/drawing/2014/main" id="{17F4BFD7-ECAF-314C-B833-CCA11919AD0E}"/>
                </a:ext>
              </a:extLst>
            </p:cNvPr>
            <p:cNvSpPr>
              <a:spLocks/>
            </p:cNvSpPr>
            <p:nvPr/>
          </p:nvSpPr>
          <p:spPr bwMode="auto">
            <a:xfrm>
              <a:off x="1356150" y="220931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2" name="Freeform 823">
              <a:extLst>
                <a:ext uri="{FF2B5EF4-FFF2-40B4-BE49-F238E27FC236}">
                  <a16:creationId xmlns:a16="http://schemas.microsoft.com/office/drawing/2014/main" id="{7650BFFB-B816-EA4A-8D8D-A21BF46D5297}"/>
                </a:ext>
              </a:extLst>
            </p:cNvPr>
            <p:cNvSpPr>
              <a:spLocks/>
            </p:cNvSpPr>
            <p:nvPr/>
          </p:nvSpPr>
          <p:spPr bwMode="auto">
            <a:xfrm>
              <a:off x="1356150" y="220931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3" name="Freeform 824">
              <a:extLst>
                <a:ext uri="{FF2B5EF4-FFF2-40B4-BE49-F238E27FC236}">
                  <a16:creationId xmlns:a16="http://schemas.microsoft.com/office/drawing/2014/main" id="{043D727A-39AC-C343-9A94-00EB14498D5D}"/>
                </a:ext>
              </a:extLst>
            </p:cNvPr>
            <p:cNvSpPr>
              <a:spLocks/>
            </p:cNvSpPr>
            <p:nvPr/>
          </p:nvSpPr>
          <p:spPr bwMode="auto">
            <a:xfrm>
              <a:off x="1364291" y="2209311"/>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2" y="0"/>
                  </a:lnTo>
                  <a:lnTo>
                    <a:pt x="16" y="0"/>
                  </a:lnTo>
                  <a:lnTo>
                    <a:pt x="16" y="3"/>
                  </a:lnTo>
                  <a:lnTo>
                    <a:pt x="16" y="6"/>
                  </a:lnTo>
                  <a:lnTo>
                    <a:pt x="1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4" name="Freeform 825">
              <a:extLst>
                <a:ext uri="{FF2B5EF4-FFF2-40B4-BE49-F238E27FC236}">
                  <a16:creationId xmlns:a16="http://schemas.microsoft.com/office/drawing/2014/main" id="{63250AC4-80C1-4B49-8336-7B0AFE005B14}"/>
                </a:ext>
              </a:extLst>
            </p:cNvPr>
            <p:cNvSpPr>
              <a:spLocks/>
            </p:cNvSpPr>
            <p:nvPr/>
          </p:nvSpPr>
          <p:spPr bwMode="auto">
            <a:xfrm>
              <a:off x="1374757" y="220931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5" name="Freeform 826">
              <a:extLst>
                <a:ext uri="{FF2B5EF4-FFF2-40B4-BE49-F238E27FC236}">
                  <a16:creationId xmlns:a16="http://schemas.microsoft.com/office/drawing/2014/main" id="{AEF6586E-BECB-C14C-96E3-9B39C57F44AE}"/>
                </a:ext>
              </a:extLst>
            </p:cNvPr>
            <p:cNvSpPr>
              <a:spLocks/>
            </p:cNvSpPr>
            <p:nvPr/>
          </p:nvSpPr>
          <p:spPr bwMode="auto">
            <a:xfrm>
              <a:off x="1382898" y="2199382"/>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6" name="Freeform 827">
              <a:extLst>
                <a:ext uri="{FF2B5EF4-FFF2-40B4-BE49-F238E27FC236}">
                  <a16:creationId xmlns:a16="http://schemas.microsoft.com/office/drawing/2014/main" id="{DB73681D-D834-0345-B9E3-A97FDFE3A8DD}"/>
                </a:ext>
              </a:extLst>
            </p:cNvPr>
            <p:cNvSpPr>
              <a:spLocks/>
            </p:cNvSpPr>
            <p:nvPr/>
          </p:nvSpPr>
          <p:spPr bwMode="auto">
            <a:xfrm>
              <a:off x="1382898" y="219938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7" name="Freeform 828">
              <a:extLst>
                <a:ext uri="{FF2B5EF4-FFF2-40B4-BE49-F238E27FC236}">
                  <a16:creationId xmlns:a16="http://schemas.microsoft.com/office/drawing/2014/main" id="{131BE0E6-845C-8148-AC00-4C018249A796}"/>
                </a:ext>
              </a:extLst>
            </p:cNvPr>
            <p:cNvSpPr>
              <a:spLocks/>
            </p:cNvSpPr>
            <p:nvPr/>
          </p:nvSpPr>
          <p:spPr bwMode="auto">
            <a:xfrm>
              <a:off x="1386386" y="219342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6" y="13"/>
                  </a:lnTo>
                  <a:lnTo>
                    <a:pt x="3" y="13"/>
                  </a:lnTo>
                  <a:lnTo>
                    <a:pt x="0" y="13"/>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8" name="Freeform 829">
              <a:extLst>
                <a:ext uri="{FF2B5EF4-FFF2-40B4-BE49-F238E27FC236}">
                  <a16:creationId xmlns:a16="http://schemas.microsoft.com/office/drawing/2014/main" id="{62070099-647F-1B4C-A8C3-7C6614031337}"/>
                </a:ext>
              </a:extLst>
            </p:cNvPr>
            <p:cNvSpPr>
              <a:spLocks/>
            </p:cNvSpPr>
            <p:nvPr/>
          </p:nvSpPr>
          <p:spPr bwMode="auto">
            <a:xfrm>
              <a:off x="1386386" y="2193425"/>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19" name="Freeform 830">
              <a:extLst>
                <a:ext uri="{FF2B5EF4-FFF2-40B4-BE49-F238E27FC236}">
                  <a16:creationId xmlns:a16="http://schemas.microsoft.com/office/drawing/2014/main" id="{9E9C85DD-6D92-BB4C-A4DD-D6B5BDE4C1D5}"/>
                </a:ext>
              </a:extLst>
            </p:cNvPr>
            <p:cNvSpPr>
              <a:spLocks/>
            </p:cNvSpPr>
            <p:nvPr/>
          </p:nvSpPr>
          <p:spPr bwMode="auto">
            <a:xfrm>
              <a:off x="1401504" y="218349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0" name="Freeform 831">
              <a:extLst>
                <a:ext uri="{FF2B5EF4-FFF2-40B4-BE49-F238E27FC236}">
                  <a16:creationId xmlns:a16="http://schemas.microsoft.com/office/drawing/2014/main" id="{147205F7-10AF-634F-B389-FBD2B257CBB4}"/>
                </a:ext>
              </a:extLst>
            </p:cNvPr>
            <p:cNvSpPr>
              <a:spLocks/>
            </p:cNvSpPr>
            <p:nvPr/>
          </p:nvSpPr>
          <p:spPr bwMode="auto">
            <a:xfrm>
              <a:off x="1401504" y="218349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1" name="Freeform 832">
              <a:extLst>
                <a:ext uri="{FF2B5EF4-FFF2-40B4-BE49-F238E27FC236}">
                  <a16:creationId xmlns:a16="http://schemas.microsoft.com/office/drawing/2014/main" id="{AA25DCF5-8380-6E44-8A25-18BB0BFE9653}"/>
                </a:ext>
              </a:extLst>
            </p:cNvPr>
            <p:cNvSpPr>
              <a:spLocks/>
            </p:cNvSpPr>
            <p:nvPr/>
          </p:nvSpPr>
          <p:spPr bwMode="auto">
            <a:xfrm>
              <a:off x="1404993" y="2176547"/>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2" name="Freeform 833">
              <a:extLst>
                <a:ext uri="{FF2B5EF4-FFF2-40B4-BE49-F238E27FC236}">
                  <a16:creationId xmlns:a16="http://schemas.microsoft.com/office/drawing/2014/main" id="{D83CA7EA-703F-D044-8144-C0E1B18412DA}"/>
                </a:ext>
              </a:extLst>
            </p:cNvPr>
            <p:cNvSpPr>
              <a:spLocks/>
            </p:cNvSpPr>
            <p:nvPr/>
          </p:nvSpPr>
          <p:spPr bwMode="auto">
            <a:xfrm>
              <a:off x="1404993" y="216761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3" name="Freeform 834">
              <a:extLst>
                <a:ext uri="{FF2B5EF4-FFF2-40B4-BE49-F238E27FC236}">
                  <a16:creationId xmlns:a16="http://schemas.microsoft.com/office/drawing/2014/main" id="{F33998A1-7CB6-6549-B2DB-47DA7C66E2F1}"/>
                </a:ext>
              </a:extLst>
            </p:cNvPr>
            <p:cNvSpPr>
              <a:spLocks/>
            </p:cNvSpPr>
            <p:nvPr/>
          </p:nvSpPr>
          <p:spPr bwMode="auto">
            <a:xfrm>
              <a:off x="1404993" y="2167611"/>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19" y="0"/>
                  </a:lnTo>
                  <a:lnTo>
                    <a:pt x="23" y="0"/>
                  </a:lnTo>
                  <a:lnTo>
                    <a:pt x="23" y="3"/>
                  </a:lnTo>
                  <a:lnTo>
                    <a:pt x="23" y="6"/>
                  </a:lnTo>
                  <a:lnTo>
                    <a:pt x="1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4" name="Freeform 835">
              <a:extLst>
                <a:ext uri="{FF2B5EF4-FFF2-40B4-BE49-F238E27FC236}">
                  <a16:creationId xmlns:a16="http://schemas.microsoft.com/office/drawing/2014/main" id="{A7B85CC0-8FDF-3A42-9CD7-13629459123A}"/>
                </a:ext>
              </a:extLst>
            </p:cNvPr>
            <p:cNvSpPr>
              <a:spLocks/>
            </p:cNvSpPr>
            <p:nvPr/>
          </p:nvSpPr>
          <p:spPr bwMode="auto">
            <a:xfrm>
              <a:off x="1423599" y="2157683"/>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5" name="Freeform 836">
              <a:extLst>
                <a:ext uri="{FF2B5EF4-FFF2-40B4-BE49-F238E27FC236}">
                  <a16:creationId xmlns:a16="http://schemas.microsoft.com/office/drawing/2014/main" id="{49B8B982-20BA-FB45-8FE9-63890A67FC87}"/>
                </a:ext>
              </a:extLst>
            </p:cNvPr>
            <p:cNvSpPr>
              <a:spLocks/>
            </p:cNvSpPr>
            <p:nvPr/>
          </p:nvSpPr>
          <p:spPr bwMode="auto">
            <a:xfrm>
              <a:off x="1423599" y="215768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6" name="Freeform 837">
              <a:extLst>
                <a:ext uri="{FF2B5EF4-FFF2-40B4-BE49-F238E27FC236}">
                  <a16:creationId xmlns:a16="http://schemas.microsoft.com/office/drawing/2014/main" id="{75A12309-CA6B-F44A-8DC3-94D39793B1ED}"/>
                </a:ext>
              </a:extLst>
            </p:cNvPr>
            <p:cNvSpPr>
              <a:spLocks/>
            </p:cNvSpPr>
            <p:nvPr/>
          </p:nvSpPr>
          <p:spPr bwMode="auto">
            <a:xfrm>
              <a:off x="1431740" y="2151726"/>
              <a:ext cx="10467" cy="12907"/>
            </a:xfrm>
            <a:custGeom>
              <a:avLst/>
              <a:gdLst>
                <a:gd name="T0" fmla="*/ 2147483646 w 9"/>
                <a:gd name="T1" fmla="*/ 2147483646 h 13"/>
                <a:gd name="T2" fmla="*/ 2147483646 w 9"/>
                <a:gd name="T3" fmla="*/ 2147483646 h 13"/>
                <a:gd name="T4" fmla="*/ 2147483646 w 9"/>
                <a:gd name="T5" fmla="*/ 2147483646 h 13"/>
                <a:gd name="T6" fmla="*/ 2147483646 w 9"/>
                <a:gd name="T7" fmla="*/ 2147483646 h 13"/>
                <a:gd name="T8" fmla="*/ 0 w 9"/>
                <a:gd name="T9" fmla="*/ 2147483646 h 13"/>
                <a:gd name="T10" fmla="*/ 0 w 9"/>
                <a:gd name="T11" fmla="*/ 2147483646 h 13"/>
                <a:gd name="T12" fmla="*/ 0 w 9"/>
                <a:gd name="T13" fmla="*/ 2147483646 h 13"/>
                <a:gd name="T14" fmla="*/ 0 w 9"/>
                <a:gd name="T15" fmla="*/ 0 h 13"/>
                <a:gd name="T16" fmla="*/ 2147483646 w 9"/>
                <a:gd name="T17" fmla="*/ 0 h 13"/>
                <a:gd name="T18" fmla="*/ 2147483646 w 9"/>
                <a:gd name="T19" fmla="*/ 0 h 13"/>
                <a:gd name="T20" fmla="*/ 2147483646 w 9"/>
                <a:gd name="T21" fmla="*/ 0 h 13"/>
                <a:gd name="T22" fmla="*/ 2147483646 w 9"/>
                <a:gd name="T23" fmla="*/ 2147483646 h 13"/>
                <a:gd name="T24" fmla="*/ 2147483646 w 9"/>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3">
                  <a:moveTo>
                    <a:pt x="9" y="9"/>
                  </a:moveTo>
                  <a:lnTo>
                    <a:pt x="6" y="13"/>
                  </a:lnTo>
                  <a:lnTo>
                    <a:pt x="3" y="13"/>
                  </a:lnTo>
                  <a:lnTo>
                    <a:pt x="0" y="13"/>
                  </a:lnTo>
                  <a:lnTo>
                    <a:pt x="0" y="9"/>
                  </a:lnTo>
                  <a:lnTo>
                    <a:pt x="0" y="3"/>
                  </a:lnTo>
                  <a:lnTo>
                    <a:pt x="0" y="0"/>
                  </a:lnTo>
                  <a:lnTo>
                    <a:pt x="3" y="0"/>
                  </a:lnTo>
                  <a:lnTo>
                    <a:pt x="6" y="0"/>
                  </a:lnTo>
                  <a:lnTo>
                    <a:pt x="9" y="3"/>
                  </a:lnTo>
                  <a:lnTo>
                    <a:pt x="9"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7" name="Freeform 838">
              <a:extLst>
                <a:ext uri="{FF2B5EF4-FFF2-40B4-BE49-F238E27FC236}">
                  <a16:creationId xmlns:a16="http://schemas.microsoft.com/office/drawing/2014/main" id="{1921035A-6853-8F4E-83E5-05AFE2E09DBD}"/>
                </a:ext>
              </a:extLst>
            </p:cNvPr>
            <p:cNvSpPr>
              <a:spLocks/>
            </p:cNvSpPr>
            <p:nvPr/>
          </p:nvSpPr>
          <p:spPr bwMode="auto">
            <a:xfrm>
              <a:off x="1431740" y="2151726"/>
              <a:ext cx="13955" cy="8936"/>
            </a:xfrm>
            <a:custGeom>
              <a:avLst/>
              <a:gdLst>
                <a:gd name="T0" fmla="*/ 2147483646 w 12"/>
                <a:gd name="T1" fmla="*/ 2147483646 h 9"/>
                <a:gd name="T2" fmla="*/ 0 w 12"/>
                <a:gd name="T3" fmla="*/ 2147483646 h 9"/>
                <a:gd name="T4" fmla="*/ 0 w 12"/>
                <a:gd name="T5" fmla="*/ 2147483646 h 9"/>
                <a:gd name="T6" fmla="*/ 0 w 12"/>
                <a:gd name="T7" fmla="*/ 2147483646 h 9"/>
                <a:gd name="T8" fmla="*/ 0 w 12"/>
                <a:gd name="T9" fmla="*/ 0 h 9"/>
                <a:gd name="T10" fmla="*/ 2147483646 w 12"/>
                <a:gd name="T11" fmla="*/ 0 h 9"/>
                <a:gd name="T12" fmla="*/ 2147483646 w 12"/>
                <a:gd name="T13" fmla="*/ 0 h 9"/>
                <a:gd name="T14" fmla="*/ 2147483646 w 12"/>
                <a:gd name="T15" fmla="*/ 0 h 9"/>
                <a:gd name="T16" fmla="*/ 2147483646 w 12"/>
                <a:gd name="T17" fmla="*/ 2147483646 h 9"/>
                <a:gd name="T18" fmla="*/ 2147483646 w 12"/>
                <a:gd name="T19" fmla="*/ 2147483646 h 9"/>
                <a:gd name="T20" fmla="*/ 2147483646 w 12"/>
                <a:gd name="T21" fmla="*/ 2147483646 h 9"/>
                <a:gd name="T22" fmla="*/ 2147483646 w 12"/>
                <a:gd name="T23" fmla="*/ 2147483646 h 9"/>
                <a:gd name="T24" fmla="*/ 2147483646 w 1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9">
                  <a:moveTo>
                    <a:pt x="3" y="9"/>
                  </a:moveTo>
                  <a:lnTo>
                    <a:pt x="0" y="6"/>
                  </a:lnTo>
                  <a:lnTo>
                    <a:pt x="0" y="3"/>
                  </a:lnTo>
                  <a:lnTo>
                    <a:pt x="0" y="0"/>
                  </a:lnTo>
                  <a:lnTo>
                    <a:pt x="3" y="0"/>
                  </a:lnTo>
                  <a:lnTo>
                    <a:pt x="9" y="0"/>
                  </a:lnTo>
                  <a:lnTo>
                    <a:pt x="12" y="0"/>
                  </a:lnTo>
                  <a:lnTo>
                    <a:pt x="12" y="3"/>
                  </a:lnTo>
                  <a:lnTo>
                    <a:pt x="12" y="6"/>
                  </a:lnTo>
                  <a:lnTo>
                    <a:pt x="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8" name="Freeform 839">
              <a:extLst>
                <a:ext uri="{FF2B5EF4-FFF2-40B4-BE49-F238E27FC236}">
                  <a16:creationId xmlns:a16="http://schemas.microsoft.com/office/drawing/2014/main" id="{35E59A3A-EC2B-554C-BC0F-3BD5FF601EF2}"/>
                </a:ext>
              </a:extLst>
            </p:cNvPr>
            <p:cNvSpPr>
              <a:spLocks/>
            </p:cNvSpPr>
            <p:nvPr/>
          </p:nvSpPr>
          <p:spPr bwMode="auto">
            <a:xfrm>
              <a:off x="1438718" y="214179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29" name="Freeform 840">
              <a:extLst>
                <a:ext uri="{FF2B5EF4-FFF2-40B4-BE49-F238E27FC236}">
                  <a16:creationId xmlns:a16="http://schemas.microsoft.com/office/drawing/2014/main" id="{A616F3CA-C9D9-564C-8505-9040BD70DA8B}"/>
                </a:ext>
              </a:extLst>
            </p:cNvPr>
            <p:cNvSpPr>
              <a:spLocks/>
            </p:cNvSpPr>
            <p:nvPr/>
          </p:nvSpPr>
          <p:spPr bwMode="auto">
            <a:xfrm>
              <a:off x="1438718" y="214179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0" name="Freeform 841">
              <a:extLst>
                <a:ext uri="{FF2B5EF4-FFF2-40B4-BE49-F238E27FC236}">
                  <a16:creationId xmlns:a16="http://schemas.microsoft.com/office/drawing/2014/main" id="{845670FA-B173-4642-91BD-2DE41BF0D30D}"/>
                </a:ext>
              </a:extLst>
            </p:cNvPr>
            <p:cNvSpPr>
              <a:spLocks/>
            </p:cNvSpPr>
            <p:nvPr/>
          </p:nvSpPr>
          <p:spPr bwMode="auto">
            <a:xfrm>
              <a:off x="1442206" y="2131869"/>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4"/>
                  </a:lnTo>
                  <a:lnTo>
                    <a:pt x="0" y="0"/>
                  </a:lnTo>
                  <a:lnTo>
                    <a:pt x="3"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1" name="Freeform 842">
              <a:extLst>
                <a:ext uri="{FF2B5EF4-FFF2-40B4-BE49-F238E27FC236}">
                  <a16:creationId xmlns:a16="http://schemas.microsoft.com/office/drawing/2014/main" id="{329438EB-AD3F-B74F-91B0-9313FC89933C}"/>
                </a:ext>
              </a:extLst>
            </p:cNvPr>
            <p:cNvSpPr>
              <a:spLocks/>
            </p:cNvSpPr>
            <p:nvPr/>
          </p:nvSpPr>
          <p:spPr bwMode="auto">
            <a:xfrm>
              <a:off x="1442206" y="213186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2" name="Freeform 843">
              <a:extLst>
                <a:ext uri="{FF2B5EF4-FFF2-40B4-BE49-F238E27FC236}">
                  <a16:creationId xmlns:a16="http://schemas.microsoft.com/office/drawing/2014/main" id="{1A21A964-2102-6B43-B701-087C5837A056}"/>
                </a:ext>
              </a:extLst>
            </p:cNvPr>
            <p:cNvSpPr>
              <a:spLocks/>
            </p:cNvSpPr>
            <p:nvPr/>
          </p:nvSpPr>
          <p:spPr bwMode="auto">
            <a:xfrm>
              <a:off x="1445695" y="2125912"/>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7" y="13"/>
                  </a:lnTo>
                  <a:lnTo>
                    <a:pt x="4" y="13"/>
                  </a:lnTo>
                  <a:lnTo>
                    <a:pt x="0" y="13"/>
                  </a:lnTo>
                  <a:lnTo>
                    <a:pt x="0" y="10"/>
                  </a:lnTo>
                  <a:lnTo>
                    <a:pt x="0" y="3"/>
                  </a:lnTo>
                  <a:lnTo>
                    <a:pt x="0" y="0"/>
                  </a:lnTo>
                  <a:lnTo>
                    <a:pt x="4" y="0"/>
                  </a:lnTo>
                  <a:lnTo>
                    <a:pt x="7"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3" name="Freeform 844">
              <a:extLst>
                <a:ext uri="{FF2B5EF4-FFF2-40B4-BE49-F238E27FC236}">
                  <a16:creationId xmlns:a16="http://schemas.microsoft.com/office/drawing/2014/main" id="{35C0E222-5013-0243-8B74-FB41CD5CDEDD}"/>
                </a:ext>
              </a:extLst>
            </p:cNvPr>
            <p:cNvSpPr>
              <a:spLocks/>
            </p:cNvSpPr>
            <p:nvPr/>
          </p:nvSpPr>
          <p:spPr bwMode="auto">
            <a:xfrm>
              <a:off x="1445695" y="212591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4" name="Freeform 845">
              <a:extLst>
                <a:ext uri="{FF2B5EF4-FFF2-40B4-BE49-F238E27FC236}">
                  <a16:creationId xmlns:a16="http://schemas.microsoft.com/office/drawing/2014/main" id="{007CFA00-B629-A349-8683-BCD7236BB9F9}"/>
                </a:ext>
              </a:extLst>
            </p:cNvPr>
            <p:cNvSpPr>
              <a:spLocks/>
            </p:cNvSpPr>
            <p:nvPr/>
          </p:nvSpPr>
          <p:spPr bwMode="auto">
            <a:xfrm>
              <a:off x="1453835" y="211598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5" name="Freeform 846">
              <a:extLst>
                <a:ext uri="{FF2B5EF4-FFF2-40B4-BE49-F238E27FC236}">
                  <a16:creationId xmlns:a16="http://schemas.microsoft.com/office/drawing/2014/main" id="{E0C61067-618B-1E4E-9F9C-438FA4FC1CE0}"/>
                </a:ext>
              </a:extLst>
            </p:cNvPr>
            <p:cNvSpPr>
              <a:spLocks/>
            </p:cNvSpPr>
            <p:nvPr/>
          </p:nvSpPr>
          <p:spPr bwMode="auto">
            <a:xfrm>
              <a:off x="1453835" y="211598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6" name="Freeform 847">
              <a:extLst>
                <a:ext uri="{FF2B5EF4-FFF2-40B4-BE49-F238E27FC236}">
                  <a16:creationId xmlns:a16="http://schemas.microsoft.com/office/drawing/2014/main" id="{D0ED65B7-9CB2-A04D-ADF6-D9EA5A8A6260}"/>
                </a:ext>
              </a:extLst>
            </p:cNvPr>
            <p:cNvSpPr>
              <a:spLocks/>
            </p:cNvSpPr>
            <p:nvPr/>
          </p:nvSpPr>
          <p:spPr bwMode="auto">
            <a:xfrm>
              <a:off x="1457324" y="211598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7" name="Freeform 848">
              <a:extLst>
                <a:ext uri="{FF2B5EF4-FFF2-40B4-BE49-F238E27FC236}">
                  <a16:creationId xmlns:a16="http://schemas.microsoft.com/office/drawing/2014/main" id="{9733B589-16A2-ED4D-9794-83FED266C256}"/>
                </a:ext>
              </a:extLst>
            </p:cNvPr>
            <p:cNvSpPr>
              <a:spLocks/>
            </p:cNvSpPr>
            <p:nvPr/>
          </p:nvSpPr>
          <p:spPr bwMode="auto">
            <a:xfrm>
              <a:off x="1460813" y="2106055"/>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8" name="Freeform 849">
              <a:extLst>
                <a:ext uri="{FF2B5EF4-FFF2-40B4-BE49-F238E27FC236}">
                  <a16:creationId xmlns:a16="http://schemas.microsoft.com/office/drawing/2014/main" id="{D0735DDC-3A06-9E47-8853-E4DCC9C22F20}"/>
                </a:ext>
              </a:extLst>
            </p:cNvPr>
            <p:cNvSpPr>
              <a:spLocks/>
            </p:cNvSpPr>
            <p:nvPr/>
          </p:nvSpPr>
          <p:spPr bwMode="auto">
            <a:xfrm>
              <a:off x="1460813" y="210605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39" name="Freeform 850">
              <a:extLst>
                <a:ext uri="{FF2B5EF4-FFF2-40B4-BE49-F238E27FC236}">
                  <a16:creationId xmlns:a16="http://schemas.microsoft.com/office/drawing/2014/main" id="{90D61086-8B20-4342-833B-1481022A5815}"/>
                </a:ext>
              </a:extLst>
            </p:cNvPr>
            <p:cNvSpPr>
              <a:spLocks/>
            </p:cNvSpPr>
            <p:nvPr/>
          </p:nvSpPr>
          <p:spPr bwMode="auto">
            <a:xfrm>
              <a:off x="1465465" y="2106055"/>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4"/>
                  </a:lnTo>
                  <a:lnTo>
                    <a:pt x="0" y="0"/>
                  </a:lnTo>
                  <a:lnTo>
                    <a:pt x="3" y="0"/>
                  </a:lnTo>
                  <a:lnTo>
                    <a:pt x="9" y="0"/>
                  </a:lnTo>
                  <a:lnTo>
                    <a:pt x="12" y="0"/>
                  </a:lnTo>
                  <a:lnTo>
                    <a:pt x="12" y="4"/>
                  </a:lnTo>
                  <a:lnTo>
                    <a:pt x="12" y="7"/>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0" name="Freeform 851">
              <a:extLst>
                <a:ext uri="{FF2B5EF4-FFF2-40B4-BE49-F238E27FC236}">
                  <a16:creationId xmlns:a16="http://schemas.microsoft.com/office/drawing/2014/main" id="{BD1A77C9-C96A-A241-A0CC-B6DC6C53FB96}"/>
                </a:ext>
              </a:extLst>
            </p:cNvPr>
            <p:cNvSpPr>
              <a:spLocks/>
            </p:cNvSpPr>
            <p:nvPr/>
          </p:nvSpPr>
          <p:spPr bwMode="auto">
            <a:xfrm>
              <a:off x="1472442" y="2100098"/>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3"/>
                  </a:lnTo>
                  <a:lnTo>
                    <a:pt x="0" y="0"/>
                  </a:lnTo>
                  <a:lnTo>
                    <a:pt x="3" y="0"/>
                  </a:lnTo>
                  <a:lnTo>
                    <a:pt x="6" y="0"/>
                  </a:lnTo>
                  <a:lnTo>
                    <a:pt x="10" y="3"/>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1" name="Freeform 852">
              <a:extLst>
                <a:ext uri="{FF2B5EF4-FFF2-40B4-BE49-F238E27FC236}">
                  <a16:creationId xmlns:a16="http://schemas.microsoft.com/office/drawing/2014/main" id="{5B166456-A2CD-B549-A977-55540DFF38DE}"/>
                </a:ext>
              </a:extLst>
            </p:cNvPr>
            <p:cNvSpPr>
              <a:spLocks/>
            </p:cNvSpPr>
            <p:nvPr/>
          </p:nvSpPr>
          <p:spPr bwMode="auto">
            <a:xfrm>
              <a:off x="1472442" y="209017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2" name="Freeform 853">
              <a:extLst>
                <a:ext uri="{FF2B5EF4-FFF2-40B4-BE49-F238E27FC236}">
                  <a16:creationId xmlns:a16="http://schemas.microsoft.com/office/drawing/2014/main" id="{4AB9DE0C-1C3E-C94D-9965-4119299EAE5E}"/>
                </a:ext>
              </a:extLst>
            </p:cNvPr>
            <p:cNvSpPr>
              <a:spLocks/>
            </p:cNvSpPr>
            <p:nvPr/>
          </p:nvSpPr>
          <p:spPr bwMode="auto">
            <a:xfrm>
              <a:off x="1472442" y="209017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3" name="Freeform 854">
              <a:extLst>
                <a:ext uri="{FF2B5EF4-FFF2-40B4-BE49-F238E27FC236}">
                  <a16:creationId xmlns:a16="http://schemas.microsoft.com/office/drawing/2014/main" id="{67F9F661-1AFB-5A43-B1A7-BACCA2111F31}"/>
                </a:ext>
              </a:extLst>
            </p:cNvPr>
            <p:cNvSpPr>
              <a:spLocks/>
            </p:cNvSpPr>
            <p:nvPr/>
          </p:nvSpPr>
          <p:spPr bwMode="auto">
            <a:xfrm>
              <a:off x="1475931" y="2090170"/>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3" y="10"/>
                  </a:moveTo>
                  <a:lnTo>
                    <a:pt x="0" y="7"/>
                  </a:lnTo>
                  <a:lnTo>
                    <a:pt x="0" y="4"/>
                  </a:lnTo>
                  <a:lnTo>
                    <a:pt x="0" y="0"/>
                  </a:lnTo>
                  <a:lnTo>
                    <a:pt x="3" y="0"/>
                  </a:lnTo>
                  <a:lnTo>
                    <a:pt x="20" y="0"/>
                  </a:lnTo>
                  <a:lnTo>
                    <a:pt x="23" y="0"/>
                  </a:lnTo>
                  <a:lnTo>
                    <a:pt x="23" y="4"/>
                  </a:lnTo>
                  <a:lnTo>
                    <a:pt x="23" y="7"/>
                  </a:lnTo>
                  <a:lnTo>
                    <a:pt x="2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4" name="Freeform 855">
              <a:extLst>
                <a:ext uri="{FF2B5EF4-FFF2-40B4-BE49-F238E27FC236}">
                  <a16:creationId xmlns:a16="http://schemas.microsoft.com/office/drawing/2014/main" id="{1B426416-65C6-FD4D-9B9C-5E5F7C033C23}"/>
                </a:ext>
              </a:extLst>
            </p:cNvPr>
            <p:cNvSpPr>
              <a:spLocks/>
            </p:cNvSpPr>
            <p:nvPr/>
          </p:nvSpPr>
          <p:spPr bwMode="auto">
            <a:xfrm>
              <a:off x="1494538" y="208123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5" name="Freeform 856">
              <a:extLst>
                <a:ext uri="{FF2B5EF4-FFF2-40B4-BE49-F238E27FC236}">
                  <a16:creationId xmlns:a16="http://schemas.microsoft.com/office/drawing/2014/main" id="{C849FA35-C6C3-0B4F-90C1-9BAA33C3B7FB}"/>
                </a:ext>
              </a:extLst>
            </p:cNvPr>
            <p:cNvSpPr>
              <a:spLocks/>
            </p:cNvSpPr>
            <p:nvPr/>
          </p:nvSpPr>
          <p:spPr bwMode="auto">
            <a:xfrm>
              <a:off x="1494538" y="208123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6" name="Freeform 857">
              <a:extLst>
                <a:ext uri="{FF2B5EF4-FFF2-40B4-BE49-F238E27FC236}">
                  <a16:creationId xmlns:a16="http://schemas.microsoft.com/office/drawing/2014/main" id="{1CBA0D3C-BB1F-2A4A-9A1A-FAFFA675605C}"/>
                </a:ext>
              </a:extLst>
            </p:cNvPr>
            <p:cNvSpPr>
              <a:spLocks/>
            </p:cNvSpPr>
            <p:nvPr/>
          </p:nvSpPr>
          <p:spPr bwMode="auto">
            <a:xfrm>
              <a:off x="1502678" y="2071306"/>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7" name="Freeform 858">
              <a:extLst>
                <a:ext uri="{FF2B5EF4-FFF2-40B4-BE49-F238E27FC236}">
                  <a16:creationId xmlns:a16="http://schemas.microsoft.com/office/drawing/2014/main" id="{FCEF4FEC-6701-E343-98E2-41F076D9E7B0}"/>
                </a:ext>
              </a:extLst>
            </p:cNvPr>
            <p:cNvSpPr>
              <a:spLocks/>
            </p:cNvSpPr>
            <p:nvPr/>
          </p:nvSpPr>
          <p:spPr bwMode="auto">
            <a:xfrm>
              <a:off x="1502678" y="2065349"/>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8" name="Freeform 859">
              <a:extLst>
                <a:ext uri="{FF2B5EF4-FFF2-40B4-BE49-F238E27FC236}">
                  <a16:creationId xmlns:a16="http://schemas.microsoft.com/office/drawing/2014/main" id="{6DD8C786-55DE-B948-804D-7C1E5E831972}"/>
                </a:ext>
              </a:extLst>
            </p:cNvPr>
            <p:cNvSpPr>
              <a:spLocks/>
            </p:cNvSpPr>
            <p:nvPr/>
          </p:nvSpPr>
          <p:spPr bwMode="auto">
            <a:xfrm>
              <a:off x="1502678" y="2065349"/>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49" name="Freeform 860">
              <a:extLst>
                <a:ext uri="{FF2B5EF4-FFF2-40B4-BE49-F238E27FC236}">
                  <a16:creationId xmlns:a16="http://schemas.microsoft.com/office/drawing/2014/main" id="{F9CB70A0-D9F7-0A43-A10D-8BB4953FAB6B}"/>
                </a:ext>
              </a:extLst>
            </p:cNvPr>
            <p:cNvSpPr>
              <a:spLocks/>
            </p:cNvSpPr>
            <p:nvPr/>
          </p:nvSpPr>
          <p:spPr bwMode="auto">
            <a:xfrm>
              <a:off x="1517796" y="2055421"/>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0" name="Freeform 861">
              <a:extLst>
                <a:ext uri="{FF2B5EF4-FFF2-40B4-BE49-F238E27FC236}">
                  <a16:creationId xmlns:a16="http://schemas.microsoft.com/office/drawing/2014/main" id="{C706C6CA-437A-6D4F-B502-43438C042E8D}"/>
                </a:ext>
              </a:extLst>
            </p:cNvPr>
            <p:cNvSpPr>
              <a:spLocks/>
            </p:cNvSpPr>
            <p:nvPr/>
          </p:nvSpPr>
          <p:spPr bwMode="auto">
            <a:xfrm>
              <a:off x="1517796" y="205542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1" name="Freeform 862">
              <a:extLst>
                <a:ext uri="{FF2B5EF4-FFF2-40B4-BE49-F238E27FC236}">
                  <a16:creationId xmlns:a16="http://schemas.microsoft.com/office/drawing/2014/main" id="{CD007742-0FF5-CB41-AA7C-2180421D5E3E}"/>
                </a:ext>
              </a:extLst>
            </p:cNvPr>
            <p:cNvSpPr>
              <a:spLocks/>
            </p:cNvSpPr>
            <p:nvPr/>
          </p:nvSpPr>
          <p:spPr bwMode="auto">
            <a:xfrm>
              <a:off x="1524774" y="204549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2" name="Freeform 863">
              <a:extLst>
                <a:ext uri="{FF2B5EF4-FFF2-40B4-BE49-F238E27FC236}">
                  <a16:creationId xmlns:a16="http://schemas.microsoft.com/office/drawing/2014/main" id="{0480CC11-6868-DB49-A99B-9297F7AD2E28}"/>
                </a:ext>
              </a:extLst>
            </p:cNvPr>
            <p:cNvSpPr>
              <a:spLocks/>
            </p:cNvSpPr>
            <p:nvPr/>
          </p:nvSpPr>
          <p:spPr bwMode="auto">
            <a:xfrm>
              <a:off x="1524774" y="204549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3" name="Freeform 864">
              <a:extLst>
                <a:ext uri="{FF2B5EF4-FFF2-40B4-BE49-F238E27FC236}">
                  <a16:creationId xmlns:a16="http://schemas.microsoft.com/office/drawing/2014/main" id="{240487C7-EBC1-7241-8EB5-09C0A39597ED}"/>
                </a:ext>
              </a:extLst>
            </p:cNvPr>
            <p:cNvSpPr>
              <a:spLocks/>
            </p:cNvSpPr>
            <p:nvPr/>
          </p:nvSpPr>
          <p:spPr bwMode="auto">
            <a:xfrm>
              <a:off x="1528262" y="2039535"/>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9"/>
                  </a:moveTo>
                  <a:lnTo>
                    <a:pt x="7" y="13"/>
                  </a:lnTo>
                  <a:lnTo>
                    <a:pt x="4" y="13"/>
                  </a:lnTo>
                  <a:lnTo>
                    <a:pt x="0" y="13"/>
                  </a:lnTo>
                  <a:lnTo>
                    <a:pt x="0" y="9"/>
                  </a:lnTo>
                  <a:lnTo>
                    <a:pt x="0" y="3"/>
                  </a:lnTo>
                  <a:lnTo>
                    <a:pt x="0" y="0"/>
                  </a:lnTo>
                  <a:lnTo>
                    <a:pt x="4" y="0"/>
                  </a:lnTo>
                  <a:lnTo>
                    <a:pt x="7"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4" name="Freeform 865">
              <a:extLst>
                <a:ext uri="{FF2B5EF4-FFF2-40B4-BE49-F238E27FC236}">
                  <a16:creationId xmlns:a16="http://schemas.microsoft.com/office/drawing/2014/main" id="{A4648A38-7BAB-F042-AF71-69E8E3DA4234}"/>
                </a:ext>
              </a:extLst>
            </p:cNvPr>
            <p:cNvSpPr>
              <a:spLocks/>
            </p:cNvSpPr>
            <p:nvPr/>
          </p:nvSpPr>
          <p:spPr bwMode="auto">
            <a:xfrm>
              <a:off x="1528262" y="2039535"/>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7" y="0"/>
                  </a:lnTo>
                  <a:lnTo>
                    <a:pt x="20" y="0"/>
                  </a:lnTo>
                  <a:lnTo>
                    <a:pt x="20" y="3"/>
                  </a:lnTo>
                  <a:lnTo>
                    <a:pt x="20" y="6"/>
                  </a:lnTo>
                  <a:lnTo>
                    <a:pt x="1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5" name="Freeform 866">
              <a:extLst>
                <a:ext uri="{FF2B5EF4-FFF2-40B4-BE49-F238E27FC236}">
                  <a16:creationId xmlns:a16="http://schemas.microsoft.com/office/drawing/2014/main" id="{5810FFBB-F092-1C44-9CA1-B5F5A1361C78}"/>
                </a:ext>
              </a:extLst>
            </p:cNvPr>
            <p:cNvSpPr>
              <a:spLocks/>
            </p:cNvSpPr>
            <p:nvPr/>
          </p:nvSpPr>
          <p:spPr bwMode="auto">
            <a:xfrm>
              <a:off x="1543381" y="2039535"/>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6" name="Freeform 867">
              <a:extLst>
                <a:ext uri="{FF2B5EF4-FFF2-40B4-BE49-F238E27FC236}">
                  <a16:creationId xmlns:a16="http://schemas.microsoft.com/office/drawing/2014/main" id="{A6807C98-45AF-9743-AEBE-2159F2F34CA6}"/>
                </a:ext>
              </a:extLst>
            </p:cNvPr>
            <p:cNvSpPr>
              <a:spLocks/>
            </p:cNvSpPr>
            <p:nvPr/>
          </p:nvSpPr>
          <p:spPr bwMode="auto">
            <a:xfrm>
              <a:off x="1551521" y="202960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7" name="Freeform 868">
              <a:extLst>
                <a:ext uri="{FF2B5EF4-FFF2-40B4-BE49-F238E27FC236}">
                  <a16:creationId xmlns:a16="http://schemas.microsoft.com/office/drawing/2014/main" id="{3048A5F7-F973-5A4F-B4F1-9923C32B3749}"/>
                </a:ext>
              </a:extLst>
            </p:cNvPr>
            <p:cNvSpPr>
              <a:spLocks/>
            </p:cNvSpPr>
            <p:nvPr/>
          </p:nvSpPr>
          <p:spPr bwMode="auto">
            <a:xfrm>
              <a:off x="1551521" y="202960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8" name="Freeform 869">
              <a:extLst>
                <a:ext uri="{FF2B5EF4-FFF2-40B4-BE49-F238E27FC236}">
                  <a16:creationId xmlns:a16="http://schemas.microsoft.com/office/drawing/2014/main" id="{EFA202A6-21B4-1E41-8288-2EF8E25E914A}"/>
                </a:ext>
              </a:extLst>
            </p:cNvPr>
            <p:cNvSpPr>
              <a:spLocks/>
            </p:cNvSpPr>
            <p:nvPr/>
          </p:nvSpPr>
          <p:spPr bwMode="auto">
            <a:xfrm>
              <a:off x="1555010" y="2019678"/>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6" y="17"/>
                  </a:lnTo>
                  <a:lnTo>
                    <a:pt x="3" y="17"/>
                  </a:lnTo>
                  <a:lnTo>
                    <a:pt x="0" y="17"/>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59" name="Freeform 870">
              <a:extLst>
                <a:ext uri="{FF2B5EF4-FFF2-40B4-BE49-F238E27FC236}">
                  <a16:creationId xmlns:a16="http://schemas.microsoft.com/office/drawing/2014/main" id="{95C97080-2F79-D146-B130-AFE5CE2AC559}"/>
                </a:ext>
              </a:extLst>
            </p:cNvPr>
            <p:cNvSpPr>
              <a:spLocks/>
            </p:cNvSpPr>
            <p:nvPr/>
          </p:nvSpPr>
          <p:spPr bwMode="auto">
            <a:xfrm>
              <a:off x="1555010" y="2019678"/>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0" name="Freeform 871">
              <a:extLst>
                <a:ext uri="{FF2B5EF4-FFF2-40B4-BE49-F238E27FC236}">
                  <a16:creationId xmlns:a16="http://schemas.microsoft.com/office/drawing/2014/main" id="{BA6B68DF-EFAE-964B-822D-77FC263FA1D2}"/>
                </a:ext>
              </a:extLst>
            </p:cNvPr>
            <p:cNvSpPr>
              <a:spLocks/>
            </p:cNvSpPr>
            <p:nvPr/>
          </p:nvSpPr>
          <p:spPr bwMode="auto">
            <a:xfrm>
              <a:off x="1561987" y="201074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4" y="16"/>
                  </a:lnTo>
                  <a:lnTo>
                    <a:pt x="0" y="16"/>
                  </a:lnTo>
                  <a:lnTo>
                    <a:pt x="0" y="13"/>
                  </a:lnTo>
                  <a:lnTo>
                    <a:pt x="0" y="3"/>
                  </a:lnTo>
                  <a:lnTo>
                    <a:pt x="0" y="0"/>
                  </a:lnTo>
                  <a:lnTo>
                    <a:pt x="4"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1" name="Freeform 872">
              <a:extLst>
                <a:ext uri="{FF2B5EF4-FFF2-40B4-BE49-F238E27FC236}">
                  <a16:creationId xmlns:a16="http://schemas.microsoft.com/office/drawing/2014/main" id="{3C5F87A0-3C11-1744-A8A7-4BA4A3D61F9D}"/>
                </a:ext>
              </a:extLst>
            </p:cNvPr>
            <p:cNvSpPr>
              <a:spLocks/>
            </p:cNvSpPr>
            <p:nvPr/>
          </p:nvSpPr>
          <p:spPr bwMode="auto">
            <a:xfrm>
              <a:off x="1561987" y="201074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2" name="Freeform 873">
              <a:extLst>
                <a:ext uri="{FF2B5EF4-FFF2-40B4-BE49-F238E27FC236}">
                  <a16:creationId xmlns:a16="http://schemas.microsoft.com/office/drawing/2014/main" id="{3133D55C-FCF3-4F42-8CAB-1994500A0709}"/>
                </a:ext>
              </a:extLst>
            </p:cNvPr>
            <p:cNvSpPr>
              <a:spLocks/>
            </p:cNvSpPr>
            <p:nvPr/>
          </p:nvSpPr>
          <p:spPr bwMode="auto">
            <a:xfrm>
              <a:off x="1566639" y="2010742"/>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3" name="Freeform 874">
              <a:extLst>
                <a:ext uri="{FF2B5EF4-FFF2-40B4-BE49-F238E27FC236}">
                  <a16:creationId xmlns:a16="http://schemas.microsoft.com/office/drawing/2014/main" id="{857B7E68-9520-6F47-AA96-7FCE8650223F}"/>
                </a:ext>
              </a:extLst>
            </p:cNvPr>
            <p:cNvSpPr>
              <a:spLocks/>
            </p:cNvSpPr>
            <p:nvPr/>
          </p:nvSpPr>
          <p:spPr bwMode="auto">
            <a:xfrm>
              <a:off x="1581757" y="2000814"/>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4" name="Freeform 875">
              <a:extLst>
                <a:ext uri="{FF2B5EF4-FFF2-40B4-BE49-F238E27FC236}">
                  <a16:creationId xmlns:a16="http://schemas.microsoft.com/office/drawing/2014/main" id="{9BDC3301-3934-FB46-BC2F-412652D44212}"/>
                </a:ext>
              </a:extLst>
            </p:cNvPr>
            <p:cNvSpPr>
              <a:spLocks/>
            </p:cNvSpPr>
            <p:nvPr/>
          </p:nvSpPr>
          <p:spPr bwMode="auto">
            <a:xfrm>
              <a:off x="1581757" y="2000814"/>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6"/>
                  </a:lnTo>
                  <a:lnTo>
                    <a:pt x="0" y="3"/>
                  </a:lnTo>
                  <a:lnTo>
                    <a:pt x="0" y="0"/>
                  </a:lnTo>
                  <a:lnTo>
                    <a:pt x="3" y="0"/>
                  </a:lnTo>
                  <a:lnTo>
                    <a:pt x="9" y="0"/>
                  </a:lnTo>
                  <a:lnTo>
                    <a:pt x="12" y="0"/>
                  </a:lnTo>
                  <a:lnTo>
                    <a:pt x="12" y="3"/>
                  </a:lnTo>
                  <a:lnTo>
                    <a:pt x="12"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5" name="Freeform 876">
              <a:extLst>
                <a:ext uri="{FF2B5EF4-FFF2-40B4-BE49-F238E27FC236}">
                  <a16:creationId xmlns:a16="http://schemas.microsoft.com/office/drawing/2014/main" id="{D8FC95EA-CA77-7044-B931-A8CEB9CECB98}"/>
                </a:ext>
              </a:extLst>
            </p:cNvPr>
            <p:cNvSpPr>
              <a:spLocks/>
            </p:cNvSpPr>
            <p:nvPr/>
          </p:nvSpPr>
          <p:spPr bwMode="auto">
            <a:xfrm>
              <a:off x="1588734" y="1994857"/>
              <a:ext cx="11629" cy="11914"/>
            </a:xfrm>
            <a:custGeom>
              <a:avLst/>
              <a:gdLst>
                <a:gd name="T0" fmla="*/ 2147483646 w 10"/>
                <a:gd name="T1" fmla="*/ 2147483646 h 12"/>
                <a:gd name="T2" fmla="*/ 2147483646 w 10"/>
                <a:gd name="T3" fmla="*/ 2147483646 h 12"/>
                <a:gd name="T4" fmla="*/ 2147483646 w 10"/>
                <a:gd name="T5" fmla="*/ 2147483646 h 12"/>
                <a:gd name="T6" fmla="*/ 2147483646 w 10"/>
                <a:gd name="T7" fmla="*/ 2147483646 h 12"/>
                <a:gd name="T8" fmla="*/ 0 w 10"/>
                <a:gd name="T9" fmla="*/ 2147483646 h 12"/>
                <a:gd name="T10" fmla="*/ 0 w 10"/>
                <a:gd name="T11" fmla="*/ 2147483646 h 12"/>
                <a:gd name="T12" fmla="*/ 0 w 10"/>
                <a:gd name="T13" fmla="*/ 2147483646 h 12"/>
                <a:gd name="T14" fmla="*/ 0 w 10"/>
                <a:gd name="T15" fmla="*/ 0 h 12"/>
                <a:gd name="T16" fmla="*/ 2147483646 w 10"/>
                <a:gd name="T17" fmla="*/ 0 h 12"/>
                <a:gd name="T18" fmla="*/ 2147483646 w 10"/>
                <a:gd name="T19" fmla="*/ 0 h 12"/>
                <a:gd name="T20" fmla="*/ 2147483646 w 10"/>
                <a:gd name="T21" fmla="*/ 0 h 12"/>
                <a:gd name="T22" fmla="*/ 2147483646 w 10"/>
                <a:gd name="T23" fmla="*/ 2147483646 h 12"/>
                <a:gd name="T24" fmla="*/ 2147483646 w 10"/>
                <a:gd name="T25" fmla="*/ 2147483646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2">
                  <a:moveTo>
                    <a:pt x="10" y="9"/>
                  </a:moveTo>
                  <a:lnTo>
                    <a:pt x="6" y="12"/>
                  </a:lnTo>
                  <a:lnTo>
                    <a:pt x="3" y="12"/>
                  </a:lnTo>
                  <a:lnTo>
                    <a:pt x="0" y="12"/>
                  </a:lnTo>
                  <a:lnTo>
                    <a:pt x="0" y="9"/>
                  </a:lnTo>
                  <a:lnTo>
                    <a:pt x="0" y="3"/>
                  </a:lnTo>
                  <a:lnTo>
                    <a:pt x="0" y="0"/>
                  </a:lnTo>
                  <a:lnTo>
                    <a:pt x="3" y="0"/>
                  </a:lnTo>
                  <a:lnTo>
                    <a:pt x="6" y="0"/>
                  </a:lnTo>
                  <a:lnTo>
                    <a:pt x="10" y="3"/>
                  </a:lnTo>
                  <a:lnTo>
                    <a:pt x="1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6" name="Freeform 877">
              <a:extLst>
                <a:ext uri="{FF2B5EF4-FFF2-40B4-BE49-F238E27FC236}">
                  <a16:creationId xmlns:a16="http://schemas.microsoft.com/office/drawing/2014/main" id="{0A516BB0-D854-E149-AD3D-1814115D2E6F}"/>
                </a:ext>
              </a:extLst>
            </p:cNvPr>
            <p:cNvSpPr>
              <a:spLocks/>
            </p:cNvSpPr>
            <p:nvPr/>
          </p:nvSpPr>
          <p:spPr bwMode="auto">
            <a:xfrm>
              <a:off x="1588734" y="198492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7" name="Freeform 878">
              <a:extLst>
                <a:ext uri="{FF2B5EF4-FFF2-40B4-BE49-F238E27FC236}">
                  <a16:creationId xmlns:a16="http://schemas.microsoft.com/office/drawing/2014/main" id="{C12B00AC-8174-924C-A44A-FE857667317D}"/>
                </a:ext>
              </a:extLst>
            </p:cNvPr>
            <p:cNvSpPr>
              <a:spLocks/>
            </p:cNvSpPr>
            <p:nvPr/>
          </p:nvSpPr>
          <p:spPr bwMode="auto">
            <a:xfrm>
              <a:off x="1588734" y="197500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8" name="Freeform 879">
              <a:extLst>
                <a:ext uri="{FF2B5EF4-FFF2-40B4-BE49-F238E27FC236}">
                  <a16:creationId xmlns:a16="http://schemas.microsoft.com/office/drawing/2014/main" id="{91530AB7-1AEA-6C42-9796-806EDFEEC5EF}"/>
                </a:ext>
              </a:extLst>
            </p:cNvPr>
            <p:cNvSpPr>
              <a:spLocks/>
            </p:cNvSpPr>
            <p:nvPr/>
          </p:nvSpPr>
          <p:spPr bwMode="auto">
            <a:xfrm>
              <a:off x="1588734" y="197500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69" name="Freeform 880">
              <a:extLst>
                <a:ext uri="{FF2B5EF4-FFF2-40B4-BE49-F238E27FC236}">
                  <a16:creationId xmlns:a16="http://schemas.microsoft.com/office/drawing/2014/main" id="{59F87442-BE1E-6047-93AA-79B7CD6760D0}"/>
                </a:ext>
              </a:extLst>
            </p:cNvPr>
            <p:cNvSpPr>
              <a:spLocks/>
            </p:cNvSpPr>
            <p:nvPr/>
          </p:nvSpPr>
          <p:spPr bwMode="auto">
            <a:xfrm>
              <a:off x="1592223" y="1966065"/>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2"/>
                  </a:moveTo>
                  <a:lnTo>
                    <a:pt x="7" y="16"/>
                  </a:lnTo>
                  <a:lnTo>
                    <a:pt x="3" y="16"/>
                  </a:lnTo>
                  <a:lnTo>
                    <a:pt x="0" y="16"/>
                  </a:lnTo>
                  <a:lnTo>
                    <a:pt x="0" y="12"/>
                  </a:lnTo>
                  <a:lnTo>
                    <a:pt x="0" y="3"/>
                  </a:lnTo>
                  <a:lnTo>
                    <a:pt x="0" y="0"/>
                  </a:lnTo>
                  <a:lnTo>
                    <a:pt x="3" y="0"/>
                  </a:lnTo>
                  <a:lnTo>
                    <a:pt x="7" y="0"/>
                  </a:lnTo>
                  <a:lnTo>
                    <a:pt x="10" y="3"/>
                  </a:lnTo>
                  <a:lnTo>
                    <a:pt x="10" y="1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0" name="Freeform 881">
              <a:extLst>
                <a:ext uri="{FF2B5EF4-FFF2-40B4-BE49-F238E27FC236}">
                  <a16:creationId xmlns:a16="http://schemas.microsoft.com/office/drawing/2014/main" id="{DD929A23-2E4A-E744-93E4-5E5C9AF5CDF6}"/>
                </a:ext>
              </a:extLst>
            </p:cNvPr>
            <p:cNvSpPr>
              <a:spLocks/>
            </p:cNvSpPr>
            <p:nvPr/>
          </p:nvSpPr>
          <p:spPr bwMode="auto">
            <a:xfrm>
              <a:off x="1592223" y="196606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1" name="Freeform 882">
              <a:extLst>
                <a:ext uri="{FF2B5EF4-FFF2-40B4-BE49-F238E27FC236}">
                  <a16:creationId xmlns:a16="http://schemas.microsoft.com/office/drawing/2014/main" id="{C1DEF88C-FB3A-DB4D-94F1-7B8A661117D1}"/>
                </a:ext>
              </a:extLst>
            </p:cNvPr>
            <p:cNvSpPr>
              <a:spLocks/>
            </p:cNvSpPr>
            <p:nvPr/>
          </p:nvSpPr>
          <p:spPr bwMode="auto">
            <a:xfrm>
              <a:off x="1595712" y="196606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2" name="Freeform 883">
              <a:extLst>
                <a:ext uri="{FF2B5EF4-FFF2-40B4-BE49-F238E27FC236}">
                  <a16:creationId xmlns:a16="http://schemas.microsoft.com/office/drawing/2014/main" id="{7EC86870-B64B-8C40-A884-016D429D62B3}"/>
                </a:ext>
              </a:extLst>
            </p:cNvPr>
            <p:cNvSpPr>
              <a:spLocks/>
            </p:cNvSpPr>
            <p:nvPr/>
          </p:nvSpPr>
          <p:spPr bwMode="auto">
            <a:xfrm>
              <a:off x="1600363" y="1956136"/>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3" name="Freeform 884">
              <a:extLst>
                <a:ext uri="{FF2B5EF4-FFF2-40B4-BE49-F238E27FC236}">
                  <a16:creationId xmlns:a16="http://schemas.microsoft.com/office/drawing/2014/main" id="{D20CFADA-47DF-AA4B-BB01-A8A4D25BD7FE}"/>
                </a:ext>
              </a:extLst>
            </p:cNvPr>
            <p:cNvSpPr>
              <a:spLocks/>
            </p:cNvSpPr>
            <p:nvPr/>
          </p:nvSpPr>
          <p:spPr bwMode="auto">
            <a:xfrm>
              <a:off x="1600363" y="195613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4" name="Freeform 885">
              <a:extLst>
                <a:ext uri="{FF2B5EF4-FFF2-40B4-BE49-F238E27FC236}">
                  <a16:creationId xmlns:a16="http://schemas.microsoft.com/office/drawing/2014/main" id="{CE08D06B-16A5-0645-B473-4C875B762A6C}"/>
                </a:ext>
              </a:extLst>
            </p:cNvPr>
            <p:cNvSpPr>
              <a:spLocks/>
            </p:cNvSpPr>
            <p:nvPr/>
          </p:nvSpPr>
          <p:spPr bwMode="auto">
            <a:xfrm>
              <a:off x="1603853" y="1949186"/>
              <a:ext cx="11629" cy="12907"/>
            </a:xfrm>
            <a:custGeom>
              <a:avLst/>
              <a:gdLst>
                <a:gd name="T0" fmla="*/ 2147483646 w 10"/>
                <a:gd name="T1" fmla="*/ 2147483646 h 13"/>
                <a:gd name="T2" fmla="*/ 2147483646 w 10"/>
                <a:gd name="T3" fmla="*/ 2147483646 h 13"/>
                <a:gd name="T4" fmla="*/ 2147483646 w 10"/>
                <a:gd name="T5" fmla="*/ 2147483646 h 13"/>
                <a:gd name="T6" fmla="*/ 2147483646 w 10"/>
                <a:gd name="T7" fmla="*/ 2147483646 h 13"/>
                <a:gd name="T8" fmla="*/ 0 w 10"/>
                <a:gd name="T9" fmla="*/ 2147483646 h 13"/>
                <a:gd name="T10" fmla="*/ 0 w 10"/>
                <a:gd name="T11" fmla="*/ 2147483646 h 13"/>
                <a:gd name="T12" fmla="*/ 0 w 10"/>
                <a:gd name="T13" fmla="*/ 2147483646 h 13"/>
                <a:gd name="T14" fmla="*/ 0 w 10"/>
                <a:gd name="T15" fmla="*/ 0 h 13"/>
                <a:gd name="T16" fmla="*/ 2147483646 w 10"/>
                <a:gd name="T17" fmla="*/ 0 h 13"/>
                <a:gd name="T18" fmla="*/ 2147483646 w 10"/>
                <a:gd name="T19" fmla="*/ 0 h 13"/>
                <a:gd name="T20" fmla="*/ 2147483646 w 10"/>
                <a:gd name="T21" fmla="*/ 0 h 13"/>
                <a:gd name="T22" fmla="*/ 2147483646 w 10"/>
                <a:gd name="T23" fmla="*/ 2147483646 h 13"/>
                <a:gd name="T24" fmla="*/ 2147483646 w 10"/>
                <a:gd name="T25" fmla="*/ 2147483646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3">
                  <a:moveTo>
                    <a:pt x="10" y="10"/>
                  </a:moveTo>
                  <a:lnTo>
                    <a:pt x="6" y="13"/>
                  </a:lnTo>
                  <a:lnTo>
                    <a:pt x="3" y="13"/>
                  </a:lnTo>
                  <a:lnTo>
                    <a:pt x="0" y="13"/>
                  </a:lnTo>
                  <a:lnTo>
                    <a:pt x="0" y="10"/>
                  </a:lnTo>
                  <a:lnTo>
                    <a:pt x="0" y="4"/>
                  </a:lnTo>
                  <a:lnTo>
                    <a:pt x="0" y="0"/>
                  </a:lnTo>
                  <a:lnTo>
                    <a:pt x="3" y="0"/>
                  </a:lnTo>
                  <a:lnTo>
                    <a:pt x="6" y="0"/>
                  </a:lnTo>
                  <a:lnTo>
                    <a:pt x="10" y="4"/>
                  </a:lnTo>
                  <a:lnTo>
                    <a:pt x="10"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5" name="Freeform 886">
              <a:extLst>
                <a:ext uri="{FF2B5EF4-FFF2-40B4-BE49-F238E27FC236}">
                  <a16:creationId xmlns:a16="http://schemas.microsoft.com/office/drawing/2014/main" id="{AFF9FCFD-E691-0B4C-80E6-D84F49D269EC}"/>
                </a:ext>
              </a:extLst>
            </p:cNvPr>
            <p:cNvSpPr>
              <a:spLocks/>
            </p:cNvSpPr>
            <p:nvPr/>
          </p:nvSpPr>
          <p:spPr bwMode="auto">
            <a:xfrm>
              <a:off x="1603853" y="194918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6" name="Freeform 887">
              <a:extLst>
                <a:ext uri="{FF2B5EF4-FFF2-40B4-BE49-F238E27FC236}">
                  <a16:creationId xmlns:a16="http://schemas.microsoft.com/office/drawing/2014/main" id="{91A7A5FE-B46E-AE40-998C-A9A23E240834}"/>
                </a:ext>
              </a:extLst>
            </p:cNvPr>
            <p:cNvSpPr>
              <a:spLocks/>
            </p:cNvSpPr>
            <p:nvPr/>
          </p:nvSpPr>
          <p:spPr bwMode="auto">
            <a:xfrm>
              <a:off x="1607341" y="1940251"/>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7" name="Freeform 888">
              <a:extLst>
                <a:ext uri="{FF2B5EF4-FFF2-40B4-BE49-F238E27FC236}">
                  <a16:creationId xmlns:a16="http://schemas.microsoft.com/office/drawing/2014/main" id="{046474C5-5501-0C47-80FF-9CE2B73086D1}"/>
                </a:ext>
              </a:extLst>
            </p:cNvPr>
            <p:cNvSpPr>
              <a:spLocks/>
            </p:cNvSpPr>
            <p:nvPr/>
          </p:nvSpPr>
          <p:spPr bwMode="auto">
            <a:xfrm>
              <a:off x="1607341" y="1940251"/>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8" name="Freeform 889">
              <a:extLst>
                <a:ext uri="{FF2B5EF4-FFF2-40B4-BE49-F238E27FC236}">
                  <a16:creationId xmlns:a16="http://schemas.microsoft.com/office/drawing/2014/main" id="{4003176E-008F-8D44-AD54-12CB607D0E30}"/>
                </a:ext>
              </a:extLst>
            </p:cNvPr>
            <p:cNvSpPr>
              <a:spLocks/>
            </p:cNvSpPr>
            <p:nvPr/>
          </p:nvSpPr>
          <p:spPr bwMode="auto">
            <a:xfrm>
              <a:off x="1618970" y="1940251"/>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79" name="Freeform 890">
              <a:extLst>
                <a:ext uri="{FF2B5EF4-FFF2-40B4-BE49-F238E27FC236}">
                  <a16:creationId xmlns:a16="http://schemas.microsoft.com/office/drawing/2014/main" id="{C86AF8DF-B230-1348-B554-8DE024573921}"/>
                </a:ext>
              </a:extLst>
            </p:cNvPr>
            <p:cNvSpPr>
              <a:spLocks/>
            </p:cNvSpPr>
            <p:nvPr/>
          </p:nvSpPr>
          <p:spPr bwMode="auto">
            <a:xfrm>
              <a:off x="1622459" y="1930322"/>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0" name="Freeform 891">
              <a:extLst>
                <a:ext uri="{FF2B5EF4-FFF2-40B4-BE49-F238E27FC236}">
                  <a16:creationId xmlns:a16="http://schemas.microsoft.com/office/drawing/2014/main" id="{7C282575-DF55-0D43-83ED-16DF6E2FAB93}"/>
                </a:ext>
              </a:extLst>
            </p:cNvPr>
            <p:cNvSpPr>
              <a:spLocks/>
            </p:cNvSpPr>
            <p:nvPr/>
          </p:nvSpPr>
          <p:spPr bwMode="auto">
            <a:xfrm>
              <a:off x="1622459" y="193032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1" name="Freeform 892">
              <a:extLst>
                <a:ext uri="{FF2B5EF4-FFF2-40B4-BE49-F238E27FC236}">
                  <a16:creationId xmlns:a16="http://schemas.microsoft.com/office/drawing/2014/main" id="{7C48D336-66E2-F442-ABEE-8F9642702BE3}"/>
                </a:ext>
              </a:extLst>
            </p:cNvPr>
            <p:cNvSpPr>
              <a:spLocks/>
            </p:cNvSpPr>
            <p:nvPr/>
          </p:nvSpPr>
          <p:spPr bwMode="auto">
            <a:xfrm>
              <a:off x="1629437" y="1930322"/>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2" name="Freeform 893">
              <a:extLst>
                <a:ext uri="{FF2B5EF4-FFF2-40B4-BE49-F238E27FC236}">
                  <a16:creationId xmlns:a16="http://schemas.microsoft.com/office/drawing/2014/main" id="{D602CF9E-C023-B245-99BB-599F11D55EAD}"/>
                </a:ext>
              </a:extLst>
            </p:cNvPr>
            <p:cNvSpPr>
              <a:spLocks/>
            </p:cNvSpPr>
            <p:nvPr/>
          </p:nvSpPr>
          <p:spPr bwMode="auto">
            <a:xfrm>
              <a:off x="1637577" y="1920394"/>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3" name="Freeform 894">
              <a:extLst>
                <a:ext uri="{FF2B5EF4-FFF2-40B4-BE49-F238E27FC236}">
                  <a16:creationId xmlns:a16="http://schemas.microsoft.com/office/drawing/2014/main" id="{EE862D0F-DFAC-3B45-BC69-43D2C171A654}"/>
                </a:ext>
              </a:extLst>
            </p:cNvPr>
            <p:cNvSpPr>
              <a:spLocks/>
            </p:cNvSpPr>
            <p:nvPr/>
          </p:nvSpPr>
          <p:spPr bwMode="auto">
            <a:xfrm>
              <a:off x="1637577" y="192039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4" name="Freeform 895">
              <a:extLst>
                <a:ext uri="{FF2B5EF4-FFF2-40B4-BE49-F238E27FC236}">
                  <a16:creationId xmlns:a16="http://schemas.microsoft.com/office/drawing/2014/main" id="{D129D751-A7B8-2743-8ABC-8BC1CADC5E39}"/>
                </a:ext>
              </a:extLst>
            </p:cNvPr>
            <p:cNvSpPr>
              <a:spLocks/>
            </p:cNvSpPr>
            <p:nvPr/>
          </p:nvSpPr>
          <p:spPr bwMode="auto">
            <a:xfrm>
              <a:off x="1641066" y="192039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5" name="Freeform 896">
              <a:extLst>
                <a:ext uri="{FF2B5EF4-FFF2-40B4-BE49-F238E27FC236}">
                  <a16:creationId xmlns:a16="http://schemas.microsoft.com/office/drawing/2014/main" id="{C1C31B59-F144-BF48-8067-A336BCABBD59}"/>
                </a:ext>
              </a:extLst>
            </p:cNvPr>
            <p:cNvSpPr>
              <a:spLocks/>
            </p:cNvSpPr>
            <p:nvPr/>
          </p:nvSpPr>
          <p:spPr bwMode="auto">
            <a:xfrm>
              <a:off x="1652695" y="192039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6" name="Freeform 897">
              <a:extLst>
                <a:ext uri="{FF2B5EF4-FFF2-40B4-BE49-F238E27FC236}">
                  <a16:creationId xmlns:a16="http://schemas.microsoft.com/office/drawing/2014/main" id="{B87C052A-E564-FC4A-93DD-074E13AC55A4}"/>
                </a:ext>
              </a:extLst>
            </p:cNvPr>
            <p:cNvSpPr>
              <a:spLocks/>
            </p:cNvSpPr>
            <p:nvPr/>
          </p:nvSpPr>
          <p:spPr bwMode="auto">
            <a:xfrm>
              <a:off x="1659673" y="192039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7" name="Freeform 898">
              <a:extLst>
                <a:ext uri="{FF2B5EF4-FFF2-40B4-BE49-F238E27FC236}">
                  <a16:creationId xmlns:a16="http://schemas.microsoft.com/office/drawing/2014/main" id="{A56349B9-7F78-2F49-9136-A71B8D131B5C}"/>
                </a:ext>
              </a:extLst>
            </p:cNvPr>
            <p:cNvSpPr>
              <a:spLocks/>
            </p:cNvSpPr>
            <p:nvPr/>
          </p:nvSpPr>
          <p:spPr bwMode="auto">
            <a:xfrm>
              <a:off x="1671302" y="192039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8" name="Freeform 899">
              <a:extLst>
                <a:ext uri="{FF2B5EF4-FFF2-40B4-BE49-F238E27FC236}">
                  <a16:creationId xmlns:a16="http://schemas.microsoft.com/office/drawing/2014/main" id="{189E79D1-DB91-2D4F-9E6C-718D9AF28F9A}"/>
                </a:ext>
              </a:extLst>
            </p:cNvPr>
            <p:cNvSpPr>
              <a:spLocks/>
            </p:cNvSpPr>
            <p:nvPr/>
          </p:nvSpPr>
          <p:spPr bwMode="auto">
            <a:xfrm>
              <a:off x="1674790" y="1911458"/>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7" y="16"/>
                  </a:lnTo>
                  <a:lnTo>
                    <a:pt x="3" y="16"/>
                  </a:lnTo>
                  <a:lnTo>
                    <a:pt x="0" y="16"/>
                  </a:lnTo>
                  <a:lnTo>
                    <a:pt x="0" y="13"/>
                  </a:lnTo>
                  <a:lnTo>
                    <a:pt x="0" y="3"/>
                  </a:lnTo>
                  <a:lnTo>
                    <a:pt x="0" y="0"/>
                  </a:lnTo>
                  <a:lnTo>
                    <a:pt x="3" y="0"/>
                  </a:lnTo>
                  <a:lnTo>
                    <a:pt x="7"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89" name="Freeform 900">
              <a:extLst>
                <a:ext uri="{FF2B5EF4-FFF2-40B4-BE49-F238E27FC236}">
                  <a16:creationId xmlns:a16="http://schemas.microsoft.com/office/drawing/2014/main" id="{16D94C86-19F8-1A44-B77A-1890046E633E}"/>
                </a:ext>
              </a:extLst>
            </p:cNvPr>
            <p:cNvSpPr>
              <a:spLocks/>
            </p:cNvSpPr>
            <p:nvPr/>
          </p:nvSpPr>
          <p:spPr bwMode="auto">
            <a:xfrm>
              <a:off x="1674790" y="191145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0" name="Freeform 901">
              <a:extLst>
                <a:ext uri="{FF2B5EF4-FFF2-40B4-BE49-F238E27FC236}">
                  <a16:creationId xmlns:a16="http://schemas.microsoft.com/office/drawing/2014/main" id="{EF12DC7E-CD43-C149-B18D-0B32997683ED}"/>
                </a:ext>
              </a:extLst>
            </p:cNvPr>
            <p:cNvSpPr>
              <a:spLocks/>
            </p:cNvSpPr>
            <p:nvPr/>
          </p:nvSpPr>
          <p:spPr bwMode="auto">
            <a:xfrm>
              <a:off x="1682931" y="1901530"/>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1" name="Freeform 902">
              <a:extLst>
                <a:ext uri="{FF2B5EF4-FFF2-40B4-BE49-F238E27FC236}">
                  <a16:creationId xmlns:a16="http://schemas.microsoft.com/office/drawing/2014/main" id="{A52C9220-4760-0F4D-8806-A5D977956C03}"/>
                </a:ext>
              </a:extLst>
            </p:cNvPr>
            <p:cNvSpPr>
              <a:spLocks/>
            </p:cNvSpPr>
            <p:nvPr/>
          </p:nvSpPr>
          <p:spPr bwMode="auto">
            <a:xfrm>
              <a:off x="1682931" y="1901530"/>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6"/>
                  </a:lnTo>
                  <a:lnTo>
                    <a:pt x="0" y="3"/>
                  </a:lnTo>
                  <a:lnTo>
                    <a:pt x="0" y="0"/>
                  </a:lnTo>
                  <a:lnTo>
                    <a:pt x="3" y="0"/>
                  </a:lnTo>
                  <a:lnTo>
                    <a:pt x="9" y="0"/>
                  </a:lnTo>
                  <a:lnTo>
                    <a:pt x="12" y="0"/>
                  </a:lnTo>
                  <a:lnTo>
                    <a:pt x="12" y="3"/>
                  </a:lnTo>
                  <a:lnTo>
                    <a:pt x="12"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2" name="Freeform 903">
              <a:extLst>
                <a:ext uri="{FF2B5EF4-FFF2-40B4-BE49-F238E27FC236}">
                  <a16:creationId xmlns:a16="http://schemas.microsoft.com/office/drawing/2014/main" id="{AD10002E-DC26-2848-A124-3AC45FFF08A8}"/>
                </a:ext>
              </a:extLst>
            </p:cNvPr>
            <p:cNvSpPr>
              <a:spLocks/>
            </p:cNvSpPr>
            <p:nvPr/>
          </p:nvSpPr>
          <p:spPr bwMode="auto">
            <a:xfrm>
              <a:off x="1689909" y="190153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3" name="Freeform 904">
              <a:extLst>
                <a:ext uri="{FF2B5EF4-FFF2-40B4-BE49-F238E27FC236}">
                  <a16:creationId xmlns:a16="http://schemas.microsoft.com/office/drawing/2014/main" id="{F7BFCA95-8A69-6D49-9EC5-F2722E6F8F71}"/>
                </a:ext>
              </a:extLst>
            </p:cNvPr>
            <p:cNvSpPr>
              <a:spLocks/>
            </p:cNvSpPr>
            <p:nvPr/>
          </p:nvSpPr>
          <p:spPr bwMode="auto">
            <a:xfrm>
              <a:off x="1705026" y="188862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4" name="Freeform 905">
              <a:extLst>
                <a:ext uri="{FF2B5EF4-FFF2-40B4-BE49-F238E27FC236}">
                  <a16:creationId xmlns:a16="http://schemas.microsoft.com/office/drawing/2014/main" id="{F67F4474-2F85-A243-8DE1-663910670956}"/>
                </a:ext>
              </a:extLst>
            </p:cNvPr>
            <p:cNvSpPr>
              <a:spLocks/>
            </p:cNvSpPr>
            <p:nvPr/>
          </p:nvSpPr>
          <p:spPr bwMode="auto">
            <a:xfrm>
              <a:off x="1705026" y="188862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5" name="Freeform 906">
              <a:extLst>
                <a:ext uri="{FF2B5EF4-FFF2-40B4-BE49-F238E27FC236}">
                  <a16:creationId xmlns:a16="http://schemas.microsoft.com/office/drawing/2014/main" id="{7357A9AC-386F-5843-BBDC-DEFF80E83F78}"/>
                </a:ext>
              </a:extLst>
            </p:cNvPr>
            <p:cNvSpPr>
              <a:spLocks/>
            </p:cNvSpPr>
            <p:nvPr/>
          </p:nvSpPr>
          <p:spPr bwMode="auto">
            <a:xfrm>
              <a:off x="1716656" y="188862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2" y="0"/>
                  </a:lnTo>
                  <a:lnTo>
                    <a:pt x="16" y="0"/>
                  </a:lnTo>
                  <a:lnTo>
                    <a:pt x="16" y="3"/>
                  </a:lnTo>
                  <a:lnTo>
                    <a:pt x="16" y="7"/>
                  </a:lnTo>
                  <a:lnTo>
                    <a:pt x="1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6" name="Freeform 907">
              <a:extLst>
                <a:ext uri="{FF2B5EF4-FFF2-40B4-BE49-F238E27FC236}">
                  <a16:creationId xmlns:a16="http://schemas.microsoft.com/office/drawing/2014/main" id="{722911CF-6B7F-0B46-B495-F09B21013863}"/>
                </a:ext>
              </a:extLst>
            </p:cNvPr>
            <p:cNvSpPr>
              <a:spLocks/>
            </p:cNvSpPr>
            <p:nvPr/>
          </p:nvSpPr>
          <p:spPr bwMode="auto">
            <a:xfrm>
              <a:off x="1727122" y="188862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7" name="Freeform 908">
              <a:extLst>
                <a:ext uri="{FF2B5EF4-FFF2-40B4-BE49-F238E27FC236}">
                  <a16:creationId xmlns:a16="http://schemas.microsoft.com/office/drawing/2014/main" id="{06B7BC23-F287-8942-A205-2FB46D51B571}"/>
                </a:ext>
              </a:extLst>
            </p:cNvPr>
            <p:cNvSpPr>
              <a:spLocks/>
            </p:cNvSpPr>
            <p:nvPr/>
          </p:nvSpPr>
          <p:spPr bwMode="auto">
            <a:xfrm>
              <a:off x="1730611" y="1878694"/>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7" y="17"/>
                  </a:lnTo>
                  <a:lnTo>
                    <a:pt x="4" y="17"/>
                  </a:lnTo>
                  <a:lnTo>
                    <a:pt x="0" y="17"/>
                  </a:lnTo>
                  <a:lnTo>
                    <a:pt x="0" y="13"/>
                  </a:lnTo>
                  <a:lnTo>
                    <a:pt x="0" y="4"/>
                  </a:lnTo>
                  <a:lnTo>
                    <a:pt x="0" y="0"/>
                  </a:lnTo>
                  <a:lnTo>
                    <a:pt x="4" y="0"/>
                  </a:lnTo>
                  <a:lnTo>
                    <a:pt x="7"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8" name="Freeform 909">
              <a:extLst>
                <a:ext uri="{FF2B5EF4-FFF2-40B4-BE49-F238E27FC236}">
                  <a16:creationId xmlns:a16="http://schemas.microsoft.com/office/drawing/2014/main" id="{C5A2D01E-DD4A-8944-AD06-791EDD2B4178}"/>
                </a:ext>
              </a:extLst>
            </p:cNvPr>
            <p:cNvSpPr>
              <a:spLocks/>
            </p:cNvSpPr>
            <p:nvPr/>
          </p:nvSpPr>
          <p:spPr bwMode="auto">
            <a:xfrm>
              <a:off x="1730611" y="187869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899" name="Freeform 910">
              <a:extLst>
                <a:ext uri="{FF2B5EF4-FFF2-40B4-BE49-F238E27FC236}">
                  <a16:creationId xmlns:a16="http://schemas.microsoft.com/office/drawing/2014/main" id="{C3AD2EF0-700F-F64C-92F5-030F14CE9AEB}"/>
                </a:ext>
              </a:extLst>
            </p:cNvPr>
            <p:cNvSpPr>
              <a:spLocks/>
            </p:cNvSpPr>
            <p:nvPr/>
          </p:nvSpPr>
          <p:spPr bwMode="auto">
            <a:xfrm>
              <a:off x="1735262" y="1869759"/>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0" name="Freeform 911">
              <a:extLst>
                <a:ext uri="{FF2B5EF4-FFF2-40B4-BE49-F238E27FC236}">
                  <a16:creationId xmlns:a16="http://schemas.microsoft.com/office/drawing/2014/main" id="{78F18386-88D3-0A42-8D65-23EA08E46BB6}"/>
                </a:ext>
              </a:extLst>
            </p:cNvPr>
            <p:cNvSpPr>
              <a:spLocks/>
            </p:cNvSpPr>
            <p:nvPr/>
          </p:nvSpPr>
          <p:spPr bwMode="auto">
            <a:xfrm>
              <a:off x="1735262" y="1869759"/>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1" name="Freeform 912">
              <a:extLst>
                <a:ext uri="{FF2B5EF4-FFF2-40B4-BE49-F238E27FC236}">
                  <a16:creationId xmlns:a16="http://schemas.microsoft.com/office/drawing/2014/main" id="{502F4C7E-F7FF-0644-96AC-ADC4ED86FC2F}"/>
                </a:ext>
              </a:extLst>
            </p:cNvPr>
            <p:cNvSpPr>
              <a:spLocks/>
            </p:cNvSpPr>
            <p:nvPr/>
          </p:nvSpPr>
          <p:spPr bwMode="auto">
            <a:xfrm>
              <a:off x="1738752" y="1859830"/>
              <a:ext cx="11629" cy="15885"/>
            </a:xfrm>
            <a:custGeom>
              <a:avLst/>
              <a:gdLst>
                <a:gd name="T0" fmla="*/ 2147483646 w 10"/>
                <a:gd name="T1" fmla="*/ 2147483646 h 16"/>
                <a:gd name="T2" fmla="*/ 2147483646 w 10"/>
                <a:gd name="T3" fmla="*/ 2147483646 h 16"/>
                <a:gd name="T4" fmla="*/ 2147483646 w 10"/>
                <a:gd name="T5" fmla="*/ 2147483646 h 16"/>
                <a:gd name="T6" fmla="*/ 2147483646 w 10"/>
                <a:gd name="T7" fmla="*/ 2147483646 h 16"/>
                <a:gd name="T8" fmla="*/ 0 w 10"/>
                <a:gd name="T9" fmla="*/ 2147483646 h 16"/>
                <a:gd name="T10" fmla="*/ 0 w 10"/>
                <a:gd name="T11" fmla="*/ 2147483646 h 16"/>
                <a:gd name="T12" fmla="*/ 0 w 10"/>
                <a:gd name="T13" fmla="*/ 2147483646 h 16"/>
                <a:gd name="T14" fmla="*/ 0 w 10"/>
                <a:gd name="T15" fmla="*/ 0 h 16"/>
                <a:gd name="T16" fmla="*/ 2147483646 w 10"/>
                <a:gd name="T17" fmla="*/ 0 h 16"/>
                <a:gd name="T18" fmla="*/ 2147483646 w 10"/>
                <a:gd name="T19" fmla="*/ 0 h 16"/>
                <a:gd name="T20" fmla="*/ 2147483646 w 10"/>
                <a:gd name="T21" fmla="*/ 0 h 16"/>
                <a:gd name="T22" fmla="*/ 2147483646 w 10"/>
                <a:gd name="T23" fmla="*/ 2147483646 h 16"/>
                <a:gd name="T24" fmla="*/ 2147483646 w 10"/>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6">
                  <a:moveTo>
                    <a:pt x="10" y="13"/>
                  </a:moveTo>
                  <a:lnTo>
                    <a:pt x="6" y="16"/>
                  </a:lnTo>
                  <a:lnTo>
                    <a:pt x="3" y="16"/>
                  </a:lnTo>
                  <a:lnTo>
                    <a:pt x="0" y="16"/>
                  </a:lnTo>
                  <a:lnTo>
                    <a:pt x="0" y="13"/>
                  </a:lnTo>
                  <a:lnTo>
                    <a:pt x="0" y="3"/>
                  </a:lnTo>
                  <a:lnTo>
                    <a:pt x="0" y="0"/>
                  </a:lnTo>
                  <a:lnTo>
                    <a:pt x="3" y="0"/>
                  </a:lnTo>
                  <a:lnTo>
                    <a:pt x="6" y="0"/>
                  </a:lnTo>
                  <a:lnTo>
                    <a:pt x="10" y="3"/>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2" name="Freeform 913">
              <a:extLst>
                <a:ext uri="{FF2B5EF4-FFF2-40B4-BE49-F238E27FC236}">
                  <a16:creationId xmlns:a16="http://schemas.microsoft.com/office/drawing/2014/main" id="{7EE452F1-5A6A-A140-834E-F99AAE6DA914}"/>
                </a:ext>
              </a:extLst>
            </p:cNvPr>
            <p:cNvSpPr>
              <a:spLocks/>
            </p:cNvSpPr>
            <p:nvPr/>
          </p:nvSpPr>
          <p:spPr bwMode="auto">
            <a:xfrm>
              <a:off x="1738752" y="185983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3" name="Freeform 914">
              <a:extLst>
                <a:ext uri="{FF2B5EF4-FFF2-40B4-BE49-F238E27FC236}">
                  <a16:creationId xmlns:a16="http://schemas.microsoft.com/office/drawing/2014/main" id="{49BD6146-7D22-9246-967D-1F65D8F5B7C4}"/>
                </a:ext>
              </a:extLst>
            </p:cNvPr>
            <p:cNvSpPr>
              <a:spLocks/>
            </p:cNvSpPr>
            <p:nvPr/>
          </p:nvSpPr>
          <p:spPr bwMode="auto">
            <a:xfrm>
              <a:off x="1745729" y="185983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6"/>
                  </a:lnTo>
                  <a:lnTo>
                    <a:pt x="0" y="3"/>
                  </a:lnTo>
                  <a:lnTo>
                    <a:pt x="0" y="0"/>
                  </a:lnTo>
                  <a:lnTo>
                    <a:pt x="4" y="0"/>
                  </a:lnTo>
                  <a:lnTo>
                    <a:pt x="10" y="0"/>
                  </a:lnTo>
                  <a:lnTo>
                    <a:pt x="13" y="0"/>
                  </a:lnTo>
                  <a:lnTo>
                    <a:pt x="13" y="3"/>
                  </a:lnTo>
                  <a:lnTo>
                    <a:pt x="13" y="6"/>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4" name="Freeform 915">
              <a:extLst>
                <a:ext uri="{FF2B5EF4-FFF2-40B4-BE49-F238E27FC236}">
                  <a16:creationId xmlns:a16="http://schemas.microsoft.com/office/drawing/2014/main" id="{626D7677-DE03-BB4D-B508-8EBA6F3ED7B1}"/>
                </a:ext>
              </a:extLst>
            </p:cNvPr>
            <p:cNvSpPr>
              <a:spLocks/>
            </p:cNvSpPr>
            <p:nvPr/>
          </p:nvSpPr>
          <p:spPr bwMode="auto">
            <a:xfrm>
              <a:off x="1753869" y="1846923"/>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5" name="Freeform 916">
              <a:extLst>
                <a:ext uri="{FF2B5EF4-FFF2-40B4-BE49-F238E27FC236}">
                  <a16:creationId xmlns:a16="http://schemas.microsoft.com/office/drawing/2014/main" id="{A423CAC9-6F4A-664E-8189-B67119325AC9}"/>
                </a:ext>
              </a:extLst>
            </p:cNvPr>
            <p:cNvSpPr>
              <a:spLocks/>
            </p:cNvSpPr>
            <p:nvPr/>
          </p:nvSpPr>
          <p:spPr bwMode="auto">
            <a:xfrm>
              <a:off x="1753869" y="184692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6" name="Freeform 917">
              <a:extLst>
                <a:ext uri="{FF2B5EF4-FFF2-40B4-BE49-F238E27FC236}">
                  <a16:creationId xmlns:a16="http://schemas.microsoft.com/office/drawing/2014/main" id="{5C1C8671-B210-BE41-A435-4472AC5B8238}"/>
                </a:ext>
              </a:extLst>
            </p:cNvPr>
            <p:cNvSpPr>
              <a:spLocks/>
            </p:cNvSpPr>
            <p:nvPr/>
          </p:nvSpPr>
          <p:spPr bwMode="auto">
            <a:xfrm>
              <a:off x="1764336" y="1846923"/>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4" y="10"/>
                  </a:moveTo>
                  <a:lnTo>
                    <a:pt x="0" y="7"/>
                  </a:lnTo>
                  <a:lnTo>
                    <a:pt x="0" y="3"/>
                  </a:lnTo>
                  <a:lnTo>
                    <a:pt x="0" y="0"/>
                  </a:lnTo>
                  <a:lnTo>
                    <a:pt x="4" y="0"/>
                  </a:lnTo>
                  <a:lnTo>
                    <a:pt x="10" y="0"/>
                  </a:lnTo>
                  <a:lnTo>
                    <a:pt x="13" y="0"/>
                  </a:lnTo>
                  <a:lnTo>
                    <a:pt x="13" y="3"/>
                  </a:lnTo>
                  <a:lnTo>
                    <a:pt x="13" y="7"/>
                  </a:lnTo>
                  <a:lnTo>
                    <a:pt x="1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7" name="Freeform 918">
              <a:extLst>
                <a:ext uri="{FF2B5EF4-FFF2-40B4-BE49-F238E27FC236}">
                  <a16:creationId xmlns:a16="http://schemas.microsoft.com/office/drawing/2014/main" id="{BCE2B9DC-E13C-D84B-AECE-068B39D2A4BB}"/>
                </a:ext>
              </a:extLst>
            </p:cNvPr>
            <p:cNvSpPr>
              <a:spLocks/>
            </p:cNvSpPr>
            <p:nvPr/>
          </p:nvSpPr>
          <p:spPr bwMode="auto">
            <a:xfrm>
              <a:off x="1772476" y="1836995"/>
              <a:ext cx="11629" cy="16879"/>
            </a:xfrm>
            <a:custGeom>
              <a:avLst/>
              <a:gdLst>
                <a:gd name="T0" fmla="*/ 2147483646 w 10"/>
                <a:gd name="T1" fmla="*/ 2147483646 h 17"/>
                <a:gd name="T2" fmla="*/ 2147483646 w 10"/>
                <a:gd name="T3" fmla="*/ 2147483646 h 17"/>
                <a:gd name="T4" fmla="*/ 2147483646 w 10"/>
                <a:gd name="T5" fmla="*/ 2147483646 h 17"/>
                <a:gd name="T6" fmla="*/ 2147483646 w 10"/>
                <a:gd name="T7" fmla="*/ 2147483646 h 17"/>
                <a:gd name="T8" fmla="*/ 0 w 10"/>
                <a:gd name="T9" fmla="*/ 2147483646 h 17"/>
                <a:gd name="T10" fmla="*/ 0 w 10"/>
                <a:gd name="T11" fmla="*/ 2147483646 h 17"/>
                <a:gd name="T12" fmla="*/ 0 w 10"/>
                <a:gd name="T13" fmla="*/ 2147483646 h 17"/>
                <a:gd name="T14" fmla="*/ 0 w 10"/>
                <a:gd name="T15" fmla="*/ 0 h 17"/>
                <a:gd name="T16" fmla="*/ 2147483646 w 10"/>
                <a:gd name="T17" fmla="*/ 0 h 17"/>
                <a:gd name="T18" fmla="*/ 2147483646 w 10"/>
                <a:gd name="T19" fmla="*/ 0 h 17"/>
                <a:gd name="T20" fmla="*/ 2147483646 w 10"/>
                <a:gd name="T21" fmla="*/ 0 h 17"/>
                <a:gd name="T22" fmla="*/ 2147483646 w 10"/>
                <a:gd name="T23" fmla="*/ 2147483646 h 17"/>
                <a:gd name="T24" fmla="*/ 2147483646 w 10"/>
                <a:gd name="T25" fmla="*/ 2147483646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
                  <a:moveTo>
                    <a:pt x="10" y="13"/>
                  </a:moveTo>
                  <a:lnTo>
                    <a:pt x="6" y="17"/>
                  </a:lnTo>
                  <a:lnTo>
                    <a:pt x="3" y="17"/>
                  </a:lnTo>
                  <a:lnTo>
                    <a:pt x="0" y="17"/>
                  </a:lnTo>
                  <a:lnTo>
                    <a:pt x="0" y="13"/>
                  </a:lnTo>
                  <a:lnTo>
                    <a:pt x="0" y="4"/>
                  </a:lnTo>
                  <a:lnTo>
                    <a:pt x="0" y="0"/>
                  </a:lnTo>
                  <a:lnTo>
                    <a:pt x="3" y="0"/>
                  </a:lnTo>
                  <a:lnTo>
                    <a:pt x="6" y="0"/>
                  </a:lnTo>
                  <a:lnTo>
                    <a:pt x="10" y="4"/>
                  </a:lnTo>
                  <a:lnTo>
                    <a:pt x="10"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8" name="Freeform 919">
              <a:extLst>
                <a:ext uri="{FF2B5EF4-FFF2-40B4-BE49-F238E27FC236}">
                  <a16:creationId xmlns:a16="http://schemas.microsoft.com/office/drawing/2014/main" id="{1CAF203D-8C1F-974C-A018-4636C8258BDE}"/>
                </a:ext>
              </a:extLst>
            </p:cNvPr>
            <p:cNvSpPr>
              <a:spLocks/>
            </p:cNvSpPr>
            <p:nvPr/>
          </p:nvSpPr>
          <p:spPr bwMode="auto">
            <a:xfrm>
              <a:off x="1772476" y="183699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10" y="0"/>
                  </a:lnTo>
                  <a:lnTo>
                    <a:pt x="13" y="0"/>
                  </a:lnTo>
                  <a:lnTo>
                    <a:pt x="13" y="4"/>
                  </a:lnTo>
                  <a:lnTo>
                    <a:pt x="13" y="7"/>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09" name="Freeform 920">
              <a:extLst>
                <a:ext uri="{FF2B5EF4-FFF2-40B4-BE49-F238E27FC236}">
                  <a16:creationId xmlns:a16="http://schemas.microsoft.com/office/drawing/2014/main" id="{E0BD2804-CD98-8D42-BCFA-18F2449DDF0C}"/>
                </a:ext>
              </a:extLst>
            </p:cNvPr>
            <p:cNvSpPr>
              <a:spLocks/>
            </p:cNvSpPr>
            <p:nvPr/>
          </p:nvSpPr>
          <p:spPr bwMode="auto">
            <a:xfrm>
              <a:off x="1779453" y="1825081"/>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0" name="Freeform 921">
              <a:extLst>
                <a:ext uri="{FF2B5EF4-FFF2-40B4-BE49-F238E27FC236}">
                  <a16:creationId xmlns:a16="http://schemas.microsoft.com/office/drawing/2014/main" id="{0BA66D26-6927-3A4E-B38C-F8DDCB2854D6}"/>
                </a:ext>
              </a:extLst>
            </p:cNvPr>
            <p:cNvSpPr>
              <a:spLocks/>
            </p:cNvSpPr>
            <p:nvPr/>
          </p:nvSpPr>
          <p:spPr bwMode="auto">
            <a:xfrm>
              <a:off x="1779453" y="1825081"/>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4" y="9"/>
                  </a:moveTo>
                  <a:lnTo>
                    <a:pt x="0" y="6"/>
                  </a:lnTo>
                  <a:lnTo>
                    <a:pt x="0" y="3"/>
                  </a:lnTo>
                  <a:lnTo>
                    <a:pt x="0" y="0"/>
                  </a:lnTo>
                  <a:lnTo>
                    <a:pt x="4" y="0"/>
                  </a:lnTo>
                  <a:lnTo>
                    <a:pt x="16" y="0"/>
                  </a:lnTo>
                  <a:lnTo>
                    <a:pt x="20" y="0"/>
                  </a:lnTo>
                  <a:lnTo>
                    <a:pt x="20" y="3"/>
                  </a:lnTo>
                  <a:lnTo>
                    <a:pt x="20" y="6"/>
                  </a:lnTo>
                  <a:lnTo>
                    <a:pt x="16"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1" name="Freeform 922">
              <a:extLst>
                <a:ext uri="{FF2B5EF4-FFF2-40B4-BE49-F238E27FC236}">
                  <a16:creationId xmlns:a16="http://schemas.microsoft.com/office/drawing/2014/main" id="{D1AA41A4-D33C-3445-B4D4-1B06873B5343}"/>
                </a:ext>
              </a:extLst>
            </p:cNvPr>
            <p:cNvSpPr>
              <a:spLocks/>
            </p:cNvSpPr>
            <p:nvPr/>
          </p:nvSpPr>
          <p:spPr bwMode="auto">
            <a:xfrm>
              <a:off x="1794572" y="1825081"/>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3" y="9"/>
                  </a:moveTo>
                  <a:lnTo>
                    <a:pt x="0" y="6"/>
                  </a:lnTo>
                  <a:lnTo>
                    <a:pt x="0" y="3"/>
                  </a:lnTo>
                  <a:lnTo>
                    <a:pt x="0" y="0"/>
                  </a:lnTo>
                  <a:lnTo>
                    <a:pt x="3" y="0"/>
                  </a:lnTo>
                  <a:lnTo>
                    <a:pt x="16" y="0"/>
                  </a:lnTo>
                  <a:lnTo>
                    <a:pt x="20" y="0"/>
                  </a:lnTo>
                  <a:lnTo>
                    <a:pt x="20" y="3"/>
                  </a:lnTo>
                  <a:lnTo>
                    <a:pt x="20"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2" name="Freeform 923">
              <a:extLst>
                <a:ext uri="{FF2B5EF4-FFF2-40B4-BE49-F238E27FC236}">
                  <a16:creationId xmlns:a16="http://schemas.microsoft.com/office/drawing/2014/main" id="{DD3131D9-3D10-DF43-ACCC-E214E7F450D6}"/>
                </a:ext>
              </a:extLst>
            </p:cNvPr>
            <p:cNvSpPr>
              <a:spLocks/>
            </p:cNvSpPr>
            <p:nvPr/>
          </p:nvSpPr>
          <p:spPr bwMode="auto">
            <a:xfrm>
              <a:off x="1809689" y="1825081"/>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3" name="Freeform 924">
              <a:extLst>
                <a:ext uri="{FF2B5EF4-FFF2-40B4-BE49-F238E27FC236}">
                  <a16:creationId xmlns:a16="http://schemas.microsoft.com/office/drawing/2014/main" id="{9767AC01-ACED-0A48-8F21-B49FC414E3B0}"/>
                </a:ext>
              </a:extLst>
            </p:cNvPr>
            <p:cNvSpPr>
              <a:spLocks/>
            </p:cNvSpPr>
            <p:nvPr/>
          </p:nvSpPr>
          <p:spPr bwMode="auto">
            <a:xfrm>
              <a:off x="1817830" y="1815153"/>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4" name="Freeform 925">
              <a:extLst>
                <a:ext uri="{FF2B5EF4-FFF2-40B4-BE49-F238E27FC236}">
                  <a16:creationId xmlns:a16="http://schemas.microsoft.com/office/drawing/2014/main" id="{E15953D8-56C1-B34B-AE59-6870D1ED247D}"/>
                </a:ext>
              </a:extLst>
            </p:cNvPr>
            <p:cNvSpPr>
              <a:spLocks/>
            </p:cNvSpPr>
            <p:nvPr/>
          </p:nvSpPr>
          <p:spPr bwMode="auto">
            <a:xfrm>
              <a:off x="1817830" y="1815153"/>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5" name="Freeform 926">
              <a:extLst>
                <a:ext uri="{FF2B5EF4-FFF2-40B4-BE49-F238E27FC236}">
                  <a16:creationId xmlns:a16="http://schemas.microsoft.com/office/drawing/2014/main" id="{8F90853A-FA90-8E4C-BFC7-0CF0187D2B1E}"/>
                </a:ext>
              </a:extLst>
            </p:cNvPr>
            <p:cNvSpPr>
              <a:spLocks/>
            </p:cNvSpPr>
            <p:nvPr/>
          </p:nvSpPr>
          <p:spPr bwMode="auto">
            <a:xfrm>
              <a:off x="1831785" y="1802245"/>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6" name="Freeform 927">
              <a:extLst>
                <a:ext uri="{FF2B5EF4-FFF2-40B4-BE49-F238E27FC236}">
                  <a16:creationId xmlns:a16="http://schemas.microsoft.com/office/drawing/2014/main" id="{DC8F5A37-B4BD-2C44-B724-669757CDF606}"/>
                </a:ext>
              </a:extLst>
            </p:cNvPr>
            <p:cNvSpPr>
              <a:spLocks/>
            </p:cNvSpPr>
            <p:nvPr/>
          </p:nvSpPr>
          <p:spPr bwMode="auto">
            <a:xfrm>
              <a:off x="1831785" y="1802245"/>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7" name="Freeform 928">
              <a:extLst>
                <a:ext uri="{FF2B5EF4-FFF2-40B4-BE49-F238E27FC236}">
                  <a16:creationId xmlns:a16="http://schemas.microsoft.com/office/drawing/2014/main" id="{F903318C-AEA6-4040-AB4B-989DA8E6A071}"/>
                </a:ext>
              </a:extLst>
            </p:cNvPr>
            <p:cNvSpPr>
              <a:spLocks/>
            </p:cNvSpPr>
            <p:nvPr/>
          </p:nvSpPr>
          <p:spPr bwMode="auto">
            <a:xfrm>
              <a:off x="1851555" y="1792317"/>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8" name="Freeform 929">
              <a:extLst>
                <a:ext uri="{FF2B5EF4-FFF2-40B4-BE49-F238E27FC236}">
                  <a16:creationId xmlns:a16="http://schemas.microsoft.com/office/drawing/2014/main" id="{566EA4DB-9386-5A4F-9E33-AC6351BF0A2F}"/>
                </a:ext>
              </a:extLst>
            </p:cNvPr>
            <p:cNvSpPr>
              <a:spLocks/>
            </p:cNvSpPr>
            <p:nvPr/>
          </p:nvSpPr>
          <p:spPr bwMode="auto">
            <a:xfrm>
              <a:off x="1851555" y="1792317"/>
              <a:ext cx="29073" cy="9928"/>
            </a:xfrm>
            <a:custGeom>
              <a:avLst/>
              <a:gdLst>
                <a:gd name="T0" fmla="*/ 2147483646 w 25"/>
                <a:gd name="T1" fmla="*/ 2147483646 h 10"/>
                <a:gd name="T2" fmla="*/ 0 w 25"/>
                <a:gd name="T3" fmla="*/ 2147483646 h 10"/>
                <a:gd name="T4" fmla="*/ 0 w 25"/>
                <a:gd name="T5" fmla="*/ 2147483646 h 10"/>
                <a:gd name="T6" fmla="*/ 0 w 25"/>
                <a:gd name="T7" fmla="*/ 2147483646 h 10"/>
                <a:gd name="T8" fmla="*/ 0 w 25"/>
                <a:gd name="T9" fmla="*/ 0 h 10"/>
                <a:gd name="T10" fmla="*/ 2147483646 w 25"/>
                <a:gd name="T11" fmla="*/ 0 h 10"/>
                <a:gd name="T12" fmla="*/ 2147483646 w 25"/>
                <a:gd name="T13" fmla="*/ 0 h 10"/>
                <a:gd name="T14" fmla="*/ 2147483646 w 25"/>
                <a:gd name="T15" fmla="*/ 0 h 10"/>
                <a:gd name="T16" fmla="*/ 2147483646 w 25"/>
                <a:gd name="T17" fmla="*/ 2147483646 h 10"/>
                <a:gd name="T18" fmla="*/ 2147483646 w 25"/>
                <a:gd name="T19" fmla="*/ 2147483646 h 10"/>
                <a:gd name="T20" fmla="*/ 2147483646 w 25"/>
                <a:gd name="T21" fmla="*/ 2147483646 h 10"/>
                <a:gd name="T22" fmla="*/ 2147483646 w 25"/>
                <a:gd name="T23" fmla="*/ 2147483646 h 10"/>
                <a:gd name="T24" fmla="*/ 2147483646 w 2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0">
                  <a:moveTo>
                    <a:pt x="3" y="10"/>
                  </a:moveTo>
                  <a:lnTo>
                    <a:pt x="0" y="7"/>
                  </a:lnTo>
                  <a:lnTo>
                    <a:pt x="0" y="3"/>
                  </a:lnTo>
                  <a:lnTo>
                    <a:pt x="0" y="0"/>
                  </a:lnTo>
                  <a:lnTo>
                    <a:pt x="3" y="0"/>
                  </a:lnTo>
                  <a:lnTo>
                    <a:pt x="22" y="0"/>
                  </a:lnTo>
                  <a:lnTo>
                    <a:pt x="25" y="0"/>
                  </a:lnTo>
                  <a:lnTo>
                    <a:pt x="25" y="3"/>
                  </a:lnTo>
                  <a:lnTo>
                    <a:pt x="25" y="7"/>
                  </a:lnTo>
                  <a:lnTo>
                    <a:pt x="2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19" name="Freeform 930">
              <a:extLst>
                <a:ext uri="{FF2B5EF4-FFF2-40B4-BE49-F238E27FC236}">
                  <a16:creationId xmlns:a16="http://schemas.microsoft.com/office/drawing/2014/main" id="{669B915E-6A5B-2A49-9363-ACA2A3A8AD3C}"/>
                </a:ext>
              </a:extLst>
            </p:cNvPr>
            <p:cNvSpPr>
              <a:spLocks/>
            </p:cNvSpPr>
            <p:nvPr/>
          </p:nvSpPr>
          <p:spPr bwMode="auto">
            <a:xfrm>
              <a:off x="1873650" y="1779410"/>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6" y="20"/>
                  </a:lnTo>
                  <a:lnTo>
                    <a:pt x="3" y="20"/>
                  </a:lnTo>
                  <a:lnTo>
                    <a:pt x="0" y="20"/>
                  </a:lnTo>
                  <a:lnTo>
                    <a:pt x="0" y="16"/>
                  </a:lnTo>
                  <a:lnTo>
                    <a:pt x="0" y="4"/>
                  </a:lnTo>
                  <a:lnTo>
                    <a:pt x="0" y="0"/>
                  </a:lnTo>
                  <a:lnTo>
                    <a:pt x="3" y="0"/>
                  </a:lnTo>
                  <a:lnTo>
                    <a:pt x="6" y="0"/>
                  </a:lnTo>
                  <a:lnTo>
                    <a:pt x="10" y="4"/>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0" name="Freeform 931">
              <a:extLst>
                <a:ext uri="{FF2B5EF4-FFF2-40B4-BE49-F238E27FC236}">
                  <a16:creationId xmlns:a16="http://schemas.microsoft.com/office/drawing/2014/main" id="{FCF6B76E-2BDB-EF43-82DC-5F76C2BB6B62}"/>
                </a:ext>
              </a:extLst>
            </p:cNvPr>
            <p:cNvSpPr>
              <a:spLocks/>
            </p:cNvSpPr>
            <p:nvPr/>
          </p:nvSpPr>
          <p:spPr bwMode="auto">
            <a:xfrm>
              <a:off x="1873650" y="177941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1" name="Freeform 932">
              <a:extLst>
                <a:ext uri="{FF2B5EF4-FFF2-40B4-BE49-F238E27FC236}">
                  <a16:creationId xmlns:a16="http://schemas.microsoft.com/office/drawing/2014/main" id="{718CDFF8-6C3F-0945-9116-D70F51397885}"/>
                </a:ext>
              </a:extLst>
            </p:cNvPr>
            <p:cNvSpPr>
              <a:spLocks/>
            </p:cNvSpPr>
            <p:nvPr/>
          </p:nvSpPr>
          <p:spPr bwMode="auto">
            <a:xfrm>
              <a:off x="1885280" y="1770474"/>
              <a:ext cx="10467" cy="15885"/>
            </a:xfrm>
            <a:custGeom>
              <a:avLst/>
              <a:gdLst>
                <a:gd name="T0" fmla="*/ 2147483646 w 9"/>
                <a:gd name="T1" fmla="*/ 2147483646 h 16"/>
                <a:gd name="T2" fmla="*/ 2147483646 w 9"/>
                <a:gd name="T3" fmla="*/ 2147483646 h 16"/>
                <a:gd name="T4" fmla="*/ 2147483646 w 9"/>
                <a:gd name="T5" fmla="*/ 2147483646 h 16"/>
                <a:gd name="T6" fmla="*/ 2147483646 w 9"/>
                <a:gd name="T7" fmla="*/ 2147483646 h 16"/>
                <a:gd name="T8" fmla="*/ 0 w 9"/>
                <a:gd name="T9" fmla="*/ 2147483646 h 16"/>
                <a:gd name="T10" fmla="*/ 0 w 9"/>
                <a:gd name="T11" fmla="*/ 2147483646 h 16"/>
                <a:gd name="T12" fmla="*/ 0 w 9"/>
                <a:gd name="T13" fmla="*/ 2147483646 h 16"/>
                <a:gd name="T14" fmla="*/ 0 w 9"/>
                <a:gd name="T15" fmla="*/ 0 h 16"/>
                <a:gd name="T16" fmla="*/ 2147483646 w 9"/>
                <a:gd name="T17" fmla="*/ 0 h 16"/>
                <a:gd name="T18" fmla="*/ 2147483646 w 9"/>
                <a:gd name="T19" fmla="*/ 0 h 16"/>
                <a:gd name="T20" fmla="*/ 2147483646 w 9"/>
                <a:gd name="T21" fmla="*/ 0 h 16"/>
                <a:gd name="T22" fmla="*/ 2147483646 w 9"/>
                <a:gd name="T23" fmla="*/ 2147483646 h 16"/>
                <a:gd name="T24" fmla="*/ 2147483646 w 9"/>
                <a:gd name="T25" fmla="*/ 214748364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6">
                  <a:moveTo>
                    <a:pt x="9" y="13"/>
                  </a:moveTo>
                  <a:lnTo>
                    <a:pt x="6" y="16"/>
                  </a:lnTo>
                  <a:lnTo>
                    <a:pt x="3" y="16"/>
                  </a:lnTo>
                  <a:lnTo>
                    <a:pt x="0" y="16"/>
                  </a:lnTo>
                  <a:lnTo>
                    <a:pt x="0" y="13"/>
                  </a:lnTo>
                  <a:lnTo>
                    <a:pt x="0" y="3"/>
                  </a:lnTo>
                  <a:lnTo>
                    <a:pt x="0" y="0"/>
                  </a:lnTo>
                  <a:lnTo>
                    <a:pt x="3" y="0"/>
                  </a:lnTo>
                  <a:lnTo>
                    <a:pt x="6" y="0"/>
                  </a:lnTo>
                  <a:lnTo>
                    <a:pt x="9" y="3"/>
                  </a:lnTo>
                  <a:lnTo>
                    <a:pt x="9" y="1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2" name="Freeform 933">
              <a:extLst>
                <a:ext uri="{FF2B5EF4-FFF2-40B4-BE49-F238E27FC236}">
                  <a16:creationId xmlns:a16="http://schemas.microsoft.com/office/drawing/2014/main" id="{5EE51CDE-9449-BB4E-BD9F-5468D3E14A47}"/>
                </a:ext>
              </a:extLst>
            </p:cNvPr>
            <p:cNvSpPr>
              <a:spLocks/>
            </p:cNvSpPr>
            <p:nvPr/>
          </p:nvSpPr>
          <p:spPr bwMode="auto">
            <a:xfrm>
              <a:off x="1885280" y="1770474"/>
              <a:ext cx="25584" cy="8936"/>
            </a:xfrm>
            <a:custGeom>
              <a:avLst/>
              <a:gdLst>
                <a:gd name="T0" fmla="*/ 2147483646 w 22"/>
                <a:gd name="T1" fmla="*/ 2147483646 h 9"/>
                <a:gd name="T2" fmla="*/ 0 w 22"/>
                <a:gd name="T3" fmla="*/ 2147483646 h 9"/>
                <a:gd name="T4" fmla="*/ 0 w 22"/>
                <a:gd name="T5" fmla="*/ 2147483646 h 9"/>
                <a:gd name="T6" fmla="*/ 0 w 22"/>
                <a:gd name="T7" fmla="*/ 2147483646 h 9"/>
                <a:gd name="T8" fmla="*/ 0 w 22"/>
                <a:gd name="T9" fmla="*/ 0 h 9"/>
                <a:gd name="T10" fmla="*/ 2147483646 w 22"/>
                <a:gd name="T11" fmla="*/ 0 h 9"/>
                <a:gd name="T12" fmla="*/ 2147483646 w 22"/>
                <a:gd name="T13" fmla="*/ 0 h 9"/>
                <a:gd name="T14" fmla="*/ 2147483646 w 22"/>
                <a:gd name="T15" fmla="*/ 0 h 9"/>
                <a:gd name="T16" fmla="*/ 2147483646 w 22"/>
                <a:gd name="T17" fmla="*/ 2147483646 h 9"/>
                <a:gd name="T18" fmla="*/ 2147483646 w 22"/>
                <a:gd name="T19" fmla="*/ 2147483646 h 9"/>
                <a:gd name="T20" fmla="*/ 2147483646 w 22"/>
                <a:gd name="T21" fmla="*/ 2147483646 h 9"/>
                <a:gd name="T22" fmla="*/ 2147483646 w 22"/>
                <a:gd name="T23" fmla="*/ 2147483646 h 9"/>
                <a:gd name="T24" fmla="*/ 2147483646 w 22"/>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9">
                  <a:moveTo>
                    <a:pt x="3" y="9"/>
                  </a:moveTo>
                  <a:lnTo>
                    <a:pt x="0" y="6"/>
                  </a:lnTo>
                  <a:lnTo>
                    <a:pt x="0" y="3"/>
                  </a:lnTo>
                  <a:lnTo>
                    <a:pt x="0" y="0"/>
                  </a:lnTo>
                  <a:lnTo>
                    <a:pt x="3" y="0"/>
                  </a:lnTo>
                  <a:lnTo>
                    <a:pt x="19" y="0"/>
                  </a:lnTo>
                  <a:lnTo>
                    <a:pt x="22" y="0"/>
                  </a:lnTo>
                  <a:lnTo>
                    <a:pt x="22" y="3"/>
                  </a:lnTo>
                  <a:lnTo>
                    <a:pt x="22" y="6"/>
                  </a:lnTo>
                  <a:lnTo>
                    <a:pt x="1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3" name="Freeform 934">
              <a:extLst>
                <a:ext uri="{FF2B5EF4-FFF2-40B4-BE49-F238E27FC236}">
                  <a16:creationId xmlns:a16="http://schemas.microsoft.com/office/drawing/2014/main" id="{B60ECA16-09F1-F34D-975B-28BBE19BAC0C}"/>
                </a:ext>
              </a:extLst>
            </p:cNvPr>
            <p:cNvSpPr>
              <a:spLocks/>
            </p:cNvSpPr>
            <p:nvPr/>
          </p:nvSpPr>
          <p:spPr bwMode="auto">
            <a:xfrm>
              <a:off x="1903886" y="1757568"/>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4" name="Freeform 935">
              <a:extLst>
                <a:ext uri="{FF2B5EF4-FFF2-40B4-BE49-F238E27FC236}">
                  <a16:creationId xmlns:a16="http://schemas.microsoft.com/office/drawing/2014/main" id="{BC652A63-5533-1F47-A6CF-CAF0D7280FBA}"/>
                </a:ext>
              </a:extLst>
            </p:cNvPr>
            <p:cNvSpPr>
              <a:spLocks/>
            </p:cNvSpPr>
            <p:nvPr/>
          </p:nvSpPr>
          <p:spPr bwMode="auto">
            <a:xfrm>
              <a:off x="1903886" y="1757568"/>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5" name="Freeform 936">
              <a:extLst>
                <a:ext uri="{FF2B5EF4-FFF2-40B4-BE49-F238E27FC236}">
                  <a16:creationId xmlns:a16="http://schemas.microsoft.com/office/drawing/2014/main" id="{57B31C7E-8557-7146-9EEA-A0C9693A9B9C}"/>
                </a:ext>
              </a:extLst>
            </p:cNvPr>
            <p:cNvSpPr>
              <a:spLocks/>
            </p:cNvSpPr>
            <p:nvPr/>
          </p:nvSpPr>
          <p:spPr bwMode="auto">
            <a:xfrm>
              <a:off x="1907375" y="1757568"/>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6" name="Freeform 937">
              <a:extLst>
                <a:ext uri="{FF2B5EF4-FFF2-40B4-BE49-F238E27FC236}">
                  <a16:creationId xmlns:a16="http://schemas.microsoft.com/office/drawing/2014/main" id="{4D6EA812-AF0F-7F49-881C-66A35C4763D1}"/>
                </a:ext>
              </a:extLst>
            </p:cNvPr>
            <p:cNvSpPr>
              <a:spLocks/>
            </p:cNvSpPr>
            <p:nvPr/>
          </p:nvSpPr>
          <p:spPr bwMode="auto">
            <a:xfrm>
              <a:off x="1910864" y="1757568"/>
              <a:ext cx="26748" cy="8936"/>
            </a:xfrm>
            <a:custGeom>
              <a:avLst/>
              <a:gdLst>
                <a:gd name="T0" fmla="*/ 2147483646 w 23"/>
                <a:gd name="T1" fmla="*/ 2147483646 h 9"/>
                <a:gd name="T2" fmla="*/ 0 w 23"/>
                <a:gd name="T3" fmla="*/ 2147483646 h 9"/>
                <a:gd name="T4" fmla="*/ 0 w 23"/>
                <a:gd name="T5" fmla="*/ 2147483646 h 9"/>
                <a:gd name="T6" fmla="*/ 0 w 23"/>
                <a:gd name="T7" fmla="*/ 2147483646 h 9"/>
                <a:gd name="T8" fmla="*/ 0 w 23"/>
                <a:gd name="T9" fmla="*/ 0 h 9"/>
                <a:gd name="T10" fmla="*/ 2147483646 w 23"/>
                <a:gd name="T11" fmla="*/ 0 h 9"/>
                <a:gd name="T12" fmla="*/ 2147483646 w 23"/>
                <a:gd name="T13" fmla="*/ 0 h 9"/>
                <a:gd name="T14" fmla="*/ 2147483646 w 23"/>
                <a:gd name="T15" fmla="*/ 0 h 9"/>
                <a:gd name="T16" fmla="*/ 2147483646 w 23"/>
                <a:gd name="T17" fmla="*/ 2147483646 h 9"/>
                <a:gd name="T18" fmla="*/ 2147483646 w 23"/>
                <a:gd name="T19" fmla="*/ 2147483646 h 9"/>
                <a:gd name="T20" fmla="*/ 2147483646 w 23"/>
                <a:gd name="T21" fmla="*/ 2147483646 h 9"/>
                <a:gd name="T22" fmla="*/ 2147483646 w 23"/>
                <a:gd name="T23" fmla="*/ 2147483646 h 9"/>
                <a:gd name="T24" fmla="*/ 2147483646 w 2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9">
                  <a:moveTo>
                    <a:pt x="3" y="9"/>
                  </a:moveTo>
                  <a:lnTo>
                    <a:pt x="0" y="6"/>
                  </a:lnTo>
                  <a:lnTo>
                    <a:pt x="0" y="3"/>
                  </a:lnTo>
                  <a:lnTo>
                    <a:pt x="0" y="0"/>
                  </a:lnTo>
                  <a:lnTo>
                    <a:pt x="3" y="0"/>
                  </a:lnTo>
                  <a:lnTo>
                    <a:pt x="19" y="0"/>
                  </a:lnTo>
                  <a:lnTo>
                    <a:pt x="23" y="0"/>
                  </a:lnTo>
                  <a:lnTo>
                    <a:pt x="23" y="3"/>
                  </a:lnTo>
                  <a:lnTo>
                    <a:pt x="23" y="6"/>
                  </a:lnTo>
                  <a:lnTo>
                    <a:pt x="19"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7" name="Freeform 938">
              <a:extLst>
                <a:ext uri="{FF2B5EF4-FFF2-40B4-BE49-F238E27FC236}">
                  <a16:creationId xmlns:a16="http://schemas.microsoft.com/office/drawing/2014/main" id="{A6353294-F6D7-614F-88A4-E0F94F53F24B}"/>
                </a:ext>
              </a:extLst>
            </p:cNvPr>
            <p:cNvSpPr>
              <a:spLocks/>
            </p:cNvSpPr>
            <p:nvPr/>
          </p:nvSpPr>
          <p:spPr bwMode="auto">
            <a:xfrm>
              <a:off x="1929471" y="1757568"/>
              <a:ext cx="23258" cy="8936"/>
            </a:xfrm>
            <a:custGeom>
              <a:avLst/>
              <a:gdLst>
                <a:gd name="T0" fmla="*/ 2147483646 w 20"/>
                <a:gd name="T1" fmla="*/ 2147483646 h 9"/>
                <a:gd name="T2" fmla="*/ 0 w 20"/>
                <a:gd name="T3" fmla="*/ 2147483646 h 9"/>
                <a:gd name="T4" fmla="*/ 0 w 20"/>
                <a:gd name="T5" fmla="*/ 2147483646 h 9"/>
                <a:gd name="T6" fmla="*/ 0 w 20"/>
                <a:gd name="T7" fmla="*/ 2147483646 h 9"/>
                <a:gd name="T8" fmla="*/ 0 w 20"/>
                <a:gd name="T9" fmla="*/ 0 h 9"/>
                <a:gd name="T10" fmla="*/ 2147483646 w 20"/>
                <a:gd name="T11" fmla="*/ 0 h 9"/>
                <a:gd name="T12" fmla="*/ 2147483646 w 20"/>
                <a:gd name="T13" fmla="*/ 0 h 9"/>
                <a:gd name="T14" fmla="*/ 2147483646 w 20"/>
                <a:gd name="T15" fmla="*/ 0 h 9"/>
                <a:gd name="T16" fmla="*/ 2147483646 w 20"/>
                <a:gd name="T17" fmla="*/ 2147483646 h 9"/>
                <a:gd name="T18" fmla="*/ 2147483646 w 20"/>
                <a:gd name="T19" fmla="*/ 2147483646 h 9"/>
                <a:gd name="T20" fmla="*/ 2147483646 w 20"/>
                <a:gd name="T21" fmla="*/ 2147483646 h 9"/>
                <a:gd name="T22" fmla="*/ 2147483646 w 20"/>
                <a:gd name="T23" fmla="*/ 2147483646 h 9"/>
                <a:gd name="T24" fmla="*/ 2147483646 w 2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9">
                  <a:moveTo>
                    <a:pt x="3" y="9"/>
                  </a:moveTo>
                  <a:lnTo>
                    <a:pt x="0" y="6"/>
                  </a:lnTo>
                  <a:lnTo>
                    <a:pt x="0" y="3"/>
                  </a:lnTo>
                  <a:lnTo>
                    <a:pt x="0" y="0"/>
                  </a:lnTo>
                  <a:lnTo>
                    <a:pt x="3" y="0"/>
                  </a:lnTo>
                  <a:lnTo>
                    <a:pt x="16" y="0"/>
                  </a:lnTo>
                  <a:lnTo>
                    <a:pt x="20" y="0"/>
                  </a:lnTo>
                  <a:lnTo>
                    <a:pt x="20" y="3"/>
                  </a:lnTo>
                  <a:lnTo>
                    <a:pt x="20"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8" name="Freeform 939">
              <a:extLst>
                <a:ext uri="{FF2B5EF4-FFF2-40B4-BE49-F238E27FC236}">
                  <a16:creationId xmlns:a16="http://schemas.microsoft.com/office/drawing/2014/main" id="{D520B147-BC0C-7F4D-890F-B15C785C76B3}"/>
                </a:ext>
              </a:extLst>
            </p:cNvPr>
            <p:cNvSpPr>
              <a:spLocks/>
            </p:cNvSpPr>
            <p:nvPr/>
          </p:nvSpPr>
          <p:spPr bwMode="auto">
            <a:xfrm>
              <a:off x="1944588" y="175756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29" name="Freeform 940">
              <a:extLst>
                <a:ext uri="{FF2B5EF4-FFF2-40B4-BE49-F238E27FC236}">
                  <a16:creationId xmlns:a16="http://schemas.microsoft.com/office/drawing/2014/main" id="{BEC49174-D2EB-4942-8DFB-76954A58C366}"/>
                </a:ext>
              </a:extLst>
            </p:cNvPr>
            <p:cNvSpPr>
              <a:spLocks/>
            </p:cNvSpPr>
            <p:nvPr/>
          </p:nvSpPr>
          <p:spPr bwMode="auto">
            <a:xfrm>
              <a:off x="1952729" y="174466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0" name="Freeform 941">
              <a:extLst>
                <a:ext uri="{FF2B5EF4-FFF2-40B4-BE49-F238E27FC236}">
                  <a16:creationId xmlns:a16="http://schemas.microsoft.com/office/drawing/2014/main" id="{28AAA18B-A966-F141-ADEA-32382F752B10}"/>
                </a:ext>
              </a:extLst>
            </p:cNvPr>
            <p:cNvSpPr>
              <a:spLocks/>
            </p:cNvSpPr>
            <p:nvPr/>
          </p:nvSpPr>
          <p:spPr bwMode="auto">
            <a:xfrm>
              <a:off x="1952729" y="174466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1" name="Freeform 942">
              <a:extLst>
                <a:ext uri="{FF2B5EF4-FFF2-40B4-BE49-F238E27FC236}">
                  <a16:creationId xmlns:a16="http://schemas.microsoft.com/office/drawing/2014/main" id="{A24C43C5-38BD-0F43-B96F-D7757F1E6422}"/>
                </a:ext>
              </a:extLst>
            </p:cNvPr>
            <p:cNvSpPr>
              <a:spLocks/>
            </p:cNvSpPr>
            <p:nvPr/>
          </p:nvSpPr>
          <p:spPr bwMode="auto">
            <a:xfrm>
              <a:off x="1956217" y="1744660"/>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2" name="Freeform 943">
              <a:extLst>
                <a:ext uri="{FF2B5EF4-FFF2-40B4-BE49-F238E27FC236}">
                  <a16:creationId xmlns:a16="http://schemas.microsoft.com/office/drawing/2014/main" id="{10C6EC46-32DE-7744-8E04-DDF0FA3E0B87}"/>
                </a:ext>
              </a:extLst>
            </p:cNvPr>
            <p:cNvSpPr>
              <a:spLocks/>
            </p:cNvSpPr>
            <p:nvPr/>
          </p:nvSpPr>
          <p:spPr bwMode="auto">
            <a:xfrm>
              <a:off x="1971336" y="17446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3" name="Freeform 944">
              <a:extLst>
                <a:ext uri="{FF2B5EF4-FFF2-40B4-BE49-F238E27FC236}">
                  <a16:creationId xmlns:a16="http://schemas.microsoft.com/office/drawing/2014/main" id="{7E77EB0D-39CC-F042-B396-88189D5B1ACE}"/>
                </a:ext>
              </a:extLst>
            </p:cNvPr>
            <p:cNvSpPr>
              <a:spLocks/>
            </p:cNvSpPr>
            <p:nvPr/>
          </p:nvSpPr>
          <p:spPr bwMode="auto">
            <a:xfrm>
              <a:off x="1978313" y="174466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4" name="Freeform 945">
              <a:extLst>
                <a:ext uri="{FF2B5EF4-FFF2-40B4-BE49-F238E27FC236}">
                  <a16:creationId xmlns:a16="http://schemas.microsoft.com/office/drawing/2014/main" id="{9C862750-0129-7243-BB6B-A874CFF40C51}"/>
                </a:ext>
              </a:extLst>
            </p:cNvPr>
            <p:cNvSpPr>
              <a:spLocks/>
            </p:cNvSpPr>
            <p:nvPr/>
          </p:nvSpPr>
          <p:spPr bwMode="auto">
            <a:xfrm>
              <a:off x="1986453" y="174466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5" name="Freeform 946">
              <a:extLst>
                <a:ext uri="{FF2B5EF4-FFF2-40B4-BE49-F238E27FC236}">
                  <a16:creationId xmlns:a16="http://schemas.microsoft.com/office/drawing/2014/main" id="{907D173C-C5A7-774F-B218-8D00EEB7FA61}"/>
                </a:ext>
              </a:extLst>
            </p:cNvPr>
            <p:cNvSpPr>
              <a:spLocks/>
            </p:cNvSpPr>
            <p:nvPr/>
          </p:nvSpPr>
          <p:spPr bwMode="auto">
            <a:xfrm>
              <a:off x="1989943" y="174466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6" name="Freeform 947">
              <a:extLst>
                <a:ext uri="{FF2B5EF4-FFF2-40B4-BE49-F238E27FC236}">
                  <a16:creationId xmlns:a16="http://schemas.microsoft.com/office/drawing/2014/main" id="{7C90891E-1ED1-114C-A34D-F9A6C2962126}"/>
                </a:ext>
              </a:extLst>
            </p:cNvPr>
            <p:cNvSpPr>
              <a:spLocks/>
            </p:cNvSpPr>
            <p:nvPr/>
          </p:nvSpPr>
          <p:spPr bwMode="auto">
            <a:xfrm>
              <a:off x="1993431" y="17446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7" name="Freeform 948">
              <a:extLst>
                <a:ext uri="{FF2B5EF4-FFF2-40B4-BE49-F238E27FC236}">
                  <a16:creationId xmlns:a16="http://schemas.microsoft.com/office/drawing/2014/main" id="{646AD620-DA10-0249-916D-BC2C78E7B0BB}"/>
                </a:ext>
              </a:extLst>
            </p:cNvPr>
            <p:cNvSpPr>
              <a:spLocks/>
            </p:cNvSpPr>
            <p:nvPr/>
          </p:nvSpPr>
          <p:spPr bwMode="auto">
            <a:xfrm>
              <a:off x="1996920" y="1744660"/>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3" y="10"/>
                  </a:moveTo>
                  <a:lnTo>
                    <a:pt x="0" y="6"/>
                  </a:lnTo>
                  <a:lnTo>
                    <a:pt x="0" y="3"/>
                  </a:lnTo>
                  <a:lnTo>
                    <a:pt x="0" y="0"/>
                  </a:lnTo>
                  <a:lnTo>
                    <a:pt x="3" y="0"/>
                  </a:lnTo>
                  <a:lnTo>
                    <a:pt x="16" y="0"/>
                  </a:lnTo>
                  <a:lnTo>
                    <a:pt x="20" y="0"/>
                  </a:lnTo>
                  <a:lnTo>
                    <a:pt x="20" y="3"/>
                  </a:lnTo>
                  <a:lnTo>
                    <a:pt x="20" y="6"/>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8" name="Freeform 949">
              <a:extLst>
                <a:ext uri="{FF2B5EF4-FFF2-40B4-BE49-F238E27FC236}">
                  <a16:creationId xmlns:a16="http://schemas.microsoft.com/office/drawing/2014/main" id="{C7ADF7D7-3F8E-C245-9F00-BC58C12F8227}"/>
                </a:ext>
              </a:extLst>
            </p:cNvPr>
            <p:cNvSpPr>
              <a:spLocks/>
            </p:cNvSpPr>
            <p:nvPr/>
          </p:nvSpPr>
          <p:spPr bwMode="auto">
            <a:xfrm>
              <a:off x="2012038" y="1744660"/>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39" name="Freeform 950">
              <a:extLst>
                <a:ext uri="{FF2B5EF4-FFF2-40B4-BE49-F238E27FC236}">
                  <a16:creationId xmlns:a16="http://schemas.microsoft.com/office/drawing/2014/main" id="{95B9BAF5-9985-A24A-B148-1C2DCC8BEFCC}"/>
                </a:ext>
              </a:extLst>
            </p:cNvPr>
            <p:cNvSpPr>
              <a:spLocks/>
            </p:cNvSpPr>
            <p:nvPr/>
          </p:nvSpPr>
          <p:spPr bwMode="auto">
            <a:xfrm>
              <a:off x="2015527" y="1731754"/>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0" name="Freeform 951">
              <a:extLst>
                <a:ext uri="{FF2B5EF4-FFF2-40B4-BE49-F238E27FC236}">
                  <a16:creationId xmlns:a16="http://schemas.microsoft.com/office/drawing/2014/main" id="{020A2C9A-CDDD-7D44-934B-0264583F7378}"/>
                </a:ext>
              </a:extLst>
            </p:cNvPr>
            <p:cNvSpPr>
              <a:spLocks/>
            </p:cNvSpPr>
            <p:nvPr/>
          </p:nvSpPr>
          <p:spPr bwMode="auto">
            <a:xfrm>
              <a:off x="2015527" y="173175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6"/>
                  </a:lnTo>
                  <a:lnTo>
                    <a:pt x="0" y="3"/>
                  </a:lnTo>
                  <a:lnTo>
                    <a:pt x="0" y="0"/>
                  </a:lnTo>
                  <a:lnTo>
                    <a:pt x="4" y="0"/>
                  </a:lnTo>
                  <a:lnTo>
                    <a:pt x="13" y="0"/>
                  </a:lnTo>
                  <a:lnTo>
                    <a:pt x="16" y="0"/>
                  </a:lnTo>
                  <a:lnTo>
                    <a:pt x="16" y="3"/>
                  </a:lnTo>
                  <a:lnTo>
                    <a:pt x="16" y="6"/>
                  </a:lnTo>
                  <a:lnTo>
                    <a:pt x="13"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1" name="Freeform 952">
              <a:extLst>
                <a:ext uri="{FF2B5EF4-FFF2-40B4-BE49-F238E27FC236}">
                  <a16:creationId xmlns:a16="http://schemas.microsoft.com/office/drawing/2014/main" id="{41BF5FE0-982D-AC41-BEEE-AB2FFE3130F5}"/>
                </a:ext>
              </a:extLst>
            </p:cNvPr>
            <p:cNvSpPr>
              <a:spLocks/>
            </p:cNvSpPr>
            <p:nvPr/>
          </p:nvSpPr>
          <p:spPr bwMode="auto">
            <a:xfrm>
              <a:off x="2027156" y="173175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2" name="Freeform 953">
              <a:extLst>
                <a:ext uri="{FF2B5EF4-FFF2-40B4-BE49-F238E27FC236}">
                  <a16:creationId xmlns:a16="http://schemas.microsoft.com/office/drawing/2014/main" id="{E2429AEB-D997-B54F-9DB2-C0364C1EA1AE}"/>
                </a:ext>
              </a:extLst>
            </p:cNvPr>
            <p:cNvSpPr>
              <a:spLocks/>
            </p:cNvSpPr>
            <p:nvPr/>
          </p:nvSpPr>
          <p:spPr bwMode="auto">
            <a:xfrm>
              <a:off x="2030644" y="171884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3" name="Freeform 954">
              <a:extLst>
                <a:ext uri="{FF2B5EF4-FFF2-40B4-BE49-F238E27FC236}">
                  <a16:creationId xmlns:a16="http://schemas.microsoft.com/office/drawing/2014/main" id="{4EA42ABA-9A9C-6A4B-9E93-9490C7F4ADD6}"/>
                </a:ext>
              </a:extLst>
            </p:cNvPr>
            <p:cNvSpPr>
              <a:spLocks/>
            </p:cNvSpPr>
            <p:nvPr/>
          </p:nvSpPr>
          <p:spPr bwMode="auto">
            <a:xfrm>
              <a:off x="2030644" y="1718846"/>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6"/>
                  </a:lnTo>
                  <a:lnTo>
                    <a:pt x="0" y="3"/>
                  </a:lnTo>
                  <a:lnTo>
                    <a:pt x="0" y="0"/>
                  </a:lnTo>
                  <a:lnTo>
                    <a:pt x="3" y="0"/>
                  </a:lnTo>
                  <a:lnTo>
                    <a:pt x="26" y="0"/>
                  </a:lnTo>
                  <a:lnTo>
                    <a:pt x="29" y="0"/>
                  </a:lnTo>
                  <a:lnTo>
                    <a:pt x="29" y="3"/>
                  </a:lnTo>
                  <a:lnTo>
                    <a:pt x="29" y="6"/>
                  </a:lnTo>
                  <a:lnTo>
                    <a:pt x="2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4" name="Freeform 955">
              <a:extLst>
                <a:ext uri="{FF2B5EF4-FFF2-40B4-BE49-F238E27FC236}">
                  <a16:creationId xmlns:a16="http://schemas.microsoft.com/office/drawing/2014/main" id="{C14E2C9B-D3FB-F84D-A2C1-F38FA1F7EBC1}"/>
                </a:ext>
              </a:extLst>
            </p:cNvPr>
            <p:cNvSpPr>
              <a:spLocks/>
            </p:cNvSpPr>
            <p:nvPr/>
          </p:nvSpPr>
          <p:spPr bwMode="auto">
            <a:xfrm>
              <a:off x="2057392" y="1718846"/>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5" name="Freeform 956">
              <a:extLst>
                <a:ext uri="{FF2B5EF4-FFF2-40B4-BE49-F238E27FC236}">
                  <a16:creationId xmlns:a16="http://schemas.microsoft.com/office/drawing/2014/main" id="{28C4F4A9-4EF3-9C49-9F2D-0F1B52D022DB}"/>
                </a:ext>
              </a:extLst>
            </p:cNvPr>
            <p:cNvSpPr>
              <a:spLocks/>
            </p:cNvSpPr>
            <p:nvPr/>
          </p:nvSpPr>
          <p:spPr bwMode="auto">
            <a:xfrm>
              <a:off x="2060880" y="1718846"/>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6"/>
                  </a:lnTo>
                  <a:lnTo>
                    <a:pt x="0" y="3"/>
                  </a:lnTo>
                  <a:lnTo>
                    <a:pt x="0" y="0"/>
                  </a:lnTo>
                  <a:lnTo>
                    <a:pt x="3" y="0"/>
                  </a:lnTo>
                  <a:lnTo>
                    <a:pt x="23" y="0"/>
                  </a:lnTo>
                  <a:lnTo>
                    <a:pt x="26" y="0"/>
                  </a:lnTo>
                  <a:lnTo>
                    <a:pt x="26" y="3"/>
                  </a:lnTo>
                  <a:lnTo>
                    <a:pt x="26" y="6"/>
                  </a:lnTo>
                  <a:lnTo>
                    <a:pt x="2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6" name="Freeform 957">
              <a:extLst>
                <a:ext uri="{FF2B5EF4-FFF2-40B4-BE49-F238E27FC236}">
                  <a16:creationId xmlns:a16="http://schemas.microsoft.com/office/drawing/2014/main" id="{0C698CA1-1A61-EC4F-99EC-2D054140F0F4}"/>
                </a:ext>
              </a:extLst>
            </p:cNvPr>
            <p:cNvSpPr>
              <a:spLocks/>
            </p:cNvSpPr>
            <p:nvPr/>
          </p:nvSpPr>
          <p:spPr bwMode="auto">
            <a:xfrm>
              <a:off x="2082976" y="1718846"/>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7" name="Freeform 958">
              <a:extLst>
                <a:ext uri="{FF2B5EF4-FFF2-40B4-BE49-F238E27FC236}">
                  <a16:creationId xmlns:a16="http://schemas.microsoft.com/office/drawing/2014/main" id="{6C194A48-11BA-D047-A680-EEECEC97D139}"/>
                </a:ext>
              </a:extLst>
            </p:cNvPr>
            <p:cNvSpPr>
              <a:spLocks/>
            </p:cNvSpPr>
            <p:nvPr/>
          </p:nvSpPr>
          <p:spPr bwMode="auto">
            <a:xfrm>
              <a:off x="2101583" y="1702961"/>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4" y="22"/>
                  </a:lnTo>
                  <a:lnTo>
                    <a:pt x="0" y="22"/>
                  </a:lnTo>
                  <a:lnTo>
                    <a:pt x="0" y="19"/>
                  </a:lnTo>
                  <a:lnTo>
                    <a:pt x="0" y="3"/>
                  </a:lnTo>
                  <a:lnTo>
                    <a:pt x="0" y="0"/>
                  </a:lnTo>
                  <a:lnTo>
                    <a:pt x="4" y="0"/>
                  </a:lnTo>
                  <a:lnTo>
                    <a:pt x="7" y="0"/>
                  </a:lnTo>
                  <a:lnTo>
                    <a:pt x="10" y="3"/>
                  </a:lnTo>
                  <a:lnTo>
                    <a:pt x="10"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8" name="Freeform 959">
              <a:extLst>
                <a:ext uri="{FF2B5EF4-FFF2-40B4-BE49-F238E27FC236}">
                  <a16:creationId xmlns:a16="http://schemas.microsoft.com/office/drawing/2014/main" id="{473A0736-F577-134A-8AA2-9B72623ECFCE}"/>
                </a:ext>
              </a:extLst>
            </p:cNvPr>
            <p:cNvSpPr>
              <a:spLocks/>
            </p:cNvSpPr>
            <p:nvPr/>
          </p:nvSpPr>
          <p:spPr bwMode="auto">
            <a:xfrm>
              <a:off x="2101583" y="1702961"/>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4" y="10"/>
                  </a:moveTo>
                  <a:lnTo>
                    <a:pt x="0" y="6"/>
                  </a:lnTo>
                  <a:lnTo>
                    <a:pt x="0" y="3"/>
                  </a:lnTo>
                  <a:lnTo>
                    <a:pt x="0" y="0"/>
                  </a:lnTo>
                  <a:lnTo>
                    <a:pt x="4" y="0"/>
                  </a:lnTo>
                  <a:lnTo>
                    <a:pt x="20" y="0"/>
                  </a:lnTo>
                  <a:lnTo>
                    <a:pt x="23" y="0"/>
                  </a:lnTo>
                  <a:lnTo>
                    <a:pt x="23" y="3"/>
                  </a:lnTo>
                  <a:lnTo>
                    <a:pt x="23" y="6"/>
                  </a:lnTo>
                  <a:lnTo>
                    <a:pt x="20"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49" name="Freeform 960">
              <a:extLst>
                <a:ext uri="{FF2B5EF4-FFF2-40B4-BE49-F238E27FC236}">
                  <a16:creationId xmlns:a16="http://schemas.microsoft.com/office/drawing/2014/main" id="{04345AC4-7655-2549-A072-71A6487CD298}"/>
                </a:ext>
              </a:extLst>
            </p:cNvPr>
            <p:cNvSpPr>
              <a:spLocks/>
            </p:cNvSpPr>
            <p:nvPr/>
          </p:nvSpPr>
          <p:spPr bwMode="auto">
            <a:xfrm>
              <a:off x="2121352" y="1687075"/>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0" name="Freeform 961">
              <a:extLst>
                <a:ext uri="{FF2B5EF4-FFF2-40B4-BE49-F238E27FC236}">
                  <a16:creationId xmlns:a16="http://schemas.microsoft.com/office/drawing/2014/main" id="{C63D198F-8AF4-1147-8084-C67F5C6FCF82}"/>
                </a:ext>
              </a:extLst>
            </p:cNvPr>
            <p:cNvSpPr>
              <a:spLocks/>
            </p:cNvSpPr>
            <p:nvPr/>
          </p:nvSpPr>
          <p:spPr bwMode="auto">
            <a:xfrm>
              <a:off x="2121352" y="1687075"/>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1" name="Freeform 962">
              <a:extLst>
                <a:ext uri="{FF2B5EF4-FFF2-40B4-BE49-F238E27FC236}">
                  <a16:creationId xmlns:a16="http://schemas.microsoft.com/office/drawing/2014/main" id="{89C34BD5-388B-E543-9A35-7BE7A36EE19D}"/>
                </a:ext>
              </a:extLst>
            </p:cNvPr>
            <p:cNvSpPr>
              <a:spLocks/>
            </p:cNvSpPr>
            <p:nvPr/>
          </p:nvSpPr>
          <p:spPr bwMode="auto">
            <a:xfrm>
              <a:off x="2135307" y="1687075"/>
              <a:ext cx="19770" cy="8936"/>
            </a:xfrm>
            <a:custGeom>
              <a:avLst/>
              <a:gdLst>
                <a:gd name="T0" fmla="*/ 2147483646 w 17"/>
                <a:gd name="T1" fmla="*/ 2147483646 h 9"/>
                <a:gd name="T2" fmla="*/ 0 w 17"/>
                <a:gd name="T3" fmla="*/ 2147483646 h 9"/>
                <a:gd name="T4" fmla="*/ 0 w 17"/>
                <a:gd name="T5" fmla="*/ 2147483646 h 9"/>
                <a:gd name="T6" fmla="*/ 0 w 17"/>
                <a:gd name="T7" fmla="*/ 2147483646 h 9"/>
                <a:gd name="T8" fmla="*/ 0 w 17"/>
                <a:gd name="T9" fmla="*/ 0 h 9"/>
                <a:gd name="T10" fmla="*/ 2147483646 w 17"/>
                <a:gd name="T11" fmla="*/ 0 h 9"/>
                <a:gd name="T12" fmla="*/ 2147483646 w 17"/>
                <a:gd name="T13" fmla="*/ 0 h 9"/>
                <a:gd name="T14" fmla="*/ 2147483646 w 17"/>
                <a:gd name="T15" fmla="*/ 0 h 9"/>
                <a:gd name="T16" fmla="*/ 2147483646 w 17"/>
                <a:gd name="T17" fmla="*/ 2147483646 h 9"/>
                <a:gd name="T18" fmla="*/ 2147483646 w 17"/>
                <a:gd name="T19" fmla="*/ 2147483646 h 9"/>
                <a:gd name="T20" fmla="*/ 2147483646 w 17"/>
                <a:gd name="T21" fmla="*/ 2147483646 h 9"/>
                <a:gd name="T22" fmla="*/ 2147483646 w 17"/>
                <a:gd name="T23" fmla="*/ 2147483646 h 9"/>
                <a:gd name="T24" fmla="*/ 2147483646 w 17"/>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9">
                  <a:moveTo>
                    <a:pt x="4" y="9"/>
                  </a:moveTo>
                  <a:lnTo>
                    <a:pt x="0" y="6"/>
                  </a:lnTo>
                  <a:lnTo>
                    <a:pt x="0" y="3"/>
                  </a:lnTo>
                  <a:lnTo>
                    <a:pt x="0" y="0"/>
                  </a:lnTo>
                  <a:lnTo>
                    <a:pt x="4" y="0"/>
                  </a:lnTo>
                  <a:lnTo>
                    <a:pt x="13" y="0"/>
                  </a:lnTo>
                  <a:lnTo>
                    <a:pt x="17" y="0"/>
                  </a:lnTo>
                  <a:lnTo>
                    <a:pt x="17" y="3"/>
                  </a:lnTo>
                  <a:lnTo>
                    <a:pt x="17" y="6"/>
                  </a:lnTo>
                  <a:lnTo>
                    <a:pt x="13"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2" name="Freeform 963">
              <a:extLst>
                <a:ext uri="{FF2B5EF4-FFF2-40B4-BE49-F238E27FC236}">
                  <a16:creationId xmlns:a16="http://schemas.microsoft.com/office/drawing/2014/main" id="{1A8C4864-5409-DD45-97C4-AF9A443A610F}"/>
                </a:ext>
              </a:extLst>
            </p:cNvPr>
            <p:cNvSpPr>
              <a:spLocks/>
            </p:cNvSpPr>
            <p:nvPr/>
          </p:nvSpPr>
          <p:spPr bwMode="auto">
            <a:xfrm>
              <a:off x="2146937" y="1687075"/>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3" y="0"/>
                  </a:lnTo>
                  <a:lnTo>
                    <a:pt x="26" y="0"/>
                  </a:lnTo>
                  <a:lnTo>
                    <a:pt x="26" y="3"/>
                  </a:lnTo>
                  <a:lnTo>
                    <a:pt x="26" y="6"/>
                  </a:lnTo>
                  <a:lnTo>
                    <a:pt x="23"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3" name="Freeform 964">
              <a:extLst>
                <a:ext uri="{FF2B5EF4-FFF2-40B4-BE49-F238E27FC236}">
                  <a16:creationId xmlns:a16="http://schemas.microsoft.com/office/drawing/2014/main" id="{F123532C-5B03-F54D-B9D3-3A06A793E3D6}"/>
                </a:ext>
              </a:extLst>
            </p:cNvPr>
            <p:cNvSpPr>
              <a:spLocks/>
            </p:cNvSpPr>
            <p:nvPr/>
          </p:nvSpPr>
          <p:spPr bwMode="auto">
            <a:xfrm>
              <a:off x="2169032" y="1687075"/>
              <a:ext cx="19770" cy="8936"/>
            </a:xfrm>
            <a:custGeom>
              <a:avLst/>
              <a:gdLst>
                <a:gd name="T0" fmla="*/ 2147483646 w 17"/>
                <a:gd name="T1" fmla="*/ 2147483646 h 9"/>
                <a:gd name="T2" fmla="*/ 0 w 17"/>
                <a:gd name="T3" fmla="*/ 2147483646 h 9"/>
                <a:gd name="T4" fmla="*/ 0 w 17"/>
                <a:gd name="T5" fmla="*/ 2147483646 h 9"/>
                <a:gd name="T6" fmla="*/ 0 w 17"/>
                <a:gd name="T7" fmla="*/ 2147483646 h 9"/>
                <a:gd name="T8" fmla="*/ 0 w 17"/>
                <a:gd name="T9" fmla="*/ 0 h 9"/>
                <a:gd name="T10" fmla="*/ 2147483646 w 17"/>
                <a:gd name="T11" fmla="*/ 0 h 9"/>
                <a:gd name="T12" fmla="*/ 2147483646 w 17"/>
                <a:gd name="T13" fmla="*/ 0 h 9"/>
                <a:gd name="T14" fmla="*/ 2147483646 w 17"/>
                <a:gd name="T15" fmla="*/ 0 h 9"/>
                <a:gd name="T16" fmla="*/ 2147483646 w 17"/>
                <a:gd name="T17" fmla="*/ 2147483646 h 9"/>
                <a:gd name="T18" fmla="*/ 2147483646 w 17"/>
                <a:gd name="T19" fmla="*/ 2147483646 h 9"/>
                <a:gd name="T20" fmla="*/ 2147483646 w 17"/>
                <a:gd name="T21" fmla="*/ 2147483646 h 9"/>
                <a:gd name="T22" fmla="*/ 2147483646 w 17"/>
                <a:gd name="T23" fmla="*/ 2147483646 h 9"/>
                <a:gd name="T24" fmla="*/ 2147483646 w 17"/>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9">
                  <a:moveTo>
                    <a:pt x="4" y="9"/>
                  </a:moveTo>
                  <a:lnTo>
                    <a:pt x="0" y="6"/>
                  </a:lnTo>
                  <a:lnTo>
                    <a:pt x="0" y="3"/>
                  </a:lnTo>
                  <a:lnTo>
                    <a:pt x="0" y="0"/>
                  </a:lnTo>
                  <a:lnTo>
                    <a:pt x="4" y="0"/>
                  </a:lnTo>
                  <a:lnTo>
                    <a:pt x="13" y="0"/>
                  </a:lnTo>
                  <a:lnTo>
                    <a:pt x="17" y="0"/>
                  </a:lnTo>
                  <a:lnTo>
                    <a:pt x="17" y="3"/>
                  </a:lnTo>
                  <a:lnTo>
                    <a:pt x="17" y="6"/>
                  </a:lnTo>
                  <a:lnTo>
                    <a:pt x="13"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4" name="Freeform 965">
              <a:extLst>
                <a:ext uri="{FF2B5EF4-FFF2-40B4-BE49-F238E27FC236}">
                  <a16:creationId xmlns:a16="http://schemas.microsoft.com/office/drawing/2014/main" id="{8037018A-4DCD-7649-9AC4-1C97089B1AFE}"/>
                </a:ext>
              </a:extLst>
            </p:cNvPr>
            <p:cNvSpPr>
              <a:spLocks/>
            </p:cNvSpPr>
            <p:nvPr/>
          </p:nvSpPr>
          <p:spPr bwMode="auto">
            <a:xfrm>
              <a:off x="2180662" y="168707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5" name="Freeform 966">
              <a:extLst>
                <a:ext uri="{FF2B5EF4-FFF2-40B4-BE49-F238E27FC236}">
                  <a16:creationId xmlns:a16="http://schemas.microsoft.com/office/drawing/2014/main" id="{56776E5B-4780-A34D-89B6-A31D83B55FF2}"/>
                </a:ext>
              </a:extLst>
            </p:cNvPr>
            <p:cNvSpPr>
              <a:spLocks/>
            </p:cNvSpPr>
            <p:nvPr/>
          </p:nvSpPr>
          <p:spPr bwMode="auto">
            <a:xfrm>
              <a:off x="2184150" y="1671190"/>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4" y="22"/>
                  </a:lnTo>
                  <a:lnTo>
                    <a:pt x="0" y="22"/>
                  </a:lnTo>
                  <a:lnTo>
                    <a:pt x="0" y="19"/>
                  </a:lnTo>
                  <a:lnTo>
                    <a:pt x="0" y="3"/>
                  </a:lnTo>
                  <a:lnTo>
                    <a:pt x="0" y="0"/>
                  </a:lnTo>
                  <a:lnTo>
                    <a:pt x="4" y="0"/>
                  </a:lnTo>
                  <a:lnTo>
                    <a:pt x="7" y="0"/>
                  </a:lnTo>
                  <a:lnTo>
                    <a:pt x="10" y="3"/>
                  </a:lnTo>
                  <a:lnTo>
                    <a:pt x="10"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6" name="Freeform 967">
              <a:extLst>
                <a:ext uri="{FF2B5EF4-FFF2-40B4-BE49-F238E27FC236}">
                  <a16:creationId xmlns:a16="http://schemas.microsoft.com/office/drawing/2014/main" id="{AA312CAF-7F60-564C-89D9-F2C6A5587E43}"/>
                </a:ext>
              </a:extLst>
            </p:cNvPr>
            <p:cNvSpPr>
              <a:spLocks/>
            </p:cNvSpPr>
            <p:nvPr/>
          </p:nvSpPr>
          <p:spPr bwMode="auto">
            <a:xfrm>
              <a:off x="2184150" y="1671190"/>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4" y="9"/>
                  </a:moveTo>
                  <a:lnTo>
                    <a:pt x="0" y="6"/>
                  </a:lnTo>
                  <a:lnTo>
                    <a:pt x="0" y="3"/>
                  </a:lnTo>
                  <a:lnTo>
                    <a:pt x="0" y="0"/>
                  </a:lnTo>
                  <a:lnTo>
                    <a:pt x="4" y="0"/>
                  </a:lnTo>
                  <a:lnTo>
                    <a:pt x="13" y="0"/>
                  </a:lnTo>
                  <a:lnTo>
                    <a:pt x="16" y="0"/>
                  </a:lnTo>
                  <a:lnTo>
                    <a:pt x="16" y="3"/>
                  </a:lnTo>
                  <a:lnTo>
                    <a:pt x="16" y="6"/>
                  </a:lnTo>
                  <a:lnTo>
                    <a:pt x="13"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7" name="Freeform 968">
              <a:extLst>
                <a:ext uri="{FF2B5EF4-FFF2-40B4-BE49-F238E27FC236}">
                  <a16:creationId xmlns:a16="http://schemas.microsoft.com/office/drawing/2014/main" id="{022B8796-D5A5-1B46-A023-EACE00AD1F70}"/>
                </a:ext>
              </a:extLst>
            </p:cNvPr>
            <p:cNvSpPr>
              <a:spLocks/>
            </p:cNvSpPr>
            <p:nvPr/>
          </p:nvSpPr>
          <p:spPr bwMode="auto">
            <a:xfrm>
              <a:off x="2195779" y="1671190"/>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8" name="Freeform 969">
              <a:extLst>
                <a:ext uri="{FF2B5EF4-FFF2-40B4-BE49-F238E27FC236}">
                  <a16:creationId xmlns:a16="http://schemas.microsoft.com/office/drawing/2014/main" id="{2DCD57F7-E859-AF4D-B4B6-4BC9F0325C97}"/>
                </a:ext>
              </a:extLst>
            </p:cNvPr>
            <p:cNvSpPr>
              <a:spLocks/>
            </p:cNvSpPr>
            <p:nvPr/>
          </p:nvSpPr>
          <p:spPr bwMode="auto">
            <a:xfrm>
              <a:off x="2202757" y="1654312"/>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4"/>
                  </a:lnTo>
                  <a:lnTo>
                    <a:pt x="0" y="0"/>
                  </a:lnTo>
                  <a:lnTo>
                    <a:pt x="4" y="0"/>
                  </a:lnTo>
                  <a:lnTo>
                    <a:pt x="7" y="0"/>
                  </a:lnTo>
                  <a:lnTo>
                    <a:pt x="10" y="4"/>
                  </a:lnTo>
                  <a:lnTo>
                    <a:pt x="10" y="2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59" name="Freeform 970">
              <a:extLst>
                <a:ext uri="{FF2B5EF4-FFF2-40B4-BE49-F238E27FC236}">
                  <a16:creationId xmlns:a16="http://schemas.microsoft.com/office/drawing/2014/main" id="{C8A773A4-85F0-064E-A5BB-B1D6724A6F6F}"/>
                </a:ext>
              </a:extLst>
            </p:cNvPr>
            <p:cNvSpPr>
              <a:spLocks/>
            </p:cNvSpPr>
            <p:nvPr/>
          </p:nvSpPr>
          <p:spPr bwMode="auto">
            <a:xfrm>
              <a:off x="2202757" y="1654312"/>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4" y="10"/>
                  </a:moveTo>
                  <a:lnTo>
                    <a:pt x="0" y="7"/>
                  </a:lnTo>
                  <a:lnTo>
                    <a:pt x="0" y="4"/>
                  </a:lnTo>
                  <a:lnTo>
                    <a:pt x="0" y="0"/>
                  </a:lnTo>
                  <a:lnTo>
                    <a:pt x="4" y="0"/>
                  </a:lnTo>
                  <a:lnTo>
                    <a:pt x="33" y="0"/>
                  </a:lnTo>
                  <a:lnTo>
                    <a:pt x="36" y="0"/>
                  </a:lnTo>
                  <a:lnTo>
                    <a:pt x="36" y="4"/>
                  </a:lnTo>
                  <a:lnTo>
                    <a:pt x="36" y="7"/>
                  </a:lnTo>
                  <a:lnTo>
                    <a:pt x="33"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0" name="Freeform 971">
              <a:extLst>
                <a:ext uri="{FF2B5EF4-FFF2-40B4-BE49-F238E27FC236}">
                  <a16:creationId xmlns:a16="http://schemas.microsoft.com/office/drawing/2014/main" id="{CDD61E39-B63C-314A-B372-8E7AD7C61ABD}"/>
                </a:ext>
              </a:extLst>
            </p:cNvPr>
            <p:cNvSpPr>
              <a:spLocks/>
            </p:cNvSpPr>
            <p:nvPr/>
          </p:nvSpPr>
          <p:spPr bwMode="auto">
            <a:xfrm>
              <a:off x="2236482" y="1654312"/>
              <a:ext cx="23258" cy="9928"/>
            </a:xfrm>
            <a:custGeom>
              <a:avLst/>
              <a:gdLst>
                <a:gd name="T0" fmla="*/ 2147483646 w 20"/>
                <a:gd name="T1" fmla="*/ 2147483646 h 10"/>
                <a:gd name="T2" fmla="*/ 0 w 20"/>
                <a:gd name="T3" fmla="*/ 2147483646 h 10"/>
                <a:gd name="T4" fmla="*/ 0 w 20"/>
                <a:gd name="T5" fmla="*/ 2147483646 h 10"/>
                <a:gd name="T6" fmla="*/ 0 w 20"/>
                <a:gd name="T7" fmla="*/ 2147483646 h 10"/>
                <a:gd name="T8" fmla="*/ 0 w 20"/>
                <a:gd name="T9" fmla="*/ 0 h 10"/>
                <a:gd name="T10" fmla="*/ 2147483646 w 20"/>
                <a:gd name="T11" fmla="*/ 0 h 10"/>
                <a:gd name="T12" fmla="*/ 2147483646 w 20"/>
                <a:gd name="T13" fmla="*/ 0 h 10"/>
                <a:gd name="T14" fmla="*/ 2147483646 w 20"/>
                <a:gd name="T15" fmla="*/ 0 h 10"/>
                <a:gd name="T16" fmla="*/ 2147483646 w 20"/>
                <a:gd name="T17" fmla="*/ 2147483646 h 10"/>
                <a:gd name="T18" fmla="*/ 2147483646 w 20"/>
                <a:gd name="T19" fmla="*/ 2147483646 h 10"/>
                <a:gd name="T20" fmla="*/ 2147483646 w 20"/>
                <a:gd name="T21" fmla="*/ 2147483646 h 10"/>
                <a:gd name="T22" fmla="*/ 2147483646 w 20"/>
                <a:gd name="T23" fmla="*/ 2147483646 h 10"/>
                <a:gd name="T24" fmla="*/ 2147483646 w 2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0">
                  <a:moveTo>
                    <a:pt x="4" y="10"/>
                  </a:moveTo>
                  <a:lnTo>
                    <a:pt x="0" y="7"/>
                  </a:lnTo>
                  <a:lnTo>
                    <a:pt x="0" y="4"/>
                  </a:lnTo>
                  <a:lnTo>
                    <a:pt x="0" y="0"/>
                  </a:lnTo>
                  <a:lnTo>
                    <a:pt x="4" y="0"/>
                  </a:lnTo>
                  <a:lnTo>
                    <a:pt x="17" y="0"/>
                  </a:lnTo>
                  <a:lnTo>
                    <a:pt x="20" y="0"/>
                  </a:lnTo>
                  <a:lnTo>
                    <a:pt x="20" y="4"/>
                  </a:lnTo>
                  <a:lnTo>
                    <a:pt x="20" y="7"/>
                  </a:lnTo>
                  <a:lnTo>
                    <a:pt x="17"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1" name="Freeform 972">
              <a:extLst>
                <a:ext uri="{FF2B5EF4-FFF2-40B4-BE49-F238E27FC236}">
                  <a16:creationId xmlns:a16="http://schemas.microsoft.com/office/drawing/2014/main" id="{E12EE2A0-4FF5-4744-A185-8ABC7C7407DF}"/>
                </a:ext>
              </a:extLst>
            </p:cNvPr>
            <p:cNvSpPr>
              <a:spLocks/>
            </p:cNvSpPr>
            <p:nvPr/>
          </p:nvSpPr>
          <p:spPr bwMode="auto">
            <a:xfrm>
              <a:off x="2251600" y="1654312"/>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4" y="10"/>
                  </a:moveTo>
                  <a:lnTo>
                    <a:pt x="0" y="7"/>
                  </a:lnTo>
                  <a:lnTo>
                    <a:pt x="0" y="4"/>
                  </a:lnTo>
                  <a:lnTo>
                    <a:pt x="0" y="0"/>
                  </a:lnTo>
                  <a:lnTo>
                    <a:pt x="4" y="0"/>
                  </a:lnTo>
                  <a:lnTo>
                    <a:pt x="23" y="0"/>
                  </a:lnTo>
                  <a:lnTo>
                    <a:pt x="26" y="0"/>
                  </a:lnTo>
                  <a:lnTo>
                    <a:pt x="26" y="4"/>
                  </a:lnTo>
                  <a:lnTo>
                    <a:pt x="26" y="7"/>
                  </a:lnTo>
                  <a:lnTo>
                    <a:pt x="23"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2" name="Freeform 973">
              <a:extLst>
                <a:ext uri="{FF2B5EF4-FFF2-40B4-BE49-F238E27FC236}">
                  <a16:creationId xmlns:a16="http://schemas.microsoft.com/office/drawing/2014/main" id="{85219E92-AD48-7B46-839E-92ABCBD662F2}"/>
                </a:ext>
              </a:extLst>
            </p:cNvPr>
            <p:cNvSpPr>
              <a:spLocks/>
            </p:cNvSpPr>
            <p:nvPr/>
          </p:nvSpPr>
          <p:spPr bwMode="auto">
            <a:xfrm>
              <a:off x="2274858" y="1654312"/>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4"/>
                  </a:lnTo>
                  <a:lnTo>
                    <a:pt x="0" y="0"/>
                  </a:lnTo>
                  <a:lnTo>
                    <a:pt x="3" y="0"/>
                  </a:lnTo>
                  <a:lnTo>
                    <a:pt x="25" y="0"/>
                  </a:lnTo>
                  <a:lnTo>
                    <a:pt x="29" y="0"/>
                  </a:lnTo>
                  <a:lnTo>
                    <a:pt x="29" y="4"/>
                  </a:lnTo>
                  <a:lnTo>
                    <a:pt x="29" y="7"/>
                  </a:lnTo>
                  <a:lnTo>
                    <a:pt x="2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3" name="Freeform 974">
              <a:extLst>
                <a:ext uri="{FF2B5EF4-FFF2-40B4-BE49-F238E27FC236}">
                  <a16:creationId xmlns:a16="http://schemas.microsoft.com/office/drawing/2014/main" id="{59A1BDAD-C9C4-7546-A221-FA2511801D0B}"/>
                </a:ext>
              </a:extLst>
            </p:cNvPr>
            <p:cNvSpPr>
              <a:spLocks/>
            </p:cNvSpPr>
            <p:nvPr/>
          </p:nvSpPr>
          <p:spPr bwMode="auto">
            <a:xfrm>
              <a:off x="2300442" y="1654312"/>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3" y="10"/>
                  </a:moveTo>
                  <a:lnTo>
                    <a:pt x="0" y="7"/>
                  </a:lnTo>
                  <a:lnTo>
                    <a:pt x="0" y="4"/>
                  </a:lnTo>
                  <a:lnTo>
                    <a:pt x="0" y="0"/>
                  </a:lnTo>
                  <a:lnTo>
                    <a:pt x="3" y="0"/>
                  </a:lnTo>
                  <a:lnTo>
                    <a:pt x="39" y="0"/>
                  </a:lnTo>
                  <a:lnTo>
                    <a:pt x="42" y="0"/>
                  </a:lnTo>
                  <a:lnTo>
                    <a:pt x="42" y="4"/>
                  </a:lnTo>
                  <a:lnTo>
                    <a:pt x="42" y="7"/>
                  </a:lnTo>
                  <a:lnTo>
                    <a:pt x="3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4" name="Freeform 975">
              <a:extLst>
                <a:ext uri="{FF2B5EF4-FFF2-40B4-BE49-F238E27FC236}">
                  <a16:creationId xmlns:a16="http://schemas.microsoft.com/office/drawing/2014/main" id="{EC33AC09-1B7A-DD4A-9D78-AD97290D48C9}"/>
                </a:ext>
              </a:extLst>
            </p:cNvPr>
            <p:cNvSpPr>
              <a:spLocks/>
            </p:cNvSpPr>
            <p:nvPr/>
          </p:nvSpPr>
          <p:spPr bwMode="auto">
            <a:xfrm>
              <a:off x="2342307" y="1654312"/>
              <a:ext cx="74427" cy="9928"/>
            </a:xfrm>
            <a:custGeom>
              <a:avLst/>
              <a:gdLst>
                <a:gd name="T0" fmla="*/ 2147483646 w 64"/>
                <a:gd name="T1" fmla="*/ 2147483646 h 10"/>
                <a:gd name="T2" fmla="*/ 0 w 64"/>
                <a:gd name="T3" fmla="*/ 2147483646 h 10"/>
                <a:gd name="T4" fmla="*/ 0 w 64"/>
                <a:gd name="T5" fmla="*/ 2147483646 h 10"/>
                <a:gd name="T6" fmla="*/ 0 w 64"/>
                <a:gd name="T7" fmla="*/ 2147483646 h 10"/>
                <a:gd name="T8" fmla="*/ 0 w 64"/>
                <a:gd name="T9" fmla="*/ 0 h 10"/>
                <a:gd name="T10" fmla="*/ 2147483646 w 64"/>
                <a:gd name="T11" fmla="*/ 0 h 10"/>
                <a:gd name="T12" fmla="*/ 2147483646 w 64"/>
                <a:gd name="T13" fmla="*/ 0 h 10"/>
                <a:gd name="T14" fmla="*/ 2147483646 w 64"/>
                <a:gd name="T15" fmla="*/ 0 h 10"/>
                <a:gd name="T16" fmla="*/ 2147483646 w 64"/>
                <a:gd name="T17" fmla="*/ 2147483646 h 10"/>
                <a:gd name="T18" fmla="*/ 2147483646 w 64"/>
                <a:gd name="T19" fmla="*/ 2147483646 h 10"/>
                <a:gd name="T20" fmla="*/ 2147483646 w 64"/>
                <a:gd name="T21" fmla="*/ 2147483646 h 10"/>
                <a:gd name="T22" fmla="*/ 2147483646 w 64"/>
                <a:gd name="T23" fmla="*/ 2147483646 h 10"/>
                <a:gd name="T24" fmla="*/ 2147483646 w 6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4" h="10">
                  <a:moveTo>
                    <a:pt x="3" y="10"/>
                  </a:moveTo>
                  <a:lnTo>
                    <a:pt x="0" y="7"/>
                  </a:lnTo>
                  <a:lnTo>
                    <a:pt x="0" y="4"/>
                  </a:lnTo>
                  <a:lnTo>
                    <a:pt x="0" y="0"/>
                  </a:lnTo>
                  <a:lnTo>
                    <a:pt x="3" y="0"/>
                  </a:lnTo>
                  <a:lnTo>
                    <a:pt x="61" y="0"/>
                  </a:lnTo>
                  <a:lnTo>
                    <a:pt x="64" y="0"/>
                  </a:lnTo>
                  <a:lnTo>
                    <a:pt x="64" y="4"/>
                  </a:lnTo>
                  <a:lnTo>
                    <a:pt x="64" y="7"/>
                  </a:lnTo>
                  <a:lnTo>
                    <a:pt x="61"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5" name="Freeform 976">
              <a:extLst>
                <a:ext uri="{FF2B5EF4-FFF2-40B4-BE49-F238E27FC236}">
                  <a16:creationId xmlns:a16="http://schemas.microsoft.com/office/drawing/2014/main" id="{D289F144-6210-4C40-8C56-C2A818DCEEBA}"/>
                </a:ext>
              </a:extLst>
            </p:cNvPr>
            <p:cNvSpPr>
              <a:spLocks/>
            </p:cNvSpPr>
            <p:nvPr/>
          </p:nvSpPr>
          <p:spPr bwMode="auto">
            <a:xfrm>
              <a:off x="2409757" y="1632469"/>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6" name="Freeform 977">
              <a:extLst>
                <a:ext uri="{FF2B5EF4-FFF2-40B4-BE49-F238E27FC236}">
                  <a16:creationId xmlns:a16="http://schemas.microsoft.com/office/drawing/2014/main" id="{79F52AD0-DAD3-E541-8637-B26F9E7CD791}"/>
                </a:ext>
              </a:extLst>
            </p:cNvPr>
            <p:cNvSpPr>
              <a:spLocks/>
            </p:cNvSpPr>
            <p:nvPr/>
          </p:nvSpPr>
          <p:spPr bwMode="auto">
            <a:xfrm>
              <a:off x="2409757" y="1632469"/>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7" name="Freeform 978">
              <a:extLst>
                <a:ext uri="{FF2B5EF4-FFF2-40B4-BE49-F238E27FC236}">
                  <a16:creationId xmlns:a16="http://schemas.microsoft.com/office/drawing/2014/main" id="{CFB1788E-E21A-794F-9D95-55CE88F7C2EB}"/>
                </a:ext>
              </a:extLst>
            </p:cNvPr>
            <p:cNvSpPr>
              <a:spLocks/>
            </p:cNvSpPr>
            <p:nvPr/>
          </p:nvSpPr>
          <p:spPr bwMode="auto">
            <a:xfrm>
              <a:off x="2420224" y="1613605"/>
              <a:ext cx="11629" cy="24821"/>
            </a:xfrm>
            <a:custGeom>
              <a:avLst/>
              <a:gdLst>
                <a:gd name="T0" fmla="*/ 2147483646 w 10"/>
                <a:gd name="T1" fmla="*/ 2147483646 h 25"/>
                <a:gd name="T2" fmla="*/ 2147483646 w 10"/>
                <a:gd name="T3" fmla="*/ 2147483646 h 25"/>
                <a:gd name="T4" fmla="*/ 2147483646 w 10"/>
                <a:gd name="T5" fmla="*/ 2147483646 h 25"/>
                <a:gd name="T6" fmla="*/ 2147483646 w 10"/>
                <a:gd name="T7" fmla="*/ 2147483646 h 25"/>
                <a:gd name="T8" fmla="*/ 0 w 10"/>
                <a:gd name="T9" fmla="*/ 2147483646 h 25"/>
                <a:gd name="T10" fmla="*/ 0 w 10"/>
                <a:gd name="T11" fmla="*/ 2147483646 h 25"/>
                <a:gd name="T12" fmla="*/ 0 w 10"/>
                <a:gd name="T13" fmla="*/ 2147483646 h 25"/>
                <a:gd name="T14" fmla="*/ 0 w 10"/>
                <a:gd name="T15" fmla="*/ 0 h 25"/>
                <a:gd name="T16" fmla="*/ 2147483646 w 10"/>
                <a:gd name="T17" fmla="*/ 0 h 25"/>
                <a:gd name="T18" fmla="*/ 2147483646 w 10"/>
                <a:gd name="T19" fmla="*/ 0 h 25"/>
                <a:gd name="T20" fmla="*/ 2147483646 w 10"/>
                <a:gd name="T21" fmla="*/ 0 h 25"/>
                <a:gd name="T22" fmla="*/ 2147483646 w 10"/>
                <a:gd name="T23" fmla="*/ 2147483646 h 25"/>
                <a:gd name="T24" fmla="*/ 2147483646 w 10"/>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5">
                  <a:moveTo>
                    <a:pt x="10" y="22"/>
                  </a:moveTo>
                  <a:lnTo>
                    <a:pt x="7" y="25"/>
                  </a:lnTo>
                  <a:lnTo>
                    <a:pt x="4" y="25"/>
                  </a:lnTo>
                  <a:lnTo>
                    <a:pt x="0" y="25"/>
                  </a:lnTo>
                  <a:lnTo>
                    <a:pt x="0" y="22"/>
                  </a:lnTo>
                  <a:lnTo>
                    <a:pt x="0" y="3"/>
                  </a:lnTo>
                  <a:lnTo>
                    <a:pt x="0" y="0"/>
                  </a:lnTo>
                  <a:lnTo>
                    <a:pt x="4" y="0"/>
                  </a:lnTo>
                  <a:lnTo>
                    <a:pt x="7" y="0"/>
                  </a:lnTo>
                  <a:lnTo>
                    <a:pt x="10" y="3"/>
                  </a:lnTo>
                  <a:lnTo>
                    <a:pt x="10" y="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8" name="Freeform 979">
              <a:extLst>
                <a:ext uri="{FF2B5EF4-FFF2-40B4-BE49-F238E27FC236}">
                  <a16:creationId xmlns:a16="http://schemas.microsoft.com/office/drawing/2014/main" id="{C72227CD-7DD7-E04E-8014-0164795FB746}"/>
                </a:ext>
              </a:extLst>
            </p:cNvPr>
            <p:cNvSpPr>
              <a:spLocks/>
            </p:cNvSpPr>
            <p:nvPr/>
          </p:nvSpPr>
          <p:spPr bwMode="auto">
            <a:xfrm>
              <a:off x="2420224" y="1613605"/>
              <a:ext cx="94197" cy="8936"/>
            </a:xfrm>
            <a:custGeom>
              <a:avLst/>
              <a:gdLst>
                <a:gd name="T0" fmla="*/ 2147483646 w 81"/>
                <a:gd name="T1" fmla="*/ 2147483646 h 9"/>
                <a:gd name="T2" fmla="*/ 0 w 81"/>
                <a:gd name="T3" fmla="*/ 2147483646 h 9"/>
                <a:gd name="T4" fmla="*/ 0 w 81"/>
                <a:gd name="T5" fmla="*/ 2147483646 h 9"/>
                <a:gd name="T6" fmla="*/ 0 w 81"/>
                <a:gd name="T7" fmla="*/ 2147483646 h 9"/>
                <a:gd name="T8" fmla="*/ 0 w 81"/>
                <a:gd name="T9" fmla="*/ 0 h 9"/>
                <a:gd name="T10" fmla="*/ 2147483646 w 81"/>
                <a:gd name="T11" fmla="*/ 0 h 9"/>
                <a:gd name="T12" fmla="*/ 2147483646 w 81"/>
                <a:gd name="T13" fmla="*/ 0 h 9"/>
                <a:gd name="T14" fmla="*/ 2147483646 w 81"/>
                <a:gd name="T15" fmla="*/ 0 h 9"/>
                <a:gd name="T16" fmla="*/ 2147483646 w 81"/>
                <a:gd name="T17" fmla="*/ 2147483646 h 9"/>
                <a:gd name="T18" fmla="*/ 2147483646 w 81"/>
                <a:gd name="T19" fmla="*/ 2147483646 h 9"/>
                <a:gd name="T20" fmla="*/ 2147483646 w 81"/>
                <a:gd name="T21" fmla="*/ 2147483646 h 9"/>
                <a:gd name="T22" fmla="*/ 2147483646 w 81"/>
                <a:gd name="T23" fmla="*/ 2147483646 h 9"/>
                <a:gd name="T24" fmla="*/ 2147483646 w 81"/>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1" h="9">
                  <a:moveTo>
                    <a:pt x="4" y="9"/>
                  </a:moveTo>
                  <a:lnTo>
                    <a:pt x="0" y="6"/>
                  </a:lnTo>
                  <a:lnTo>
                    <a:pt x="0" y="3"/>
                  </a:lnTo>
                  <a:lnTo>
                    <a:pt x="0" y="0"/>
                  </a:lnTo>
                  <a:lnTo>
                    <a:pt x="4" y="0"/>
                  </a:lnTo>
                  <a:lnTo>
                    <a:pt x="78" y="0"/>
                  </a:lnTo>
                  <a:lnTo>
                    <a:pt x="81" y="0"/>
                  </a:lnTo>
                  <a:lnTo>
                    <a:pt x="81" y="3"/>
                  </a:lnTo>
                  <a:lnTo>
                    <a:pt x="81" y="6"/>
                  </a:lnTo>
                  <a:lnTo>
                    <a:pt x="78"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69" name="Freeform 980">
              <a:extLst>
                <a:ext uri="{FF2B5EF4-FFF2-40B4-BE49-F238E27FC236}">
                  <a16:creationId xmlns:a16="http://schemas.microsoft.com/office/drawing/2014/main" id="{7804E3C4-0AB9-8346-A3BA-555C341A1D7E}"/>
                </a:ext>
              </a:extLst>
            </p:cNvPr>
            <p:cNvSpPr>
              <a:spLocks/>
            </p:cNvSpPr>
            <p:nvPr/>
          </p:nvSpPr>
          <p:spPr bwMode="auto">
            <a:xfrm>
              <a:off x="2507442" y="1613605"/>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2" y="0"/>
                  </a:lnTo>
                  <a:lnTo>
                    <a:pt x="16" y="0"/>
                  </a:lnTo>
                  <a:lnTo>
                    <a:pt x="16" y="3"/>
                  </a:lnTo>
                  <a:lnTo>
                    <a:pt x="16" y="6"/>
                  </a:lnTo>
                  <a:lnTo>
                    <a:pt x="1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0" name="Freeform 981">
              <a:extLst>
                <a:ext uri="{FF2B5EF4-FFF2-40B4-BE49-F238E27FC236}">
                  <a16:creationId xmlns:a16="http://schemas.microsoft.com/office/drawing/2014/main" id="{3151F3E0-5FEA-7C47-9A44-ABCB8102576F}"/>
                </a:ext>
              </a:extLst>
            </p:cNvPr>
            <p:cNvSpPr>
              <a:spLocks/>
            </p:cNvSpPr>
            <p:nvPr/>
          </p:nvSpPr>
          <p:spPr bwMode="auto">
            <a:xfrm>
              <a:off x="2517909" y="161360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1" name="Freeform 982">
              <a:extLst>
                <a:ext uri="{FF2B5EF4-FFF2-40B4-BE49-F238E27FC236}">
                  <a16:creationId xmlns:a16="http://schemas.microsoft.com/office/drawing/2014/main" id="{2B04715D-3EF9-B64E-B7F6-D8A7F8AE9114}"/>
                </a:ext>
              </a:extLst>
            </p:cNvPr>
            <p:cNvSpPr>
              <a:spLocks/>
            </p:cNvSpPr>
            <p:nvPr/>
          </p:nvSpPr>
          <p:spPr bwMode="auto">
            <a:xfrm>
              <a:off x="2521397" y="161360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2" name="Freeform 983">
              <a:extLst>
                <a:ext uri="{FF2B5EF4-FFF2-40B4-BE49-F238E27FC236}">
                  <a16:creationId xmlns:a16="http://schemas.microsoft.com/office/drawing/2014/main" id="{CB683EE6-06A1-824A-AEDA-EAC81805B812}"/>
                </a:ext>
              </a:extLst>
            </p:cNvPr>
            <p:cNvSpPr>
              <a:spLocks/>
            </p:cNvSpPr>
            <p:nvPr/>
          </p:nvSpPr>
          <p:spPr bwMode="auto">
            <a:xfrm>
              <a:off x="2526049" y="1590770"/>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3" name="Freeform 984">
              <a:extLst>
                <a:ext uri="{FF2B5EF4-FFF2-40B4-BE49-F238E27FC236}">
                  <a16:creationId xmlns:a16="http://schemas.microsoft.com/office/drawing/2014/main" id="{5D9E1B3C-B4CA-524A-847B-565405659DDB}"/>
                </a:ext>
              </a:extLst>
            </p:cNvPr>
            <p:cNvSpPr>
              <a:spLocks/>
            </p:cNvSpPr>
            <p:nvPr/>
          </p:nvSpPr>
          <p:spPr bwMode="auto">
            <a:xfrm>
              <a:off x="2526049" y="159077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4" name="Freeform 985">
              <a:extLst>
                <a:ext uri="{FF2B5EF4-FFF2-40B4-BE49-F238E27FC236}">
                  <a16:creationId xmlns:a16="http://schemas.microsoft.com/office/drawing/2014/main" id="{87ECF448-F08D-F046-9DDB-D75908B7FFFB}"/>
                </a:ext>
              </a:extLst>
            </p:cNvPr>
            <p:cNvSpPr>
              <a:spLocks/>
            </p:cNvSpPr>
            <p:nvPr/>
          </p:nvSpPr>
          <p:spPr bwMode="auto">
            <a:xfrm>
              <a:off x="2536516" y="1567934"/>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7" y="29"/>
                  </a:lnTo>
                  <a:lnTo>
                    <a:pt x="4" y="29"/>
                  </a:lnTo>
                  <a:lnTo>
                    <a:pt x="0" y="29"/>
                  </a:lnTo>
                  <a:lnTo>
                    <a:pt x="0" y="26"/>
                  </a:lnTo>
                  <a:lnTo>
                    <a:pt x="0" y="4"/>
                  </a:lnTo>
                  <a:lnTo>
                    <a:pt x="0" y="0"/>
                  </a:lnTo>
                  <a:lnTo>
                    <a:pt x="4" y="0"/>
                  </a:lnTo>
                  <a:lnTo>
                    <a:pt x="7" y="0"/>
                  </a:lnTo>
                  <a:lnTo>
                    <a:pt x="10" y="4"/>
                  </a:lnTo>
                  <a:lnTo>
                    <a:pt x="10"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5" name="Freeform 986">
              <a:extLst>
                <a:ext uri="{FF2B5EF4-FFF2-40B4-BE49-F238E27FC236}">
                  <a16:creationId xmlns:a16="http://schemas.microsoft.com/office/drawing/2014/main" id="{052E209C-2A47-4449-A016-7903A7832647}"/>
                </a:ext>
              </a:extLst>
            </p:cNvPr>
            <p:cNvSpPr>
              <a:spLocks/>
            </p:cNvSpPr>
            <p:nvPr/>
          </p:nvSpPr>
          <p:spPr bwMode="auto">
            <a:xfrm>
              <a:off x="2536516" y="1567934"/>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4" y="10"/>
                  </a:moveTo>
                  <a:lnTo>
                    <a:pt x="0" y="7"/>
                  </a:lnTo>
                  <a:lnTo>
                    <a:pt x="0" y="4"/>
                  </a:lnTo>
                  <a:lnTo>
                    <a:pt x="0" y="0"/>
                  </a:lnTo>
                  <a:lnTo>
                    <a:pt x="4" y="0"/>
                  </a:lnTo>
                  <a:lnTo>
                    <a:pt x="26" y="0"/>
                  </a:lnTo>
                  <a:lnTo>
                    <a:pt x="29" y="0"/>
                  </a:lnTo>
                  <a:lnTo>
                    <a:pt x="29" y="4"/>
                  </a:lnTo>
                  <a:lnTo>
                    <a:pt x="29" y="7"/>
                  </a:lnTo>
                  <a:lnTo>
                    <a:pt x="26"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6" name="Freeform 987">
              <a:extLst>
                <a:ext uri="{FF2B5EF4-FFF2-40B4-BE49-F238E27FC236}">
                  <a16:creationId xmlns:a16="http://schemas.microsoft.com/office/drawing/2014/main" id="{97DBDE75-E4DB-B144-AF63-6EA49A7BB4E3}"/>
                </a:ext>
              </a:extLst>
            </p:cNvPr>
            <p:cNvSpPr>
              <a:spLocks/>
            </p:cNvSpPr>
            <p:nvPr/>
          </p:nvSpPr>
          <p:spPr bwMode="auto">
            <a:xfrm>
              <a:off x="2563263" y="1567934"/>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7" name="Freeform 988">
              <a:extLst>
                <a:ext uri="{FF2B5EF4-FFF2-40B4-BE49-F238E27FC236}">
                  <a16:creationId xmlns:a16="http://schemas.microsoft.com/office/drawing/2014/main" id="{78C549B1-FDB6-4644-B5BF-8E9CB36F20B4}"/>
                </a:ext>
              </a:extLst>
            </p:cNvPr>
            <p:cNvSpPr>
              <a:spLocks/>
            </p:cNvSpPr>
            <p:nvPr/>
          </p:nvSpPr>
          <p:spPr bwMode="auto">
            <a:xfrm>
              <a:off x="2578381" y="1546092"/>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8" name="Freeform 989">
              <a:extLst>
                <a:ext uri="{FF2B5EF4-FFF2-40B4-BE49-F238E27FC236}">
                  <a16:creationId xmlns:a16="http://schemas.microsoft.com/office/drawing/2014/main" id="{3B4FBEE0-7136-6345-A55E-24497B4F71A7}"/>
                </a:ext>
              </a:extLst>
            </p:cNvPr>
            <p:cNvSpPr>
              <a:spLocks/>
            </p:cNvSpPr>
            <p:nvPr/>
          </p:nvSpPr>
          <p:spPr bwMode="auto">
            <a:xfrm>
              <a:off x="2578381" y="1546092"/>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2" y="0"/>
                  </a:lnTo>
                  <a:lnTo>
                    <a:pt x="26" y="0"/>
                  </a:lnTo>
                  <a:lnTo>
                    <a:pt x="26" y="3"/>
                  </a:lnTo>
                  <a:lnTo>
                    <a:pt x="26" y="6"/>
                  </a:lnTo>
                  <a:lnTo>
                    <a:pt x="22"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79" name="Freeform 990">
              <a:extLst>
                <a:ext uri="{FF2B5EF4-FFF2-40B4-BE49-F238E27FC236}">
                  <a16:creationId xmlns:a16="http://schemas.microsoft.com/office/drawing/2014/main" id="{CC60EAE9-51CC-AC46-9FFF-BF4138ECF7E3}"/>
                </a:ext>
              </a:extLst>
            </p:cNvPr>
            <p:cNvSpPr>
              <a:spLocks/>
            </p:cNvSpPr>
            <p:nvPr/>
          </p:nvSpPr>
          <p:spPr bwMode="auto">
            <a:xfrm>
              <a:off x="2600476" y="1546092"/>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0" name="Freeform 991">
              <a:extLst>
                <a:ext uri="{FF2B5EF4-FFF2-40B4-BE49-F238E27FC236}">
                  <a16:creationId xmlns:a16="http://schemas.microsoft.com/office/drawing/2014/main" id="{1A4C76F6-DF0E-1A4E-8E60-24A036A593CA}"/>
                </a:ext>
              </a:extLst>
            </p:cNvPr>
            <p:cNvSpPr>
              <a:spLocks/>
            </p:cNvSpPr>
            <p:nvPr/>
          </p:nvSpPr>
          <p:spPr bwMode="auto">
            <a:xfrm>
              <a:off x="2612105" y="1523257"/>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1" name="Freeform 992">
              <a:extLst>
                <a:ext uri="{FF2B5EF4-FFF2-40B4-BE49-F238E27FC236}">
                  <a16:creationId xmlns:a16="http://schemas.microsoft.com/office/drawing/2014/main" id="{B89179C8-B051-9A47-9FA4-257C0510386A}"/>
                </a:ext>
              </a:extLst>
            </p:cNvPr>
            <p:cNvSpPr>
              <a:spLocks/>
            </p:cNvSpPr>
            <p:nvPr/>
          </p:nvSpPr>
          <p:spPr bwMode="auto">
            <a:xfrm>
              <a:off x="2612105" y="1523257"/>
              <a:ext cx="70939" cy="9928"/>
            </a:xfrm>
            <a:custGeom>
              <a:avLst/>
              <a:gdLst>
                <a:gd name="T0" fmla="*/ 2147483646 w 61"/>
                <a:gd name="T1" fmla="*/ 2147483646 h 10"/>
                <a:gd name="T2" fmla="*/ 0 w 61"/>
                <a:gd name="T3" fmla="*/ 2147483646 h 10"/>
                <a:gd name="T4" fmla="*/ 0 w 61"/>
                <a:gd name="T5" fmla="*/ 2147483646 h 10"/>
                <a:gd name="T6" fmla="*/ 0 w 61"/>
                <a:gd name="T7" fmla="*/ 2147483646 h 10"/>
                <a:gd name="T8" fmla="*/ 0 w 61"/>
                <a:gd name="T9" fmla="*/ 0 h 10"/>
                <a:gd name="T10" fmla="*/ 2147483646 w 61"/>
                <a:gd name="T11" fmla="*/ 0 h 10"/>
                <a:gd name="T12" fmla="*/ 2147483646 w 61"/>
                <a:gd name="T13" fmla="*/ 0 h 10"/>
                <a:gd name="T14" fmla="*/ 2147483646 w 61"/>
                <a:gd name="T15" fmla="*/ 0 h 10"/>
                <a:gd name="T16" fmla="*/ 2147483646 w 61"/>
                <a:gd name="T17" fmla="*/ 2147483646 h 10"/>
                <a:gd name="T18" fmla="*/ 2147483646 w 61"/>
                <a:gd name="T19" fmla="*/ 2147483646 h 10"/>
                <a:gd name="T20" fmla="*/ 2147483646 w 61"/>
                <a:gd name="T21" fmla="*/ 2147483646 h 10"/>
                <a:gd name="T22" fmla="*/ 2147483646 w 61"/>
                <a:gd name="T23" fmla="*/ 2147483646 h 10"/>
                <a:gd name="T24" fmla="*/ 2147483646 w 6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1" h="10">
                  <a:moveTo>
                    <a:pt x="3" y="10"/>
                  </a:moveTo>
                  <a:lnTo>
                    <a:pt x="0" y="7"/>
                  </a:lnTo>
                  <a:lnTo>
                    <a:pt x="0" y="3"/>
                  </a:lnTo>
                  <a:lnTo>
                    <a:pt x="0" y="0"/>
                  </a:lnTo>
                  <a:lnTo>
                    <a:pt x="3" y="0"/>
                  </a:lnTo>
                  <a:lnTo>
                    <a:pt x="58" y="0"/>
                  </a:lnTo>
                  <a:lnTo>
                    <a:pt x="61" y="0"/>
                  </a:lnTo>
                  <a:lnTo>
                    <a:pt x="61" y="3"/>
                  </a:lnTo>
                  <a:lnTo>
                    <a:pt x="61" y="7"/>
                  </a:lnTo>
                  <a:lnTo>
                    <a:pt x="58"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2" name="Freeform 993">
              <a:extLst>
                <a:ext uri="{FF2B5EF4-FFF2-40B4-BE49-F238E27FC236}">
                  <a16:creationId xmlns:a16="http://schemas.microsoft.com/office/drawing/2014/main" id="{980A316C-54AA-BE46-875A-F2B1A87CA621}"/>
                </a:ext>
              </a:extLst>
            </p:cNvPr>
            <p:cNvSpPr>
              <a:spLocks/>
            </p:cNvSpPr>
            <p:nvPr/>
          </p:nvSpPr>
          <p:spPr bwMode="auto">
            <a:xfrm>
              <a:off x="2676066" y="1523257"/>
              <a:ext cx="44191" cy="9928"/>
            </a:xfrm>
            <a:custGeom>
              <a:avLst/>
              <a:gdLst>
                <a:gd name="T0" fmla="*/ 2147483646 w 38"/>
                <a:gd name="T1" fmla="*/ 2147483646 h 10"/>
                <a:gd name="T2" fmla="*/ 0 w 38"/>
                <a:gd name="T3" fmla="*/ 2147483646 h 10"/>
                <a:gd name="T4" fmla="*/ 0 w 38"/>
                <a:gd name="T5" fmla="*/ 2147483646 h 10"/>
                <a:gd name="T6" fmla="*/ 0 w 38"/>
                <a:gd name="T7" fmla="*/ 2147483646 h 10"/>
                <a:gd name="T8" fmla="*/ 0 w 38"/>
                <a:gd name="T9" fmla="*/ 0 h 10"/>
                <a:gd name="T10" fmla="*/ 2147483646 w 38"/>
                <a:gd name="T11" fmla="*/ 0 h 10"/>
                <a:gd name="T12" fmla="*/ 2147483646 w 38"/>
                <a:gd name="T13" fmla="*/ 0 h 10"/>
                <a:gd name="T14" fmla="*/ 2147483646 w 38"/>
                <a:gd name="T15" fmla="*/ 0 h 10"/>
                <a:gd name="T16" fmla="*/ 2147483646 w 38"/>
                <a:gd name="T17" fmla="*/ 2147483646 h 10"/>
                <a:gd name="T18" fmla="*/ 2147483646 w 38"/>
                <a:gd name="T19" fmla="*/ 2147483646 h 10"/>
                <a:gd name="T20" fmla="*/ 2147483646 w 38"/>
                <a:gd name="T21" fmla="*/ 2147483646 h 10"/>
                <a:gd name="T22" fmla="*/ 2147483646 w 38"/>
                <a:gd name="T23" fmla="*/ 2147483646 h 10"/>
                <a:gd name="T24" fmla="*/ 2147483646 w 3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0">
                  <a:moveTo>
                    <a:pt x="3" y="10"/>
                  </a:moveTo>
                  <a:lnTo>
                    <a:pt x="0" y="7"/>
                  </a:lnTo>
                  <a:lnTo>
                    <a:pt x="0" y="3"/>
                  </a:lnTo>
                  <a:lnTo>
                    <a:pt x="0" y="0"/>
                  </a:lnTo>
                  <a:lnTo>
                    <a:pt x="3" y="0"/>
                  </a:lnTo>
                  <a:lnTo>
                    <a:pt x="35" y="0"/>
                  </a:lnTo>
                  <a:lnTo>
                    <a:pt x="38" y="0"/>
                  </a:lnTo>
                  <a:lnTo>
                    <a:pt x="38" y="3"/>
                  </a:lnTo>
                  <a:lnTo>
                    <a:pt x="38" y="7"/>
                  </a:lnTo>
                  <a:lnTo>
                    <a:pt x="3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3" name="Freeform 994">
              <a:extLst>
                <a:ext uri="{FF2B5EF4-FFF2-40B4-BE49-F238E27FC236}">
                  <a16:creationId xmlns:a16="http://schemas.microsoft.com/office/drawing/2014/main" id="{97896FC4-E322-3841-96B1-BC7C502993F0}"/>
                </a:ext>
              </a:extLst>
            </p:cNvPr>
            <p:cNvSpPr>
              <a:spLocks/>
            </p:cNvSpPr>
            <p:nvPr/>
          </p:nvSpPr>
          <p:spPr bwMode="auto">
            <a:xfrm>
              <a:off x="2713280" y="1523257"/>
              <a:ext cx="63961" cy="9928"/>
            </a:xfrm>
            <a:custGeom>
              <a:avLst/>
              <a:gdLst>
                <a:gd name="T0" fmla="*/ 2147483646 w 55"/>
                <a:gd name="T1" fmla="*/ 2147483646 h 10"/>
                <a:gd name="T2" fmla="*/ 0 w 55"/>
                <a:gd name="T3" fmla="*/ 2147483646 h 10"/>
                <a:gd name="T4" fmla="*/ 0 w 55"/>
                <a:gd name="T5" fmla="*/ 2147483646 h 10"/>
                <a:gd name="T6" fmla="*/ 0 w 55"/>
                <a:gd name="T7" fmla="*/ 2147483646 h 10"/>
                <a:gd name="T8" fmla="*/ 0 w 55"/>
                <a:gd name="T9" fmla="*/ 0 h 10"/>
                <a:gd name="T10" fmla="*/ 2147483646 w 55"/>
                <a:gd name="T11" fmla="*/ 0 h 10"/>
                <a:gd name="T12" fmla="*/ 2147483646 w 55"/>
                <a:gd name="T13" fmla="*/ 0 h 10"/>
                <a:gd name="T14" fmla="*/ 2147483646 w 55"/>
                <a:gd name="T15" fmla="*/ 0 h 10"/>
                <a:gd name="T16" fmla="*/ 2147483646 w 55"/>
                <a:gd name="T17" fmla="*/ 2147483646 h 10"/>
                <a:gd name="T18" fmla="*/ 2147483646 w 55"/>
                <a:gd name="T19" fmla="*/ 2147483646 h 10"/>
                <a:gd name="T20" fmla="*/ 2147483646 w 55"/>
                <a:gd name="T21" fmla="*/ 2147483646 h 10"/>
                <a:gd name="T22" fmla="*/ 2147483646 w 55"/>
                <a:gd name="T23" fmla="*/ 2147483646 h 10"/>
                <a:gd name="T24" fmla="*/ 2147483646 w 5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5" h="10">
                  <a:moveTo>
                    <a:pt x="3" y="10"/>
                  </a:moveTo>
                  <a:lnTo>
                    <a:pt x="0" y="7"/>
                  </a:lnTo>
                  <a:lnTo>
                    <a:pt x="0" y="3"/>
                  </a:lnTo>
                  <a:lnTo>
                    <a:pt x="0" y="0"/>
                  </a:lnTo>
                  <a:lnTo>
                    <a:pt x="3" y="0"/>
                  </a:lnTo>
                  <a:lnTo>
                    <a:pt x="51" y="0"/>
                  </a:lnTo>
                  <a:lnTo>
                    <a:pt x="55" y="0"/>
                  </a:lnTo>
                  <a:lnTo>
                    <a:pt x="55" y="3"/>
                  </a:lnTo>
                  <a:lnTo>
                    <a:pt x="55" y="7"/>
                  </a:lnTo>
                  <a:lnTo>
                    <a:pt x="51"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4" name="Freeform 995">
              <a:extLst>
                <a:ext uri="{FF2B5EF4-FFF2-40B4-BE49-F238E27FC236}">
                  <a16:creationId xmlns:a16="http://schemas.microsoft.com/office/drawing/2014/main" id="{B5BA2C76-FAB1-8D4F-9C6C-9D7622112899}"/>
                </a:ext>
              </a:extLst>
            </p:cNvPr>
            <p:cNvSpPr>
              <a:spLocks/>
            </p:cNvSpPr>
            <p:nvPr/>
          </p:nvSpPr>
          <p:spPr bwMode="auto">
            <a:xfrm>
              <a:off x="2769100" y="1497443"/>
              <a:ext cx="11629" cy="32764"/>
            </a:xfrm>
            <a:custGeom>
              <a:avLst/>
              <a:gdLst>
                <a:gd name="T0" fmla="*/ 2147483646 w 10"/>
                <a:gd name="T1" fmla="*/ 2147483646 h 33"/>
                <a:gd name="T2" fmla="*/ 2147483646 w 10"/>
                <a:gd name="T3" fmla="*/ 2147483646 h 33"/>
                <a:gd name="T4" fmla="*/ 2147483646 w 10"/>
                <a:gd name="T5" fmla="*/ 2147483646 h 33"/>
                <a:gd name="T6" fmla="*/ 2147483646 w 10"/>
                <a:gd name="T7" fmla="*/ 2147483646 h 33"/>
                <a:gd name="T8" fmla="*/ 0 w 10"/>
                <a:gd name="T9" fmla="*/ 2147483646 h 33"/>
                <a:gd name="T10" fmla="*/ 0 w 10"/>
                <a:gd name="T11" fmla="*/ 2147483646 h 33"/>
                <a:gd name="T12" fmla="*/ 0 w 10"/>
                <a:gd name="T13" fmla="*/ 2147483646 h 33"/>
                <a:gd name="T14" fmla="*/ 0 w 10"/>
                <a:gd name="T15" fmla="*/ 0 h 33"/>
                <a:gd name="T16" fmla="*/ 2147483646 w 10"/>
                <a:gd name="T17" fmla="*/ 0 h 33"/>
                <a:gd name="T18" fmla="*/ 2147483646 w 10"/>
                <a:gd name="T19" fmla="*/ 0 h 33"/>
                <a:gd name="T20" fmla="*/ 2147483646 w 10"/>
                <a:gd name="T21" fmla="*/ 0 h 33"/>
                <a:gd name="T22" fmla="*/ 2147483646 w 10"/>
                <a:gd name="T23" fmla="*/ 2147483646 h 33"/>
                <a:gd name="T24" fmla="*/ 2147483646 w 10"/>
                <a:gd name="T25" fmla="*/ 2147483646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3">
                  <a:moveTo>
                    <a:pt x="10" y="29"/>
                  </a:moveTo>
                  <a:lnTo>
                    <a:pt x="7" y="33"/>
                  </a:lnTo>
                  <a:lnTo>
                    <a:pt x="3" y="33"/>
                  </a:lnTo>
                  <a:lnTo>
                    <a:pt x="0" y="33"/>
                  </a:lnTo>
                  <a:lnTo>
                    <a:pt x="0" y="29"/>
                  </a:lnTo>
                  <a:lnTo>
                    <a:pt x="0" y="4"/>
                  </a:lnTo>
                  <a:lnTo>
                    <a:pt x="0" y="0"/>
                  </a:lnTo>
                  <a:lnTo>
                    <a:pt x="3" y="0"/>
                  </a:lnTo>
                  <a:lnTo>
                    <a:pt x="7" y="0"/>
                  </a:lnTo>
                  <a:lnTo>
                    <a:pt x="10" y="4"/>
                  </a:lnTo>
                  <a:lnTo>
                    <a:pt x="10" y="2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5" name="Freeform 996">
              <a:extLst>
                <a:ext uri="{FF2B5EF4-FFF2-40B4-BE49-F238E27FC236}">
                  <a16:creationId xmlns:a16="http://schemas.microsoft.com/office/drawing/2014/main" id="{A7D30E04-4A7D-2D45-AB0D-BF87DF7AEE76}"/>
                </a:ext>
              </a:extLst>
            </p:cNvPr>
            <p:cNvSpPr>
              <a:spLocks/>
            </p:cNvSpPr>
            <p:nvPr/>
          </p:nvSpPr>
          <p:spPr bwMode="auto">
            <a:xfrm>
              <a:off x="2769100" y="1497443"/>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3" y="10"/>
                  </a:moveTo>
                  <a:lnTo>
                    <a:pt x="0" y="7"/>
                  </a:lnTo>
                  <a:lnTo>
                    <a:pt x="0" y="4"/>
                  </a:lnTo>
                  <a:lnTo>
                    <a:pt x="0" y="0"/>
                  </a:lnTo>
                  <a:lnTo>
                    <a:pt x="3" y="0"/>
                  </a:lnTo>
                  <a:lnTo>
                    <a:pt x="39" y="0"/>
                  </a:lnTo>
                  <a:lnTo>
                    <a:pt x="42" y="0"/>
                  </a:lnTo>
                  <a:lnTo>
                    <a:pt x="42" y="4"/>
                  </a:lnTo>
                  <a:lnTo>
                    <a:pt x="42" y="7"/>
                  </a:lnTo>
                  <a:lnTo>
                    <a:pt x="39"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6" name="Freeform 997">
              <a:extLst>
                <a:ext uri="{FF2B5EF4-FFF2-40B4-BE49-F238E27FC236}">
                  <a16:creationId xmlns:a16="http://schemas.microsoft.com/office/drawing/2014/main" id="{41F5EB56-2701-CB43-9A34-63C11EF93AC2}"/>
                </a:ext>
              </a:extLst>
            </p:cNvPr>
            <p:cNvSpPr>
              <a:spLocks/>
            </p:cNvSpPr>
            <p:nvPr/>
          </p:nvSpPr>
          <p:spPr bwMode="auto">
            <a:xfrm>
              <a:off x="2810965" y="1497443"/>
              <a:ext cx="62798" cy="9928"/>
            </a:xfrm>
            <a:custGeom>
              <a:avLst/>
              <a:gdLst>
                <a:gd name="T0" fmla="*/ 2147483646 w 54"/>
                <a:gd name="T1" fmla="*/ 2147483646 h 10"/>
                <a:gd name="T2" fmla="*/ 0 w 54"/>
                <a:gd name="T3" fmla="*/ 2147483646 h 10"/>
                <a:gd name="T4" fmla="*/ 0 w 54"/>
                <a:gd name="T5" fmla="*/ 2147483646 h 10"/>
                <a:gd name="T6" fmla="*/ 0 w 54"/>
                <a:gd name="T7" fmla="*/ 2147483646 h 10"/>
                <a:gd name="T8" fmla="*/ 0 w 54"/>
                <a:gd name="T9" fmla="*/ 0 h 10"/>
                <a:gd name="T10" fmla="*/ 2147483646 w 54"/>
                <a:gd name="T11" fmla="*/ 0 h 10"/>
                <a:gd name="T12" fmla="*/ 2147483646 w 54"/>
                <a:gd name="T13" fmla="*/ 0 h 10"/>
                <a:gd name="T14" fmla="*/ 2147483646 w 54"/>
                <a:gd name="T15" fmla="*/ 0 h 10"/>
                <a:gd name="T16" fmla="*/ 2147483646 w 54"/>
                <a:gd name="T17" fmla="*/ 2147483646 h 10"/>
                <a:gd name="T18" fmla="*/ 2147483646 w 54"/>
                <a:gd name="T19" fmla="*/ 2147483646 h 10"/>
                <a:gd name="T20" fmla="*/ 2147483646 w 54"/>
                <a:gd name="T21" fmla="*/ 2147483646 h 10"/>
                <a:gd name="T22" fmla="*/ 2147483646 w 54"/>
                <a:gd name="T23" fmla="*/ 2147483646 h 10"/>
                <a:gd name="T24" fmla="*/ 2147483646 w 5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 h="10">
                  <a:moveTo>
                    <a:pt x="3" y="10"/>
                  </a:moveTo>
                  <a:lnTo>
                    <a:pt x="0" y="7"/>
                  </a:lnTo>
                  <a:lnTo>
                    <a:pt x="0" y="4"/>
                  </a:lnTo>
                  <a:lnTo>
                    <a:pt x="0" y="0"/>
                  </a:lnTo>
                  <a:lnTo>
                    <a:pt x="3" y="0"/>
                  </a:lnTo>
                  <a:lnTo>
                    <a:pt x="51" y="0"/>
                  </a:lnTo>
                  <a:lnTo>
                    <a:pt x="54" y="0"/>
                  </a:lnTo>
                  <a:lnTo>
                    <a:pt x="54" y="4"/>
                  </a:lnTo>
                  <a:lnTo>
                    <a:pt x="54" y="7"/>
                  </a:lnTo>
                  <a:lnTo>
                    <a:pt x="51"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7" name="Freeform 998">
              <a:extLst>
                <a:ext uri="{FF2B5EF4-FFF2-40B4-BE49-F238E27FC236}">
                  <a16:creationId xmlns:a16="http://schemas.microsoft.com/office/drawing/2014/main" id="{3EE60D0D-1B3B-CA4C-BC4B-F11F1CA301DC}"/>
                </a:ext>
              </a:extLst>
            </p:cNvPr>
            <p:cNvSpPr>
              <a:spLocks/>
            </p:cNvSpPr>
            <p:nvPr/>
          </p:nvSpPr>
          <p:spPr bwMode="auto">
            <a:xfrm>
              <a:off x="2866785" y="1497443"/>
              <a:ext cx="52332" cy="9928"/>
            </a:xfrm>
            <a:custGeom>
              <a:avLst/>
              <a:gdLst>
                <a:gd name="T0" fmla="*/ 2147483646 w 45"/>
                <a:gd name="T1" fmla="*/ 2147483646 h 10"/>
                <a:gd name="T2" fmla="*/ 0 w 45"/>
                <a:gd name="T3" fmla="*/ 2147483646 h 10"/>
                <a:gd name="T4" fmla="*/ 0 w 45"/>
                <a:gd name="T5" fmla="*/ 2147483646 h 10"/>
                <a:gd name="T6" fmla="*/ 0 w 45"/>
                <a:gd name="T7" fmla="*/ 2147483646 h 10"/>
                <a:gd name="T8" fmla="*/ 0 w 45"/>
                <a:gd name="T9" fmla="*/ 0 h 10"/>
                <a:gd name="T10" fmla="*/ 2147483646 w 45"/>
                <a:gd name="T11" fmla="*/ 0 h 10"/>
                <a:gd name="T12" fmla="*/ 2147483646 w 45"/>
                <a:gd name="T13" fmla="*/ 0 h 10"/>
                <a:gd name="T14" fmla="*/ 2147483646 w 45"/>
                <a:gd name="T15" fmla="*/ 0 h 10"/>
                <a:gd name="T16" fmla="*/ 2147483646 w 45"/>
                <a:gd name="T17" fmla="*/ 2147483646 h 10"/>
                <a:gd name="T18" fmla="*/ 2147483646 w 45"/>
                <a:gd name="T19" fmla="*/ 2147483646 h 10"/>
                <a:gd name="T20" fmla="*/ 2147483646 w 45"/>
                <a:gd name="T21" fmla="*/ 2147483646 h 10"/>
                <a:gd name="T22" fmla="*/ 2147483646 w 45"/>
                <a:gd name="T23" fmla="*/ 2147483646 h 10"/>
                <a:gd name="T24" fmla="*/ 2147483646 w 4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10">
                  <a:moveTo>
                    <a:pt x="3" y="10"/>
                  </a:moveTo>
                  <a:lnTo>
                    <a:pt x="0" y="7"/>
                  </a:lnTo>
                  <a:lnTo>
                    <a:pt x="0" y="4"/>
                  </a:lnTo>
                  <a:lnTo>
                    <a:pt x="0" y="0"/>
                  </a:lnTo>
                  <a:lnTo>
                    <a:pt x="3" y="0"/>
                  </a:lnTo>
                  <a:lnTo>
                    <a:pt x="42" y="0"/>
                  </a:lnTo>
                  <a:lnTo>
                    <a:pt x="45" y="0"/>
                  </a:lnTo>
                  <a:lnTo>
                    <a:pt x="45" y="4"/>
                  </a:lnTo>
                  <a:lnTo>
                    <a:pt x="45" y="7"/>
                  </a:lnTo>
                  <a:lnTo>
                    <a:pt x="4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8" name="Freeform 999">
              <a:extLst>
                <a:ext uri="{FF2B5EF4-FFF2-40B4-BE49-F238E27FC236}">
                  <a16:creationId xmlns:a16="http://schemas.microsoft.com/office/drawing/2014/main" id="{CA7E3B63-15BC-0C46-A637-0A03A1F566B7}"/>
                </a:ext>
              </a:extLst>
            </p:cNvPr>
            <p:cNvSpPr>
              <a:spLocks/>
            </p:cNvSpPr>
            <p:nvPr/>
          </p:nvSpPr>
          <p:spPr bwMode="auto">
            <a:xfrm>
              <a:off x="2912139" y="1497443"/>
              <a:ext cx="29073" cy="9928"/>
            </a:xfrm>
            <a:custGeom>
              <a:avLst/>
              <a:gdLst>
                <a:gd name="T0" fmla="*/ 2147483646 w 25"/>
                <a:gd name="T1" fmla="*/ 2147483646 h 10"/>
                <a:gd name="T2" fmla="*/ 0 w 25"/>
                <a:gd name="T3" fmla="*/ 2147483646 h 10"/>
                <a:gd name="T4" fmla="*/ 0 w 25"/>
                <a:gd name="T5" fmla="*/ 2147483646 h 10"/>
                <a:gd name="T6" fmla="*/ 0 w 25"/>
                <a:gd name="T7" fmla="*/ 2147483646 h 10"/>
                <a:gd name="T8" fmla="*/ 0 w 25"/>
                <a:gd name="T9" fmla="*/ 0 h 10"/>
                <a:gd name="T10" fmla="*/ 2147483646 w 25"/>
                <a:gd name="T11" fmla="*/ 0 h 10"/>
                <a:gd name="T12" fmla="*/ 2147483646 w 25"/>
                <a:gd name="T13" fmla="*/ 0 h 10"/>
                <a:gd name="T14" fmla="*/ 2147483646 w 25"/>
                <a:gd name="T15" fmla="*/ 0 h 10"/>
                <a:gd name="T16" fmla="*/ 2147483646 w 25"/>
                <a:gd name="T17" fmla="*/ 2147483646 h 10"/>
                <a:gd name="T18" fmla="*/ 2147483646 w 25"/>
                <a:gd name="T19" fmla="*/ 2147483646 h 10"/>
                <a:gd name="T20" fmla="*/ 2147483646 w 25"/>
                <a:gd name="T21" fmla="*/ 2147483646 h 10"/>
                <a:gd name="T22" fmla="*/ 2147483646 w 25"/>
                <a:gd name="T23" fmla="*/ 2147483646 h 10"/>
                <a:gd name="T24" fmla="*/ 2147483646 w 2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0">
                  <a:moveTo>
                    <a:pt x="3" y="10"/>
                  </a:moveTo>
                  <a:lnTo>
                    <a:pt x="0" y="7"/>
                  </a:lnTo>
                  <a:lnTo>
                    <a:pt x="0" y="4"/>
                  </a:lnTo>
                  <a:lnTo>
                    <a:pt x="0" y="0"/>
                  </a:lnTo>
                  <a:lnTo>
                    <a:pt x="3" y="0"/>
                  </a:lnTo>
                  <a:lnTo>
                    <a:pt x="22" y="0"/>
                  </a:lnTo>
                  <a:lnTo>
                    <a:pt x="25" y="0"/>
                  </a:lnTo>
                  <a:lnTo>
                    <a:pt x="25" y="4"/>
                  </a:lnTo>
                  <a:lnTo>
                    <a:pt x="25" y="7"/>
                  </a:lnTo>
                  <a:lnTo>
                    <a:pt x="2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89" name="Freeform 1000">
              <a:extLst>
                <a:ext uri="{FF2B5EF4-FFF2-40B4-BE49-F238E27FC236}">
                  <a16:creationId xmlns:a16="http://schemas.microsoft.com/office/drawing/2014/main" id="{5B6E829B-FC94-AA41-9133-7E775E6C7117}"/>
                </a:ext>
              </a:extLst>
            </p:cNvPr>
            <p:cNvSpPr>
              <a:spLocks/>
            </p:cNvSpPr>
            <p:nvPr/>
          </p:nvSpPr>
          <p:spPr bwMode="auto">
            <a:xfrm>
              <a:off x="2934235" y="1497443"/>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90" name="Freeform 1001">
              <a:extLst>
                <a:ext uri="{FF2B5EF4-FFF2-40B4-BE49-F238E27FC236}">
                  <a16:creationId xmlns:a16="http://schemas.microsoft.com/office/drawing/2014/main" id="{67F9350F-EA60-4947-99FD-1099D0F8E11D}"/>
                </a:ext>
              </a:extLst>
            </p:cNvPr>
            <p:cNvSpPr>
              <a:spLocks/>
            </p:cNvSpPr>
            <p:nvPr/>
          </p:nvSpPr>
          <p:spPr bwMode="auto">
            <a:xfrm>
              <a:off x="2937723" y="1465672"/>
              <a:ext cx="11629" cy="38721"/>
            </a:xfrm>
            <a:custGeom>
              <a:avLst/>
              <a:gdLst>
                <a:gd name="T0" fmla="*/ 2147483646 w 10"/>
                <a:gd name="T1" fmla="*/ 2147483646 h 39"/>
                <a:gd name="T2" fmla="*/ 2147483646 w 10"/>
                <a:gd name="T3" fmla="*/ 2147483646 h 39"/>
                <a:gd name="T4" fmla="*/ 2147483646 w 10"/>
                <a:gd name="T5" fmla="*/ 2147483646 h 39"/>
                <a:gd name="T6" fmla="*/ 2147483646 w 10"/>
                <a:gd name="T7" fmla="*/ 2147483646 h 39"/>
                <a:gd name="T8" fmla="*/ 0 w 10"/>
                <a:gd name="T9" fmla="*/ 2147483646 h 39"/>
                <a:gd name="T10" fmla="*/ 0 w 10"/>
                <a:gd name="T11" fmla="*/ 2147483646 h 39"/>
                <a:gd name="T12" fmla="*/ 0 w 10"/>
                <a:gd name="T13" fmla="*/ 2147483646 h 39"/>
                <a:gd name="T14" fmla="*/ 0 w 10"/>
                <a:gd name="T15" fmla="*/ 0 h 39"/>
                <a:gd name="T16" fmla="*/ 2147483646 w 10"/>
                <a:gd name="T17" fmla="*/ 0 h 39"/>
                <a:gd name="T18" fmla="*/ 2147483646 w 10"/>
                <a:gd name="T19" fmla="*/ 0 h 39"/>
                <a:gd name="T20" fmla="*/ 2147483646 w 10"/>
                <a:gd name="T21" fmla="*/ 0 h 39"/>
                <a:gd name="T22" fmla="*/ 2147483646 w 10"/>
                <a:gd name="T23" fmla="*/ 2147483646 h 39"/>
                <a:gd name="T24" fmla="*/ 2147483646 w 10"/>
                <a:gd name="T25" fmla="*/ 2147483646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9">
                  <a:moveTo>
                    <a:pt x="10" y="36"/>
                  </a:moveTo>
                  <a:lnTo>
                    <a:pt x="7" y="39"/>
                  </a:lnTo>
                  <a:lnTo>
                    <a:pt x="3" y="39"/>
                  </a:lnTo>
                  <a:lnTo>
                    <a:pt x="0" y="39"/>
                  </a:lnTo>
                  <a:lnTo>
                    <a:pt x="0" y="36"/>
                  </a:lnTo>
                  <a:lnTo>
                    <a:pt x="0" y="3"/>
                  </a:lnTo>
                  <a:lnTo>
                    <a:pt x="0" y="0"/>
                  </a:lnTo>
                  <a:lnTo>
                    <a:pt x="3" y="0"/>
                  </a:lnTo>
                  <a:lnTo>
                    <a:pt x="7" y="0"/>
                  </a:lnTo>
                  <a:lnTo>
                    <a:pt x="10" y="3"/>
                  </a:lnTo>
                  <a:lnTo>
                    <a:pt x="10" y="3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84991" name="Freeform 1002">
              <a:extLst>
                <a:ext uri="{FF2B5EF4-FFF2-40B4-BE49-F238E27FC236}">
                  <a16:creationId xmlns:a16="http://schemas.microsoft.com/office/drawing/2014/main" id="{55211E89-73EA-AB4A-B91B-08E5B2BA0B34}"/>
                </a:ext>
              </a:extLst>
            </p:cNvPr>
            <p:cNvSpPr>
              <a:spLocks/>
            </p:cNvSpPr>
            <p:nvPr/>
          </p:nvSpPr>
          <p:spPr bwMode="auto">
            <a:xfrm>
              <a:off x="2937723" y="1465672"/>
              <a:ext cx="55820" cy="9928"/>
            </a:xfrm>
            <a:custGeom>
              <a:avLst/>
              <a:gdLst>
                <a:gd name="T0" fmla="*/ 2147483646 w 48"/>
                <a:gd name="T1" fmla="*/ 2147483646 h 10"/>
                <a:gd name="T2" fmla="*/ 0 w 48"/>
                <a:gd name="T3" fmla="*/ 2147483646 h 10"/>
                <a:gd name="T4" fmla="*/ 0 w 48"/>
                <a:gd name="T5" fmla="*/ 2147483646 h 10"/>
                <a:gd name="T6" fmla="*/ 0 w 48"/>
                <a:gd name="T7" fmla="*/ 2147483646 h 10"/>
                <a:gd name="T8" fmla="*/ 0 w 48"/>
                <a:gd name="T9" fmla="*/ 0 h 10"/>
                <a:gd name="T10" fmla="*/ 2147483646 w 48"/>
                <a:gd name="T11" fmla="*/ 0 h 10"/>
                <a:gd name="T12" fmla="*/ 2147483646 w 48"/>
                <a:gd name="T13" fmla="*/ 0 h 10"/>
                <a:gd name="T14" fmla="*/ 2147483646 w 48"/>
                <a:gd name="T15" fmla="*/ 0 h 10"/>
                <a:gd name="T16" fmla="*/ 2147483646 w 48"/>
                <a:gd name="T17" fmla="*/ 2147483646 h 10"/>
                <a:gd name="T18" fmla="*/ 2147483646 w 48"/>
                <a:gd name="T19" fmla="*/ 2147483646 h 10"/>
                <a:gd name="T20" fmla="*/ 2147483646 w 48"/>
                <a:gd name="T21" fmla="*/ 2147483646 h 10"/>
                <a:gd name="T22" fmla="*/ 2147483646 w 48"/>
                <a:gd name="T23" fmla="*/ 2147483646 h 10"/>
                <a:gd name="T24" fmla="*/ 2147483646 w 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0">
                  <a:moveTo>
                    <a:pt x="3" y="10"/>
                  </a:moveTo>
                  <a:lnTo>
                    <a:pt x="0" y="7"/>
                  </a:lnTo>
                  <a:lnTo>
                    <a:pt x="0" y="3"/>
                  </a:lnTo>
                  <a:lnTo>
                    <a:pt x="0" y="0"/>
                  </a:lnTo>
                  <a:lnTo>
                    <a:pt x="3" y="0"/>
                  </a:lnTo>
                  <a:lnTo>
                    <a:pt x="45" y="0"/>
                  </a:lnTo>
                  <a:lnTo>
                    <a:pt x="48" y="0"/>
                  </a:lnTo>
                  <a:lnTo>
                    <a:pt x="48" y="3"/>
                  </a:lnTo>
                  <a:lnTo>
                    <a:pt x="48" y="7"/>
                  </a:lnTo>
                  <a:lnTo>
                    <a:pt x="4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0" name="Freeform 1003">
              <a:extLst>
                <a:ext uri="{FF2B5EF4-FFF2-40B4-BE49-F238E27FC236}">
                  <a16:creationId xmlns:a16="http://schemas.microsoft.com/office/drawing/2014/main" id="{53D720A4-238A-1B4C-A511-CAFBB6D2F9EB}"/>
                </a:ext>
              </a:extLst>
            </p:cNvPr>
            <p:cNvSpPr>
              <a:spLocks/>
            </p:cNvSpPr>
            <p:nvPr/>
          </p:nvSpPr>
          <p:spPr bwMode="auto">
            <a:xfrm>
              <a:off x="2986566" y="1465672"/>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6" y="0"/>
                  </a:lnTo>
                  <a:lnTo>
                    <a:pt x="29" y="0"/>
                  </a:lnTo>
                  <a:lnTo>
                    <a:pt x="29" y="3"/>
                  </a:lnTo>
                  <a:lnTo>
                    <a:pt x="29" y="7"/>
                  </a:lnTo>
                  <a:lnTo>
                    <a:pt x="2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1" name="Freeform 1004">
              <a:extLst>
                <a:ext uri="{FF2B5EF4-FFF2-40B4-BE49-F238E27FC236}">
                  <a16:creationId xmlns:a16="http://schemas.microsoft.com/office/drawing/2014/main" id="{3711C42B-F6CA-2C4D-9D32-17D26EBABE02}"/>
                </a:ext>
              </a:extLst>
            </p:cNvPr>
            <p:cNvSpPr>
              <a:spLocks/>
            </p:cNvSpPr>
            <p:nvPr/>
          </p:nvSpPr>
          <p:spPr bwMode="auto">
            <a:xfrm>
              <a:off x="3013314" y="1465672"/>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2" y="0"/>
                  </a:lnTo>
                  <a:lnTo>
                    <a:pt x="16" y="0"/>
                  </a:lnTo>
                  <a:lnTo>
                    <a:pt x="16" y="3"/>
                  </a:lnTo>
                  <a:lnTo>
                    <a:pt x="16" y="7"/>
                  </a:lnTo>
                  <a:lnTo>
                    <a:pt x="12"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2" name="Freeform 1005">
              <a:extLst>
                <a:ext uri="{FF2B5EF4-FFF2-40B4-BE49-F238E27FC236}">
                  <a16:creationId xmlns:a16="http://schemas.microsoft.com/office/drawing/2014/main" id="{BE7A81F2-14FC-5246-B3D8-0BF055C5B6F8}"/>
                </a:ext>
              </a:extLst>
            </p:cNvPr>
            <p:cNvSpPr>
              <a:spLocks/>
            </p:cNvSpPr>
            <p:nvPr/>
          </p:nvSpPr>
          <p:spPr bwMode="auto">
            <a:xfrm>
              <a:off x="3023779" y="1426951"/>
              <a:ext cx="11629" cy="45671"/>
            </a:xfrm>
            <a:custGeom>
              <a:avLst/>
              <a:gdLst>
                <a:gd name="T0" fmla="*/ 2147483646 w 10"/>
                <a:gd name="T1" fmla="*/ 2147483646 h 46"/>
                <a:gd name="T2" fmla="*/ 2147483646 w 10"/>
                <a:gd name="T3" fmla="*/ 2147483646 h 46"/>
                <a:gd name="T4" fmla="*/ 2147483646 w 10"/>
                <a:gd name="T5" fmla="*/ 2147483646 h 46"/>
                <a:gd name="T6" fmla="*/ 2147483646 w 10"/>
                <a:gd name="T7" fmla="*/ 2147483646 h 46"/>
                <a:gd name="T8" fmla="*/ 0 w 10"/>
                <a:gd name="T9" fmla="*/ 2147483646 h 46"/>
                <a:gd name="T10" fmla="*/ 0 w 10"/>
                <a:gd name="T11" fmla="*/ 2147483646 h 46"/>
                <a:gd name="T12" fmla="*/ 0 w 10"/>
                <a:gd name="T13" fmla="*/ 2147483646 h 46"/>
                <a:gd name="T14" fmla="*/ 0 w 10"/>
                <a:gd name="T15" fmla="*/ 0 h 46"/>
                <a:gd name="T16" fmla="*/ 2147483646 w 10"/>
                <a:gd name="T17" fmla="*/ 0 h 46"/>
                <a:gd name="T18" fmla="*/ 2147483646 w 10"/>
                <a:gd name="T19" fmla="*/ 0 h 46"/>
                <a:gd name="T20" fmla="*/ 2147483646 w 10"/>
                <a:gd name="T21" fmla="*/ 0 h 46"/>
                <a:gd name="T22" fmla="*/ 2147483646 w 10"/>
                <a:gd name="T23" fmla="*/ 2147483646 h 46"/>
                <a:gd name="T24" fmla="*/ 2147483646 w 10"/>
                <a:gd name="T25" fmla="*/ 2147483646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46">
                  <a:moveTo>
                    <a:pt x="10" y="42"/>
                  </a:moveTo>
                  <a:lnTo>
                    <a:pt x="7" y="46"/>
                  </a:lnTo>
                  <a:lnTo>
                    <a:pt x="3" y="46"/>
                  </a:lnTo>
                  <a:lnTo>
                    <a:pt x="0" y="46"/>
                  </a:lnTo>
                  <a:lnTo>
                    <a:pt x="0" y="42"/>
                  </a:lnTo>
                  <a:lnTo>
                    <a:pt x="0" y="4"/>
                  </a:lnTo>
                  <a:lnTo>
                    <a:pt x="0" y="0"/>
                  </a:lnTo>
                  <a:lnTo>
                    <a:pt x="3" y="0"/>
                  </a:lnTo>
                  <a:lnTo>
                    <a:pt x="7" y="0"/>
                  </a:lnTo>
                  <a:lnTo>
                    <a:pt x="10" y="4"/>
                  </a:lnTo>
                  <a:lnTo>
                    <a:pt x="10" y="4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3" name="Freeform 1006">
              <a:extLst>
                <a:ext uri="{FF2B5EF4-FFF2-40B4-BE49-F238E27FC236}">
                  <a16:creationId xmlns:a16="http://schemas.microsoft.com/office/drawing/2014/main" id="{880FCADB-BA16-FE4A-ACCD-54DDF480D9A1}"/>
                </a:ext>
              </a:extLst>
            </p:cNvPr>
            <p:cNvSpPr>
              <a:spLocks/>
            </p:cNvSpPr>
            <p:nvPr/>
          </p:nvSpPr>
          <p:spPr bwMode="auto">
            <a:xfrm>
              <a:off x="3023779" y="1426951"/>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4"/>
                  </a:lnTo>
                  <a:lnTo>
                    <a:pt x="0" y="0"/>
                  </a:lnTo>
                  <a:lnTo>
                    <a:pt x="3" y="0"/>
                  </a:lnTo>
                  <a:lnTo>
                    <a:pt x="23" y="0"/>
                  </a:lnTo>
                  <a:lnTo>
                    <a:pt x="26" y="0"/>
                  </a:lnTo>
                  <a:lnTo>
                    <a:pt x="26" y="4"/>
                  </a:lnTo>
                  <a:lnTo>
                    <a:pt x="26" y="7"/>
                  </a:lnTo>
                  <a:lnTo>
                    <a:pt x="23"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4" name="Freeform 1007">
              <a:extLst>
                <a:ext uri="{FF2B5EF4-FFF2-40B4-BE49-F238E27FC236}">
                  <a16:creationId xmlns:a16="http://schemas.microsoft.com/office/drawing/2014/main" id="{D7DD6C41-A5C2-E540-9177-0E895B938FFA}"/>
                </a:ext>
              </a:extLst>
            </p:cNvPr>
            <p:cNvSpPr>
              <a:spLocks/>
            </p:cNvSpPr>
            <p:nvPr/>
          </p:nvSpPr>
          <p:spPr bwMode="auto">
            <a:xfrm>
              <a:off x="3047038" y="1426951"/>
              <a:ext cx="104663" cy="9928"/>
            </a:xfrm>
            <a:custGeom>
              <a:avLst/>
              <a:gdLst>
                <a:gd name="T0" fmla="*/ 2147483646 w 90"/>
                <a:gd name="T1" fmla="*/ 2147483646 h 10"/>
                <a:gd name="T2" fmla="*/ 0 w 90"/>
                <a:gd name="T3" fmla="*/ 2147483646 h 10"/>
                <a:gd name="T4" fmla="*/ 0 w 90"/>
                <a:gd name="T5" fmla="*/ 2147483646 h 10"/>
                <a:gd name="T6" fmla="*/ 0 w 90"/>
                <a:gd name="T7" fmla="*/ 2147483646 h 10"/>
                <a:gd name="T8" fmla="*/ 0 w 90"/>
                <a:gd name="T9" fmla="*/ 0 h 10"/>
                <a:gd name="T10" fmla="*/ 2147483646 w 90"/>
                <a:gd name="T11" fmla="*/ 0 h 10"/>
                <a:gd name="T12" fmla="*/ 2147483646 w 90"/>
                <a:gd name="T13" fmla="*/ 0 h 10"/>
                <a:gd name="T14" fmla="*/ 2147483646 w 90"/>
                <a:gd name="T15" fmla="*/ 0 h 10"/>
                <a:gd name="T16" fmla="*/ 2147483646 w 90"/>
                <a:gd name="T17" fmla="*/ 2147483646 h 10"/>
                <a:gd name="T18" fmla="*/ 2147483646 w 90"/>
                <a:gd name="T19" fmla="*/ 2147483646 h 10"/>
                <a:gd name="T20" fmla="*/ 2147483646 w 90"/>
                <a:gd name="T21" fmla="*/ 2147483646 h 10"/>
                <a:gd name="T22" fmla="*/ 2147483646 w 90"/>
                <a:gd name="T23" fmla="*/ 2147483646 h 10"/>
                <a:gd name="T24" fmla="*/ 2147483646 w 9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
                  <a:moveTo>
                    <a:pt x="3" y="10"/>
                  </a:moveTo>
                  <a:lnTo>
                    <a:pt x="0" y="7"/>
                  </a:lnTo>
                  <a:lnTo>
                    <a:pt x="0" y="4"/>
                  </a:lnTo>
                  <a:lnTo>
                    <a:pt x="0" y="0"/>
                  </a:lnTo>
                  <a:lnTo>
                    <a:pt x="3" y="0"/>
                  </a:lnTo>
                  <a:lnTo>
                    <a:pt x="87" y="0"/>
                  </a:lnTo>
                  <a:lnTo>
                    <a:pt x="90" y="0"/>
                  </a:lnTo>
                  <a:lnTo>
                    <a:pt x="90" y="4"/>
                  </a:lnTo>
                  <a:lnTo>
                    <a:pt x="90" y="7"/>
                  </a:lnTo>
                  <a:lnTo>
                    <a:pt x="8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5" name="Freeform 1008">
              <a:extLst>
                <a:ext uri="{FF2B5EF4-FFF2-40B4-BE49-F238E27FC236}">
                  <a16:creationId xmlns:a16="http://schemas.microsoft.com/office/drawing/2014/main" id="{746A2413-65E5-6049-B6CF-5C53E9F71F68}"/>
                </a:ext>
              </a:extLst>
            </p:cNvPr>
            <p:cNvSpPr>
              <a:spLocks/>
            </p:cNvSpPr>
            <p:nvPr/>
          </p:nvSpPr>
          <p:spPr bwMode="auto">
            <a:xfrm>
              <a:off x="3143561" y="1426951"/>
              <a:ext cx="82568" cy="9928"/>
            </a:xfrm>
            <a:custGeom>
              <a:avLst/>
              <a:gdLst>
                <a:gd name="T0" fmla="*/ 2147483646 w 71"/>
                <a:gd name="T1" fmla="*/ 2147483646 h 10"/>
                <a:gd name="T2" fmla="*/ 0 w 71"/>
                <a:gd name="T3" fmla="*/ 2147483646 h 10"/>
                <a:gd name="T4" fmla="*/ 0 w 71"/>
                <a:gd name="T5" fmla="*/ 2147483646 h 10"/>
                <a:gd name="T6" fmla="*/ 0 w 71"/>
                <a:gd name="T7" fmla="*/ 2147483646 h 10"/>
                <a:gd name="T8" fmla="*/ 0 w 71"/>
                <a:gd name="T9" fmla="*/ 0 h 10"/>
                <a:gd name="T10" fmla="*/ 2147483646 w 71"/>
                <a:gd name="T11" fmla="*/ 0 h 10"/>
                <a:gd name="T12" fmla="*/ 2147483646 w 71"/>
                <a:gd name="T13" fmla="*/ 0 h 10"/>
                <a:gd name="T14" fmla="*/ 2147483646 w 71"/>
                <a:gd name="T15" fmla="*/ 0 h 10"/>
                <a:gd name="T16" fmla="*/ 2147483646 w 71"/>
                <a:gd name="T17" fmla="*/ 2147483646 h 10"/>
                <a:gd name="T18" fmla="*/ 2147483646 w 71"/>
                <a:gd name="T19" fmla="*/ 2147483646 h 10"/>
                <a:gd name="T20" fmla="*/ 2147483646 w 71"/>
                <a:gd name="T21" fmla="*/ 2147483646 h 10"/>
                <a:gd name="T22" fmla="*/ 2147483646 w 71"/>
                <a:gd name="T23" fmla="*/ 2147483646 h 10"/>
                <a:gd name="T24" fmla="*/ 2147483646 w 7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 h="10">
                  <a:moveTo>
                    <a:pt x="4" y="10"/>
                  </a:moveTo>
                  <a:lnTo>
                    <a:pt x="0" y="7"/>
                  </a:lnTo>
                  <a:lnTo>
                    <a:pt x="0" y="4"/>
                  </a:lnTo>
                  <a:lnTo>
                    <a:pt x="0" y="0"/>
                  </a:lnTo>
                  <a:lnTo>
                    <a:pt x="4" y="0"/>
                  </a:lnTo>
                  <a:lnTo>
                    <a:pt x="68" y="0"/>
                  </a:lnTo>
                  <a:lnTo>
                    <a:pt x="71" y="0"/>
                  </a:lnTo>
                  <a:lnTo>
                    <a:pt x="71" y="4"/>
                  </a:lnTo>
                  <a:lnTo>
                    <a:pt x="71" y="7"/>
                  </a:lnTo>
                  <a:lnTo>
                    <a:pt x="68"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6" name="Freeform 1010">
              <a:extLst>
                <a:ext uri="{FF2B5EF4-FFF2-40B4-BE49-F238E27FC236}">
                  <a16:creationId xmlns:a16="http://schemas.microsoft.com/office/drawing/2014/main" id="{ADB9A8E5-DDB8-9249-872F-D30D221746DE}"/>
                </a:ext>
              </a:extLst>
            </p:cNvPr>
            <p:cNvSpPr>
              <a:spLocks/>
            </p:cNvSpPr>
            <p:nvPr/>
          </p:nvSpPr>
          <p:spPr bwMode="auto">
            <a:xfrm>
              <a:off x="3219150" y="1382272"/>
              <a:ext cx="10467" cy="51628"/>
            </a:xfrm>
            <a:custGeom>
              <a:avLst/>
              <a:gdLst>
                <a:gd name="T0" fmla="*/ 2147483646 w 9"/>
                <a:gd name="T1" fmla="*/ 2147483646 h 52"/>
                <a:gd name="T2" fmla="*/ 2147483646 w 9"/>
                <a:gd name="T3" fmla="*/ 2147483646 h 52"/>
                <a:gd name="T4" fmla="*/ 2147483646 w 9"/>
                <a:gd name="T5" fmla="*/ 2147483646 h 52"/>
                <a:gd name="T6" fmla="*/ 2147483646 w 9"/>
                <a:gd name="T7" fmla="*/ 2147483646 h 52"/>
                <a:gd name="T8" fmla="*/ 0 w 9"/>
                <a:gd name="T9" fmla="*/ 2147483646 h 52"/>
                <a:gd name="T10" fmla="*/ 0 w 9"/>
                <a:gd name="T11" fmla="*/ 2147483646 h 52"/>
                <a:gd name="T12" fmla="*/ 0 w 9"/>
                <a:gd name="T13" fmla="*/ 2147483646 h 52"/>
                <a:gd name="T14" fmla="*/ 0 w 9"/>
                <a:gd name="T15" fmla="*/ 0 h 52"/>
                <a:gd name="T16" fmla="*/ 2147483646 w 9"/>
                <a:gd name="T17" fmla="*/ 0 h 52"/>
                <a:gd name="T18" fmla="*/ 2147483646 w 9"/>
                <a:gd name="T19" fmla="*/ 0 h 52"/>
                <a:gd name="T20" fmla="*/ 2147483646 w 9"/>
                <a:gd name="T21" fmla="*/ 0 h 52"/>
                <a:gd name="T22" fmla="*/ 2147483646 w 9"/>
                <a:gd name="T23" fmla="*/ 2147483646 h 52"/>
                <a:gd name="T24" fmla="*/ 2147483646 w 9"/>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52">
                  <a:moveTo>
                    <a:pt x="9" y="49"/>
                  </a:moveTo>
                  <a:lnTo>
                    <a:pt x="6" y="52"/>
                  </a:lnTo>
                  <a:lnTo>
                    <a:pt x="3" y="52"/>
                  </a:lnTo>
                  <a:lnTo>
                    <a:pt x="0" y="52"/>
                  </a:lnTo>
                  <a:lnTo>
                    <a:pt x="0" y="49"/>
                  </a:lnTo>
                  <a:lnTo>
                    <a:pt x="0" y="3"/>
                  </a:lnTo>
                  <a:lnTo>
                    <a:pt x="0" y="0"/>
                  </a:lnTo>
                  <a:lnTo>
                    <a:pt x="3" y="0"/>
                  </a:lnTo>
                  <a:lnTo>
                    <a:pt x="6" y="0"/>
                  </a:lnTo>
                  <a:lnTo>
                    <a:pt x="9" y="3"/>
                  </a:lnTo>
                  <a:lnTo>
                    <a:pt x="9" y="4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7" name="Freeform 1011">
              <a:extLst>
                <a:ext uri="{FF2B5EF4-FFF2-40B4-BE49-F238E27FC236}">
                  <a16:creationId xmlns:a16="http://schemas.microsoft.com/office/drawing/2014/main" id="{A20842EF-07E8-CB4A-BB90-8B5DC98802A7}"/>
                </a:ext>
              </a:extLst>
            </p:cNvPr>
            <p:cNvSpPr>
              <a:spLocks/>
            </p:cNvSpPr>
            <p:nvPr/>
          </p:nvSpPr>
          <p:spPr bwMode="auto">
            <a:xfrm>
              <a:off x="3219150" y="1382272"/>
              <a:ext cx="67449" cy="9928"/>
            </a:xfrm>
            <a:custGeom>
              <a:avLst/>
              <a:gdLst>
                <a:gd name="T0" fmla="*/ 2147483646 w 58"/>
                <a:gd name="T1" fmla="*/ 2147483646 h 10"/>
                <a:gd name="T2" fmla="*/ 0 w 58"/>
                <a:gd name="T3" fmla="*/ 2147483646 h 10"/>
                <a:gd name="T4" fmla="*/ 0 w 58"/>
                <a:gd name="T5" fmla="*/ 2147483646 h 10"/>
                <a:gd name="T6" fmla="*/ 0 w 58"/>
                <a:gd name="T7" fmla="*/ 2147483646 h 10"/>
                <a:gd name="T8" fmla="*/ 0 w 58"/>
                <a:gd name="T9" fmla="*/ 0 h 10"/>
                <a:gd name="T10" fmla="*/ 2147483646 w 58"/>
                <a:gd name="T11" fmla="*/ 0 h 10"/>
                <a:gd name="T12" fmla="*/ 2147483646 w 58"/>
                <a:gd name="T13" fmla="*/ 0 h 10"/>
                <a:gd name="T14" fmla="*/ 2147483646 w 58"/>
                <a:gd name="T15" fmla="*/ 0 h 10"/>
                <a:gd name="T16" fmla="*/ 2147483646 w 58"/>
                <a:gd name="T17" fmla="*/ 2147483646 h 10"/>
                <a:gd name="T18" fmla="*/ 2147483646 w 58"/>
                <a:gd name="T19" fmla="*/ 2147483646 h 10"/>
                <a:gd name="T20" fmla="*/ 2147483646 w 58"/>
                <a:gd name="T21" fmla="*/ 2147483646 h 10"/>
                <a:gd name="T22" fmla="*/ 2147483646 w 58"/>
                <a:gd name="T23" fmla="*/ 2147483646 h 10"/>
                <a:gd name="T24" fmla="*/ 2147483646 w 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10">
                  <a:moveTo>
                    <a:pt x="3" y="10"/>
                  </a:moveTo>
                  <a:lnTo>
                    <a:pt x="0" y="7"/>
                  </a:lnTo>
                  <a:lnTo>
                    <a:pt x="0" y="3"/>
                  </a:lnTo>
                  <a:lnTo>
                    <a:pt x="0" y="0"/>
                  </a:lnTo>
                  <a:lnTo>
                    <a:pt x="3" y="0"/>
                  </a:lnTo>
                  <a:lnTo>
                    <a:pt x="55" y="0"/>
                  </a:lnTo>
                  <a:lnTo>
                    <a:pt x="58" y="0"/>
                  </a:lnTo>
                  <a:lnTo>
                    <a:pt x="58" y="3"/>
                  </a:lnTo>
                  <a:lnTo>
                    <a:pt x="58" y="7"/>
                  </a:lnTo>
                  <a:lnTo>
                    <a:pt x="5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8" name="Freeform 1012">
              <a:extLst>
                <a:ext uri="{FF2B5EF4-FFF2-40B4-BE49-F238E27FC236}">
                  <a16:creationId xmlns:a16="http://schemas.microsoft.com/office/drawing/2014/main" id="{476F32DB-E0B3-9F4E-97B7-67844090D464}"/>
                </a:ext>
              </a:extLst>
            </p:cNvPr>
            <p:cNvSpPr>
              <a:spLocks/>
            </p:cNvSpPr>
            <p:nvPr/>
          </p:nvSpPr>
          <p:spPr bwMode="auto">
            <a:xfrm>
              <a:off x="3278460" y="1382272"/>
              <a:ext cx="97685" cy="9928"/>
            </a:xfrm>
            <a:custGeom>
              <a:avLst/>
              <a:gdLst>
                <a:gd name="T0" fmla="*/ 2147483646 w 84"/>
                <a:gd name="T1" fmla="*/ 2147483646 h 10"/>
                <a:gd name="T2" fmla="*/ 0 w 84"/>
                <a:gd name="T3" fmla="*/ 2147483646 h 10"/>
                <a:gd name="T4" fmla="*/ 0 w 84"/>
                <a:gd name="T5" fmla="*/ 2147483646 h 10"/>
                <a:gd name="T6" fmla="*/ 0 w 84"/>
                <a:gd name="T7" fmla="*/ 2147483646 h 10"/>
                <a:gd name="T8" fmla="*/ 0 w 84"/>
                <a:gd name="T9" fmla="*/ 0 h 10"/>
                <a:gd name="T10" fmla="*/ 2147483646 w 84"/>
                <a:gd name="T11" fmla="*/ 0 h 10"/>
                <a:gd name="T12" fmla="*/ 2147483646 w 84"/>
                <a:gd name="T13" fmla="*/ 0 h 10"/>
                <a:gd name="T14" fmla="*/ 2147483646 w 84"/>
                <a:gd name="T15" fmla="*/ 0 h 10"/>
                <a:gd name="T16" fmla="*/ 2147483646 w 84"/>
                <a:gd name="T17" fmla="*/ 2147483646 h 10"/>
                <a:gd name="T18" fmla="*/ 2147483646 w 84"/>
                <a:gd name="T19" fmla="*/ 2147483646 h 10"/>
                <a:gd name="T20" fmla="*/ 2147483646 w 84"/>
                <a:gd name="T21" fmla="*/ 2147483646 h 10"/>
                <a:gd name="T22" fmla="*/ 2147483646 w 84"/>
                <a:gd name="T23" fmla="*/ 2147483646 h 10"/>
                <a:gd name="T24" fmla="*/ 2147483646 w 8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 h="10">
                  <a:moveTo>
                    <a:pt x="4" y="10"/>
                  </a:moveTo>
                  <a:lnTo>
                    <a:pt x="0" y="7"/>
                  </a:lnTo>
                  <a:lnTo>
                    <a:pt x="0" y="3"/>
                  </a:lnTo>
                  <a:lnTo>
                    <a:pt x="0" y="0"/>
                  </a:lnTo>
                  <a:lnTo>
                    <a:pt x="4" y="0"/>
                  </a:lnTo>
                  <a:lnTo>
                    <a:pt x="81" y="0"/>
                  </a:lnTo>
                  <a:lnTo>
                    <a:pt x="84" y="0"/>
                  </a:lnTo>
                  <a:lnTo>
                    <a:pt x="84" y="3"/>
                  </a:lnTo>
                  <a:lnTo>
                    <a:pt x="84" y="7"/>
                  </a:lnTo>
                  <a:lnTo>
                    <a:pt x="81"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69" name="Freeform 1013">
              <a:extLst>
                <a:ext uri="{FF2B5EF4-FFF2-40B4-BE49-F238E27FC236}">
                  <a16:creationId xmlns:a16="http://schemas.microsoft.com/office/drawing/2014/main" id="{28F086E2-AF98-E648-B1BD-5AFD47CFDE20}"/>
                </a:ext>
              </a:extLst>
            </p:cNvPr>
            <p:cNvSpPr>
              <a:spLocks/>
            </p:cNvSpPr>
            <p:nvPr/>
          </p:nvSpPr>
          <p:spPr bwMode="auto">
            <a:xfrm>
              <a:off x="3369168" y="1382272"/>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5" y="0"/>
                  </a:lnTo>
                  <a:lnTo>
                    <a:pt x="29" y="0"/>
                  </a:lnTo>
                  <a:lnTo>
                    <a:pt x="29" y="3"/>
                  </a:lnTo>
                  <a:lnTo>
                    <a:pt x="29" y="7"/>
                  </a:lnTo>
                  <a:lnTo>
                    <a:pt x="25"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0" name="Freeform 1014">
              <a:extLst>
                <a:ext uri="{FF2B5EF4-FFF2-40B4-BE49-F238E27FC236}">
                  <a16:creationId xmlns:a16="http://schemas.microsoft.com/office/drawing/2014/main" id="{8971BF5E-DBF2-C948-A0F0-1E767AC0E02C}"/>
                </a:ext>
              </a:extLst>
            </p:cNvPr>
            <p:cNvSpPr>
              <a:spLocks/>
            </p:cNvSpPr>
            <p:nvPr/>
          </p:nvSpPr>
          <p:spPr bwMode="auto">
            <a:xfrm>
              <a:off x="3394752" y="1324687"/>
              <a:ext cx="11629" cy="64535"/>
            </a:xfrm>
            <a:custGeom>
              <a:avLst/>
              <a:gdLst>
                <a:gd name="T0" fmla="*/ 2147483646 w 10"/>
                <a:gd name="T1" fmla="*/ 2147483646 h 65"/>
                <a:gd name="T2" fmla="*/ 2147483646 w 10"/>
                <a:gd name="T3" fmla="*/ 2147483646 h 65"/>
                <a:gd name="T4" fmla="*/ 2147483646 w 10"/>
                <a:gd name="T5" fmla="*/ 2147483646 h 65"/>
                <a:gd name="T6" fmla="*/ 2147483646 w 10"/>
                <a:gd name="T7" fmla="*/ 2147483646 h 65"/>
                <a:gd name="T8" fmla="*/ 0 w 10"/>
                <a:gd name="T9" fmla="*/ 2147483646 h 65"/>
                <a:gd name="T10" fmla="*/ 0 w 10"/>
                <a:gd name="T11" fmla="*/ 2147483646 h 65"/>
                <a:gd name="T12" fmla="*/ 0 w 10"/>
                <a:gd name="T13" fmla="*/ 2147483646 h 65"/>
                <a:gd name="T14" fmla="*/ 0 w 10"/>
                <a:gd name="T15" fmla="*/ 0 h 65"/>
                <a:gd name="T16" fmla="*/ 2147483646 w 10"/>
                <a:gd name="T17" fmla="*/ 0 h 65"/>
                <a:gd name="T18" fmla="*/ 2147483646 w 10"/>
                <a:gd name="T19" fmla="*/ 0 h 65"/>
                <a:gd name="T20" fmla="*/ 2147483646 w 10"/>
                <a:gd name="T21" fmla="*/ 0 h 65"/>
                <a:gd name="T22" fmla="*/ 2147483646 w 10"/>
                <a:gd name="T23" fmla="*/ 2147483646 h 65"/>
                <a:gd name="T24" fmla="*/ 2147483646 w 10"/>
                <a:gd name="T25" fmla="*/ 2147483646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65">
                  <a:moveTo>
                    <a:pt x="10" y="61"/>
                  </a:moveTo>
                  <a:lnTo>
                    <a:pt x="7" y="65"/>
                  </a:lnTo>
                  <a:lnTo>
                    <a:pt x="3" y="65"/>
                  </a:lnTo>
                  <a:lnTo>
                    <a:pt x="0" y="65"/>
                  </a:lnTo>
                  <a:lnTo>
                    <a:pt x="0" y="61"/>
                  </a:lnTo>
                  <a:lnTo>
                    <a:pt x="0" y="3"/>
                  </a:lnTo>
                  <a:lnTo>
                    <a:pt x="0" y="0"/>
                  </a:lnTo>
                  <a:lnTo>
                    <a:pt x="3" y="0"/>
                  </a:lnTo>
                  <a:lnTo>
                    <a:pt x="7" y="0"/>
                  </a:lnTo>
                  <a:lnTo>
                    <a:pt x="10" y="3"/>
                  </a:lnTo>
                  <a:lnTo>
                    <a:pt x="10" y="6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1" name="Freeform 1015">
              <a:extLst>
                <a:ext uri="{FF2B5EF4-FFF2-40B4-BE49-F238E27FC236}">
                  <a16:creationId xmlns:a16="http://schemas.microsoft.com/office/drawing/2014/main" id="{E1E407C5-BF01-2343-84B3-43F19AEDA3BA}"/>
                </a:ext>
              </a:extLst>
            </p:cNvPr>
            <p:cNvSpPr>
              <a:spLocks/>
            </p:cNvSpPr>
            <p:nvPr/>
          </p:nvSpPr>
          <p:spPr bwMode="auto">
            <a:xfrm>
              <a:off x="3394752" y="1324687"/>
              <a:ext cx="131411" cy="9928"/>
            </a:xfrm>
            <a:custGeom>
              <a:avLst/>
              <a:gdLst>
                <a:gd name="T0" fmla="*/ 2147483646 w 113"/>
                <a:gd name="T1" fmla="*/ 2147483646 h 10"/>
                <a:gd name="T2" fmla="*/ 0 w 113"/>
                <a:gd name="T3" fmla="*/ 2147483646 h 10"/>
                <a:gd name="T4" fmla="*/ 0 w 113"/>
                <a:gd name="T5" fmla="*/ 2147483646 h 10"/>
                <a:gd name="T6" fmla="*/ 0 w 113"/>
                <a:gd name="T7" fmla="*/ 2147483646 h 10"/>
                <a:gd name="T8" fmla="*/ 0 w 113"/>
                <a:gd name="T9" fmla="*/ 0 h 10"/>
                <a:gd name="T10" fmla="*/ 2147483646 w 113"/>
                <a:gd name="T11" fmla="*/ 0 h 10"/>
                <a:gd name="T12" fmla="*/ 2147483646 w 113"/>
                <a:gd name="T13" fmla="*/ 0 h 10"/>
                <a:gd name="T14" fmla="*/ 2147483646 w 113"/>
                <a:gd name="T15" fmla="*/ 0 h 10"/>
                <a:gd name="T16" fmla="*/ 2147483646 w 113"/>
                <a:gd name="T17" fmla="*/ 2147483646 h 10"/>
                <a:gd name="T18" fmla="*/ 2147483646 w 113"/>
                <a:gd name="T19" fmla="*/ 2147483646 h 10"/>
                <a:gd name="T20" fmla="*/ 2147483646 w 113"/>
                <a:gd name="T21" fmla="*/ 2147483646 h 10"/>
                <a:gd name="T22" fmla="*/ 2147483646 w 113"/>
                <a:gd name="T23" fmla="*/ 2147483646 h 10"/>
                <a:gd name="T24" fmla="*/ 2147483646 w 1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3" h="10">
                  <a:moveTo>
                    <a:pt x="3" y="10"/>
                  </a:moveTo>
                  <a:lnTo>
                    <a:pt x="0" y="7"/>
                  </a:lnTo>
                  <a:lnTo>
                    <a:pt x="0" y="3"/>
                  </a:lnTo>
                  <a:lnTo>
                    <a:pt x="0" y="0"/>
                  </a:lnTo>
                  <a:lnTo>
                    <a:pt x="3" y="0"/>
                  </a:lnTo>
                  <a:lnTo>
                    <a:pt x="110" y="0"/>
                  </a:lnTo>
                  <a:lnTo>
                    <a:pt x="113" y="0"/>
                  </a:lnTo>
                  <a:lnTo>
                    <a:pt x="113" y="3"/>
                  </a:lnTo>
                  <a:lnTo>
                    <a:pt x="113" y="7"/>
                  </a:lnTo>
                  <a:lnTo>
                    <a:pt x="11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2" name="Freeform 1016">
              <a:extLst>
                <a:ext uri="{FF2B5EF4-FFF2-40B4-BE49-F238E27FC236}">
                  <a16:creationId xmlns:a16="http://schemas.microsoft.com/office/drawing/2014/main" id="{862BCFD0-F520-B545-8764-1BFC1D4D35D2}"/>
                </a:ext>
              </a:extLst>
            </p:cNvPr>
            <p:cNvSpPr>
              <a:spLocks/>
            </p:cNvSpPr>
            <p:nvPr/>
          </p:nvSpPr>
          <p:spPr bwMode="auto">
            <a:xfrm>
              <a:off x="3519184" y="1324687"/>
              <a:ext cx="183742" cy="9928"/>
            </a:xfrm>
            <a:custGeom>
              <a:avLst/>
              <a:gdLst>
                <a:gd name="T0" fmla="*/ 2147483646 w 158"/>
                <a:gd name="T1" fmla="*/ 2147483646 h 10"/>
                <a:gd name="T2" fmla="*/ 0 w 158"/>
                <a:gd name="T3" fmla="*/ 2147483646 h 10"/>
                <a:gd name="T4" fmla="*/ 0 w 158"/>
                <a:gd name="T5" fmla="*/ 2147483646 h 10"/>
                <a:gd name="T6" fmla="*/ 0 w 158"/>
                <a:gd name="T7" fmla="*/ 2147483646 h 10"/>
                <a:gd name="T8" fmla="*/ 0 w 158"/>
                <a:gd name="T9" fmla="*/ 0 h 10"/>
                <a:gd name="T10" fmla="*/ 2147483646 w 158"/>
                <a:gd name="T11" fmla="*/ 0 h 10"/>
                <a:gd name="T12" fmla="*/ 2147483646 w 158"/>
                <a:gd name="T13" fmla="*/ 0 h 10"/>
                <a:gd name="T14" fmla="*/ 2147483646 w 158"/>
                <a:gd name="T15" fmla="*/ 0 h 10"/>
                <a:gd name="T16" fmla="*/ 2147483646 w 158"/>
                <a:gd name="T17" fmla="*/ 2147483646 h 10"/>
                <a:gd name="T18" fmla="*/ 2147483646 w 158"/>
                <a:gd name="T19" fmla="*/ 2147483646 h 10"/>
                <a:gd name="T20" fmla="*/ 2147483646 w 158"/>
                <a:gd name="T21" fmla="*/ 2147483646 h 10"/>
                <a:gd name="T22" fmla="*/ 2147483646 w 158"/>
                <a:gd name="T23" fmla="*/ 2147483646 h 10"/>
                <a:gd name="T24" fmla="*/ 2147483646 w 1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8" h="10">
                  <a:moveTo>
                    <a:pt x="3" y="10"/>
                  </a:moveTo>
                  <a:lnTo>
                    <a:pt x="0" y="7"/>
                  </a:lnTo>
                  <a:lnTo>
                    <a:pt x="0" y="3"/>
                  </a:lnTo>
                  <a:lnTo>
                    <a:pt x="0" y="0"/>
                  </a:lnTo>
                  <a:lnTo>
                    <a:pt x="3" y="0"/>
                  </a:lnTo>
                  <a:lnTo>
                    <a:pt x="154" y="0"/>
                  </a:lnTo>
                  <a:lnTo>
                    <a:pt x="158" y="0"/>
                  </a:lnTo>
                  <a:lnTo>
                    <a:pt x="158" y="3"/>
                  </a:lnTo>
                  <a:lnTo>
                    <a:pt x="158" y="7"/>
                  </a:lnTo>
                  <a:lnTo>
                    <a:pt x="154"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3" name="Freeform 1017">
              <a:extLst>
                <a:ext uri="{FF2B5EF4-FFF2-40B4-BE49-F238E27FC236}">
                  <a16:creationId xmlns:a16="http://schemas.microsoft.com/office/drawing/2014/main" id="{7F385599-C7BD-5F41-BD6D-7612AC0C6675}"/>
                </a:ext>
              </a:extLst>
            </p:cNvPr>
            <p:cNvSpPr>
              <a:spLocks/>
            </p:cNvSpPr>
            <p:nvPr/>
          </p:nvSpPr>
          <p:spPr bwMode="auto">
            <a:xfrm>
              <a:off x="3694786" y="1324687"/>
              <a:ext cx="94197" cy="9928"/>
            </a:xfrm>
            <a:custGeom>
              <a:avLst/>
              <a:gdLst>
                <a:gd name="T0" fmla="*/ 2147483646 w 81"/>
                <a:gd name="T1" fmla="*/ 2147483646 h 10"/>
                <a:gd name="T2" fmla="*/ 0 w 81"/>
                <a:gd name="T3" fmla="*/ 2147483646 h 10"/>
                <a:gd name="T4" fmla="*/ 0 w 81"/>
                <a:gd name="T5" fmla="*/ 2147483646 h 10"/>
                <a:gd name="T6" fmla="*/ 0 w 81"/>
                <a:gd name="T7" fmla="*/ 2147483646 h 10"/>
                <a:gd name="T8" fmla="*/ 0 w 81"/>
                <a:gd name="T9" fmla="*/ 0 h 10"/>
                <a:gd name="T10" fmla="*/ 2147483646 w 81"/>
                <a:gd name="T11" fmla="*/ 0 h 10"/>
                <a:gd name="T12" fmla="*/ 2147483646 w 81"/>
                <a:gd name="T13" fmla="*/ 0 h 10"/>
                <a:gd name="T14" fmla="*/ 2147483646 w 81"/>
                <a:gd name="T15" fmla="*/ 0 h 10"/>
                <a:gd name="T16" fmla="*/ 2147483646 w 81"/>
                <a:gd name="T17" fmla="*/ 2147483646 h 10"/>
                <a:gd name="T18" fmla="*/ 2147483646 w 81"/>
                <a:gd name="T19" fmla="*/ 2147483646 h 10"/>
                <a:gd name="T20" fmla="*/ 2147483646 w 81"/>
                <a:gd name="T21" fmla="*/ 2147483646 h 10"/>
                <a:gd name="T22" fmla="*/ 2147483646 w 81"/>
                <a:gd name="T23" fmla="*/ 2147483646 h 10"/>
                <a:gd name="T24" fmla="*/ 2147483646 w 81"/>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1" h="10">
                  <a:moveTo>
                    <a:pt x="3" y="10"/>
                  </a:moveTo>
                  <a:lnTo>
                    <a:pt x="0" y="7"/>
                  </a:lnTo>
                  <a:lnTo>
                    <a:pt x="0" y="3"/>
                  </a:lnTo>
                  <a:lnTo>
                    <a:pt x="0" y="0"/>
                  </a:lnTo>
                  <a:lnTo>
                    <a:pt x="3" y="0"/>
                  </a:lnTo>
                  <a:lnTo>
                    <a:pt x="77" y="0"/>
                  </a:lnTo>
                  <a:lnTo>
                    <a:pt x="81" y="0"/>
                  </a:lnTo>
                  <a:lnTo>
                    <a:pt x="81" y="3"/>
                  </a:lnTo>
                  <a:lnTo>
                    <a:pt x="81" y="7"/>
                  </a:lnTo>
                  <a:lnTo>
                    <a:pt x="77"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4" name="Freeform 1018">
              <a:extLst>
                <a:ext uri="{FF2B5EF4-FFF2-40B4-BE49-F238E27FC236}">
                  <a16:creationId xmlns:a16="http://schemas.microsoft.com/office/drawing/2014/main" id="{867E1DD1-03BA-774E-9F21-E4667A4AA3DA}"/>
                </a:ext>
              </a:extLst>
            </p:cNvPr>
            <p:cNvSpPr>
              <a:spLocks/>
            </p:cNvSpPr>
            <p:nvPr/>
          </p:nvSpPr>
          <p:spPr bwMode="auto">
            <a:xfrm>
              <a:off x="3780842" y="1324687"/>
              <a:ext cx="109315" cy="9928"/>
            </a:xfrm>
            <a:custGeom>
              <a:avLst/>
              <a:gdLst>
                <a:gd name="T0" fmla="*/ 2147483646 w 94"/>
                <a:gd name="T1" fmla="*/ 2147483646 h 10"/>
                <a:gd name="T2" fmla="*/ 0 w 94"/>
                <a:gd name="T3" fmla="*/ 2147483646 h 10"/>
                <a:gd name="T4" fmla="*/ 0 w 94"/>
                <a:gd name="T5" fmla="*/ 2147483646 h 10"/>
                <a:gd name="T6" fmla="*/ 0 w 94"/>
                <a:gd name="T7" fmla="*/ 2147483646 h 10"/>
                <a:gd name="T8" fmla="*/ 0 w 94"/>
                <a:gd name="T9" fmla="*/ 0 h 10"/>
                <a:gd name="T10" fmla="*/ 2147483646 w 94"/>
                <a:gd name="T11" fmla="*/ 0 h 10"/>
                <a:gd name="T12" fmla="*/ 2147483646 w 94"/>
                <a:gd name="T13" fmla="*/ 0 h 10"/>
                <a:gd name="T14" fmla="*/ 2147483646 w 94"/>
                <a:gd name="T15" fmla="*/ 0 h 10"/>
                <a:gd name="T16" fmla="*/ 2147483646 w 94"/>
                <a:gd name="T17" fmla="*/ 2147483646 h 10"/>
                <a:gd name="T18" fmla="*/ 2147483646 w 94"/>
                <a:gd name="T19" fmla="*/ 2147483646 h 10"/>
                <a:gd name="T20" fmla="*/ 2147483646 w 94"/>
                <a:gd name="T21" fmla="*/ 2147483646 h 10"/>
                <a:gd name="T22" fmla="*/ 2147483646 w 94"/>
                <a:gd name="T23" fmla="*/ 2147483646 h 10"/>
                <a:gd name="T24" fmla="*/ 2147483646 w 9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4" h="10">
                  <a:moveTo>
                    <a:pt x="3" y="10"/>
                  </a:moveTo>
                  <a:lnTo>
                    <a:pt x="0" y="7"/>
                  </a:lnTo>
                  <a:lnTo>
                    <a:pt x="0" y="3"/>
                  </a:lnTo>
                  <a:lnTo>
                    <a:pt x="0" y="0"/>
                  </a:lnTo>
                  <a:lnTo>
                    <a:pt x="3" y="0"/>
                  </a:lnTo>
                  <a:lnTo>
                    <a:pt x="90" y="0"/>
                  </a:lnTo>
                  <a:lnTo>
                    <a:pt x="94" y="0"/>
                  </a:lnTo>
                  <a:lnTo>
                    <a:pt x="94" y="3"/>
                  </a:lnTo>
                  <a:lnTo>
                    <a:pt x="94" y="7"/>
                  </a:lnTo>
                  <a:lnTo>
                    <a:pt x="90"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5" name="Freeform 1019">
              <a:extLst>
                <a:ext uri="{FF2B5EF4-FFF2-40B4-BE49-F238E27FC236}">
                  <a16:creationId xmlns:a16="http://schemas.microsoft.com/office/drawing/2014/main" id="{93D5E2E3-4996-9A46-8B0A-A98E52C0E01F}"/>
                </a:ext>
              </a:extLst>
            </p:cNvPr>
            <p:cNvSpPr>
              <a:spLocks/>
            </p:cNvSpPr>
            <p:nvPr/>
          </p:nvSpPr>
          <p:spPr bwMode="auto">
            <a:xfrm>
              <a:off x="3882016" y="1324687"/>
              <a:ext cx="138388" cy="9928"/>
            </a:xfrm>
            <a:custGeom>
              <a:avLst/>
              <a:gdLst>
                <a:gd name="T0" fmla="*/ 2147483646 w 119"/>
                <a:gd name="T1" fmla="*/ 2147483646 h 10"/>
                <a:gd name="T2" fmla="*/ 0 w 119"/>
                <a:gd name="T3" fmla="*/ 2147483646 h 10"/>
                <a:gd name="T4" fmla="*/ 0 w 119"/>
                <a:gd name="T5" fmla="*/ 2147483646 h 10"/>
                <a:gd name="T6" fmla="*/ 0 w 119"/>
                <a:gd name="T7" fmla="*/ 2147483646 h 10"/>
                <a:gd name="T8" fmla="*/ 0 w 119"/>
                <a:gd name="T9" fmla="*/ 0 h 10"/>
                <a:gd name="T10" fmla="*/ 2147483646 w 119"/>
                <a:gd name="T11" fmla="*/ 0 h 10"/>
                <a:gd name="T12" fmla="*/ 2147483646 w 119"/>
                <a:gd name="T13" fmla="*/ 0 h 10"/>
                <a:gd name="T14" fmla="*/ 2147483646 w 119"/>
                <a:gd name="T15" fmla="*/ 0 h 10"/>
                <a:gd name="T16" fmla="*/ 2147483646 w 119"/>
                <a:gd name="T17" fmla="*/ 2147483646 h 10"/>
                <a:gd name="T18" fmla="*/ 2147483646 w 119"/>
                <a:gd name="T19" fmla="*/ 2147483646 h 10"/>
                <a:gd name="T20" fmla="*/ 2147483646 w 119"/>
                <a:gd name="T21" fmla="*/ 2147483646 h 10"/>
                <a:gd name="T22" fmla="*/ 2147483646 w 119"/>
                <a:gd name="T23" fmla="*/ 2147483646 h 10"/>
                <a:gd name="T24" fmla="*/ 2147483646 w 1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9" h="10">
                  <a:moveTo>
                    <a:pt x="3" y="10"/>
                  </a:moveTo>
                  <a:lnTo>
                    <a:pt x="0" y="7"/>
                  </a:lnTo>
                  <a:lnTo>
                    <a:pt x="0" y="3"/>
                  </a:lnTo>
                  <a:lnTo>
                    <a:pt x="0" y="0"/>
                  </a:lnTo>
                  <a:lnTo>
                    <a:pt x="3" y="0"/>
                  </a:lnTo>
                  <a:lnTo>
                    <a:pt x="116" y="0"/>
                  </a:lnTo>
                  <a:lnTo>
                    <a:pt x="119" y="0"/>
                  </a:lnTo>
                  <a:lnTo>
                    <a:pt x="119" y="3"/>
                  </a:lnTo>
                  <a:lnTo>
                    <a:pt x="119" y="7"/>
                  </a:lnTo>
                  <a:lnTo>
                    <a:pt x="116"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6" name="Freeform 1020">
              <a:extLst>
                <a:ext uri="{FF2B5EF4-FFF2-40B4-BE49-F238E27FC236}">
                  <a16:creationId xmlns:a16="http://schemas.microsoft.com/office/drawing/2014/main" id="{C7B2002A-E7CE-5C41-B1CA-F1F90B43FEC5}"/>
                </a:ext>
              </a:extLst>
            </p:cNvPr>
            <p:cNvSpPr>
              <a:spLocks/>
            </p:cNvSpPr>
            <p:nvPr/>
          </p:nvSpPr>
          <p:spPr bwMode="auto">
            <a:xfrm>
              <a:off x="4013426" y="1324687"/>
              <a:ext cx="97685" cy="9928"/>
            </a:xfrm>
            <a:custGeom>
              <a:avLst/>
              <a:gdLst>
                <a:gd name="T0" fmla="*/ 2147483646 w 84"/>
                <a:gd name="T1" fmla="*/ 2147483646 h 10"/>
                <a:gd name="T2" fmla="*/ 0 w 84"/>
                <a:gd name="T3" fmla="*/ 2147483646 h 10"/>
                <a:gd name="T4" fmla="*/ 0 w 84"/>
                <a:gd name="T5" fmla="*/ 2147483646 h 10"/>
                <a:gd name="T6" fmla="*/ 0 w 84"/>
                <a:gd name="T7" fmla="*/ 2147483646 h 10"/>
                <a:gd name="T8" fmla="*/ 0 w 84"/>
                <a:gd name="T9" fmla="*/ 0 h 10"/>
                <a:gd name="T10" fmla="*/ 2147483646 w 84"/>
                <a:gd name="T11" fmla="*/ 0 h 10"/>
                <a:gd name="T12" fmla="*/ 2147483646 w 84"/>
                <a:gd name="T13" fmla="*/ 0 h 10"/>
                <a:gd name="T14" fmla="*/ 2147483646 w 84"/>
                <a:gd name="T15" fmla="*/ 0 h 10"/>
                <a:gd name="T16" fmla="*/ 2147483646 w 84"/>
                <a:gd name="T17" fmla="*/ 2147483646 h 10"/>
                <a:gd name="T18" fmla="*/ 2147483646 w 84"/>
                <a:gd name="T19" fmla="*/ 2147483646 h 10"/>
                <a:gd name="T20" fmla="*/ 2147483646 w 84"/>
                <a:gd name="T21" fmla="*/ 2147483646 h 10"/>
                <a:gd name="T22" fmla="*/ 2147483646 w 84"/>
                <a:gd name="T23" fmla="*/ 2147483646 h 10"/>
                <a:gd name="T24" fmla="*/ 2147483646 w 84"/>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4" h="10">
                  <a:moveTo>
                    <a:pt x="3" y="10"/>
                  </a:moveTo>
                  <a:lnTo>
                    <a:pt x="0" y="7"/>
                  </a:lnTo>
                  <a:lnTo>
                    <a:pt x="0" y="3"/>
                  </a:lnTo>
                  <a:lnTo>
                    <a:pt x="0" y="0"/>
                  </a:lnTo>
                  <a:lnTo>
                    <a:pt x="3" y="0"/>
                  </a:lnTo>
                  <a:lnTo>
                    <a:pt x="81" y="0"/>
                  </a:lnTo>
                  <a:lnTo>
                    <a:pt x="84" y="0"/>
                  </a:lnTo>
                  <a:lnTo>
                    <a:pt x="84" y="3"/>
                  </a:lnTo>
                  <a:lnTo>
                    <a:pt x="84" y="7"/>
                  </a:lnTo>
                  <a:lnTo>
                    <a:pt x="81" y="10"/>
                  </a:lnTo>
                  <a:lnTo>
                    <a:pt x="3"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7" name="Freeform 1021">
              <a:extLst>
                <a:ext uri="{FF2B5EF4-FFF2-40B4-BE49-F238E27FC236}">
                  <a16:creationId xmlns:a16="http://schemas.microsoft.com/office/drawing/2014/main" id="{225FE6A5-9552-304F-BE44-0501E970FBB1}"/>
                </a:ext>
              </a:extLst>
            </p:cNvPr>
            <p:cNvSpPr>
              <a:spLocks/>
            </p:cNvSpPr>
            <p:nvPr/>
          </p:nvSpPr>
          <p:spPr bwMode="auto">
            <a:xfrm>
              <a:off x="4102971" y="1324687"/>
              <a:ext cx="520989" cy="9928"/>
            </a:xfrm>
            <a:custGeom>
              <a:avLst/>
              <a:gdLst>
                <a:gd name="T0" fmla="*/ 2147483646 w 448"/>
                <a:gd name="T1" fmla="*/ 2147483646 h 10"/>
                <a:gd name="T2" fmla="*/ 0 w 448"/>
                <a:gd name="T3" fmla="*/ 2147483646 h 10"/>
                <a:gd name="T4" fmla="*/ 0 w 448"/>
                <a:gd name="T5" fmla="*/ 2147483646 h 10"/>
                <a:gd name="T6" fmla="*/ 0 w 448"/>
                <a:gd name="T7" fmla="*/ 2147483646 h 10"/>
                <a:gd name="T8" fmla="*/ 0 w 448"/>
                <a:gd name="T9" fmla="*/ 0 h 10"/>
                <a:gd name="T10" fmla="*/ 2147483646 w 448"/>
                <a:gd name="T11" fmla="*/ 0 h 10"/>
                <a:gd name="T12" fmla="*/ 2147483646 w 448"/>
                <a:gd name="T13" fmla="*/ 0 h 10"/>
                <a:gd name="T14" fmla="*/ 2147483646 w 448"/>
                <a:gd name="T15" fmla="*/ 0 h 10"/>
                <a:gd name="T16" fmla="*/ 2147483646 w 448"/>
                <a:gd name="T17" fmla="*/ 2147483646 h 10"/>
                <a:gd name="T18" fmla="*/ 2147483646 w 448"/>
                <a:gd name="T19" fmla="*/ 2147483646 h 10"/>
                <a:gd name="T20" fmla="*/ 2147483646 w 448"/>
                <a:gd name="T21" fmla="*/ 2147483646 h 10"/>
                <a:gd name="T22" fmla="*/ 2147483646 w 448"/>
                <a:gd name="T23" fmla="*/ 2147483646 h 10"/>
                <a:gd name="T24" fmla="*/ 2147483646 w 44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8" h="10">
                  <a:moveTo>
                    <a:pt x="4" y="10"/>
                  </a:moveTo>
                  <a:lnTo>
                    <a:pt x="0" y="7"/>
                  </a:lnTo>
                  <a:lnTo>
                    <a:pt x="0" y="3"/>
                  </a:lnTo>
                  <a:lnTo>
                    <a:pt x="0" y="0"/>
                  </a:lnTo>
                  <a:lnTo>
                    <a:pt x="4" y="0"/>
                  </a:lnTo>
                  <a:lnTo>
                    <a:pt x="445" y="0"/>
                  </a:lnTo>
                  <a:lnTo>
                    <a:pt x="448" y="0"/>
                  </a:lnTo>
                  <a:lnTo>
                    <a:pt x="448" y="3"/>
                  </a:lnTo>
                  <a:lnTo>
                    <a:pt x="448" y="7"/>
                  </a:lnTo>
                  <a:lnTo>
                    <a:pt x="445" y="10"/>
                  </a:lnTo>
                  <a:lnTo>
                    <a:pt x="4" y="1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8" name="Freeform 1022">
              <a:extLst>
                <a:ext uri="{FF2B5EF4-FFF2-40B4-BE49-F238E27FC236}">
                  <a16:creationId xmlns:a16="http://schemas.microsoft.com/office/drawing/2014/main" id="{BA7161AA-CF3C-A248-89AE-2E9E29DF1B03}"/>
                </a:ext>
              </a:extLst>
            </p:cNvPr>
            <p:cNvSpPr>
              <a:spLocks/>
            </p:cNvSpPr>
            <p:nvPr/>
          </p:nvSpPr>
          <p:spPr bwMode="auto">
            <a:xfrm>
              <a:off x="921217" y="2836788"/>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4" y="10"/>
                  </a:moveTo>
                  <a:lnTo>
                    <a:pt x="0" y="7"/>
                  </a:lnTo>
                  <a:lnTo>
                    <a:pt x="0" y="3"/>
                  </a:lnTo>
                  <a:lnTo>
                    <a:pt x="0" y="0"/>
                  </a:lnTo>
                  <a:lnTo>
                    <a:pt x="4" y="0"/>
                  </a:lnTo>
                  <a:lnTo>
                    <a:pt x="33" y="0"/>
                  </a:lnTo>
                  <a:lnTo>
                    <a:pt x="36" y="0"/>
                  </a:lnTo>
                  <a:lnTo>
                    <a:pt x="36" y="3"/>
                  </a:lnTo>
                  <a:lnTo>
                    <a:pt x="36" y="7"/>
                  </a:lnTo>
                  <a:lnTo>
                    <a:pt x="33"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79" name="Freeform 1023">
              <a:extLst>
                <a:ext uri="{FF2B5EF4-FFF2-40B4-BE49-F238E27FC236}">
                  <a16:creationId xmlns:a16="http://schemas.microsoft.com/office/drawing/2014/main" id="{EBB37335-9976-5047-9C08-C7CC202BF705}"/>
                </a:ext>
              </a:extLst>
            </p:cNvPr>
            <p:cNvSpPr>
              <a:spLocks/>
            </p:cNvSpPr>
            <p:nvPr/>
          </p:nvSpPr>
          <p:spPr bwMode="auto">
            <a:xfrm>
              <a:off x="954942" y="2823880"/>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4"/>
                  </a:lnTo>
                  <a:lnTo>
                    <a:pt x="0" y="0"/>
                  </a:lnTo>
                  <a:lnTo>
                    <a:pt x="4" y="0"/>
                  </a:lnTo>
                  <a:lnTo>
                    <a:pt x="7" y="0"/>
                  </a:lnTo>
                  <a:lnTo>
                    <a:pt x="10" y="4"/>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0" name="Freeform 1024">
              <a:extLst>
                <a:ext uri="{FF2B5EF4-FFF2-40B4-BE49-F238E27FC236}">
                  <a16:creationId xmlns:a16="http://schemas.microsoft.com/office/drawing/2014/main" id="{B0C8F957-3E45-6243-AE7E-E9E3EF61BCC5}"/>
                </a:ext>
              </a:extLst>
            </p:cNvPr>
            <p:cNvSpPr>
              <a:spLocks/>
            </p:cNvSpPr>
            <p:nvPr/>
          </p:nvSpPr>
          <p:spPr bwMode="auto">
            <a:xfrm>
              <a:off x="954942" y="2823880"/>
              <a:ext cx="41865" cy="9928"/>
            </a:xfrm>
            <a:custGeom>
              <a:avLst/>
              <a:gdLst>
                <a:gd name="T0" fmla="*/ 2147483646 w 36"/>
                <a:gd name="T1" fmla="*/ 2147483646 h 10"/>
                <a:gd name="T2" fmla="*/ 0 w 36"/>
                <a:gd name="T3" fmla="*/ 2147483646 h 10"/>
                <a:gd name="T4" fmla="*/ 0 w 36"/>
                <a:gd name="T5" fmla="*/ 2147483646 h 10"/>
                <a:gd name="T6" fmla="*/ 0 w 36"/>
                <a:gd name="T7" fmla="*/ 2147483646 h 10"/>
                <a:gd name="T8" fmla="*/ 0 w 36"/>
                <a:gd name="T9" fmla="*/ 0 h 10"/>
                <a:gd name="T10" fmla="*/ 2147483646 w 36"/>
                <a:gd name="T11" fmla="*/ 0 h 10"/>
                <a:gd name="T12" fmla="*/ 2147483646 w 36"/>
                <a:gd name="T13" fmla="*/ 0 h 10"/>
                <a:gd name="T14" fmla="*/ 2147483646 w 36"/>
                <a:gd name="T15" fmla="*/ 0 h 10"/>
                <a:gd name="T16" fmla="*/ 2147483646 w 36"/>
                <a:gd name="T17" fmla="*/ 2147483646 h 10"/>
                <a:gd name="T18" fmla="*/ 2147483646 w 36"/>
                <a:gd name="T19" fmla="*/ 2147483646 h 10"/>
                <a:gd name="T20" fmla="*/ 2147483646 w 36"/>
                <a:gd name="T21" fmla="*/ 2147483646 h 10"/>
                <a:gd name="T22" fmla="*/ 2147483646 w 36"/>
                <a:gd name="T23" fmla="*/ 2147483646 h 10"/>
                <a:gd name="T24" fmla="*/ 2147483646 w 3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0">
                  <a:moveTo>
                    <a:pt x="4" y="10"/>
                  </a:moveTo>
                  <a:lnTo>
                    <a:pt x="0" y="7"/>
                  </a:lnTo>
                  <a:lnTo>
                    <a:pt x="0" y="4"/>
                  </a:lnTo>
                  <a:lnTo>
                    <a:pt x="0" y="0"/>
                  </a:lnTo>
                  <a:lnTo>
                    <a:pt x="4" y="0"/>
                  </a:lnTo>
                  <a:lnTo>
                    <a:pt x="33" y="0"/>
                  </a:lnTo>
                  <a:lnTo>
                    <a:pt x="36" y="0"/>
                  </a:lnTo>
                  <a:lnTo>
                    <a:pt x="36" y="4"/>
                  </a:lnTo>
                  <a:lnTo>
                    <a:pt x="36" y="7"/>
                  </a:lnTo>
                  <a:lnTo>
                    <a:pt x="33"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1" name="Freeform 1025">
              <a:extLst>
                <a:ext uri="{FF2B5EF4-FFF2-40B4-BE49-F238E27FC236}">
                  <a16:creationId xmlns:a16="http://schemas.microsoft.com/office/drawing/2014/main" id="{4BF1944B-AE2F-F044-8C65-7D336257B473}"/>
                </a:ext>
              </a:extLst>
            </p:cNvPr>
            <p:cNvSpPr>
              <a:spLocks/>
            </p:cNvSpPr>
            <p:nvPr/>
          </p:nvSpPr>
          <p:spPr bwMode="auto">
            <a:xfrm>
              <a:off x="988667" y="2810974"/>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4" y="20"/>
                  </a:lnTo>
                  <a:lnTo>
                    <a:pt x="0" y="20"/>
                  </a:lnTo>
                  <a:lnTo>
                    <a:pt x="0" y="17"/>
                  </a:lnTo>
                  <a:lnTo>
                    <a:pt x="0" y="4"/>
                  </a:lnTo>
                  <a:lnTo>
                    <a:pt x="0" y="0"/>
                  </a:lnTo>
                  <a:lnTo>
                    <a:pt x="4" y="0"/>
                  </a:lnTo>
                  <a:lnTo>
                    <a:pt x="7"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2" name="Freeform 1026">
              <a:extLst>
                <a:ext uri="{FF2B5EF4-FFF2-40B4-BE49-F238E27FC236}">
                  <a16:creationId xmlns:a16="http://schemas.microsoft.com/office/drawing/2014/main" id="{5704134B-AB3D-D24F-868B-D0E15BBF1AED}"/>
                </a:ext>
              </a:extLst>
            </p:cNvPr>
            <p:cNvSpPr>
              <a:spLocks/>
            </p:cNvSpPr>
            <p:nvPr/>
          </p:nvSpPr>
          <p:spPr bwMode="auto">
            <a:xfrm>
              <a:off x="988667" y="2795088"/>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4"/>
                  </a:lnTo>
                  <a:lnTo>
                    <a:pt x="0" y="0"/>
                  </a:lnTo>
                  <a:lnTo>
                    <a:pt x="4"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3" name="Freeform 1027">
              <a:extLst>
                <a:ext uri="{FF2B5EF4-FFF2-40B4-BE49-F238E27FC236}">
                  <a16:creationId xmlns:a16="http://schemas.microsoft.com/office/drawing/2014/main" id="{B8D5C429-4FC3-E749-9C1C-D51C1466FECE}"/>
                </a:ext>
              </a:extLst>
            </p:cNvPr>
            <p:cNvSpPr>
              <a:spLocks/>
            </p:cNvSpPr>
            <p:nvPr/>
          </p:nvSpPr>
          <p:spPr bwMode="auto">
            <a:xfrm>
              <a:off x="988667" y="2782181"/>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4" y="20"/>
                  </a:lnTo>
                  <a:lnTo>
                    <a:pt x="0" y="20"/>
                  </a:lnTo>
                  <a:lnTo>
                    <a:pt x="0" y="17"/>
                  </a:lnTo>
                  <a:lnTo>
                    <a:pt x="0" y="4"/>
                  </a:lnTo>
                  <a:lnTo>
                    <a:pt x="0" y="0"/>
                  </a:lnTo>
                  <a:lnTo>
                    <a:pt x="4" y="0"/>
                  </a:lnTo>
                  <a:lnTo>
                    <a:pt x="7"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4" name="Freeform 1028">
              <a:extLst>
                <a:ext uri="{FF2B5EF4-FFF2-40B4-BE49-F238E27FC236}">
                  <a16:creationId xmlns:a16="http://schemas.microsoft.com/office/drawing/2014/main" id="{0851AA5E-7578-6E4F-997A-E826474C9A81}"/>
                </a:ext>
              </a:extLst>
            </p:cNvPr>
            <p:cNvSpPr>
              <a:spLocks/>
            </p:cNvSpPr>
            <p:nvPr/>
          </p:nvSpPr>
          <p:spPr bwMode="auto">
            <a:xfrm>
              <a:off x="988667" y="278218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5" name="Freeform 1029">
              <a:extLst>
                <a:ext uri="{FF2B5EF4-FFF2-40B4-BE49-F238E27FC236}">
                  <a16:creationId xmlns:a16="http://schemas.microsoft.com/office/drawing/2014/main" id="{561B92CC-5070-544E-A0BB-DFAAB0A27C4A}"/>
                </a:ext>
              </a:extLst>
            </p:cNvPr>
            <p:cNvSpPr>
              <a:spLocks/>
            </p:cNvSpPr>
            <p:nvPr/>
          </p:nvSpPr>
          <p:spPr bwMode="auto">
            <a:xfrm>
              <a:off x="993318" y="2769274"/>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6" name="Freeform 1030">
              <a:extLst>
                <a:ext uri="{FF2B5EF4-FFF2-40B4-BE49-F238E27FC236}">
                  <a16:creationId xmlns:a16="http://schemas.microsoft.com/office/drawing/2014/main" id="{A75D77E0-C99B-5547-8F9F-8C4D2002284E}"/>
                </a:ext>
              </a:extLst>
            </p:cNvPr>
            <p:cNvSpPr>
              <a:spLocks/>
            </p:cNvSpPr>
            <p:nvPr/>
          </p:nvSpPr>
          <p:spPr bwMode="auto">
            <a:xfrm>
              <a:off x="993318" y="2769274"/>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7" name="Freeform 1031">
              <a:extLst>
                <a:ext uri="{FF2B5EF4-FFF2-40B4-BE49-F238E27FC236}">
                  <a16:creationId xmlns:a16="http://schemas.microsoft.com/office/drawing/2014/main" id="{67B513D2-DED7-AA4C-9383-E1E1D6C84AF6}"/>
                </a:ext>
              </a:extLst>
            </p:cNvPr>
            <p:cNvSpPr>
              <a:spLocks/>
            </p:cNvSpPr>
            <p:nvPr/>
          </p:nvSpPr>
          <p:spPr bwMode="auto">
            <a:xfrm>
              <a:off x="996808" y="275736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8" name="Freeform 1032">
              <a:extLst>
                <a:ext uri="{FF2B5EF4-FFF2-40B4-BE49-F238E27FC236}">
                  <a16:creationId xmlns:a16="http://schemas.microsoft.com/office/drawing/2014/main" id="{7F3C9F94-B153-8A4C-AA32-CD74396AFE61}"/>
                </a:ext>
              </a:extLst>
            </p:cNvPr>
            <p:cNvSpPr>
              <a:spLocks/>
            </p:cNvSpPr>
            <p:nvPr/>
          </p:nvSpPr>
          <p:spPr bwMode="auto">
            <a:xfrm>
              <a:off x="996808" y="275736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89" name="Freeform 1033">
              <a:extLst>
                <a:ext uri="{FF2B5EF4-FFF2-40B4-BE49-F238E27FC236}">
                  <a16:creationId xmlns:a16="http://schemas.microsoft.com/office/drawing/2014/main" id="{657FA369-B85E-D443-8AA7-9DA455483E8E}"/>
                </a:ext>
              </a:extLst>
            </p:cNvPr>
            <p:cNvSpPr>
              <a:spLocks/>
            </p:cNvSpPr>
            <p:nvPr/>
          </p:nvSpPr>
          <p:spPr bwMode="auto">
            <a:xfrm>
              <a:off x="1000296" y="274445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0" name="Freeform 1034">
              <a:extLst>
                <a:ext uri="{FF2B5EF4-FFF2-40B4-BE49-F238E27FC236}">
                  <a16:creationId xmlns:a16="http://schemas.microsoft.com/office/drawing/2014/main" id="{7E9CB6CA-9E1A-B041-8B7D-AB1C454236BD}"/>
                </a:ext>
              </a:extLst>
            </p:cNvPr>
            <p:cNvSpPr>
              <a:spLocks/>
            </p:cNvSpPr>
            <p:nvPr/>
          </p:nvSpPr>
          <p:spPr bwMode="auto">
            <a:xfrm>
              <a:off x="1000296" y="274445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1" name="Freeform 1035">
              <a:extLst>
                <a:ext uri="{FF2B5EF4-FFF2-40B4-BE49-F238E27FC236}">
                  <a16:creationId xmlns:a16="http://schemas.microsoft.com/office/drawing/2014/main" id="{D6230D86-3B88-2C4A-AC72-CF4BD58ED891}"/>
                </a:ext>
              </a:extLst>
            </p:cNvPr>
            <p:cNvSpPr>
              <a:spLocks/>
            </p:cNvSpPr>
            <p:nvPr/>
          </p:nvSpPr>
          <p:spPr bwMode="auto">
            <a:xfrm>
              <a:off x="1003785" y="273154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2" name="Freeform 1036">
              <a:extLst>
                <a:ext uri="{FF2B5EF4-FFF2-40B4-BE49-F238E27FC236}">
                  <a16:creationId xmlns:a16="http://schemas.microsoft.com/office/drawing/2014/main" id="{23BCDD13-074C-8345-A5CA-47AB392BE8CA}"/>
                </a:ext>
              </a:extLst>
            </p:cNvPr>
            <p:cNvSpPr>
              <a:spLocks/>
            </p:cNvSpPr>
            <p:nvPr/>
          </p:nvSpPr>
          <p:spPr bwMode="auto">
            <a:xfrm>
              <a:off x="1003785" y="273154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3" name="Freeform 1037">
              <a:extLst>
                <a:ext uri="{FF2B5EF4-FFF2-40B4-BE49-F238E27FC236}">
                  <a16:creationId xmlns:a16="http://schemas.microsoft.com/office/drawing/2014/main" id="{E7A97AFE-CA79-0C41-A8F3-E24A4161CB53}"/>
                </a:ext>
              </a:extLst>
            </p:cNvPr>
            <p:cNvSpPr>
              <a:spLocks/>
            </p:cNvSpPr>
            <p:nvPr/>
          </p:nvSpPr>
          <p:spPr bwMode="auto">
            <a:xfrm>
              <a:off x="1007273" y="2718639"/>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4" name="Freeform 1038">
              <a:extLst>
                <a:ext uri="{FF2B5EF4-FFF2-40B4-BE49-F238E27FC236}">
                  <a16:creationId xmlns:a16="http://schemas.microsoft.com/office/drawing/2014/main" id="{F3B72B82-92F9-774B-8F24-C8A1337C7DB4}"/>
                </a:ext>
              </a:extLst>
            </p:cNvPr>
            <p:cNvSpPr>
              <a:spLocks/>
            </p:cNvSpPr>
            <p:nvPr/>
          </p:nvSpPr>
          <p:spPr bwMode="auto">
            <a:xfrm>
              <a:off x="1007273" y="271863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5" name="Freeform 1039">
              <a:extLst>
                <a:ext uri="{FF2B5EF4-FFF2-40B4-BE49-F238E27FC236}">
                  <a16:creationId xmlns:a16="http://schemas.microsoft.com/office/drawing/2014/main" id="{5E1035A3-AF2E-BC45-8274-65326531AEFB}"/>
                </a:ext>
              </a:extLst>
            </p:cNvPr>
            <p:cNvSpPr>
              <a:spLocks/>
            </p:cNvSpPr>
            <p:nvPr/>
          </p:nvSpPr>
          <p:spPr bwMode="auto">
            <a:xfrm>
              <a:off x="1011925" y="2705732"/>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6" name="Freeform 1040">
              <a:extLst>
                <a:ext uri="{FF2B5EF4-FFF2-40B4-BE49-F238E27FC236}">
                  <a16:creationId xmlns:a16="http://schemas.microsoft.com/office/drawing/2014/main" id="{BA809C00-43D1-2646-B5C9-E42BB656B882}"/>
                </a:ext>
              </a:extLst>
            </p:cNvPr>
            <p:cNvSpPr>
              <a:spLocks/>
            </p:cNvSpPr>
            <p:nvPr/>
          </p:nvSpPr>
          <p:spPr bwMode="auto">
            <a:xfrm>
              <a:off x="1011925" y="270573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7" name="Freeform 1041">
              <a:extLst>
                <a:ext uri="{FF2B5EF4-FFF2-40B4-BE49-F238E27FC236}">
                  <a16:creationId xmlns:a16="http://schemas.microsoft.com/office/drawing/2014/main" id="{57FBA4CE-843F-2E46-86D9-B719143549DA}"/>
                </a:ext>
              </a:extLst>
            </p:cNvPr>
            <p:cNvSpPr>
              <a:spLocks/>
            </p:cNvSpPr>
            <p:nvPr/>
          </p:nvSpPr>
          <p:spPr bwMode="auto">
            <a:xfrm>
              <a:off x="1015414" y="2692825"/>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8" name="Freeform 1042">
              <a:extLst>
                <a:ext uri="{FF2B5EF4-FFF2-40B4-BE49-F238E27FC236}">
                  <a16:creationId xmlns:a16="http://schemas.microsoft.com/office/drawing/2014/main" id="{F63D5441-57BC-2941-8D19-4C5208237643}"/>
                </a:ext>
              </a:extLst>
            </p:cNvPr>
            <p:cNvSpPr>
              <a:spLocks/>
            </p:cNvSpPr>
            <p:nvPr/>
          </p:nvSpPr>
          <p:spPr bwMode="auto">
            <a:xfrm>
              <a:off x="1015414" y="269282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8999" name="Freeform 1043">
              <a:extLst>
                <a:ext uri="{FF2B5EF4-FFF2-40B4-BE49-F238E27FC236}">
                  <a16:creationId xmlns:a16="http://schemas.microsoft.com/office/drawing/2014/main" id="{8A047C78-47C4-AD4E-814E-57952F43EE6D}"/>
                </a:ext>
              </a:extLst>
            </p:cNvPr>
            <p:cNvSpPr>
              <a:spLocks/>
            </p:cNvSpPr>
            <p:nvPr/>
          </p:nvSpPr>
          <p:spPr bwMode="auto">
            <a:xfrm>
              <a:off x="1018903" y="2676940"/>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3" y="22"/>
                  </a:lnTo>
                  <a:lnTo>
                    <a:pt x="0" y="22"/>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0" name="Freeform 1044">
              <a:extLst>
                <a:ext uri="{FF2B5EF4-FFF2-40B4-BE49-F238E27FC236}">
                  <a16:creationId xmlns:a16="http://schemas.microsoft.com/office/drawing/2014/main" id="{F9FA353F-7ECF-5940-B9D9-A5EF07462C9E}"/>
                </a:ext>
              </a:extLst>
            </p:cNvPr>
            <p:cNvSpPr>
              <a:spLocks/>
            </p:cNvSpPr>
            <p:nvPr/>
          </p:nvSpPr>
          <p:spPr bwMode="auto">
            <a:xfrm>
              <a:off x="1018903" y="2676940"/>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10" y="0"/>
                  </a:lnTo>
                  <a:lnTo>
                    <a:pt x="13" y="0"/>
                  </a:lnTo>
                  <a:lnTo>
                    <a:pt x="13" y="3"/>
                  </a:lnTo>
                  <a:lnTo>
                    <a:pt x="13" y="6"/>
                  </a:lnTo>
                  <a:lnTo>
                    <a:pt x="10"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1" name="Freeform 1045">
              <a:extLst>
                <a:ext uri="{FF2B5EF4-FFF2-40B4-BE49-F238E27FC236}">
                  <a16:creationId xmlns:a16="http://schemas.microsoft.com/office/drawing/2014/main" id="{A68E7924-515B-D144-AA18-F76044816C24}"/>
                </a:ext>
              </a:extLst>
            </p:cNvPr>
            <p:cNvSpPr>
              <a:spLocks/>
            </p:cNvSpPr>
            <p:nvPr/>
          </p:nvSpPr>
          <p:spPr bwMode="auto">
            <a:xfrm>
              <a:off x="1027044" y="2664033"/>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2" name="Freeform 1046">
              <a:extLst>
                <a:ext uri="{FF2B5EF4-FFF2-40B4-BE49-F238E27FC236}">
                  <a16:creationId xmlns:a16="http://schemas.microsoft.com/office/drawing/2014/main" id="{209BF43B-573E-2A47-B866-F53AA9DEBECA}"/>
                </a:ext>
              </a:extLst>
            </p:cNvPr>
            <p:cNvSpPr>
              <a:spLocks/>
            </p:cNvSpPr>
            <p:nvPr/>
          </p:nvSpPr>
          <p:spPr bwMode="auto">
            <a:xfrm>
              <a:off x="1027044" y="266403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2" y="0"/>
                  </a:lnTo>
                  <a:lnTo>
                    <a:pt x="16" y="0"/>
                  </a:lnTo>
                  <a:lnTo>
                    <a:pt x="16" y="3"/>
                  </a:lnTo>
                  <a:lnTo>
                    <a:pt x="16" y="6"/>
                  </a:lnTo>
                  <a:lnTo>
                    <a:pt x="1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3" name="Freeform 1047">
              <a:extLst>
                <a:ext uri="{FF2B5EF4-FFF2-40B4-BE49-F238E27FC236}">
                  <a16:creationId xmlns:a16="http://schemas.microsoft.com/office/drawing/2014/main" id="{E7C1E8D2-8929-0747-B066-E212DAD7C75E}"/>
                </a:ext>
              </a:extLst>
            </p:cNvPr>
            <p:cNvSpPr>
              <a:spLocks/>
            </p:cNvSpPr>
            <p:nvPr/>
          </p:nvSpPr>
          <p:spPr bwMode="auto">
            <a:xfrm>
              <a:off x="1037509" y="265112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4" name="Freeform 1048">
              <a:extLst>
                <a:ext uri="{FF2B5EF4-FFF2-40B4-BE49-F238E27FC236}">
                  <a16:creationId xmlns:a16="http://schemas.microsoft.com/office/drawing/2014/main" id="{BBFC7A11-0A75-4144-AC33-A34CBEEA1BF5}"/>
                </a:ext>
              </a:extLst>
            </p:cNvPr>
            <p:cNvSpPr>
              <a:spLocks/>
            </p:cNvSpPr>
            <p:nvPr/>
          </p:nvSpPr>
          <p:spPr bwMode="auto">
            <a:xfrm>
              <a:off x="1037509" y="2638219"/>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5" name="Freeform 1049">
              <a:extLst>
                <a:ext uri="{FF2B5EF4-FFF2-40B4-BE49-F238E27FC236}">
                  <a16:creationId xmlns:a16="http://schemas.microsoft.com/office/drawing/2014/main" id="{C9A123F6-2043-D040-95B7-29893889FFC2}"/>
                </a:ext>
              </a:extLst>
            </p:cNvPr>
            <p:cNvSpPr>
              <a:spLocks/>
            </p:cNvSpPr>
            <p:nvPr/>
          </p:nvSpPr>
          <p:spPr bwMode="auto">
            <a:xfrm>
              <a:off x="1037509" y="263821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7" y="0"/>
                  </a:lnTo>
                  <a:lnTo>
                    <a:pt x="10" y="0"/>
                  </a:lnTo>
                  <a:lnTo>
                    <a:pt x="10" y="3"/>
                  </a:lnTo>
                  <a:lnTo>
                    <a:pt x="10" y="7"/>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6" name="Freeform 1050">
              <a:extLst>
                <a:ext uri="{FF2B5EF4-FFF2-40B4-BE49-F238E27FC236}">
                  <a16:creationId xmlns:a16="http://schemas.microsoft.com/office/drawing/2014/main" id="{6503BB6D-F269-B941-821C-944AD166EF72}"/>
                </a:ext>
              </a:extLst>
            </p:cNvPr>
            <p:cNvSpPr>
              <a:spLocks/>
            </p:cNvSpPr>
            <p:nvPr/>
          </p:nvSpPr>
          <p:spPr bwMode="auto">
            <a:xfrm>
              <a:off x="1040999" y="2625312"/>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7" name="Freeform 1051">
              <a:extLst>
                <a:ext uri="{FF2B5EF4-FFF2-40B4-BE49-F238E27FC236}">
                  <a16:creationId xmlns:a16="http://schemas.microsoft.com/office/drawing/2014/main" id="{A9B16C8F-4D9B-DD4D-9F59-C063B0ED0676}"/>
                </a:ext>
              </a:extLst>
            </p:cNvPr>
            <p:cNvSpPr>
              <a:spLocks/>
            </p:cNvSpPr>
            <p:nvPr/>
          </p:nvSpPr>
          <p:spPr bwMode="auto">
            <a:xfrm>
              <a:off x="1040999" y="262531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8" name="Freeform 1052">
              <a:extLst>
                <a:ext uri="{FF2B5EF4-FFF2-40B4-BE49-F238E27FC236}">
                  <a16:creationId xmlns:a16="http://schemas.microsoft.com/office/drawing/2014/main" id="{3CF2A38C-B0D3-E54F-8228-E0C951F22102}"/>
                </a:ext>
              </a:extLst>
            </p:cNvPr>
            <p:cNvSpPr>
              <a:spLocks/>
            </p:cNvSpPr>
            <p:nvPr/>
          </p:nvSpPr>
          <p:spPr bwMode="auto">
            <a:xfrm>
              <a:off x="1045650" y="2612405"/>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09" name="Freeform 1053">
              <a:extLst>
                <a:ext uri="{FF2B5EF4-FFF2-40B4-BE49-F238E27FC236}">
                  <a16:creationId xmlns:a16="http://schemas.microsoft.com/office/drawing/2014/main" id="{AC7E16CD-1E35-EE4C-95FB-E87AE213038D}"/>
                </a:ext>
              </a:extLst>
            </p:cNvPr>
            <p:cNvSpPr>
              <a:spLocks/>
            </p:cNvSpPr>
            <p:nvPr/>
          </p:nvSpPr>
          <p:spPr bwMode="auto">
            <a:xfrm>
              <a:off x="1045650" y="2612405"/>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0" name="Freeform 1054">
              <a:extLst>
                <a:ext uri="{FF2B5EF4-FFF2-40B4-BE49-F238E27FC236}">
                  <a16:creationId xmlns:a16="http://schemas.microsoft.com/office/drawing/2014/main" id="{124AD31A-3165-024D-9DB5-25887B770E2F}"/>
                </a:ext>
              </a:extLst>
            </p:cNvPr>
            <p:cNvSpPr>
              <a:spLocks/>
            </p:cNvSpPr>
            <p:nvPr/>
          </p:nvSpPr>
          <p:spPr bwMode="auto">
            <a:xfrm>
              <a:off x="1049139" y="2599498"/>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6" y="20"/>
                  </a:lnTo>
                  <a:lnTo>
                    <a:pt x="3" y="20"/>
                  </a:lnTo>
                  <a:lnTo>
                    <a:pt x="0" y="20"/>
                  </a:lnTo>
                  <a:lnTo>
                    <a:pt x="0" y="17"/>
                  </a:lnTo>
                  <a:lnTo>
                    <a:pt x="0" y="4"/>
                  </a:lnTo>
                  <a:lnTo>
                    <a:pt x="0" y="0"/>
                  </a:lnTo>
                  <a:lnTo>
                    <a:pt x="3" y="0"/>
                  </a:lnTo>
                  <a:lnTo>
                    <a:pt x="6"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1" name="Freeform 1055">
              <a:extLst>
                <a:ext uri="{FF2B5EF4-FFF2-40B4-BE49-F238E27FC236}">
                  <a16:creationId xmlns:a16="http://schemas.microsoft.com/office/drawing/2014/main" id="{B518286E-89FA-8E41-AAF1-2982E1E5E3BC}"/>
                </a:ext>
              </a:extLst>
            </p:cNvPr>
            <p:cNvSpPr>
              <a:spLocks/>
            </p:cNvSpPr>
            <p:nvPr/>
          </p:nvSpPr>
          <p:spPr bwMode="auto">
            <a:xfrm>
              <a:off x="1049139" y="2587584"/>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2" name="Freeform 1056">
              <a:extLst>
                <a:ext uri="{FF2B5EF4-FFF2-40B4-BE49-F238E27FC236}">
                  <a16:creationId xmlns:a16="http://schemas.microsoft.com/office/drawing/2014/main" id="{5E56F9C2-0D88-004A-A912-9B3987AD1282}"/>
                </a:ext>
              </a:extLst>
            </p:cNvPr>
            <p:cNvSpPr>
              <a:spLocks/>
            </p:cNvSpPr>
            <p:nvPr/>
          </p:nvSpPr>
          <p:spPr bwMode="auto">
            <a:xfrm>
              <a:off x="1049139" y="258758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3" name="Freeform 1057">
              <a:extLst>
                <a:ext uri="{FF2B5EF4-FFF2-40B4-BE49-F238E27FC236}">
                  <a16:creationId xmlns:a16="http://schemas.microsoft.com/office/drawing/2014/main" id="{67FDBCD9-257B-BD40-9F17-D6F731E85B8B}"/>
                </a:ext>
              </a:extLst>
            </p:cNvPr>
            <p:cNvSpPr>
              <a:spLocks/>
            </p:cNvSpPr>
            <p:nvPr/>
          </p:nvSpPr>
          <p:spPr bwMode="auto">
            <a:xfrm>
              <a:off x="1056116" y="2570706"/>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4"/>
                  </a:lnTo>
                  <a:lnTo>
                    <a:pt x="0" y="0"/>
                  </a:lnTo>
                  <a:lnTo>
                    <a:pt x="4"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4" name="Freeform 1058">
              <a:extLst>
                <a:ext uri="{FF2B5EF4-FFF2-40B4-BE49-F238E27FC236}">
                  <a16:creationId xmlns:a16="http://schemas.microsoft.com/office/drawing/2014/main" id="{D1AF5D7D-CBAC-BB40-A125-4C78A5DEC950}"/>
                </a:ext>
              </a:extLst>
            </p:cNvPr>
            <p:cNvSpPr>
              <a:spLocks/>
            </p:cNvSpPr>
            <p:nvPr/>
          </p:nvSpPr>
          <p:spPr bwMode="auto">
            <a:xfrm>
              <a:off x="1056116" y="2570706"/>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5" name="Freeform 1059">
              <a:extLst>
                <a:ext uri="{FF2B5EF4-FFF2-40B4-BE49-F238E27FC236}">
                  <a16:creationId xmlns:a16="http://schemas.microsoft.com/office/drawing/2014/main" id="{6A17E0AD-AC49-434F-A33A-AA891D00694A}"/>
                </a:ext>
              </a:extLst>
            </p:cNvPr>
            <p:cNvSpPr>
              <a:spLocks/>
            </p:cNvSpPr>
            <p:nvPr/>
          </p:nvSpPr>
          <p:spPr bwMode="auto">
            <a:xfrm>
              <a:off x="1060768" y="2557798"/>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6" name="Freeform 1060">
              <a:extLst>
                <a:ext uri="{FF2B5EF4-FFF2-40B4-BE49-F238E27FC236}">
                  <a16:creationId xmlns:a16="http://schemas.microsoft.com/office/drawing/2014/main" id="{BC61BD53-C670-A041-8560-E37E5AADC75A}"/>
                </a:ext>
              </a:extLst>
            </p:cNvPr>
            <p:cNvSpPr>
              <a:spLocks/>
            </p:cNvSpPr>
            <p:nvPr/>
          </p:nvSpPr>
          <p:spPr bwMode="auto">
            <a:xfrm>
              <a:off x="1060768" y="2557798"/>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2" y="0"/>
                  </a:lnTo>
                  <a:lnTo>
                    <a:pt x="16" y="0"/>
                  </a:lnTo>
                  <a:lnTo>
                    <a:pt x="16" y="4"/>
                  </a:lnTo>
                  <a:lnTo>
                    <a:pt x="16" y="7"/>
                  </a:lnTo>
                  <a:lnTo>
                    <a:pt x="1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7" name="Freeform 1061">
              <a:extLst>
                <a:ext uri="{FF2B5EF4-FFF2-40B4-BE49-F238E27FC236}">
                  <a16:creationId xmlns:a16="http://schemas.microsoft.com/office/drawing/2014/main" id="{A2D01C0A-DCFB-5C42-86CA-DA1E15EC630B}"/>
                </a:ext>
              </a:extLst>
            </p:cNvPr>
            <p:cNvSpPr>
              <a:spLocks/>
            </p:cNvSpPr>
            <p:nvPr/>
          </p:nvSpPr>
          <p:spPr bwMode="auto">
            <a:xfrm>
              <a:off x="1071235" y="2545884"/>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8" name="Freeform 1062">
              <a:extLst>
                <a:ext uri="{FF2B5EF4-FFF2-40B4-BE49-F238E27FC236}">
                  <a16:creationId xmlns:a16="http://schemas.microsoft.com/office/drawing/2014/main" id="{2CAF19A9-43F7-CB45-8DF4-120806208361}"/>
                </a:ext>
              </a:extLst>
            </p:cNvPr>
            <p:cNvSpPr>
              <a:spLocks/>
            </p:cNvSpPr>
            <p:nvPr/>
          </p:nvSpPr>
          <p:spPr bwMode="auto">
            <a:xfrm>
              <a:off x="1071235" y="2532978"/>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19" name="Freeform 1063">
              <a:extLst>
                <a:ext uri="{FF2B5EF4-FFF2-40B4-BE49-F238E27FC236}">
                  <a16:creationId xmlns:a16="http://schemas.microsoft.com/office/drawing/2014/main" id="{5E95F32F-DC76-E949-9B25-75F191887A8F}"/>
                </a:ext>
              </a:extLst>
            </p:cNvPr>
            <p:cNvSpPr>
              <a:spLocks/>
            </p:cNvSpPr>
            <p:nvPr/>
          </p:nvSpPr>
          <p:spPr bwMode="auto">
            <a:xfrm>
              <a:off x="1071235" y="253297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0" name="Freeform 1064">
              <a:extLst>
                <a:ext uri="{FF2B5EF4-FFF2-40B4-BE49-F238E27FC236}">
                  <a16:creationId xmlns:a16="http://schemas.microsoft.com/office/drawing/2014/main" id="{8B7D4C37-05BF-CC40-BFB5-FB81ECE3ABD3}"/>
                </a:ext>
              </a:extLst>
            </p:cNvPr>
            <p:cNvSpPr>
              <a:spLocks/>
            </p:cNvSpPr>
            <p:nvPr/>
          </p:nvSpPr>
          <p:spPr bwMode="auto">
            <a:xfrm>
              <a:off x="1079375" y="252007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1" name="Freeform 1065">
              <a:extLst>
                <a:ext uri="{FF2B5EF4-FFF2-40B4-BE49-F238E27FC236}">
                  <a16:creationId xmlns:a16="http://schemas.microsoft.com/office/drawing/2014/main" id="{4410C1F2-0822-EE48-9FEA-B4504D19EE60}"/>
                </a:ext>
              </a:extLst>
            </p:cNvPr>
            <p:cNvSpPr>
              <a:spLocks/>
            </p:cNvSpPr>
            <p:nvPr/>
          </p:nvSpPr>
          <p:spPr bwMode="auto">
            <a:xfrm>
              <a:off x="1079375" y="252007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2" name="Freeform 1066">
              <a:extLst>
                <a:ext uri="{FF2B5EF4-FFF2-40B4-BE49-F238E27FC236}">
                  <a16:creationId xmlns:a16="http://schemas.microsoft.com/office/drawing/2014/main" id="{9E878855-44A1-4242-A6E0-45D049F91BF8}"/>
                </a:ext>
              </a:extLst>
            </p:cNvPr>
            <p:cNvSpPr>
              <a:spLocks/>
            </p:cNvSpPr>
            <p:nvPr/>
          </p:nvSpPr>
          <p:spPr bwMode="auto">
            <a:xfrm>
              <a:off x="1082864" y="2507164"/>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3" name="Freeform 1067">
              <a:extLst>
                <a:ext uri="{FF2B5EF4-FFF2-40B4-BE49-F238E27FC236}">
                  <a16:creationId xmlns:a16="http://schemas.microsoft.com/office/drawing/2014/main" id="{5DB4721B-E632-1345-8EE1-8907A2E020F5}"/>
                </a:ext>
              </a:extLst>
            </p:cNvPr>
            <p:cNvSpPr>
              <a:spLocks/>
            </p:cNvSpPr>
            <p:nvPr/>
          </p:nvSpPr>
          <p:spPr bwMode="auto">
            <a:xfrm>
              <a:off x="1082864" y="249425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4" name="Freeform 1068">
              <a:extLst>
                <a:ext uri="{FF2B5EF4-FFF2-40B4-BE49-F238E27FC236}">
                  <a16:creationId xmlns:a16="http://schemas.microsoft.com/office/drawing/2014/main" id="{D0A72FB7-D11B-CD41-A784-409F5E147007}"/>
                </a:ext>
              </a:extLst>
            </p:cNvPr>
            <p:cNvSpPr>
              <a:spLocks/>
            </p:cNvSpPr>
            <p:nvPr/>
          </p:nvSpPr>
          <p:spPr bwMode="auto">
            <a:xfrm>
              <a:off x="1082864" y="24942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5" name="Freeform 1069">
              <a:extLst>
                <a:ext uri="{FF2B5EF4-FFF2-40B4-BE49-F238E27FC236}">
                  <a16:creationId xmlns:a16="http://schemas.microsoft.com/office/drawing/2014/main" id="{8AD960FD-9D84-9748-942B-A08136089389}"/>
                </a:ext>
              </a:extLst>
            </p:cNvPr>
            <p:cNvSpPr>
              <a:spLocks/>
            </p:cNvSpPr>
            <p:nvPr/>
          </p:nvSpPr>
          <p:spPr bwMode="auto">
            <a:xfrm>
              <a:off x="1086352" y="2481350"/>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6" name="Freeform 1070">
              <a:extLst>
                <a:ext uri="{FF2B5EF4-FFF2-40B4-BE49-F238E27FC236}">
                  <a16:creationId xmlns:a16="http://schemas.microsoft.com/office/drawing/2014/main" id="{3451EA32-D411-1C48-A16D-BF55A10B3DBE}"/>
                </a:ext>
              </a:extLst>
            </p:cNvPr>
            <p:cNvSpPr>
              <a:spLocks/>
            </p:cNvSpPr>
            <p:nvPr/>
          </p:nvSpPr>
          <p:spPr bwMode="auto">
            <a:xfrm>
              <a:off x="1086352" y="2465464"/>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3" y="22"/>
                  </a:lnTo>
                  <a:lnTo>
                    <a:pt x="0" y="22"/>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7" name="Freeform 1071">
              <a:extLst>
                <a:ext uri="{FF2B5EF4-FFF2-40B4-BE49-F238E27FC236}">
                  <a16:creationId xmlns:a16="http://schemas.microsoft.com/office/drawing/2014/main" id="{0348D94D-86CC-E54F-A72B-813CD68DE7B5}"/>
                </a:ext>
              </a:extLst>
            </p:cNvPr>
            <p:cNvSpPr>
              <a:spLocks/>
            </p:cNvSpPr>
            <p:nvPr/>
          </p:nvSpPr>
          <p:spPr bwMode="auto">
            <a:xfrm>
              <a:off x="1086352" y="246546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8" name="Freeform 1072">
              <a:extLst>
                <a:ext uri="{FF2B5EF4-FFF2-40B4-BE49-F238E27FC236}">
                  <a16:creationId xmlns:a16="http://schemas.microsoft.com/office/drawing/2014/main" id="{C2220063-5A33-0240-9380-42A61C664520}"/>
                </a:ext>
              </a:extLst>
            </p:cNvPr>
            <p:cNvSpPr>
              <a:spLocks/>
            </p:cNvSpPr>
            <p:nvPr/>
          </p:nvSpPr>
          <p:spPr bwMode="auto">
            <a:xfrm>
              <a:off x="1089841" y="245255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29" name="Freeform 1073">
              <a:extLst>
                <a:ext uri="{FF2B5EF4-FFF2-40B4-BE49-F238E27FC236}">
                  <a16:creationId xmlns:a16="http://schemas.microsoft.com/office/drawing/2014/main" id="{A8E10415-7C3B-F048-AC83-A6D7901C70B2}"/>
                </a:ext>
              </a:extLst>
            </p:cNvPr>
            <p:cNvSpPr>
              <a:spLocks/>
            </p:cNvSpPr>
            <p:nvPr/>
          </p:nvSpPr>
          <p:spPr bwMode="auto">
            <a:xfrm>
              <a:off x="1089841" y="245255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0" name="Freeform 1074">
              <a:extLst>
                <a:ext uri="{FF2B5EF4-FFF2-40B4-BE49-F238E27FC236}">
                  <a16:creationId xmlns:a16="http://schemas.microsoft.com/office/drawing/2014/main" id="{C4D87EF8-1D24-044A-B411-8435FA84D1ED}"/>
                </a:ext>
              </a:extLst>
            </p:cNvPr>
            <p:cNvSpPr>
              <a:spLocks/>
            </p:cNvSpPr>
            <p:nvPr/>
          </p:nvSpPr>
          <p:spPr bwMode="auto">
            <a:xfrm>
              <a:off x="1094493" y="243965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1" name="Freeform 1075">
              <a:extLst>
                <a:ext uri="{FF2B5EF4-FFF2-40B4-BE49-F238E27FC236}">
                  <a16:creationId xmlns:a16="http://schemas.microsoft.com/office/drawing/2014/main" id="{5599EF27-5288-3440-A25F-5053097A3990}"/>
                </a:ext>
              </a:extLst>
            </p:cNvPr>
            <p:cNvSpPr>
              <a:spLocks/>
            </p:cNvSpPr>
            <p:nvPr/>
          </p:nvSpPr>
          <p:spPr bwMode="auto">
            <a:xfrm>
              <a:off x="1094493" y="2439650"/>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2" y="0"/>
                  </a:lnTo>
                  <a:lnTo>
                    <a:pt x="16" y="0"/>
                  </a:lnTo>
                  <a:lnTo>
                    <a:pt x="16" y="3"/>
                  </a:lnTo>
                  <a:lnTo>
                    <a:pt x="16" y="7"/>
                  </a:lnTo>
                  <a:lnTo>
                    <a:pt x="1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2" name="Freeform 1076">
              <a:extLst>
                <a:ext uri="{FF2B5EF4-FFF2-40B4-BE49-F238E27FC236}">
                  <a16:creationId xmlns:a16="http://schemas.microsoft.com/office/drawing/2014/main" id="{F4F3E702-DE23-7747-84CF-435FE8F64492}"/>
                </a:ext>
              </a:extLst>
            </p:cNvPr>
            <p:cNvSpPr>
              <a:spLocks/>
            </p:cNvSpPr>
            <p:nvPr/>
          </p:nvSpPr>
          <p:spPr bwMode="auto">
            <a:xfrm>
              <a:off x="1104959" y="2426743"/>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3" name="Freeform 1077">
              <a:extLst>
                <a:ext uri="{FF2B5EF4-FFF2-40B4-BE49-F238E27FC236}">
                  <a16:creationId xmlns:a16="http://schemas.microsoft.com/office/drawing/2014/main" id="{4238F95A-317E-1F46-84C6-0BFEA83BB3DC}"/>
                </a:ext>
              </a:extLst>
            </p:cNvPr>
            <p:cNvSpPr>
              <a:spLocks/>
            </p:cNvSpPr>
            <p:nvPr/>
          </p:nvSpPr>
          <p:spPr bwMode="auto">
            <a:xfrm>
              <a:off x="1104959" y="2413837"/>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4"/>
                  </a:lnTo>
                  <a:lnTo>
                    <a:pt x="0" y="0"/>
                  </a:lnTo>
                  <a:lnTo>
                    <a:pt x="3" y="0"/>
                  </a:lnTo>
                  <a:lnTo>
                    <a:pt x="7" y="0"/>
                  </a:lnTo>
                  <a:lnTo>
                    <a:pt x="10" y="4"/>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4" name="Freeform 1078">
              <a:extLst>
                <a:ext uri="{FF2B5EF4-FFF2-40B4-BE49-F238E27FC236}">
                  <a16:creationId xmlns:a16="http://schemas.microsoft.com/office/drawing/2014/main" id="{395383C1-7AF1-9F40-BBB4-0C44F2B77D03}"/>
                </a:ext>
              </a:extLst>
            </p:cNvPr>
            <p:cNvSpPr>
              <a:spLocks/>
            </p:cNvSpPr>
            <p:nvPr/>
          </p:nvSpPr>
          <p:spPr bwMode="auto">
            <a:xfrm>
              <a:off x="1104959" y="2413837"/>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5" name="Freeform 1079">
              <a:extLst>
                <a:ext uri="{FF2B5EF4-FFF2-40B4-BE49-F238E27FC236}">
                  <a16:creationId xmlns:a16="http://schemas.microsoft.com/office/drawing/2014/main" id="{49D7D35E-77C7-7247-886E-28D436B85187}"/>
                </a:ext>
              </a:extLst>
            </p:cNvPr>
            <p:cNvSpPr>
              <a:spLocks/>
            </p:cNvSpPr>
            <p:nvPr/>
          </p:nvSpPr>
          <p:spPr bwMode="auto">
            <a:xfrm>
              <a:off x="1108448" y="2400929"/>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4" y="20"/>
                  </a:lnTo>
                  <a:lnTo>
                    <a:pt x="0" y="20"/>
                  </a:lnTo>
                  <a:lnTo>
                    <a:pt x="0" y="17"/>
                  </a:lnTo>
                  <a:lnTo>
                    <a:pt x="0" y="4"/>
                  </a:lnTo>
                  <a:lnTo>
                    <a:pt x="0" y="0"/>
                  </a:lnTo>
                  <a:lnTo>
                    <a:pt x="4" y="0"/>
                  </a:lnTo>
                  <a:lnTo>
                    <a:pt x="7"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6" name="Freeform 1080">
              <a:extLst>
                <a:ext uri="{FF2B5EF4-FFF2-40B4-BE49-F238E27FC236}">
                  <a16:creationId xmlns:a16="http://schemas.microsoft.com/office/drawing/2014/main" id="{CAD6BD91-58B3-3C4C-86DA-93BF3C4C0D16}"/>
                </a:ext>
              </a:extLst>
            </p:cNvPr>
            <p:cNvSpPr>
              <a:spLocks/>
            </p:cNvSpPr>
            <p:nvPr/>
          </p:nvSpPr>
          <p:spPr bwMode="auto">
            <a:xfrm>
              <a:off x="1108448" y="240092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7" name="Freeform 1081">
              <a:extLst>
                <a:ext uri="{FF2B5EF4-FFF2-40B4-BE49-F238E27FC236}">
                  <a16:creationId xmlns:a16="http://schemas.microsoft.com/office/drawing/2014/main" id="{69DF10A7-5F3B-784D-8DE2-2F76DE983960}"/>
                </a:ext>
              </a:extLst>
            </p:cNvPr>
            <p:cNvSpPr>
              <a:spLocks/>
            </p:cNvSpPr>
            <p:nvPr/>
          </p:nvSpPr>
          <p:spPr bwMode="auto">
            <a:xfrm>
              <a:off x="1113100" y="2388023"/>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8" name="Freeform 1082">
              <a:extLst>
                <a:ext uri="{FF2B5EF4-FFF2-40B4-BE49-F238E27FC236}">
                  <a16:creationId xmlns:a16="http://schemas.microsoft.com/office/drawing/2014/main" id="{70BB8118-A754-5E41-B997-676D65B8A958}"/>
                </a:ext>
              </a:extLst>
            </p:cNvPr>
            <p:cNvSpPr>
              <a:spLocks/>
            </p:cNvSpPr>
            <p:nvPr/>
          </p:nvSpPr>
          <p:spPr bwMode="auto">
            <a:xfrm>
              <a:off x="1113100" y="2388023"/>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4"/>
                  </a:lnTo>
                  <a:lnTo>
                    <a:pt x="0" y="0"/>
                  </a:lnTo>
                  <a:lnTo>
                    <a:pt x="3" y="0"/>
                  </a:lnTo>
                  <a:lnTo>
                    <a:pt x="19" y="0"/>
                  </a:lnTo>
                  <a:lnTo>
                    <a:pt x="22" y="0"/>
                  </a:lnTo>
                  <a:lnTo>
                    <a:pt x="22" y="4"/>
                  </a:lnTo>
                  <a:lnTo>
                    <a:pt x="22" y="7"/>
                  </a:lnTo>
                  <a:lnTo>
                    <a:pt x="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39" name="Freeform 1083">
              <a:extLst>
                <a:ext uri="{FF2B5EF4-FFF2-40B4-BE49-F238E27FC236}">
                  <a16:creationId xmlns:a16="http://schemas.microsoft.com/office/drawing/2014/main" id="{54C9F90F-99E8-C241-A817-B0BF8DACDB24}"/>
                </a:ext>
              </a:extLst>
            </p:cNvPr>
            <p:cNvSpPr>
              <a:spLocks/>
            </p:cNvSpPr>
            <p:nvPr/>
          </p:nvSpPr>
          <p:spPr bwMode="auto">
            <a:xfrm>
              <a:off x="1131706" y="2376109"/>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0" name="Freeform 1084">
              <a:extLst>
                <a:ext uri="{FF2B5EF4-FFF2-40B4-BE49-F238E27FC236}">
                  <a16:creationId xmlns:a16="http://schemas.microsoft.com/office/drawing/2014/main" id="{2FA64287-D163-4940-9136-8A51664EF85A}"/>
                </a:ext>
              </a:extLst>
            </p:cNvPr>
            <p:cNvSpPr>
              <a:spLocks/>
            </p:cNvSpPr>
            <p:nvPr/>
          </p:nvSpPr>
          <p:spPr bwMode="auto">
            <a:xfrm>
              <a:off x="1131706" y="2359230"/>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1" name="Freeform 1085">
              <a:extLst>
                <a:ext uri="{FF2B5EF4-FFF2-40B4-BE49-F238E27FC236}">
                  <a16:creationId xmlns:a16="http://schemas.microsoft.com/office/drawing/2014/main" id="{0CA23E07-9B19-9946-8177-A7F322D28C54}"/>
                </a:ext>
              </a:extLst>
            </p:cNvPr>
            <p:cNvSpPr>
              <a:spLocks/>
            </p:cNvSpPr>
            <p:nvPr/>
          </p:nvSpPr>
          <p:spPr bwMode="auto">
            <a:xfrm>
              <a:off x="1131706" y="235923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2" name="Freeform 1086">
              <a:extLst>
                <a:ext uri="{FF2B5EF4-FFF2-40B4-BE49-F238E27FC236}">
                  <a16:creationId xmlns:a16="http://schemas.microsoft.com/office/drawing/2014/main" id="{303781D8-FA65-9D41-87C1-98C3C496875E}"/>
                </a:ext>
              </a:extLst>
            </p:cNvPr>
            <p:cNvSpPr>
              <a:spLocks/>
            </p:cNvSpPr>
            <p:nvPr/>
          </p:nvSpPr>
          <p:spPr bwMode="auto">
            <a:xfrm>
              <a:off x="1135195" y="2347316"/>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3" name="Freeform 1087">
              <a:extLst>
                <a:ext uri="{FF2B5EF4-FFF2-40B4-BE49-F238E27FC236}">
                  <a16:creationId xmlns:a16="http://schemas.microsoft.com/office/drawing/2014/main" id="{2F7968ED-D40F-5544-B587-D5CB28E16EBE}"/>
                </a:ext>
              </a:extLst>
            </p:cNvPr>
            <p:cNvSpPr>
              <a:spLocks/>
            </p:cNvSpPr>
            <p:nvPr/>
          </p:nvSpPr>
          <p:spPr bwMode="auto">
            <a:xfrm>
              <a:off x="1135195" y="2334409"/>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4" name="Freeform 1088">
              <a:extLst>
                <a:ext uri="{FF2B5EF4-FFF2-40B4-BE49-F238E27FC236}">
                  <a16:creationId xmlns:a16="http://schemas.microsoft.com/office/drawing/2014/main" id="{88F98D77-8F70-1249-8872-08A7750530AE}"/>
                </a:ext>
              </a:extLst>
            </p:cNvPr>
            <p:cNvSpPr>
              <a:spLocks/>
            </p:cNvSpPr>
            <p:nvPr/>
          </p:nvSpPr>
          <p:spPr bwMode="auto">
            <a:xfrm>
              <a:off x="1135195" y="2334409"/>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5" name="Freeform 1089">
              <a:extLst>
                <a:ext uri="{FF2B5EF4-FFF2-40B4-BE49-F238E27FC236}">
                  <a16:creationId xmlns:a16="http://schemas.microsoft.com/office/drawing/2014/main" id="{B668FA8D-8BAD-E744-AC6E-D0EC39CD4C2F}"/>
                </a:ext>
              </a:extLst>
            </p:cNvPr>
            <p:cNvSpPr>
              <a:spLocks/>
            </p:cNvSpPr>
            <p:nvPr/>
          </p:nvSpPr>
          <p:spPr bwMode="auto">
            <a:xfrm>
              <a:off x="1138684" y="2321502"/>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6" name="Freeform 1090">
              <a:extLst>
                <a:ext uri="{FF2B5EF4-FFF2-40B4-BE49-F238E27FC236}">
                  <a16:creationId xmlns:a16="http://schemas.microsoft.com/office/drawing/2014/main" id="{EA19AF82-EC58-E649-A31D-D64BA105011C}"/>
                </a:ext>
              </a:extLst>
            </p:cNvPr>
            <p:cNvSpPr>
              <a:spLocks/>
            </p:cNvSpPr>
            <p:nvPr/>
          </p:nvSpPr>
          <p:spPr bwMode="auto">
            <a:xfrm>
              <a:off x="1138684" y="2321502"/>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7" name="Freeform 1091">
              <a:extLst>
                <a:ext uri="{FF2B5EF4-FFF2-40B4-BE49-F238E27FC236}">
                  <a16:creationId xmlns:a16="http://schemas.microsoft.com/office/drawing/2014/main" id="{C6C16237-C648-004A-8BC9-73E09F5E3AE7}"/>
                </a:ext>
              </a:extLst>
            </p:cNvPr>
            <p:cNvSpPr>
              <a:spLocks/>
            </p:cNvSpPr>
            <p:nvPr/>
          </p:nvSpPr>
          <p:spPr bwMode="auto">
            <a:xfrm>
              <a:off x="1146824" y="2308595"/>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8" name="Freeform 1092">
              <a:extLst>
                <a:ext uri="{FF2B5EF4-FFF2-40B4-BE49-F238E27FC236}">
                  <a16:creationId xmlns:a16="http://schemas.microsoft.com/office/drawing/2014/main" id="{C04751FC-02B9-324A-BC90-152ABE708C8A}"/>
                </a:ext>
              </a:extLst>
            </p:cNvPr>
            <p:cNvSpPr>
              <a:spLocks/>
            </p:cNvSpPr>
            <p:nvPr/>
          </p:nvSpPr>
          <p:spPr bwMode="auto">
            <a:xfrm>
              <a:off x="1146824" y="2308595"/>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49" name="Freeform 1093">
              <a:extLst>
                <a:ext uri="{FF2B5EF4-FFF2-40B4-BE49-F238E27FC236}">
                  <a16:creationId xmlns:a16="http://schemas.microsoft.com/office/drawing/2014/main" id="{237A0C49-42DD-2A49-B9B1-22B22A753AC6}"/>
                </a:ext>
              </a:extLst>
            </p:cNvPr>
            <p:cNvSpPr>
              <a:spLocks/>
            </p:cNvSpPr>
            <p:nvPr/>
          </p:nvSpPr>
          <p:spPr bwMode="auto">
            <a:xfrm>
              <a:off x="1157291" y="2295688"/>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0" name="Freeform 1094">
              <a:extLst>
                <a:ext uri="{FF2B5EF4-FFF2-40B4-BE49-F238E27FC236}">
                  <a16:creationId xmlns:a16="http://schemas.microsoft.com/office/drawing/2014/main" id="{4584BBDF-B2A9-8E41-9ECB-573C6AA6A791}"/>
                </a:ext>
              </a:extLst>
            </p:cNvPr>
            <p:cNvSpPr>
              <a:spLocks/>
            </p:cNvSpPr>
            <p:nvPr/>
          </p:nvSpPr>
          <p:spPr bwMode="auto">
            <a:xfrm>
              <a:off x="1157291" y="2282781"/>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1" name="Freeform 1095">
              <a:extLst>
                <a:ext uri="{FF2B5EF4-FFF2-40B4-BE49-F238E27FC236}">
                  <a16:creationId xmlns:a16="http://schemas.microsoft.com/office/drawing/2014/main" id="{18F52496-75BC-604D-AA85-F3ECC3EAE423}"/>
                </a:ext>
              </a:extLst>
            </p:cNvPr>
            <p:cNvSpPr>
              <a:spLocks/>
            </p:cNvSpPr>
            <p:nvPr/>
          </p:nvSpPr>
          <p:spPr bwMode="auto">
            <a:xfrm>
              <a:off x="1157291" y="228278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2" name="Freeform 1096">
              <a:extLst>
                <a:ext uri="{FF2B5EF4-FFF2-40B4-BE49-F238E27FC236}">
                  <a16:creationId xmlns:a16="http://schemas.microsoft.com/office/drawing/2014/main" id="{FF7C37BF-2BF0-D441-B642-B0B20858021D}"/>
                </a:ext>
              </a:extLst>
            </p:cNvPr>
            <p:cNvSpPr>
              <a:spLocks/>
            </p:cNvSpPr>
            <p:nvPr/>
          </p:nvSpPr>
          <p:spPr bwMode="auto">
            <a:xfrm>
              <a:off x="1161942" y="2266896"/>
              <a:ext cx="10467" cy="21843"/>
            </a:xfrm>
            <a:custGeom>
              <a:avLst/>
              <a:gdLst>
                <a:gd name="T0" fmla="*/ 2147483646 w 9"/>
                <a:gd name="T1" fmla="*/ 2147483646 h 22"/>
                <a:gd name="T2" fmla="*/ 2147483646 w 9"/>
                <a:gd name="T3" fmla="*/ 2147483646 h 22"/>
                <a:gd name="T4" fmla="*/ 2147483646 w 9"/>
                <a:gd name="T5" fmla="*/ 2147483646 h 22"/>
                <a:gd name="T6" fmla="*/ 2147483646 w 9"/>
                <a:gd name="T7" fmla="*/ 2147483646 h 22"/>
                <a:gd name="T8" fmla="*/ 0 w 9"/>
                <a:gd name="T9" fmla="*/ 2147483646 h 22"/>
                <a:gd name="T10" fmla="*/ 0 w 9"/>
                <a:gd name="T11" fmla="*/ 2147483646 h 22"/>
                <a:gd name="T12" fmla="*/ 0 w 9"/>
                <a:gd name="T13" fmla="*/ 2147483646 h 22"/>
                <a:gd name="T14" fmla="*/ 0 w 9"/>
                <a:gd name="T15" fmla="*/ 0 h 22"/>
                <a:gd name="T16" fmla="*/ 2147483646 w 9"/>
                <a:gd name="T17" fmla="*/ 0 h 22"/>
                <a:gd name="T18" fmla="*/ 2147483646 w 9"/>
                <a:gd name="T19" fmla="*/ 0 h 22"/>
                <a:gd name="T20" fmla="*/ 2147483646 w 9"/>
                <a:gd name="T21" fmla="*/ 0 h 22"/>
                <a:gd name="T22" fmla="*/ 2147483646 w 9"/>
                <a:gd name="T23" fmla="*/ 2147483646 h 22"/>
                <a:gd name="T24" fmla="*/ 2147483646 w 9"/>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2">
                  <a:moveTo>
                    <a:pt x="9" y="19"/>
                  </a:moveTo>
                  <a:lnTo>
                    <a:pt x="6" y="22"/>
                  </a:lnTo>
                  <a:lnTo>
                    <a:pt x="3" y="22"/>
                  </a:lnTo>
                  <a:lnTo>
                    <a:pt x="0" y="22"/>
                  </a:lnTo>
                  <a:lnTo>
                    <a:pt x="0" y="19"/>
                  </a:lnTo>
                  <a:lnTo>
                    <a:pt x="0" y="3"/>
                  </a:lnTo>
                  <a:lnTo>
                    <a:pt x="0" y="0"/>
                  </a:lnTo>
                  <a:lnTo>
                    <a:pt x="3" y="0"/>
                  </a:lnTo>
                  <a:lnTo>
                    <a:pt x="6" y="0"/>
                  </a:lnTo>
                  <a:lnTo>
                    <a:pt x="9" y="3"/>
                  </a:lnTo>
                  <a:lnTo>
                    <a:pt x="9"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3" name="Freeform 1097">
              <a:extLst>
                <a:ext uri="{FF2B5EF4-FFF2-40B4-BE49-F238E27FC236}">
                  <a16:creationId xmlns:a16="http://schemas.microsoft.com/office/drawing/2014/main" id="{97A4CAE0-EE93-304B-8A33-148E8B6416F0}"/>
                </a:ext>
              </a:extLst>
            </p:cNvPr>
            <p:cNvSpPr>
              <a:spLocks/>
            </p:cNvSpPr>
            <p:nvPr/>
          </p:nvSpPr>
          <p:spPr bwMode="auto">
            <a:xfrm>
              <a:off x="1161942" y="2253989"/>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4" name="Freeform 1098">
              <a:extLst>
                <a:ext uri="{FF2B5EF4-FFF2-40B4-BE49-F238E27FC236}">
                  <a16:creationId xmlns:a16="http://schemas.microsoft.com/office/drawing/2014/main" id="{A97A7781-12A3-2942-B17E-7D4300A2F5F1}"/>
                </a:ext>
              </a:extLst>
            </p:cNvPr>
            <p:cNvSpPr>
              <a:spLocks/>
            </p:cNvSpPr>
            <p:nvPr/>
          </p:nvSpPr>
          <p:spPr bwMode="auto">
            <a:xfrm>
              <a:off x="1161942" y="2241082"/>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5" name="Freeform 1099">
              <a:extLst>
                <a:ext uri="{FF2B5EF4-FFF2-40B4-BE49-F238E27FC236}">
                  <a16:creationId xmlns:a16="http://schemas.microsoft.com/office/drawing/2014/main" id="{1130DCAB-C83C-4E44-A6EA-CECE67547EE9}"/>
                </a:ext>
              </a:extLst>
            </p:cNvPr>
            <p:cNvSpPr>
              <a:spLocks/>
            </p:cNvSpPr>
            <p:nvPr/>
          </p:nvSpPr>
          <p:spPr bwMode="auto">
            <a:xfrm>
              <a:off x="1161942" y="2241082"/>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6"/>
                  </a:lnTo>
                  <a:lnTo>
                    <a:pt x="0" y="3"/>
                  </a:lnTo>
                  <a:lnTo>
                    <a:pt x="0" y="0"/>
                  </a:lnTo>
                  <a:lnTo>
                    <a:pt x="3" y="0"/>
                  </a:lnTo>
                  <a:lnTo>
                    <a:pt x="6" y="0"/>
                  </a:lnTo>
                  <a:lnTo>
                    <a:pt x="9" y="0"/>
                  </a:lnTo>
                  <a:lnTo>
                    <a:pt x="9" y="3"/>
                  </a:lnTo>
                  <a:lnTo>
                    <a:pt x="9"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6" name="Freeform 1100">
              <a:extLst>
                <a:ext uri="{FF2B5EF4-FFF2-40B4-BE49-F238E27FC236}">
                  <a16:creationId xmlns:a16="http://schemas.microsoft.com/office/drawing/2014/main" id="{9558ED80-EA1B-F44A-8F6A-F11205CF7CFE}"/>
                </a:ext>
              </a:extLst>
            </p:cNvPr>
            <p:cNvSpPr>
              <a:spLocks/>
            </p:cNvSpPr>
            <p:nvPr/>
          </p:nvSpPr>
          <p:spPr bwMode="auto">
            <a:xfrm>
              <a:off x="1165431" y="2228175"/>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7" name="Freeform 1101">
              <a:extLst>
                <a:ext uri="{FF2B5EF4-FFF2-40B4-BE49-F238E27FC236}">
                  <a16:creationId xmlns:a16="http://schemas.microsoft.com/office/drawing/2014/main" id="{AB1878A5-8CA9-B044-9476-FF9555F4C164}"/>
                </a:ext>
              </a:extLst>
            </p:cNvPr>
            <p:cNvSpPr>
              <a:spLocks/>
            </p:cNvSpPr>
            <p:nvPr/>
          </p:nvSpPr>
          <p:spPr bwMode="auto">
            <a:xfrm>
              <a:off x="1165431" y="2228175"/>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8" name="Freeform 1102">
              <a:extLst>
                <a:ext uri="{FF2B5EF4-FFF2-40B4-BE49-F238E27FC236}">
                  <a16:creationId xmlns:a16="http://schemas.microsoft.com/office/drawing/2014/main" id="{FBB4A3E7-195C-3846-ABAD-73F56840DD57}"/>
                </a:ext>
              </a:extLst>
            </p:cNvPr>
            <p:cNvSpPr>
              <a:spLocks/>
            </p:cNvSpPr>
            <p:nvPr/>
          </p:nvSpPr>
          <p:spPr bwMode="auto">
            <a:xfrm>
              <a:off x="1175897" y="2215268"/>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59" name="Freeform 1103">
              <a:extLst>
                <a:ext uri="{FF2B5EF4-FFF2-40B4-BE49-F238E27FC236}">
                  <a16:creationId xmlns:a16="http://schemas.microsoft.com/office/drawing/2014/main" id="{A2C7C0BB-4A59-5247-9369-18977473C03F}"/>
                </a:ext>
              </a:extLst>
            </p:cNvPr>
            <p:cNvSpPr>
              <a:spLocks/>
            </p:cNvSpPr>
            <p:nvPr/>
          </p:nvSpPr>
          <p:spPr bwMode="auto">
            <a:xfrm>
              <a:off x="1175897" y="2215268"/>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3"/>
                  </a:lnTo>
                  <a:lnTo>
                    <a:pt x="0" y="0"/>
                  </a:lnTo>
                  <a:lnTo>
                    <a:pt x="4" y="0"/>
                  </a:lnTo>
                  <a:lnTo>
                    <a:pt x="7" y="0"/>
                  </a:lnTo>
                  <a:lnTo>
                    <a:pt x="10" y="0"/>
                  </a:lnTo>
                  <a:lnTo>
                    <a:pt x="10" y="3"/>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0" name="Freeform 1104">
              <a:extLst>
                <a:ext uri="{FF2B5EF4-FFF2-40B4-BE49-F238E27FC236}">
                  <a16:creationId xmlns:a16="http://schemas.microsoft.com/office/drawing/2014/main" id="{BAE98F2B-C554-AC40-82EB-5ED1DCBB09B6}"/>
                </a:ext>
              </a:extLst>
            </p:cNvPr>
            <p:cNvSpPr>
              <a:spLocks/>
            </p:cNvSpPr>
            <p:nvPr/>
          </p:nvSpPr>
          <p:spPr bwMode="auto">
            <a:xfrm>
              <a:off x="1180549" y="2202361"/>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1" name="Freeform 1105">
              <a:extLst>
                <a:ext uri="{FF2B5EF4-FFF2-40B4-BE49-F238E27FC236}">
                  <a16:creationId xmlns:a16="http://schemas.microsoft.com/office/drawing/2014/main" id="{D5DCEC4E-65C1-D24A-BF87-94274F467D5F}"/>
                </a:ext>
              </a:extLst>
            </p:cNvPr>
            <p:cNvSpPr>
              <a:spLocks/>
            </p:cNvSpPr>
            <p:nvPr/>
          </p:nvSpPr>
          <p:spPr bwMode="auto">
            <a:xfrm>
              <a:off x="1180549" y="2202361"/>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2" name="Freeform 1106">
              <a:extLst>
                <a:ext uri="{FF2B5EF4-FFF2-40B4-BE49-F238E27FC236}">
                  <a16:creationId xmlns:a16="http://schemas.microsoft.com/office/drawing/2014/main" id="{7336F940-3D3F-2B42-9CC4-4B77C7EF85F4}"/>
                </a:ext>
              </a:extLst>
            </p:cNvPr>
            <p:cNvSpPr>
              <a:spLocks/>
            </p:cNvSpPr>
            <p:nvPr/>
          </p:nvSpPr>
          <p:spPr bwMode="auto">
            <a:xfrm>
              <a:off x="1191015" y="2186475"/>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3"/>
                  </a:lnTo>
                  <a:lnTo>
                    <a:pt x="0" y="0"/>
                  </a:lnTo>
                  <a:lnTo>
                    <a:pt x="4" y="0"/>
                  </a:lnTo>
                  <a:lnTo>
                    <a:pt x="7" y="0"/>
                  </a:lnTo>
                  <a:lnTo>
                    <a:pt x="10" y="3"/>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3" name="Freeform 1107">
              <a:extLst>
                <a:ext uri="{FF2B5EF4-FFF2-40B4-BE49-F238E27FC236}">
                  <a16:creationId xmlns:a16="http://schemas.microsoft.com/office/drawing/2014/main" id="{FFCB7F8C-D5D1-0744-83E9-25A4252017AB}"/>
                </a:ext>
              </a:extLst>
            </p:cNvPr>
            <p:cNvSpPr>
              <a:spLocks/>
            </p:cNvSpPr>
            <p:nvPr/>
          </p:nvSpPr>
          <p:spPr bwMode="auto">
            <a:xfrm>
              <a:off x="1191015" y="2173569"/>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4" name="Freeform 1108">
              <a:extLst>
                <a:ext uri="{FF2B5EF4-FFF2-40B4-BE49-F238E27FC236}">
                  <a16:creationId xmlns:a16="http://schemas.microsoft.com/office/drawing/2014/main" id="{B53B8D71-6CA4-1D43-A610-23EC4C8220F7}"/>
                </a:ext>
              </a:extLst>
            </p:cNvPr>
            <p:cNvSpPr>
              <a:spLocks/>
            </p:cNvSpPr>
            <p:nvPr/>
          </p:nvSpPr>
          <p:spPr bwMode="auto">
            <a:xfrm>
              <a:off x="1191015" y="2160661"/>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4"/>
                  </a:lnTo>
                  <a:lnTo>
                    <a:pt x="0" y="0"/>
                  </a:lnTo>
                  <a:lnTo>
                    <a:pt x="4" y="0"/>
                  </a:lnTo>
                  <a:lnTo>
                    <a:pt x="7" y="0"/>
                  </a:lnTo>
                  <a:lnTo>
                    <a:pt x="10" y="4"/>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5" name="Freeform 1109">
              <a:extLst>
                <a:ext uri="{FF2B5EF4-FFF2-40B4-BE49-F238E27FC236}">
                  <a16:creationId xmlns:a16="http://schemas.microsoft.com/office/drawing/2014/main" id="{6AD85170-FD45-FD44-BAA4-02F69926AADF}"/>
                </a:ext>
              </a:extLst>
            </p:cNvPr>
            <p:cNvSpPr>
              <a:spLocks/>
            </p:cNvSpPr>
            <p:nvPr/>
          </p:nvSpPr>
          <p:spPr bwMode="auto">
            <a:xfrm>
              <a:off x="1191015" y="2160661"/>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6" name="Freeform 1110">
              <a:extLst>
                <a:ext uri="{FF2B5EF4-FFF2-40B4-BE49-F238E27FC236}">
                  <a16:creationId xmlns:a16="http://schemas.microsoft.com/office/drawing/2014/main" id="{68AB1DD2-E38C-B944-B027-537B456E2247}"/>
                </a:ext>
              </a:extLst>
            </p:cNvPr>
            <p:cNvSpPr>
              <a:spLocks/>
            </p:cNvSpPr>
            <p:nvPr/>
          </p:nvSpPr>
          <p:spPr bwMode="auto">
            <a:xfrm>
              <a:off x="1195667" y="2147755"/>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7" name="Freeform 1111">
              <a:extLst>
                <a:ext uri="{FF2B5EF4-FFF2-40B4-BE49-F238E27FC236}">
                  <a16:creationId xmlns:a16="http://schemas.microsoft.com/office/drawing/2014/main" id="{7E751365-2C57-5948-8397-A935958F674A}"/>
                </a:ext>
              </a:extLst>
            </p:cNvPr>
            <p:cNvSpPr>
              <a:spLocks/>
            </p:cNvSpPr>
            <p:nvPr/>
          </p:nvSpPr>
          <p:spPr bwMode="auto">
            <a:xfrm>
              <a:off x="1195667" y="2131869"/>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8" name="Freeform 1112">
              <a:extLst>
                <a:ext uri="{FF2B5EF4-FFF2-40B4-BE49-F238E27FC236}">
                  <a16:creationId xmlns:a16="http://schemas.microsoft.com/office/drawing/2014/main" id="{E8CE1D29-48D5-FD4D-9A36-77249CCBF78A}"/>
                </a:ext>
              </a:extLst>
            </p:cNvPr>
            <p:cNvSpPr>
              <a:spLocks/>
            </p:cNvSpPr>
            <p:nvPr/>
          </p:nvSpPr>
          <p:spPr bwMode="auto">
            <a:xfrm>
              <a:off x="1195667" y="2131869"/>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69" name="Freeform 1113">
              <a:extLst>
                <a:ext uri="{FF2B5EF4-FFF2-40B4-BE49-F238E27FC236}">
                  <a16:creationId xmlns:a16="http://schemas.microsoft.com/office/drawing/2014/main" id="{435A6A89-18AD-A446-9257-886FA9E3F287}"/>
                </a:ext>
              </a:extLst>
            </p:cNvPr>
            <p:cNvSpPr>
              <a:spLocks/>
            </p:cNvSpPr>
            <p:nvPr/>
          </p:nvSpPr>
          <p:spPr bwMode="auto">
            <a:xfrm>
              <a:off x="1199156" y="2118962"/>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0" name="Freeform 1114">
              <a:extLst>
                <a:ext uri="{FF2B5EF4-FFF2-40B4-BE49-F238E27FC236}">
                  <a16:creationId xmlns:a16="http://schemas.microsoft.com/office/drawing/2014/main" id="{1F28A7C1-B19F-3F49-A937-876D994F9D5F}"/>
                </a:ext>
              </a:extLst>
            </p:cNvPr>
            <p:cNvSpPr>
              <a:spLocks/>
            </p:cNvSpPr>
            <p:nvPr/>
          </p:nvSpPr>
          <p:spPr bwMode="auto">
            <a:xfrm>
              <a:off x="1199156" y="2118962"/>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4"/>
                  </a:lnTo>
                  <a:lnTo>
                    <a:pt x="0" y="0"/>
                  </a:lnTo>
                  <a:lnTo>
                    <a:pt x="3" y="0"/>
                  </a:lnTo>
                  <a:lnTo>
                    <a:pt x="19" y="0"/>
                  </a:lnTo>
                  <a:lnTo>
                    <a:pt x="22" y="0"/>
                  </a:lnTo>
                  <a:lnTo>
                    <a:pt x="22" y="4"/>
                  </a:lnTo>
                  <a:lnTo>
                    <a:pt x="22" y="7"/>
                  </a:lnTo>
                  <a:lnTo>
                    <a:pt x="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1" name="Freeform 1115">
              <a:extLst>
                <a:ext uri="{FF2B5EF4-FFF2-40B4-BE49-F238E27FC236}">
                  <a16:creationId xmlns:a16="http://schemas.microsoft.com/office/drawing/2014/main" id="{DF476D2F-8F14-6A42-B850-42BB8FF7B9B8}"/>
                </a:ext>
              </a:extLst>
            </p:cNvPr>
            <p:cNvSpPr>
              <a:spLocks/>
            </p:cNvSpPr>
            <p:nvPr/>
          </p:nvSpPr>
          <p:spPr bwMode="auto">
            <a:xfrm>
              <a:off x="1217763" y="211896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6" y="0"/>
                  </a:lnTo>
                  <a:lnTo>
                    <a:pt x="10" y="0"/>
                  </a:lnTo>
                  <a:lnTo>
                    <a:pt x="10" y="4"/>
                  </a:lnTo>
                  <a:lnTo>
                    <a:pt x="10"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2" name="Freeform 1116">
              <a:extLst>
                <a:ext uri="{FF2B5EF4-FFF2-40B4-BE49-F238E27FC236}">
                  <a16:creationId xmlns:a16="http://schemas.microsoft.com/office/drawing/2014/main" id="{59E7CC44-611D-6F49-993B-0465E0CC8EF5}"/>
                </a:ext>
              </a:extLst>
            </p:cNvPr>
            <p:cNvSpPr>
              <a:spLocks/>
            </p:cNvSpPr>
            <p:nvPr/>
          </p:nvSpPr>
          <p:spPr bwMode="auto">
            <a:xfrm>
              <a:off x="1221251" y="2106055"/>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7"/>
                  </a:moveTo>
                  <a:lnTo>
                    <a:pt x="7" y="20"/>
                  </a:lnTo>
                  <a:lnTo>
                    <a:pt x="3" y="20"/>
                  </a:lnTo>
                  <a:lnTo>
                    <a:pt x="0" y="20"/>
                  </a:lnTo>
                  <a:lnTo>
                    <a:pt x="0" y="17"/>
                  </a:lnTo>
                  <a:lnTo>
                    <a:pt x="0" y="4"/>
                  </a:lnTo>
                  <a:lnTo>
                    <a:pt x="0" y="0"/>
                  </a:lnTo>
                  <a:lnTo>
                    <a:pt x="3" y="0"/>
                  </a:lnTo>
                  <a:lnTo>
                    <a:pt x="7" y="0"/>
                  </a:lnTo>
                  <a:lnTo>
                    <a:pt x="10" y="4"/>
                  </a:lnTo>
                  <a:lnTo>
                    <a:pt x="10"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3" name="Freeform 1117">
              <a:extLst>
                <a:ext uri="{FF2B5EF4-FFF2-40B4-BE49-F238E27FC236}">
                  <a16:creationId xmlns:a16="http://schemas.microsoft.com/office/drawing/2014/main" id="{B0D1F5D0-6C78-A047-868F-BB1F4B8C4950}"/>
                </a:ext>
              </a:extLst>
            </p:cNvPr>
            <p:cNvSpPr>
              <a:spLocks/>
            </p:cNvSpPr>
            <p:nvPr/>
          </p:nvSpPr>
          <p:spPr bwMode="auto">
            <a:xfrm>
              <a:off x="1221251" y="2106055"/>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4" name="Freeform 1118">
              <a:extLst>
                <a:ext uri="{FF2B5EF4-FFF2-40B4-BE49-F238E27FC236}">
                  <a16:creationId xmlns:a16="http://schemas.microsoft.com/office/drawing/2014/main" id="{2E52BAEE-A7E8-314B-B416-FE106A10313C}"/>
                </a:ext>
              </a:extLst>
            </p:cNvPr>
            <p:cNvSpPr>
              <a:spLocks/>
            </p:cNvSpPr>
            <p:nvPr/>
          </p:nvSpPr>
          <p:spPr bwMode="auto">
            <a:xfrm>
              <a:off x="1224740" y="2094141"/>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5" name="Freeform 1119">
              <a:extLst>
                <a:ext uri="{FF2B5EF4-FFF2-40B4-BE49-F238E27FC236}">
                  <a16:creationId xmlns:a16="http://schemas.microsoft.com/office/drawing/2014/main" id="{E597B93B-879C-F44C-BB6A-87EDDF24DE07}"/>
                </a:ext>
              </a:extLst>
            </p:cNvPr>
            <p:cNvSpPr>
              <a:spLocks/>
            </p:cNvSpPr>
            <p:nvPr/>
          </p:nvSpPr>
          <p:spPr bwMode="auto">
            <a:xfrm>
              <a:off x="1224740" y="209414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6" name="Freeform 1120">
              <a:extLst>
                <a:ext uri="{FF2B5EF4-FFF2-40B4-BE49-F238E27FC236}">
                  <a16:creationId xmlns:a16="http://schemas.microsoft.com/office/drawing/2014/main" id="{FF8E4DD5-071D-E44A-98CE-E8208BE393A0}"/>
                </a:ext>
              </a:extLst>
            </p:cNvPr>
            <p:cNvSpPr>
              <a:spLocks/>
            </p:cNvSpPr>
            <p:nvPr/>
          </p:nvSpPr>
          <p:spPr bwMode="auto">
            <a:xfrm>
              <a:off x="1229392" y="2077262"/>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7" name="Freeform 1121">
              <a:extLst>
                <a:ext uri="{FF2B5EF4-FFF2-40B4-BE49-F238E27FC236}">
                  <a16:creationId xmlns:a16="http://schemas.microsoft.com/office/drawing/2014/main" id="{3CAB6DB0-2E2B-7E49-B255-EC314BDAF71E}"/>
                </a:ext>
              </a:extLst>
            </p:cNvPr>
            <p:cNvSpPr>
              <a:spLocks/>
            </p:cNvSpPr>
            <p:nvPr/>
          </p:nvSpPr>
          <p:spPr bwMode="auto">
            <a:xfrm>
              <a:off x="1229392" y="2077262"/>
              <a:ext cx="13955" cy="9928"/>
            </a:xfrm>
            <a:custGeom>
              <a:avLst/>
              <a:gdLst>
                <a:gd name="T0" fmla="*/ 2147483646 w 12"/>
                <a:gd name="T1" fmla="*/ 2147483646 h 10"/>
                <a:gd name="T2" fmla="*/ 0 w 12"/>
                <a:gd name="T3" fmla="*/ 2147483646 h 10"/>
                <a:gd name="T4" fmla="*/ 0 w 12"/>
                <a:gd name="T5" fmla="*/ 2147483646 h 10"/>
                <a:gd name="T6" fmla="*/ 0 w 12"/>
                <a:gd name="T7" fmla="*/ 2147483646 h 10"/>
                <a:gd name="T8" fmla="*/ 0 w 12"/>
                <a:gd name="T9" fmla="*/ 0 h 10"/>
                <a:gd name="T10" fmla="*/ 2147483646 w 12"/>
                <a:gd name="T11" fmla="*/ 0 h 10"/>
                <a:gd name="T12" fmla="*/ 2147483646 w 12"/>
                <a:gd name="T13" fmla="*/ 0 h 10"/>
                <a:gd name="T14" fmla="*/ 2147483646 w 12"/>
                <a:gd name="T15" fmla="*/ 0 h 10"/>
                <a:gd name="T16" fmla="*/ 2147483646 w 12"/>
                <a:gd name="T17" fmla="*/ 2147483646 h 10"/>
                <a:gd name="T18" fmla="*/ 2147483646 w 12"/>
                <a:gd name="T19" fmla="*/ 2147483646 h 10"/>
                <a:gd name="T20" fmla="*/ 2147483646 w 12"/>
                <a:gd name="T21" fmla="*/ 2147483646 h 10"/>
                <a:gd name="T22" fmla="*/ 2147483646 w 12"/>
                <a:gd name="T23" fmla="*/ 2147483646 h 10"/>
                <a:gd name="T24" fmla="*/ 2147483646 w 1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0">
                  <a:moveTo>
                    <a:pt x="3" y="10"/>
                  </a:moveTo>
                  <a:lnTo>
                    <a:pt x="0" y="7"/>
                  </a:lnTo>
                  <a:lnTo>
                    <a:pt x="0" y="4"/>
                  </a:lnTo>
                  <a:lnTo>
                    <a:pt x="0" y="0"/>
                  </a:lnTo>
                  <a:lnTo>
                    <a:pt x="3" y="0"/>
                  </a:lnTo>
                  <a:lnTo>
                    <a:pt x="9" y="0"/>
                  </a:lnTo>
                  <a:lnTo>
                    <a:pt x="12" y="0"/>
                  </a:lnTo>
                  <a:lnTo>
                    <a:pt x="12" y="4"/>
                  </a:lnTo>
                  <a:lnTo>
                    <a:pt x="12" y="7"/>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8" name="Freeform 1122">
              <a:extLst>
                <a:ext uri="{FF2B5EF4-FFF2-40B4-BE49-F238E27FC236}">
                  <a16:creationId xmlns:a16="http://schemas.microsoft.com/office/drawing/2014/main" id="{90D434E6-287D-774A-92EF-3286A0EB22D3}"/>
                </a:ext>
              </a:extLst>
            </p:cNvPr>
            <p:cNvSpPr>
              <a:spLocks/>
            </p:cNvSpPr>
            <p:nvPr/>
          </p:nvSpPr>
          <p:spPr bwMode="auto">
            <a:xfrm>
              <a:off x="1236369" y="2052442"/>
              <a:ext cx="11629" cy="31771"/>
            </a:xfrm>
            <a:custGeom>
              <a:avLst/>
              <a:gdLst>
                <a:gd name="T0" fmla="*/ 2147483646 w 10"/>
                <a:gd name="T1" fmla="*/ 2147483646 h 32"/>
                <a:gd name="T2" fmla="*/ 2147483646 w 10"/>
                <a:gd name="T3" fmla="*/ 2147483646 h 32"/>
                <a:gd name="T4" fmla="*/ 2147483646 w 10"/>
                <a:gd name="T5" fmla="*/ 2147483646 h 32"/>
                <a:gd name="T6" fmla="*/ 2147483646 w 10"/>
                <a:gd name="T7" fmla="*/ 2147483646 h 32"/>
                <a:gd name="T8" fmla="*/ 0 w 10"/>
                <a:gd name="T9" fmla="*/ 2147483646 h 32"/>
                <a:gd name="T10" fmla="*/ 0 w 10"/>
                <a:gd name="T11" fmla="*/ 2147483646 h 32"/>
                <a:gd name="T12" fmla="*/ 0 w 10"/>
                <a:gd name="T13" fmla="*/ 2147483646 h 32"/>
                <a:gd name="T14" fmla="*/ 0 w 10"/>
                <a:gd name="T15" fmla="*/ 0 h 32"/>
                <a:gd name="T16" fmla="*/ 2147483646 w 10"/>
                <a:gd name="T17" fmla="*/ 0 h 32"/>
                <a:gd name="T18" fmla="*/ 2147483646 w 10"/>
                <a:gd name="T19" fmla="*/ 0 h 32"/>
                <a:gd name="T20" fmla="*/ 2147483646 w 10"/>
                <a:gd name="T21" fmla="*/ 0 h 32"/>
                <a:gd name="T22" fmla="*/ 2147483646 w 10"/>
                <a:gd name="T23" fmla="*/ 2147483646 h 32"/>
                <a:gd name="T24" fmla="*/ 2147483646 w 10"/>
                <a:gd name="T25" fmla="*/ 214748364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2">
                  <a:moveTo>
                    <a:pt x="10" y="29"/>
                  </a:moveTo>
                  <a:lnTo>
                    <a:pt x="6" y="32"/>
                  </a:lnTo>
                  <a:lnTo>
                    <a:pt x="3" y="32"/>
                  </a:lnTo>
                  <a:lnTo>
                    <a:pt x="0" y="32"/>
                  </a:lnTo>
                  <a:lnTo>
                    <a:pt x="0" y="29"/>
                  </a:lnTo>
                  <a:lnTo>
                    <a:pt x="0" y="3"/>
                  </a:lnTo>
                  <a:lnTo>
                    <a:pt x="0" y="0"/>
                  </a:lnTo>
                  <a:lnTo>
                    <a:pt x="3" y="0"/>
                  </a:lnTo>
                  <a:lnTo>
                    <a:pt x="6" y="0"/>
                  </a:lnTo>
                  <a:lnTo>
                    <a:pt x="10" y="3"/>
                  </a:lnTo>
                  <a:lnTo>
                    <a:pt x="10" y="2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79" name="Freeform 1123">
              <a:extLst>
                <a:ext uri="{FF2B5EF4-FFF2-40B4-BE49-F238E27FC236}">
                  <a16:creationId xmlns:a16="http://schemas.microsoft.com/office/drawing/2014/main" id="{F4465EBB-F4BC-0A4F-AC12-F3654AC05F16}"/>
                </a:ext>
              </a:extLst>
            </p:cNvPr>
            <p:cNvSpPr>
              <a:spLocks/>
            </p:cNvSpPr>
            <p:nvPr/>
          </p:nvSpPr>
          <p:spPr bwMode="auto">
            <a:xfrm>
              <a:off x="1236369" y="2052442"/>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0" name="Freeform 1124">
              <a:extLst>
                <a:ext uri="{FF2B5EF4-FFF2-40B4-BE49-F238E27FC236}">
                  <a16:creationId xmlns:a16="http://schemas.microsoft.com/office/drawing/2014/main" id="{40E4134B-1486-D740-8A42-8095C2584DB2}"/>
                </a:ext>
              </a:extLst>
            </p:cNvPr>
            <p:cNvSpPr>
              <a:spLocks/>
            </p:cNvSpPr>
            <p:nvPr/>
          </p:nvSpPr>
          <p:spPr bwMode="auto">
            <a:xfrm>
              <a:off x="1239858" y="2036556"/>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3" y="22"/>
                  </a:lnTo>
                  <a:lnTo>
                    <a:pt x="0" y="22"/>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1" name="Freeform 1125">
              <a:extLst>
                <a:ext uri="{FF2B5EF4-FFF2-40B4-BE49-F238E27FC236}">
                  <a16:creationId xmlns:a16="http://schemas.microsoft.com/office/drawing/2014/main" id="{354EC588-9E84-AF4C-AE06-A5A37E8F1194}"/>
                </a:ext>
              </a:extLst>
            </p:cNvPr>
            <p:cNvSpPr>
              <a:spLocks/>
            </p:cNvSpPr>
            <p:nvPr/>
          </p:nvSpPr>
          <p:spPr bwMode="auto">
            <a:xfrm>
              <a:off x="1239858" y="2036556"/>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7" y="0"/>
                  </a:lnTo>
                  <a:lnTo>
                    <a:pt x="10" y="0"/>
                  </a:lnTo>
                  <a:lnTo>
                    <a:pt x="10" y="3"/>
                  </a:lnTo>
                  <a:lnTo>
                    <a:pt x="10" y="6"/>
                  </a:lnTo>
                  <a:lnTo>
                    <a:pt x="7"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2" name="Freeform 1126">
              <a:extLst>
                <a:ext uri="{FF2B5EF4-FFF2-40B4-BE49-F238E27FC236}">
                  <a16:creationId xmlns:a16="http://schemas.microsoft.com/office/drawing/2014/main" id="{9D1E381F-F428-634E-9DB7-567858D925BF}"/>
                </a:ext>
              </a:extLst>
            </p:cNvPr>
            <p:cNvSpPr>
              <a:spLocks/>
            </p:cNvSpPr>
            <p:nvPr/>
          </p:nvSpPr>
          <p:spPr bwMode="auto">
            <a:xfrm>
              <a:off x="1243347" y="2036556"/>
              <a:ext cx="38377" cy="8936"/>
            </a:xfrm>
            <a:custGeom>
              <a:avLst/>
              <a:gdLst>
                <a:gd name="T0" fmla="*/ 2147483646 w 33"/>
                <a:gd name="T1" fmla="*/ 2147483646 h 9"/>
                <a:gd name="T2" fmla="*/ 0 w 33"/>
                <a:gd name="T3" fmla="*/ 2147483646 h 9"/>
                <a:gd name="T4" fmla="*/ 0 w 33"/>
                <a:gd name="T5" fmla="*/ 2147483646 h 9"/>
                <a:gd name="T6" fmla="*/ 0 w 33"/>
                <a:gd name="T7" fmla="*/ 2147483646 h 9"/>
                <a:gd name="T8" fmla="*/ 0 w 33"/>
                <a:gd name="T9" fmla="*/ 0 h 9"/>
                <a:gd name="T10" fmla="*/ 2147483646 w 33"/>
                <a:gd name="T11" fmla="*/ 0 h 9"/>
                <a:gd name="T12" fmla="*/ 2147483646 w 33"/>
                <a:gd name="T13" fmla="*/ 0 h 9"/>
                <a:gd name="T14" fmla="*/ 2147483646 w 33"/>
                <a:gd name="T15" fmla="*/ 0 h 9"/>
                <a:gd name="T16" fmla="*/ 2147483646 w 33"/>
                <a:gd name="T17" fmla="*/ 2147483646 h 9"/>
                <a:gd name="T18" fmla="*/ 2147483646 w 33"/>
                <a:gd name="T19" fmla="*/ 2147483646 h 9"/>
                <a:gd name="T20" fmla="*/ 2147483646 w 33"/>
                <a:gd name="T21" fmla="*/ 2147483646 h 9"/>
                <a:gd name="T22" fmla="*/ 2147483646 w 33"/>
                <a:gd name="T23" fmla="*/ 2147483646 h 9"/>
                <a:gd name="T24" fmla="*/ 2147483646 w 3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9">
                  <a:moveTo>
                    <a:pt x="4" y="9"/>
                  </a:moveTo>
                  <a:lnTo>
                    <a:pt x="0" y="6"/>
                  </a:lnTo>
                  <a:lnTo>
                    <a:pt x="0" y="3"/>
                  </a:lnTo>
                  <a:lnTo>
                    <a:pt x="0" y="0"/>
                  </a:lnTo>
                  <a:lnTo>
                    <a:pt x="4" y="0"/>
                  </a:lnTo>
                  <a:lnTo>
                    <a:pt x="29" y="0"/>
                  </a:lnTo>
                  <a:lnTo>
                    <a:pt x="33" y="0"/>
                  </a:lnTo>
                  <a:lnTo>
                    <a:pt x="33" y="3"/>
                  </a:lnTo>
                  <a:lnTo>
                    <a:pt x="33" y="6"/>
                  </a:lnTo>
                  <a:lnTo>
                    <a:pt x="29"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3" name="Freeform 1127">
              <a:extLst>
                <a:ext uri="{FF2B5EF4-FFF2-40B4-BE49-F238E27FC236}">
                  <a16:creationId xmlns:a16="http://schemas.microsoft.com/office/drawing/2014/main" id="{F639BF19-2EDE-F94F-8662-204D3A87BD13}"/>
                </a:ext>
              </a:extLst>
            </p:cNvPr>
            <p:cNvSpPr>
              <a:spLocks/>
            </p:cNvSpPr>
            <p:nvPr/>
          </p:nvSpPr>
          <p:spPr bwMode="auto">
            <a:xfrm>
              <a:off x="1273583" y="2023649"/>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4" name="Freeform 1128">
              <a:extLst>
                <a:ext uri="{FF2B5EF4-FFF2-40B4-BE49-F238E27FC236}">
                  <a16:creationId xmlns:a16="http://schemas.microsoft.com/office/drawing/2014/main" id="{DAD104AF-2208-344C-878A-9474800D542A}"/>
                </a:ext>
              </a:extLst>
            </p:cNvPr>
            <p:cNvSpPr>
              <a:spLocks/>
            </p:cNvSpPr>
            <p:nvPr/>
          </p:nvSpPr>
          <p:spPr bwMode="auto">
            <a:xfrm>
              <a:off x="1273583" y="2023649"/>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5" name="Freeform 1129">
              <a:extLst>
                <a:ext uri="{FF2B5EF4-FFF2-40B4-BE49-F238E27FC236}">
                  <a16:creationId xmlns:a16="http://schemas.microsoft.com/office/drawing/2014/main" id="{A0AD1DEA-8A83-2D4E-A9A0-823F1A25E6F5}"/>
                </a:ext>
              </a:extLst>
            </p:cNvPr>
            <p:cNvSpPr>
              <a:spLocks/>
            </p:cNvSpPr>
            <p:nvPr/>
          </p:nvSpPr>
          <p:spPr bwMode="auto">
            <a:xfrm>
              <a:off x="1281723" y="2006771"/>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6" name="Freeform 1130">
              <a:extLst>
                <a:ext uri="{FF2B5EF4-FFF2-40B4-BE49-F238E27FC236}">
                  <a16:creationId xmlns:a16="http://schemas.microsoft.com/office/drawing/2014/main" id="{0B1DF6CA-28B4-EC4C-94E8-8814BF0E0B61}"/>
                </a:ext>
              </a:extLst>
            </p:cNvPr>
            <p:cNvSpPr>
              <a:spLocks/>
            </p:cNvSpPr>
            <p:nvPr/>
          </p:nvSpPr>
          <p:spPr bwMode="auto">
            <a:xfrm>
              <a:off x="1281723" y="200677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4"/>
                  </a:lnTo>
                  <a:lnTo>
                    <a:pt x="0" y="0"/>
                  </a:lnTo>
                  <a:lnTo>
                    <a:pt x="3" y="0"/>
                  </a:lnTo>
                  <a:lnTo>
                    <a:pt x="9" y="0"/>
                  </a:lnTo>
                  <a:lnTo>
                    <a:pt x="13" y="0"/>
                  </a:lnTo>
                  <a:lnTo>
                    <a:pt x="13" y="4"/>
                  </a:lnTo>
                  <a:lnTo>
                    <a:pt x="13" y="7"/>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7" name="Freeform 1131">
              <a:extLst>
                <a:ext uri="{FF2B5EF4-FFF2-40B4-BE49-F238E27FC236}">
                  <a16:creationId xmlns:a16="http://schemas.microsoft.com/office/drawing/2014/main" id="{164328FD-4FB4-8847-9C21-6E45D9DDBBBA}"/>
                </a:ext>
              </a:extLst>
            </p:cNvPr>
            <p:cNvSpPr>
              <a:spLocks/>
            </p:cNvSpPr>
            <p:nvPr/>
          </p:nvSpPr>
          <p:spPr bwMode="auto">
            <a:xfrm>
              <a:off x="1288701" y="199485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8" name="Freeform 1132">
              <a:extLst>
                <a:ext uri="{FF2B5EF4-FFF2-40B4-BE49-F238E27FC236}">
                  <a16:creationId xmlns:a16="http://schemas.microsoft.com/office/drawing/2014/main" id="{D6DE454A-5D97-4E4B-AC14-39BAD291B3AE}"/>
                </a:ext>
              </a:extLst>
            </p:cNvPr>
            <p:cNvSpPr>
              <a:spLocks/>
            </p:cNvSpPr>
            <p:nvPr/>
          </p:nvSpPr>
          <p:spPr bwMode="auto">
            <a:xfrm>
              <a:off x="1288701" y="199485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89" name="Freeform 1133">
              <a:extLst>
                <a:ext uri="{FF2B5EF4-FFF2-40B4-BE49-F238E27FC236}">
                  <a16:creationId xmlns:a16="http://schemas.microsoft.com/office/drawing/2014/main" id="{E4749F0C-3AC7-2B4E-9F2C-EF7581ECE9B5}"/>
                </a:ext>
              </a:extLst>
            </p:cNvPr>
            <p:cNvSpPr>
              <a:spLocks/>
            </p:cNvSpPr>
            <p:nvPr/>
          </p:nvSpPr>
          <p:spPr bwMode="auto">
            <a:xfrm>
              <a:off x="1300330" y="1981950"/>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0" name="Freeform 1134">
              <a:extLst>
                <a:ext uri="{FF2B5EF4-FFF2-40B4-BE49-F238E27FC236}">
                  <a16:creationId xmlns:a16="http://schemas.microsoft.com/office/drawing/2014/main" id="{DAE6E093-6CF8-594A-93A0-CA2E96DE043E}"/>
                </a:ext>
              </a:extLst>
            </p:cNvPr>
            <p:cNvSpPr>
              <a:spLocks/>
            </p:cNvSpPr>
            <p:nvPr/>
          </p:nvSpPr>
          <p:spPr bwMode="auto">
            <a:xfrm>
              <a:off x="1300330" y="1981950"/>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1" name="Freeform 1135">
              <a:extLst>
                <a:ext uri="{FF2B5EF4-FFF2-40B4-BE49-F238E27FC236}">
                  <a16:creationId xmlns:a16="http://schemas.microsoft.com/office/drawing/2014/main" id="{AE8A8116-18D3-ED40-A331-35B1F4984C05}"/>
                </a:ext>
              </a:extLst>
            </p:cNvPr>
            <p:cNvSpPr>
              <a:spLocks/>
            </p:cNvSpPr>
            <p:nvPr/>
          </p:nvSpPr>
          <p:spPr bwMode="auto">
            <a:xfrm>
              <a:off x="1303819" y="1966064"/>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2" name="Freeform 1136">
              <a:extLst>
                <a:ext uri="{FF2B5EF4-FFF2-40B4-BE49-F238E27FC236}">
                  <a16:creationId xmlns:a16="http://schemas.microsoft.com/office/drawing/2014/main" id="{983DB3FB-E479-C24B-AFC5-AF5B4E5C3DF4}"/>
                </a:ext>
              </a:extLst>
            </p:cNvPr>
            <p:cNvSpPr>
              <a:spLocks/>
            </p:cNvSpPr>
            <p:nvPr/>
          </p:nvSpPr>
          <p:spPr bwMode="auto">
            <a:xfrm>
              <a:off x="1303819" y="1966064"/>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3" name="Freeform 1137">
              <a:extLst>
                <a:ext uri="{FF2B5EF4-FFF2-40B4-BE49-F238E27FC236}">
                  <a16:creationId xmlns:a16="http://schemas.microsoft.com/office/drawing/2014/main" id="{3F4A3790-7E8A-C244-A15E-6FEEE9DE52FE}"/>
                </a:ext>
              </a:extLst>
            </p:cNvPr>
            <p:cNvSpPr>
              <a:spLocks/>
            </p:cNvSpPr>
            <p:nvPr/>
          </p:nvSpPr>
          <p:spPr bwMode="auto">
            <a:xfrm>
              <a:off x="1307307" y="1953157"/>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3" y="19"/>
                  </a:lnTo>
                  <a:lnTo>
                    <a:pt x="0" y="19"/>
                  </a:lnTo>
                  <a:lnTo>
                    <a:pt x="0" y="16"/>
                  </a:lnTo>
                  <a:lnTo>
                    <a:pt x="0" y="3"/>
                  </a:lnTo>
                  <a:lnTo>
                    <a:pt x="0" y="0"/>
                  </a:lnTo>
                  <a:lnTo>
                    <a:pt x="3"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4" name="Freeform 1138">
              <a:extLst>
                <a:ext uri="{FF2B5EF4-FFF2-40B4-BE49-F238E27FC236}">
                  <a16:creationId xmlns:a16="http://schemas.microsoft.com/office/drawing/2014/main" id="{224B0A86-9EB4-B94A-A45F-B7EE8B37858B}"/>
                </a:ext>
              </a:extLst>
            </p:cNvPr>
            <p:cNvSpPr>
              <a:spLocks/>
            </p:cNvSpPr>
            <p:nvPr/>
          </p:nvSpPr>
          <p:spPr bwMode="auto">
            <a:xfrm>
              <a:off x="1307307" y="1953157"/>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5" name="Freeform 1139">
              <a:extLst>
                <a:ext uri="{FF2B5EF4-FFF2-40B4-BE49-F238E27FC236}">
                  <a16:creationId xmlns:a16="http://schemas.microsoft.com/office/drawing/2014/main" id="{65E2599E-B03F-1E46-B8D0-C9D63962A938}"/>
                </a:ext>
              </a:extLst>
            </p:cNvPr>
            <p:cNvSpPr>
              <a:spLocks/>
            </p:cNvSpPr>
            <p:nvPr/>
          </p:nvSpPr>
          <p:spPr bwMode="auto">
            <a:xfrm>
              <a:off x="1318936" y="1936279"/>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6" y="23"/>
                  </a:lnTo>
                  <a:lnTo>
                    <a:pt x="3" y="23"/>
                  </a:lnTo>
                  <a:lnTo>
                    <a:pt x="0" y="23"/>
                  </a:lnTo>
                  <a:lnTo>
                    <a:pt x="0" y="20"/>
                  </a:lnTo>
                  <a:lnTo>
                    <a:pt x="0" y="4"/>
                  </a:lnTo>
                  <a:lnTo>
                    <a:pt x="0" y="0"/>
                  </a:lnTo>
                  <a:lnTo>
                    <a:pt x="3" y="0"/>
                  </a:lnTo>
                  <a:lnTo>
                    <a:pt x="6"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6" name="Freeform 1140">
              <a:extLst>
                <a:ext uri="{FF2B5EF4-FFF2-40B4-BE49-F238E27FC236}">
                  <a16:creationId xmlns:a16="http://schemas.microsoft.com/office/drawing/2014/main" id="{BB799AC2-4CCB-6148-ACEA-D9811F1CED5A}"/>
                </a:ext>
              </a:extLst>
            </p:cNvPr>
            <p:cNvSpPr>
              <a:spLocks/>
            </p:cNvSpPr>
            <p:nvPr/>
          </p:nvSpPr>
          <p:spPr bwMode="auto">
            <a:xfrm>
              <a:off x="1318936" y="1924365"/>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7" name="Freeform 1141">
              <a:extLst>
                <a:ext uri="{FF2B5EF4-FFF2-40B4-BE49-F238E27FC236}">
                  <a16:creationId xmlns:a16="http://schemas.microsoft.com/office/drawing/2014/main" id="{B1B29988-F95D-9540-BC51-312E377BC131}"/>
                </a:ext>
              </a:extLst>
            </p:cNvPr>
            <p:cNvSpPr>
              <a:spLocks/>
            </p:cNvSpPr>
            <p:nvPr/>
          </p:nvSpPr>
          <p:spPr bwMode="auto">
            <a:xfrm>
              <a:off x="1318936" y="192436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8" name="Freeform 1142">
              <a:extLst>
                <a:ext uri="{FF2B5EF4-FFF2-40B4-BE49-F238E27FC236}">
                  <a16:creationId xmlns:a16="http://schemas.microsoft.com/office/drawing/2014/main" id="{B4DC5C63-F520-514B-984A-802588A1A02D}"/>
                </a:ext>
              </a:extLst>
            </p:cNvPr>
            <p:cNvSpPr>
              <a:spLocks/>
            </p:cNvSpPr>
            <p:nvPr/>
          </p:nvSpPr>
          <p:spPr bwMode="auto">
            <a:xfrm>
              <a:off x="1322426" y="1907487"/>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3" y="23"/>
                  </a:lnTo>
                  <a:lnTo>
                    <a:pt x="0" y="23"/>
                  </a:lnTo>
                  <a:lnTo>
                    <a:pt x="0" y="20"/>
                  </a:lnTo>
                  <a:lnTo>
                    <a:pt x="0" y="4"/>
                  </a:lnTo>
                  <a:lnTo>
                    <a:pt x="0" y="0"/>
                  </a:lnTo>
                  <a:lnTo>
                    <a:pt x="3"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099" name="Freeform 1143">
              <a:extLst>
                <a:ext uri="{FF2B5EF4-FFF2-40B4-BE49-F238E27FC236}">
                  <a16:creationId xmlns:a16="http://schemas.microsoft.com/office/drawing/2014/main" id="{BA6F369C-C658-EF4F-A9F9-AEC2A412353A}"/>
                </a:ext>
              </a:extLst>
            </p:cNvPr>
            <p:cNvSpPr>
              <a:spLocks/>
            </p:cNvSpPr>
            <p:nvPr/>
          </p:nvSpPr>
          <p:spPr bwMode="auto">
            <a:xfrm>
              <a:off x="1322426" y="1907487"/>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0" name="Freeform 1144">
              <a:extLst>
                <a:ext uri="{FF2B5EF4-FFF2-40B4-BE49-F238E27FC236}">
                  <a16:creationId xmlns:a16="http://schemas.microsoft.com/office/drawing/2014/main" id="{6528DCBC-B395-734C-9BBA-2E1929BEF38A}"/>
                </a:ext>
              </a:extLst>
            </p:cNvPr>
            <p:cNvSpPr>
              <a:spLocks/>
            </p:cNvSpPr>
            <p:nvPr/>
          </p:nvSpPr>
          <p:spPr bwMode="auto">
            <a:xfrm>
              <a:off x="1337543" y="1895572"/>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1" name="Freeform 1145">
              <a:extLst>
                <a:ext uri="{FF2B5EF4-FFF2-40B4-BE49-F238E27FC236}">
                  <a16:creationId xmlns:a16="http://schemas.microsoft.com/office/drawing/2014/main" id="{90C89ED9-13AD-0D41-973A-1D6A87200742}"/>
                </a:ext>
              </a:extLst>
            </p:cNvPr>
            <p:cNvSpPr>
              <a:spLocks/>
            </p:cNvSpPr>
            <p:nvPr/>
          </p:nvSpPr>
          <p:spPr bwMode="auto">
            <a:xfrm>
              <a:off x="1337543" y="1895572"/>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3" y="0"/>
                  </a:lnTo>
                  <a:lnTo>
                    <a:pt x="26" y="0"/>
                  </a:lnTo>
                  <a:lnTo>
                    <a:pt x="26" y="3"/>
                  </a:lnTo>
                  <a:lnTo>
                    <a:pt x="26" y="6"/>
                  </a:lnTo>
                  <a:lnTo>
                    <a:pt x="2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2" name="Freeform 1146">
              <a:extLst>
                <a:ext uri="{FF2B5EF4-FFF2-40B4-BE49-F238E27FC236}">
                  <a16:creationId xmlns:a16="http://schemas.microsoft.com/office/drawing/2014/main" id="{3B17B422-0B9D-5247-BFB0-51D932A633E3}"/>
                </a:ext>
              </a:extLst>
            </p:cNvPr>
            <p:cNvSpPr>
              <a:spLocks/>
            </p:cNvSpPr>
            <p:nvPr/>
          </p:nvSpPr>
          <p:spPr bwMode="auto">
            <a:xfrm>
              <a:off x="1359639" y="1882665"/>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7" y="19"/>
                  </a:lnTo>
                  <a:lnTo>
                    <a:pt x="4" y="19"/>
                  </a:lnTo>
                  <a:lnTo>
                    <a:pt x="0" y="19"/>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3" name="Freeform 1147">
              <a:extLst>
                <a:ext uri="{FF2B5EF4-FFF2-40B4-BE49-F238E27FC236}">
                  <a16:creationId xmlns:a16="http://schemas.microsoft.com/office/drawing/2014/main" id="{653D45E6-132C-324A-AD33-C0CEF08F6C8B}"/>
                </a:ext>
              </a:extLst>
            </p:cNvPr>
            <p:cNvSpPr>
              <a:spLocks/>
            </p:cNvSpPr>
            <p:nvPr/>
          </p:nvSpPr>
          <p:spPr bwMode="auto">
            <a:xfrm>
              <a:off x="1359639" y="1882665"/>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4" name="Freeform 1148">
              <a:extLst>
                <a:ext uri="{FF2B5EF4-FFF2-40B4-BE49-F238E27FC236}">
                  <a16:creationId xmlns:a16="http://schemas.microsoft.com/office/drawing/2014/main" id="{DAD4EC76-8B52-BB4D-92D9-B19D8E6D91DF}"/>
                </a:ext>
              </a:extLst>
            </p:cNvPr>
            <p:cNvSpPr>
              <a:spLocks/>
            </p:cNvSpPr>
            <p:nvPr/>
          </p:nvSpPr>
          <p:spPr bwMode="auto">
            <a:xfrm>
              <a:off x="1364291" y="1882665"/>
              <a:ext cx="10467" cy="8936"/>
            </a:xfrm>
            <a:custGeom>
              <a:avLst/>
              <a:gdLst>
                <a:gd name="T0" fmla="*/ 2147483646 w 9"/>
                <a:gd name="T1" fmla="*/ 2147483646 h 9"/>
                <a:gd name="T2" fmla="*/ 0 w 9"/>
                <a:gd name="T3" fmla="*/ 2147483646 h 9"/>
                <a:gd name="T4" fmla="*/ 0 w 9"/>
                <a:gd name="T5" fmla="*/ 2147483646 h 9"/>
                <a:gd name="T6" fmla="*/ 0 w 9"/>
                <a:gd name="T7" fmla="*/ 2147483646 h 9"/>
                <a:gd name="T8" fmla="*/ 0 w 9"/>
                <a:gd name="T9" fmla="*/ 0 h 9"/>
                <a:gd name="T10" fmla="*/ 2147483646 w 9"/>
                <a:gd name="T11" fmla="*/ 0 h 9"/>
                <a:gd name="T12" fmla="*/ 2147483646 w 9"/>
                <a:gd name="T13" fmla="*/ 0 h 9"/>
                <a:gd name="T14" fmla="*/ 2147483646 w 9"/>
                <a:gd name="T15" fmla="*/ 0 h 9"/>
                <a:gd name="T16" fmla="*/ 2147483646 w 9"/>
                <a:gd name="T17" fmla="*/ 2147483646 h 9"/>
                <a:gd name="T18" fmla="*/ 2147483646 w 9"/>
                <a:gd name="T19" fmla="*/ 2147483646 h 9"/>
                <a:gd name="T20" fmla="*/ 2147483646 w 9"/>
                <a:gd name="T21" fmla="*/ 2147483646 h 9"/>
                <a:gd name="T22" fmla="*/ 2147483646 w 9"/>
                <a:gd name="T23" fmla="*/ 2147483646 h 9"/>
                <a:gd name="T24" fmla="*/ 2147483646 w 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9">
                  <a:moveTo>
                    <a:pt x="3" y="9"/>
                  </a:moveTo>
                  <a:lnTo>
                    <a:pt x="0" y="6"/>
                  </a:lnTo>
                  <a:lnTo>
                    <a:pt x="0" y="3"/>
                  </a:lnTo>
                  <a:lnTo>
                    <a:pt x="0" y="0"/>
                  </a:lnTo>
                  <a:lnTo>
                    <a:pt x="3" y="0"/>
                  </a:lnTo>
                  <a:lnTo>
                    <a:pt x="6" y="0"/>
                  </a:lnTo>
                  <a:lnTo>
                    <a:pt x="9" y="0"/>
                  </a:lnTo>
                  <a:lnTo>
                    <a:pt x="9" y="3"/>
                  </a:lnTo>
                  <a:lnTo>
                    <a:pt x="9"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5" name="Freeform 1149">
              <a:extLst>
                <a:ext uri="{FF2B5EF4-FFF2-40B4-BE49-F238E27FC236}">
                  <a16:creationId xmlns:a16="http://schemas.microsoft.com/office/drawing/2014/main" id="{E32B2CAB-4CCE-EE47-944A-5392D788EB6C}"/>
                </a:ext>
              </a:extLst>
            </p:cNvPr>
            <p:cNvSpPr>
              <a:spLocks/>
            </p:cNvSpPr>
            <p:nvPr/>
          </p:nvSpPr>
          <p:spPr bwMode="auto">
            <a:xfrm>
              <a:off x="1367779" y="1865787"/>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4"/>
                  </a:lnTo>
                  <a:lnTo>
                    <a:pt x="0" y="0"/>
                  </a:lnTo>
                  <a:lnTo>
                    <a:pt x="3" y="0"/>
                  </a:lnTo>
                  <a:lnTo>
                    <a:pt x="6" y="0"/>
                  </a:lnTo>
                  <a:lnTo>
                    <a:pt x="9" y="4"/>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6" name="Freeform 1150">
              <a:extLst>
                <a:ext uri="{FF2B5EF4-FFF2-40B4-BE49-F238E27FC236}">
                  <a16:creationId xmlns:a16="http://schemas.microsoft.com/office/drawing/2014/main" id="{40EFCA7F-E3FD-D840-A807-D1CB52C690E7}"/>
                </a:ext>
              </a:extLst>
            </p:cNvPr>
            <p:cNvSpPr>
              <a:spLocks/>
            </p:cNvSpPr>
            <p:nvPr/>
          </p:nvSpPr>
          <p:spPr bwMode="auto">
            <a:xfrm>
              <a:off x="1367779" y="186578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7" name="Freeform 1151">
              <a:extLst>
                <a:ext uri="{FF2B5EF4-FFF2-40B4-BE49-F238E27FC236}">
                  <a16:creationId xmlns:a16="http://schemas.microsoft.com/office/drawing/2014/main" id="{330263C3-41ED-2346-AE90-F3862D915767}"/>
                </a:ext>
              </a:extLst>
            </p:cNvPr>
            <p:cNvSpPr>
              <a:spLocks/>
            </p:cNvSpPr>
            <p:nvPr/>
          </p:nvSpPr>
          <p:spPr bwMode="auto">
            <a:xfrm>
              <a:off x="1371268" y="1853873"/>
              <a:ext cx="11629" cy="18864"/>
            </a:xfrm>
            <a:custGeom>
              <a:avLst/>
              <a:gdLst>
                <a:gd name="T0" fmla="*/ 2147483646 w 10"/>
                <a:gd name="T1" fmla="*/ 2147483646 h 19"/>
                <a:gd name="T2" fmla="*/ 2147483646 w 10"/>
                <a:gd name="T3" fmla="*/ 2147483646 h 19"/>
                <a:gd name="T4" fmla="*/ 2147483646 w 10"/>
                <a:gd name="T5" fmla="*/ 2147483646 h 19"/>
                <a:gd name="T6" fmla="*/ 2147483646 w 10"/>
                <a:gd name="T7" fmla="*/ 2147483646 h 19"/>
                <a:gd name="T8" fmla="*/ 0 w 10"/>
                <a:gd name="T9" fmla="*/ 2147483646 h 19"/>
                <a:gd name="T10" fmla="*/ 0 w 10"/>
                <a:gd name="T11" fmla="*/ 2147483646 h 19"/>
                <a:gd name="T12" fmla="*/ 0 w 10"/>
                <a:gd name="T13" fmla="*/ 2147483646 h 19"/>
                <a:gd name="T14" fmla="*/ 0 w 10"/>
                <a:gd name="T15" fmla="*/ 0 h 19"/>
                <a:gd name="T16" fmla="*/ 2147483646 w 10"/>
                <a:gd name="T17" fmla="*/ 0 h 19"/>
                <a:gd name="T18" fmla="*/ 2147483646 w 10"/>
                <a:gd name="T19" fmla="*/ 0 h 19"/>
                <a:gd name="T20" fmla="*/ 2147483646 w 10"/>
                <a:gd name="T21" fmla="*/ 0 h 19"/>
                <a:gd name="T22" fmla="*/ 2147483646 w 10"/>
                <a:gd name="T23" fmla="*/ 2147483646 h 19"/>
                <a:gd name="T24" fmla="*/ 2147483646 w 10"/>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9">
                  <a:moveTo>
                    <a:pt x="10" y="16"/>
                  </a:moveTo>
                  <a:lnTo>
                    <a:pt x="6" y="19"/>
                  </a:lnTo>
                  <a:lnTo>
                    <a:pt x="3" y="19"/>
                  </a:lnTo>
                  <a:lnTo>
                    <a:pt x="0" y="19"/>
                  </a:lnTo>
                  <a:lnTo>
                    <a:pt x="0" y="16"/>
                  </a:lnTo>
                  <a:lnTo>
                    <a:pt x="0" y="3"/>
                  </a:lnTo>
                  <a:lnTo>
                    <a:pt x="0" y="0"/>
                  </a:lnTo>
                  <a:lnTo>
                    <a:pt x="3" y="0"/>
                  </a:lnTo>
                  <a:lnTo>
                    <a:pt x="6"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8" name="Freeform 1152">
              <a:extLst>
                <a:ext uri="{FF2B5EF4-FFF2-40B4-BE49-F238E27FC236}">
                  <a16:creationId xmlns:a16="http://schemas.microsoft.com/office/drawing/2014/main" id="{0868F9A8-1047-614D-913F-FD5CAC467B0F}"/>
                </a:ext>
              </a:extLst>
            </p:cNvPr>
            <p:cNvSpPr>
              <a:spLocks/>
            </p:cNvSpPr>
            <p:nvPr/>
          </p:nvSpPr>
          <p:spPr bwMode="auto">
            <a:xfrm>
              <a:off x="1371268" y="1853873"/>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3" y="9"/>
                  </a:moveTo>
                  <a:lnTo>
                    <a:pt x="0" y="6"/>
                  </a:lnTo>
                  <a:lnTo>
                    <a:pt x="0" y="3"/>
                  </a:lnTo>
                  <a:lnTo>
                    <a:pt x="0" y="0"/>
                  </a:lnTo>
                  <a:lnTo>
                    <a:pt x="3" y="0"/>
                  </a:lnTo>
                  <a:lnTo>
                    <a:pt x="6" y="0"/>
                  </a:lnTo>
                  <a:lnTo>
                    <a:pt x="10" y="0"/>
                  </a:lnTo>
                  <a:lnTo>
                    <a:pt x="10" y="3"/>
                  </a:lnTo>
                  <a:lnTo>
                    <a:pt x="10" y="6"/>
                  </a:lnTo>
                  <a:lnTo>
                    <a:pt x="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09" name="Freeform 1153">
              <a:extLst>
                <a:ext uri="{FF2B5EF4-FFF2-40B4-BE49-F238E27FC236}">
                  <a16:creationId xmlns:a16="http://schemas.microsoft.com/office/drawing/2014/main" id="{37D7DC78-AC94-904F-87EF-506D0446A248}"/>
                </a:ext>
              </a:extLst>
            </p:cNvPr>
            <p:cNvSpPr>
              <a:spLocks/>
            </p:cNvSpPr>
            <p:nvPr/>
          </p:nvSpPr>
          <p:spPr bwMode="auto">
            <a:xfrm>
              <a:off x="1374757" y="1836994"/>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3" y="23"/>
                  </a:lnTo>
                  <a:lnTo>
                    <a:pt x="0" y="23"/>
                  </a:lnTo>
                  <a:lnTo>
                    <a:pt x="0" y="20"/>
                  </a:lnTo>
                  <a:lnTo>
                    <a:pt x="0" y="4"/>
                  </a:lnTo>
                  <a:lnTo>
                    <a:pt x="0" y="0"/>
                  </a:lnTo>
                  <a:lnTo>
                    <a:pt x="3"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0" name="Freeform 1154">
              <a:extLst>
                <a:ext uri="{FF2B5EF4-FFF2-40B4-BE49-F238E27FC236}">
                  <a16:creationId xmlns:a16="http://schemas.microsoft.com/office/drawing/2014/main" id="{AE03EDE3-5BDF-4C4E-96EC-5D8177414E18}"/>
                </a:ext>
              </a:extLst>
            </p:cNvPr>
            <p:cNvSpPr>
              <a:spLocks/>
            </p:cNvSpPr>
            <p:nvPr/>
          </p:nvSpPr>
          <p:spPr bwMode="auto">
            <a:xfrm>
              <a:off x="1374757" y="183699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4"/>
                  </a:lnTo>
                  <a:lnTo>
                    <a:pt x="0" y="0"/>
                  </a:lnTo>
                  <a:lnTo>
                    <a:pt x="3" y="0"/>
                  </a:lnTo>
                  <a:lnTo>
                    <a:pt x="7" y="0"/>
                  </a:lnTo>
                  <a:lnTo>
                    <a:pt x="10" y="0"/>
                  </a:lnTo>
                  <a:lnTo>
                    <a:pt x="10" y="4"/>
                  </a:lnTo>
                  <a:lnTo>
                    <a:pt x="10" y="7"/>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1" name="Freeform 1155">
              <a:extLst>
                <a:ext uri="{FF2B5EF4-FFF2-40B4-BE49-F238E27FC236}">
                  <a16:creationId xmlns:a16="http://schemas.microsoft.com/office/drawing/2014/main" id="{A949E3EA-5FBF-AF4E-BC10-0F00C03AD182}"/>
                </a:ext>
              </a:extLst>
            </p:cNvPr>
            <p:cNvSpPr>
              <a:spLocks/>
            </p:cNvSpPr>
            <p:nvPr/>
          </p:nvSpPr>
          <p:spPr bwMode="auto">
            <a:xfrm>
              <a:off x="1378246" y="1821109"/>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4" y="23"/>
                  </a:lnTo>
                  <a:lnTo>
                    <a:pt x="0" y="23"/>
                  </a:lnTo>
                  <a:lnTo>
                    <a:pt x="0" y="20"/>
                  </a:lnTo>
                  <a:lnTo>
                    <a:pt x="0" y="4"/>
                  </a:lnTo>
                  <a:lnTo>
                    <a:pt x="0" y="0"/>
                  </a:lnTo>
                  <a:lnTo>
                    <a:pt x="4"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2" name="Freeform 1156">
              <a:extLst>
                <a:ext uri="{FF2B5EF4-FFF2-40B4-BE49-F238E27FC236}">
                  <a16:creationId xmlns:a16="http://schemas.microsoft.com/office/drawing/2014/main" id="{8F95655B-3DF4-B240-900C-E114D05A7DCC}"/>
                </a:ext>
              </a:extLst>
            </p:cNvPr>
            <p:cNvSpPr>
              <a:spLocks/>
            </p:cNvSpPr>
            <p:nvPr/>
          </p:nvSpPr>
          <p:spPr bwMode="auto">
            <a:xfrm>
              <a:off x="1378246" y="182110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7"/>
                  </a:lnTo>
                  <a:lnTo>
                    <a:pt x="0" y="4"/>
                  </a:lnTo>
                  <a:lnTo>
                    <a:pt x="0" y="0"/>
                  </a:lnTo>
                  <a:lnTo>
                    <a:pt x="4" y="0"/>
                  </a:lnTo>
                  <a:lnTo>
                    <a:pt x="7" y="0"/>
                  </a:lnTo>
                  <a:lnTo>
                    <a:pt x="10" y="0"/>
                  </a:lnTo>
                  <a:lnTo>
                    <a:pt x="10" y="4"/>
                  </a:lnTo>
                  <a:lnTo>
                    <a:pt x="10" y="7"/>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3" name="Freeform 1157">
              <a:extLst>
                <a:ext uri="{FF2B5EF4-FFF2-40B4-BE49-F238E27FC236}">
                  <a16:creationId xmlns:a16="http://schemas.microsoft.com/office/drawing/2014/main" id="{7953D7EB-A6DD-6A4C-9B58-F9DB70E41CE6}"/>
                </a:ext>
              </a:extLst>
            </p:cNvPr>
            <p:cNvSpPr>
              <a:spLocks/>
            </p:cNvSpPr>
            <p:nvPr/>
          </p:nvSpPr>
          <p:spPr bwMode="auto">
            <a:xfrm>
              <a:off x="1382898" y="1808202"/>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7"/>
                  </a:moveTo>
                  <a:lnTo>
                    <a:pt x="6" y="20"/>
                  </a:lnTo>
                  <a:lnTo>
                    <a:pt x="3" y="20"/>
                  </a:lnTo>
                  <a:lnTo>
                    <a:pt x="0" y="20"/>
                  </a:lnTo>
                  <a:lnTo>
                    <a:pt x="0" y="17"/>
                  </a:lnTo>
                  <a:lnTo>
                    <a:pt x="0" y="4"/>
                  </a:lnTo>
                  <a:lnTo>
                    <a:pt x="0" y="0"/>
                  </a:lnTo>
                  <a:lnTo>
                    <a:pt x="3" y="0"/>
                  </a:lnTo>
                  <a:lnTo>
                    <a:pt x="6" y="0"/>
                  </a:lnTo>
                  <a:lnTo>
                    <a:pt x="9" y="4"/>
                  </a:lnTo>
                  <a:lnTo>
                    <a:pt x="9" y="17"/>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4" name="Freeform 1158">
              <a:extLst>
                <a:ext uri="{FF2B5EF4-FFF2-40B4-BE49-F238E27FC236}">
                  <a16:creationId xmlns:a16="http://schemas.microsoft.com/office/drawing/2014/main" id="{CC9F8E42-7868-D54C-AA9B-2DA8E27DEB6E}"/>
                </a:ext>
              </a:extLst>
            </p:cNvPr>
            <p:cNvSpPr>
              <a:spLocks/>
            </p:cNvSpPr>
            <p:nvPr/>
          </p:nvSpPr>
          <p:spPr bwMode="auto">
            <a:xfrm>
              <a:off x="1382898" y="1808202"/>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5" name="Freeform 1159">
              <a:extLst>
                <a:ext uri="{FF2B5EF4-FFF2-40B4-BE49-F238E27FC236}">
                  <a16:creationId xmlns:a16="http://schemas.microsoft.com/office/drawing/2014/main" id="{FD78077E-11F5-3E48-883A-CD5DCDD97292}"/>
                </a:ext>
              </a:extLst>
            </p:cNvPr>
            <p:cNvSpPr>
              <a:spLocks/>
            </p:cNvSpPr>
            <p:nvPr/>
          </p:nvSpPr>
          <p:spPr bwMode="auto">
            <a:xfrm>
              <a:off x="1398015" y="1792317"/>
              <a:ext cx="10467" cy="22836"/>
            </a:xfrm>
            <a:custGeom>
              <a:avLst/>
              <a:gdLst>
                <a:gd name="T0" fmla="*/ 2147483646 w 9"/>
                <a:gd name="T1" fmla="*/ 2147483646 h 23"/>
                <a:gd name="T2" fmla="*/ 2147483646 w 9"/>
                <a:gd name="T3" fmla="*/ 2147483646 h 23"/>
                <a:gd name="T4" fmla="*/ 2147483646 w 9"/>
                <a:gd name="T5" fmla="*/ 2147483646 h 23"/>
                <a:gd name="T6" fmla="*/ 2147483646 w 9"/>
                <a:gd name="T7" fmla="*/ 2147483646 h 23"/>
                <a:gd name="T8" fmla="*/ 0 w 9"/>
                <a:gd name="T9" fmla="*/ 2147483646 h 23"/>
                <a:gd name="T10" fmla="*/ 0 w 9"/>
                <a:gd name="T11" fmla="*/ 2147483646 h 23"/>
                <a:gd name="T12" fmla="*/ 0 w 9"/>
                <a:gd name="T13" fmla="*/ 2147483646 h 23"/>
                <a:gd name="T14" fmla="*/ 0 w 9"/>
                <a:gd name="T15" fmla="*/ 0 h 23"/>
                <a:gd name="T16" fmla="*/ 2147483646 w 9"/>
                <a:gd name="T17" fmla="*/ 0 h 23"/>
                <a:gd name="T18" fmla="*/ 2147483646 w 9"/>
                <a:gd name="T19" fmla="*/ 0 h 23"/>
                <a:gd name="T20" fmla="*/ 2147483646 w 9"/>
                <a:gd name="T21" fmla="*/ 0 h 23"/>
                <a:gd name="T22" fmla="*/ 2147483646 w 9"/>
                <a:gd name="T23" fmla="*/ 2147483646 h 23"/>
                <a:gd name="T24" fmla="*/ 2147483646 w 9"/>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3">
                  <a:moveTo>
                    <a:pt x="9" y="20"/>
                  </a:moveTo>
                  <a:lnTo>
                    <a:pt x="6" y="23"/>
                  </a:lnTo>
                  <a:lnTo>
                    <a:pt x="3" y="23"/>
                  </a:lnTo>
                  <a:lnTo>
                    <a:pt x="0" y="23"/>
                  </a:lnTo>
                  <a:lnTo>
                    <a:pt x="0" y="20"/>
                  </a:lnTo>
                  <a:lnTo>
                    <a:pt x="0" y="3"/>
                  </a:lnTo>
                  <a:lnTo>
                    <a:pt x="0" y="0"/>
                  </a:lnTo>
                  <a:lnTo>
                    <a:pt x="3" y="0"/>
                  </a:lnTo>
                  <a:lnTo>
                    <a:pt x="6" y="0"/>
                  </a:lnTo>
                  <a:lnTo>
                    <a:pt x="9" y="3"/>
                  </a:lnTo>
                  <a:lnTo>
                    <a:pt x="9"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6" name="Freeform 1160">
              <a:extLst>
                <a:ext uri="{FF2B5EF4-FFF2-40B4-BE49-F238E27FC236}">
                  <a16:creationId xmlns:a16="http://schemas.microsoft.com/office/drawing/2014/main" id="{8128AF3F-357F-944C-B7A5-8E085A3B5D25}"/>
                </a:ext>
              </a:extLst>
            </p:cNvPr>
            <p:cNvSpPr>
              <a:spLocks/>
            </p:cNvSpPr>
            <p:nvPr/>
          </p:nvSpPr>
          <p:spPr bwMode="auto">
            <a:xfrm>
              <a:off x="1398015" y="179231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7" name="Freeform 1161">
              <a:extLst>
                <a:ext uri="{FF2B5EF4-FFF2-40B4-BE49-F238E27FC236}">
                  <a16:creationId xmlns:a16="http://schemas.microsoft.com/office/drawing/2014/main" id="{61C346E0-5274-9D49-899B-D759BCD21766}"/>
                </a:ext>
              </a:extLst>
            </p:cNvPr>
            <p:cNvSpPr>
              <a:spLocks/>
            </p:cNvSpPr>
            <p:nvPr/>
          </p:nvSpPr>
          <p:spPr bwMode="auto">
            <a:xfrm>
              <a:off x="1401504" y="1779410"/>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4"/>
                  </a:lnTo>
                  <a:lnTo>
                    <a:pt x="0" y="0"/>
                  </a:lnTo>
                  <a:lnTo>
                    <a:pt x="3" y="0"/>
                  </a:lnTo>
                  <a:lnTo>
                    <a:pt x="6" y="0"/>
                  </a:lnTo>
                  <a:lnTo>
                    <a:pt x="9" y="4"/>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8" name="Freeform 1162">
              <a:extLst>
                <a:ext uri="{FF2B5EF4-FFF2-40B4-BE49-F238E27FC236}">
                  <a16:creationId xmlns:a16="http://schemas.microsoft.com/office/drawing/2014/main" id="{8438880C-B768-EF43-9567-C8AB20CB96DD}"/>
                </a:ext>
              </a:extLst>
            </p:cNvPr>
            <p:cNvSpPr>
              <a:spLocks/>
            </p:cNvSpPr>
            <p:nvPr/>
          </p:nvSpPr>
          <p:spPr bwMode="auto">
            <a:xfrm>
              <a:off x="1401504" y="1779410"/>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19" name="Freeform 1163">
              <a:extLst>
                <a:ext uri="{FF2B5EF4-FFF2-40B4-BE49-F238E27FC236}">
                  <a16:creationId xmlns:a16="http://schemas.microsoft.com/office/drawing/2014/main" id="{819C0F1B-6157-B949-A3E6-E5A79DA28404}"/>
                </a:ext>
              </a:extLst>
            </p:cNvPr>
            <p:cNvSpPr>
              <a:spLocks/>
            </p:cNvSpPr>
            <p:nvPr/>
          </p:nvSpPr>
          <p:spPr bwMode="auto">
            <a:xfrm>
              <a:off x="1404993" y="1763524"/>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6" y="23"/>
                  </a:lnTo>
                  <a:lnTo>
                    <a:pt x="3" y="23"/>
                  </a:lnTo>
                  <a:lnTo>
                    <a:pt x="0" y="23"/>
                  </a:lnTo>
                  <a:lnTo>
                    <a:pt x="0" y="20"/>
                  </a:lnTo>
                  <a:lnTo>
                    <a:pt x="0" y="3"/>
                  </a:lnTo>
                  <a:lnTo>
                    <a:pt x="0" y="0"/>
                  </a:lnTo>
                  <a:lnTo>
                    <a:pt x="3" y="0"/>
                  </a:lnTo>
                  <a:lnTo>
                    <a:pt x="6" y="0"/>
                  </a:lnTo>
                  <a:lnTo>
                    <a:pt x="10" y="3"/>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0" name="Freeform 1164">
              <a:extLst>
                <a:ext uri="{FF2B5EF4-FFF2-40B4-BE49-F238E27FC236}">
                  <a16:creationId xmlns:a16="http://schemas.microsoft.com/office/drawing/2014/main" id="{0162C82A-F45B-3940-8B59-CC76FD3FC6E1}"/>
                </a:ext>
              </a:extLst>
            </p:cNvPr>
            <p:cNvSpPr>
              <a:spLocks/>
            </p:cNvSpPr>
            <p:nvPr/>
          </p:nvSpPr>
          <p:spPr bwMode="auto">
            <a:xfrm>
              <a:off x="1404993" y="176352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7"/>
                  </a:lnTo>
                  <a:lnTo>
                    <a:pt x="0" y="3"/>
                  </a:lnTo>
                  <a:lnTo>
                    <a:pt x="0" y="0"/>
                  </a:lnTo>
                  <a:lnTo>
                    <a:pt x="3" y="0"/>
                  </a:lnTo>
                  <a:lnTo>
                    <a:pt x="6" y="0"/>
                  </a:lnTo>
                  <a:lnTo>
                    <a:pt x="10" y="0"/>
                  </a:lnTo>
                  <a:lnTo>
                    <a:pt x="10" y="3"/>
                  </a:lnTo>
                  <a:lnTo>
                    <a:pt x="10"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1" name="Freeform 1165">
              <a:extLst>
                <a:ext uri="{FF2B5EF4-FFF2-40B4-BE49-F238E27FC236}">
                  <a16:creationId xmlns:a16="http://schemas.microsoft.com/office/drawing/2014/main" id="{B68E356C-1737-AD40-BA45-5DC09245C170}"/>
                </a:ext>
              </a:extLst>
            </p:cNvPr>
            <p:cNvSpPr>
              <a:spLocks/>
            </p:cNvSpPr>
            <p:nvPr/>
          </p:nvSpPr>
          <p:spPr bwMode="auto">
            <a:xfrm>
              <a:off x="1408482" y="1750617"/>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3" y="20"/>
                  </a:lnTo>
                  <a:lnTo>
                    <a:pt x="0" y="20"/>
                  </a:lnTo>
                  <a:lnTo>
                    <a:pt x="0" y="16"/>
                  </a:lnTo>
                  <a:lnTo>
                    <a:pt x="0" y="4"/>
                  </a:lnTo>
                  <a:lnTo>
                    <a:pt x="0" y="0"/>
                  </a:lnTo>
                  <a:lnTo>
                    <a:pt x="3" y="0"/>
                  </a:lnTo>
                  <a:lnTo>
                    <a:pt x="7" y="0"/>
                  </a:lnTo>
                  <a:lnTo>
                    <a:pt x="10" y="4"/>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2" name="Freeform 1166">
              <a:extLst>
                <a:ext uri="{FF2B5EF4-FFF2-40B4-BE49-F238E27FC236}">
                  <a16:creationId xmlns:a16="http://schemas.microsoft.com/office/drawing/2014/main" id="{958591B1-8F2C-6441-9B91-A9B68B02EB50}"/>
                </a:ext>
              </a:extLst>
            </p:cNvPr>
            <p:cNvSpPr>
              <a:spLocks/>
            </p:cNvSpPr>
            <p:nvPr/>
          </p:nvSpPr>
          <p:spPr bwMode="auto">
            <a:xfrm>
              <a:off x="1408482" y="1750617"/>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3" name="Freeform 1167">
              <a:extLst>
                <a:ext uri="{FF2B5EF4-FFF2-40B4-BE49-F238E27FC236}">
                  <a16:creationId xmlns:a16="http://schemas.microsoft.com/office/drawing/2014/main" id="{8AEFEB38-840D-7249-A7F0-317874F01383}"/>
                </a:ext>
              </a:extLst>
            </p:cNvPr>
            <p:cNvSpPr>
              <a:spLocks/>
            </p:cNvSpPr>
            <p:nvPr/>
          </p:nvSpPr>
          <p:spPr bwMode="auto">
            <a:xfrm>
              <a:off x="1420111" y="1734732"/>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6" y="23"/>
                  </a:lnTo>
                  <a:lnTo>
                    <a:pt x="3" y="23"/>
                  </a:lnTo>
                  <a:lnTo>
                    <a:pt x="0" y="23"/>
                  </a:lnTo>
                  <a:lnTo>
                    <a:pt x="0" y="20"/>
                  </a:lnTo>
                  <a:lnTo>
                    <a:pt x="0" y="3"/>
                  </a:lnTo>
                  <a:lnTo>
                    <a:pt x="0" y="0"/>
                  </a:lnTo>
                  <a:lnTo>
                    <a:pt x="3" y="0"/>
                  </a:lnTo>
                  <a:lnTo>
                    <a:pt x="6" y="0"/>
                  </a:lnTo>
                  <a:lnTo>
                    <a:pt x="10" y="3"/>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4" name="Freeform 1168">
              <a:extLst>
                <a:ext uri="{FF2B5EF4-FFF2-40B4-BE49-F238E27FC236}">
                  <a16:creationId xmlns:a16="http://schemas.microsoft.com/office/drawing/2014/main" id="{4E754DF3-5986-AF47-B486-D6ADFD72171E}"/>
                </a:ext>
              </a:extLst>
            </p:cNvPr>
            <p:cNvSpPr>
              <a:spLocks/>
            </p:cNvSpPr>
            <p:nvPr/>
          </p:nvSpPr>
          <p:spPr bwMode="auto">
            <a:xfrm>
              <a:off x="1420111" y="1734732"/>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5" name="Freeform 1169">
              <a:extLst>
                <a:ext uri="{FF2B5EF4-FFF2-40B4-BE49-F238E27FC236}">
                  <a16:creationId xmlns:a16="http://schemas.microsoft.com/office/drawing/2014/main" id="{4F9BD275-0A7A-704A-98DA-19A28DCBD233}"/>
                </a:ext>
              </a:extLst>
            </p:cNvPr>
            <p:cNvSpPr>
              <a:spLocks/>
            </p:cNvSpPr>
            <p:nvPr/>
          </p:nvSpPr>
          <p:spPr bwMode="auto">
            <a:xfrm>
              <a:off x="1435229" y="1721825"/>
              <a:ext cx="10467" cy="19857"/>
            </a:xfrm>
            <a:custGeom>
              <a:avLst/>
              <a:gdLst>
                <a:gd name="T0" fmla="*/ 2147483646 w 9"/>
                <a:gd name="T1" fmla="*/ 2147483646 h 20"/>
                <a:gd name="T2" fmla="*/ 2147483646 w 9"/>
                <a:gd name="T3" fmla="*/ 2147483646 h 20"/>
                <a:gd name="T4" fmla="*/ 2147483646 w 9"/>
                <a:gd name="T5" fmla="*/ 2147483646 h 20"/>
                <a:gd name="T6" fmla="*/ 2147483646 w 9"/>
                <a:gd name="T7" fmla="*/ 2147483646 h 20"/>
                <a:gd name="T8" fmla="*/ 0 w 9"/>
                <a:gd name="T9" fmla="*/ 2147483646 h 20"/>
                <a:gd name="T10" fmla="*/ 0 w 9"/>
                <a:gd name="T11" fmla="*/ 2147483646 h 20"/>
                <a:gd name="T12" fmla="*/ 0 w 9"/>
                <a:gd name="T13" fmla="*/ 2147483646 h 20"/>
                <a:gd name="T14" fmla="*/ 0 w 9"/>
                <a:gd name="T15" fmla="*/ 0 h 20"/>
                <a:gd name="T16" fmla="*/ 2147483646 w 9"/>
                <a:gd name="T17" fmla="*/ 0 h 20"/>
                <a:gd name="T18" fmla="*/ 2147483646 w 9"/>
                <a:gd name="T19" fmla="*/ 0 h 20"/>
                <a:gd name="T20" fmla="*/ 2147483646 w 9"/>
                <a:gd name="T21" fmla="*/ 0 h 20"/>
                <a:gd name="T22" fmla="*/ 2147483646 w 9"/>
                <a:gd name="T23" fmla="*/ 2147483646 h 20"/>
                <a:gd name="T24" fmla="*/ 2147483646 w 9"/>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0">
                  <a:moveTo>
                    <a:pt x="9" y="16"/>
                  </a:moveTo>
                  <a:lnTo>
                    <a:pt x="6" y="20"/>
                  </a:lnTo>
                  <a:lnTo>
                    <a:pt x="3" y="20"/>
                  </a:lnTo>
                  <a:lnTo>
                    <a:pt x="0" y="20"/>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6" name="Freeform 1170">
              <a:extLst>
                <a:ext uri="{FF2B5EF4-FFF2-40B4-BE49-F238E27FC236}">
                  <a16:creationId xmlns:a16="http://schemas.microsoft.com/office/drawing/2014/main" id="{ED070E58-05DB-D74B-A5F0-436763237B90}"/>
                </a:ext>
              </a:extLst>
            </p:cNvPr>
            <p:cNvSpPr>
              <a:spLocks/>
            </p:cNvSpPr>
            <p:nvPr/>
          </p:nvSpPr>
          <p:spPr bwMode="auto">
            <a:xfrm>
              <a:off x="1435229" y="1721825"/>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7" name="Freeform 1171">
              <a:extLst>
                <a:ext uri="{FF2B5EF4-FFF2-40B4-BE49-F238E27FC236}">
                  <a16:creationId xmlns:a16="http://schemas.microsoft.com/office/drawing/2014/main" id="{948D5497-CB29-364D-AFCE-B3397CF68417}"/>
                </a:ext>
              </a:extLst>
            </p:cNvPr>
            <p:cNvSpPr>
              <a:spLocks/>
            </p:cNvSpPr>
            <p:nvPr/>
          </p:nvSpPr>
          <p:spPr bwMode="auto">
            <a:xfrm>
              <a:off x="1442206" y="1705939"/>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7" y="23"/>
                  </a:lnTo>
                  <a:lnTo>
                    <a:pt x="3" y="23"/>
                  </a:lnTo>
                  <a:lnTo>
                    <a:pt x="0" y="23"/>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8" name="Freeform 1172">
              <a:extLst>
                <a:ext uri="{FF2B5EF4-FFF2-40B4-BE49-F238E27FC236}">
                  <a16:creationId xmlns:a16="http://schemas.microsoft.com/office/drawing/2014/main" id="{02BB7C83-BF2B-4D47-B61E-F3EE13187329}"/>
                </a:ext>
              </a:extLst>
            </p:cNvPr>
            <p:cNvSpPr>
              <a:spLocks/>
            </p:cNvSpPr>
            <p:nvPr/>
          </p:nvSpPr>
          <p:spPr bwMode="auto">
            <a:xfrm>
              <a:off x="1442206" y="1705939"/>
              <a:ext cx="26748" cy="9928"/>
            </a:xfrm>
            <a:custGeom>
              <a:avLst/>
              <a:gdLst>
                <a:gd name="T0" fmla="*/ 2147483646 w 23"/>
                <a:gd name="T1" fmla="*/ 2147483646 h 10"/>
                <a:gd name="T2" fmla="*/ 0 w 23"/>
                <a:gd name="T3" fmla="*/ 2147483646 h 10"/>
                <a:gd name="T4" fmla="*/ 0 w 23"/>
                <a:gd name="T5" fmla="*/ 2147483646 h 10"/>
                <a:gd name="T6" fmla="*/ 0 w 23"/>
                <a:gd name="T7" fmla="*/ 2147483646 h 10"/>
                <a:gd name="T8" fmla="*/ 0 w 23"/>
                <a:gd name="T9" fmla="*/ 0 h 10"/>
                <a:gd name="T10" fmla="*/ 2147483646 w 23"/>
                <a:gd name="T11" fmla="*/ 0 h 10"/>
                <a:gd name="T12" fmla="*/ 2147483646 w 23"/>
                <a:gd name="T13" fmla="*/ 0 h 10"/>
                <a:gd name="T14" fmla="*/ 2147483646 w 23"/>
                <a:gd name="T15" fmla="*/ 0 h 10"/>
                <a:gd name="T16" fmla="*/ 2147483646 w 23"/>
                <a:gd name="T17" fmla="*/ 2147483646 h 10"/>
                <a:gd name="T18" fmla="*/ 2147483646 w 23"/>
                <a:gd name="T19" fmla="*/ 2147483646 h 10"/>
                <a:gd name="T20" fmla="*/ 2147483646 w 23"/>
                <a:gd name="T21" fmla="*/ 2147483646 h 10"/>
                <a:gd name="T22" fmla="*/ 2147483646 w 23"/>
                <a:gd name="T23" fmla="*/ 2147483646 h 10"/>
                <a:gd name="T24" fmla="*/ 2147483646 w 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0">
                  <a:moveTo>
                    <a:pt x="3" y="10"/>
                  </a:moveTo>
                  <a:lnTo>
                    <a:pt x="0" y="7"/>
                  </a:lnTo>
                  <a:lnTo>
                    <a:pt x="0" y="3"/>
                  </a:lnTo>
                  <a:lnTo>
                    <a:pt x="0" y="0"/>
                  </a:lnTo>
                  <a:lnTo>
                    <a:pt x="3" y="0"/>
                  </a:lnTo>
                  <a:lnTo>
                    <a:pt x="20" y="0"/>
                  </a:lnTo>
                  <a:lnTo>
                    <a:pt x="23" y="0"/>
                  </a:lnTo>
                  <a:lnTo>
                    <a:pt x="23" y="3"/>
                  </a:lnTo>
                  <a:lnTo>
                    <a:pt x="23" y="7"/>
                  </a:lnTo>
                  <a:lnTo>
                    <a:pt x="20"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29" name="Freeform 1173">
              <a:extLst>
                <a:ext uri="{FF2B5EF4-FFF2-40B4-BE49-F238E27FC236}">
                  <a16:creationId xmlns:a16="http://schemas.microsoft.com/office/drawing/2014/main" id="{F5DAB74F-4B5E-7B46-9290-6B7198F2B452}"/>
                </a:ext>
              </a:extLst>
            </p:cNvPr>
            <p:cNvSpPr>
              <a:spLocks/>
            </p:cNvSpPr>
            <p:nvPr/>
          </p:nvSpPr>
          <p:spPr bwMode="auto">
            <a:xfrm>
              <a:off x="1460813" y="1693033"/>
              <a:ext cx="11629" cy="19857"/>
            </a:xfrm>
            <a:custGeom>
              <a:avLst/>
              <a:gdLst>
                <a:gd name="T0" fmla="*/ 2147483646 w 10"/>
                <a:gd name="T1" fmla="*/ 2147483646 h 20"/>
                <a:gd name="T2" fmla="*/ 2147483646 w 10"/>
                <a:gd name="T3" fmla="*/ 2147483646 h 20"/>
                <a:gd name="T4" fmla="*/ 2147483646 w 10"/>
                <a:gd name="T5" fmla="*/ 2147483646 h 20"/>
                <a:gd name="T6" fmla="*/ 2147483646 w 10"/>
                <a:gd name="T7" fmla="*/ 2147483646 h 20"/>
                <a:gd name="T8" fmla="*/ 0 w 10"/>
                <a:gd name="T9" fmla="*/ 2147483646 h 20"/>
                <a:gd name="T10" fmla="*/ 0 w 10"/>
                <a:gd name="T11" fmla="*/ 2147483646 h 20"/>
                <a:gd name="T12" fmla="*/ 0 w 10"/>
                <a:gd name="T13" fmla="*/ 2147483646 h 20"/>
                <a:gd name="T14" fmla="*/ 0 w 10"/>
                <a:gd name="T15" fmla="*/ 0 h 20"/>
                <a:gd name="T16" fmla="*/ 2147483646 w 10"/>
                <a:gd name="T17" fmla="*/ 0 h 20"/>
                <a:gd name="T18" fmla="*/ 2147483646 w 10"/>
                <a:gd name="T19" fmla="*/ 0 h 20"/>
                <a:gd name="T20" fmla="*/ 2147483646 w 10"/>
                <a:gd name="T21" fmla="*/ 0 h 20"/>
                <a:gd name="T22" fmla="*/ 2147483646 w 10"/>
                <a:gd name="T23" fmla="*/ 2147483646 h 20"/>
                <a:gd name="T24" fmla="*/ 2147483646 w 10"/>
                <a:gd name="T25" fmla="*/ 214748364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0">
                  <a:moveTo>
                    <a:pt x="10" y="16"/>
                  </a:moveTo>
                  <a:lnTo>
                    <a:pt x="7" y="20"/>
                  </a:lnTo>
                  <a:lnTo>
                    <a:pt x="4" y="20"/>
                  </a:lnTo>
                  <a:lnTo>
                    <a:pt x="0" y="20"/>
                  </a:lnTo>
                  <a:lnTo>
                    <a:pt x="0" y="16"/>
                  </a:lnTo>
                  <a:lnTo>
                    <a:pt x="0" y="3"/>
                  </a:lnTo>
                  <a:lnTo>
                    <a:pt x="0" y="0"/>
                  </a:lnTo>
                  <a:lnTo>
                    <a:pt x="4" y="0"/>
                  </a:lnTo>
                  <a:lnTo>
                    <a:pt x="7" y="0"/>
                  </a:lnTo>
                  <a:lnTo>
                    <a:pt x="10" y="3"/>
                  </a:lnTo>
                  <a:lnTo>
                    <a:pt x="10"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0" name="Freeform 1174">
              <a:extLst>
                <a:ext uri="{FF2B5EF4-FFF2-40B4-BE49-F238E27FC236}">
                  <a16:creationId xmlns:a16="http://schemas.microsoft.com/office/drawing/2014/main" id="{15652385-E184-2346-A40A-E0F410723648}"/>
                </a:ext>
              </a:extLst>
            </p:cNvPr>
            <p:cNvSpPr>
              <a:spLocks/>
            </p:cNvSpPr>
            <p:nvPr/>
          </p:nvSpPr>
          <p:spPr bwMode="auto">
            <a:xfrm>
              <a:off x="1460813" y="1693033"/>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4" y="10"/>
                  </a:moveTo>
                  <a:lnTo>
                    <a:pt x="0" y="7"/>
                  </a:lnTo>
                  <a:lnTo>
                    <a:pt x="0" y="3"/>
                  </a:lnTo>
                  <a:lnTo>
                    <a:pt x="0" y="0"/>
                  </a:lnTo>
                  <a:lnTo>
                    <a:pt x="4" y="0"/>
                  </a:lnTo>
                  <a:lnTo>
                    <a:pt x="13" y="0"/>
                  </a:lnTo>
                  <a:lnTo>
                    <a:pt x="16" y="0"/>
                  </a:lnTo>
                  <a:lnTo>
                    <a:pt x="16" y="3"/>
                  </a:lnTo>
                  <a:lnTo>
                    <a:pt x="16" y="7"/>
                  </a:lnTo>
                  <a:lnTo>
                    <a:pt x="13"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1" name="Freeform 1175">
              <a:extLst>
                <a:ext uri="{FF2B5EF4-FFF2-40B4-BE49-F238E27FC236}">
                  <a16:creationId xmlns:a16="http://schemas.microsoft.com/office/drawing/2014/main" id="{FF1EEC6F-53D8-5D4E-BC4D-F966586700BB}"/>
                </a:ext>
              </a:extLst>
            </p:cNvPr>
            <p:cNvSpPr>
              <a:spLocks/>
            </p:cNvSpPr>
            <p:nvPr/>
          </p:nvSpPr>
          <p:spPr bwMode="auto">
            <a:xfrm>
              <a:off x="1472442" y="1677147"/>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6" y="23"/>
                  </a:lnTo>
                  <a:lnTo>
                    <a:pt x="3" y="23"/>
                  </a:lnTo>
                  <a:lnTo>
                    <a:pt x="0" y="23"/>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2" name="Freeform 1176">
              <a:extLst>
                <a:ext uri="{FF2B5EF4-FFF2-40B4-BE49-F238E27FC236}">
                  <a16:creationId xmlns:a16="http://schemas.microsoft.com/office/drawing/2014/main" id="{FC17716C-7267-9148-968C-A9B8E04D206E}"/>
                </a:ext>
              </a:extLst>
            </p:cNvPr>
            <p:cNvSpPr>
              <a:spLocks/>
            </p:cNvSpPr>
            <p:nvPr/>
          </p:nvSpPr>
          <p:spPr bwMode="auto">
            <a:xfrm>
              <a:off x="1472442" y="1677147"/>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3" name="Freeform 1177">
              <a:extLst>
                <a:ext uri="{FF2B5EF4-FFF2-40B4-BE49-F238E27FC236}">
                  <a16:creationId xmlns:a16="http://schemas.microsoft.com/office/drawing/2014/main" id="{5F951B0F-5BBD-1744-8868-B8A70E9275F1}"/>
                </a:ext>
              </a:extLst>
            </p:cNvPr>
            <p:cNvSpPr>
              <a:spLocks/>
            </p:cNvSpPr>
            <p:nvPr/>
          </p:nvSpPr>
          <p:spPr bwMode="auto">
            <a:xfrm>
              <a:off x="1479420" y="1661262"/>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7" y="23"/>
                  </a:lnTo>
                  <a:lnTo>
                    <a:pt x="4" y="23"/>
                  </a:lnTo>
                  <a:lnTo>
                    <a:pt x="0" y="23"/>
                  </a:lnTo>
                  <a:lnTo>
                    <a:pt x="0" y="19"/>
                  </a:lnTo>
                  <a:lnTo>
                    <a:pt x="0" y="3"/>
                  </a:lnTo>
                  <a:lnTo>
                    <a:pt x="0" y="0"/>
                  </a:lnTo>
                  <a:lnTo>
                    <a:pt x="4"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4" name="Freeform 1178">
              <a:extLst>
                <a:ext uri="{FF2B5EF4-FFF2-40B4-BE49-F238E27FC236}">
                  <a16:creationId xmlns:a16="http://schemas.microsoft.com/office/drawing/2014/main" id="{7FCC132B-E613-0742-A80D-B2858FB19C89}"/>
                </a:ext>
              </a:extLst>
            </p:cNvPr>
            <p:cNvSpPr>
              <a:spLocks/>
            </p:cNvSpPr>
            <p:nvPr/>
          </p:nvSpPr>
          <p:spPr bwMode="auto">
            <a:xfrm>
              <a:off x="1479420" y="1661262"/>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4" y="10"/>
                  </a:moveTo>
                  <a:lnTo>
                    <a:pt x="0" y="6"/>
                  </a:lnTo>
                  <a:lnTo>
                    <a:pt x="0" y="3"/>
                  </a:lnTo>
                  <a:lnTo>
                    <a:pt x="0" y="0"/>
                  </a:lnTo>
                  <a:lnTo>
                    <a:pt x="4" y="0"/>
                  </a:lnTo>
                  <a:lnTo>
                    <a:pt x="7" y="0"/>
                  </a:lnTo>
                  <a:lnTo>
                    <a:pt x="10" y="0"/>
                  </a:lnTo>
                  <a:lnTo>
                    <a:pt x="10" y="3"/>
                  </a:lnTo>
                  <a:lnTo>
                    <a:pt x="10" y="6"/>
                  </a:lnTo>
                  <a:lnTo>
                    <a:pt x="7"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5" name="Freeform 1179">
              <a:extLst>
                <a:ext uri="{FF2B5EF4-FFF2-40B4-BE49-F238E27FC236}">
                  <a16:creationId xmlns:a16="http://schemas.microsoft.com/office/drawing/2014/main" id="{3536995A-B521-FC4B-960F-FA7528BF49ED}"/>
                </a:ext>
              </a:extLst>
            </p:cNvPr>
            <p:cNvSpPr>
              <a:spLocks/>
            </p:cNvSpPr>
            <p:nvPr/>
          </p:nvSpPr>
          <p:spPr bwMode="auto">
            <a:xfrm>
              <a:off x="1484071" y="1648354"/>
              <a:ext cx="10467" cy="18864"/>
            </a:xfrm>
            <a:custGeom>
              <a:avLst/>
              <a:gdLst>
                <a:gd name="T0" fmla="*/ 2147483646 w 9"/>
                <a:gd name="T1" fmla="*/ 2147483646 h 19"/>
                <a:gd name="T2" fmla="*/ 2147483646 w 9"/>
                <a:gd name="T3" fmla="*/ 2147483646 h 19"/>
                <a:gd name="T4" fmla="*/ 2147483646 w 9"/>
                <a:gd name="T5" fmla="*/ 2147483646 h 19"/>
                <a:gd name="T6" fmla="*/ 2147483646 w 9"/>
                <a:gd name="T7" fmla="*/ 2147483646 h 19"/>
                <a:gd name="T8" fmla="*/ 0 w 9"/>
                <a:gd name="T9" fmla="*/ 2147483646 h 19"/>
                <a:gd name="T10" fmla="*/ 0 w 9"/>
                <a:gd name="T11" fmla="*/ 2147483646 h 19"/>
                <a:gd name="T12" fmla="*/ 0 w 9"/>
                <a:gd name="T13" fmla="*/ 2147483646 h 19"/>
                <a:gd name="T14" fmla="*/ 0 w 9"/>
                <a:gd name="T15" fmla="*/ 0 h 19"/>
                <a:gd name="T16" fmla="*/ 2147483646 w 9"/>
                <a:gd name="T17" fmla="*/ 0 h 19"/>
                <a:gd name="T18" fmla="*/ 2147483646 w 9"/>
                <a:gd name="T19" fmla="*/ 0 h 19"/>
                <a:gd name="T20" fmla="*/ 2147483646 w 9"/>
                <a:gd name="T21" fmla="*/ 0 h 19"/>
                <a:gd name="T22" fmla="*/ 2147483646 w 9"/>
                <a:gd name="T23" fmla="*/ 2147483646 h 19"/>
                <a:gd name="T24" fmla="*/ 2147483646 w 9"/>
                <a:gd name="T25" fmla="*/ 2147483646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9">
                  <a:moveTo>
                    <a:pt x="9" y="16"/>
                  </a:moveTo>
                  <a:lnTo>
                    <a:pt x="6" y="19"/>
                  </a:lnTo>
                  <a:lnTo>
                    <a:pt x="3" y="19"/>
                  </a:lnTo>
                  <a:lnTo>
                    <a:pt x="0" y="19"/>
                  </a:lnTo>
                  <a:lnTo>
                    <a:pt x="0" y="16"/>
                  </a:lnTo>
                  <a:lnTo>
                    <a:pt x="0" y="3"/>
                  </a:lnTo>
                  <a:lnTo>
                    <a:pt x="0" y="0"/>
                  </a:lnTo>
                  <a:lnTo>
                    <a:pt x="3" y="0"/>
                  </a:lnTo>
                  <a:lnTo>
                    <a:pt x="6" y="0"/>
                  </a:lnTo>
                  <a:lnTo>
                    <a:pt x="9" y="3"/>
                  </a:lnTo>
                  <a:lnTo>
                    <a:pt x="9" y="1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6" name="Freeform 1180">
              <a:extLst>
                <a:ext uri="{FF2B5EF4-FFF2-40B4-BE49-F238E27FC236}">
                  <a16:creationId xmlns:a16="http://schemas.microsoft.com/office/drawing/2014/main" id="{0FE3EB0E-D82E-F74E-AF32-E096E31BDFA7}"/>
                </a:ext>
              </a:extLst>
            </p:cNvPr>
            <p:cNvSpPr>
              <a:spLocks/>
            </p:cNvSpPr>
            <p:nvPr/>
          </p:nvSpPr>
          <p:spPr bwMode="auto">
            <a:xfrm>
              <a:off x="1484071" y="164835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7" name="Freeform 1181">
              <a:extLst>
                <a:ext uri="{FF2B5EF4-FFF2-40B4-BE49-F238E27FC236}">
                  <a16:creationId xmlns:a16="http://schemas.microsoft.com/office/drawing/2014/main" id="{F2D55EE3-5B03-724E-A26F-46DE5F479972}"/>
                </a:ext>
              </a:extLst>
            </p:cNvPr>
            <p:cNvSpPr>
              <a:spLocks/>
            </p:cNvSpPr>
            <p:nvPr/>
          </p:nvSpPr>
          <p:spPr bwMode="auto">
            <a:xfrm>
              <a:off x="1491049" y="164835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8" name="Freeform 1182">
              <a:extLst>
                <a:ext uri="{FF2B5EF4-FFF2-40B4-BE49-F238E27FC236}">
                  <a16:creationId xmlns:a16="http://schemas.microsoft.com/office/drawing/2014/main" id="{A812AD6E-7C76-414C-9CA1-2D8056131BC3}"/>
                </a:ext>
              </a:extLst>
            </p:cNvPr>
            <p:cNvSpPr>
              <a:spLocks/>
            </p:cNvSpPr>
            <p:nvPr/>
          </p:nvSpPr>
          <p:spPr bwMode="auto">
            <a:xfrm>
              <a:off x="1502678" y="1632469"/>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39" name="Freeform 1183">
              <a:extLst>
                <a:ext uri="{FF2B5EF4-FFF2-40B4-BE49-F238E27FC236}">
                  <a16:creationId xmlns:a16="http://schemas.microsoft.com/office/drawing/2014/main" id="{4BD86AC2-E45D-F546-ACDE-241EAD07A7BB}"/>
                </a:ext>
              </a:extLst>
            </p:cNvPr>
            <p:cNvSpPr>
              <a:spLocks/>
            </p:cNvSpPr>
            <p:nvPr/>
          </p:nvSpPr>
          <p:spPr bwMode="auto">
            <a:xfrm>
              <a:off x="1502678" y="1632469"/>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0" name="Freeform 1184">
              <a:extLst>
                <a:ext uri="{FF2B5EF4-FFF2-40B4-BE49-F238E27FC236}">
                  <a16:creationId xmlns:a16="http://schemas.microsoft.com/office/drawing/2014/main" id="{C7292362-4646-DD48-BF0E-367D0300C7AB}"/>
                </a:ext>
              </a:extLst>
            </p:cNvPr>
            <p:cNvSpPr>
              <a:spLocks/>
            </p:cNvSpPr>
            <p:nvPr/>
          </p:nvSpPr>
          <p:spPr bwMode="auto">
            <a:xfrm>
              <a:off x="1506167" y="1616583"/>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7" y="22"/>
                  </a:lnTo>
                  <a:lnTo>
                    <a:pt x="3" y="22"/>
                  </a:lnTo>
                  <a:lnTo>
                    <a:pt x="0" y="22"/>
                  </a:lnTo>
                  <a:lnTo>
                    <a:pt x="0" y="19"/>
                  </a:lnTo>
                  <a:lnTo>
                    <a:pt x="0" y="3"/>
                  </a:lnTo>
                  <a:lnTo>
                    <a:pt x="0" y="0"/>
                  </a:lnTo>
                  <a:lnTo>
                    <a:pt x="3" y="0"/>
                  </a:lnTo>
                  <a:lnTo>
                    <a:pt x="7"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1" name="Freeform 1185">
              <a:extLst>
                <a:ext uri="{FF2B5EF4-FFF2-40B4-BE49-F238E27FC236}">
                  <a16:creationId xmlns:a16="http://schemas.microsoft.com/office/drawing/2014/main" id="{8975756D-DFAC-7C4A-B2E7-B87227A8EC20}"/>
                </a:ext>
              </a:extLst>
            </p:cNvPr>
            <p:cNvSpPr>
              <a:spLocks/>
            </p:cNvSpPr>
            <p:nvPr/>
          </p:nvSpPr>
          <p:spPr bwMode="auto">
            <a:xfrm>
              <a:off x="1506167" y="1616583"/>
              <a:ext cx="22096" cy="8936"/>
            </a:xfrm>
            <a:custGeom>
              <a:avLst/>
              <a:gdLst>
                <a:gd name="T0" fmla="*/ 2147483646 w 19"/>
                <a:gd name="T1" fmla="*/ 2147483646 h 9"/>
                <a:gd name="T2" fmla="*/ 0 w 19"/>
                <a:gd name="T3" fmla="*/ 2147483646 h 9"/>
                <a:gd name="T4" fmla="*/ 0 w 19"/>
                <a:gd name="T5" fmla="*/ 2147483646 h 9"/>
                <a:gd name="T6" fmla="*/ 0 w 19"/>
                <a:gd name="T7" fmla="*/ 2147483646 h 9"/>
                <a:gd name="T8" fmla="*/ 0 w 19"/>
                <a:gd name="T9" fmla="*/ 0 h 9"/>
                <a:gd name="T10" fmla="*/ 2147483646 w 19"/>
                <a:gd name="T11" fmla="*/ 0 h 9"/>
                <a:gd name="T12" fmla="*/ 2147483646 w 19"/>
                <a:gd name="T13" fmla="*/ 0 h 9"/>
                <a:gd name="T14" fmla="*/ 2147483646 w 19"/>
                <a:gd name="T15" fmla="*/ 0 h 9"/>
                <a:gd name="T16" fmla="*/ 2147483646 w 19"/>
                <a:gd name="T17" fmla="*/ 2147483646 h 9"/>
                <a:gd name="T18" fmla="*/ 2147483646 w 19"/>
                <a:gd name="T19" fmla="*/ 2147483646 h 9"/>
                <a:gd name="T20" fmla="*/ 2147483646 w 19"/>
                <a:gd name="T21" fmla="*/ 2147483646 h 9"/>
                <a:gd name="T22" fmla="*/ 2147483646 w 19"/>
                <a:gd name="T23" fmla="*/ 2147483646 h 9"/>
                <a:gd name="T24" fmla="*/ 2147483646 w 19"/>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9">
                  <a:moveTo>
                    <a:pt x="3" y="9"/>
                  </a:moveTo>
                  <a:lnTo>
                    <a:pt x="0" y="6"/>
                  </a:lnTo>
                  <a:lnTo>
                    <a:pt x="0" y="3"/>
                  </a:lnTo>
                  <a:lnTo>
                    <a:pt x="0" y="0"/>
                  </a:lnTo>
                  <a:lnTo>
                    <a:pt x="3" y="0"/>
                  </a:lnTo>
                  <a:lnTo>
                    <a:pt x="16" y="0"/>
                  </a:lnTo>
                  <a:lnTo>
                    <a:pt x="19" y="0"/>
                  </a:lnTo>
                  <a:lnTo>
                    <a:pt x="19" y="3"/>
                  </a:lnTo>
                  <a:lnTo>
                    <a:pt x="19" y="6"/>
                  </a:lnTo>
                  <a:lnTo>
                    <a:pt x="16"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2" name="Freeform 1186">
              <a:extLst>
                <a:ext uri="{FF2B5EF4-FFF2-40B4-BE49-F238E27FC236}">
                  <a16:creationId xmlns:a16="http://schemas.microsoft.com/office/drawing/2014/main" id="{7EE16B4C-1F75-0348-8FAF-F0B8D43E0C57}"/>
                </a:ext>
              </a:extLst>
            </p:cNvPr>
            <p:cNvSpPr>
              <a:spLocks/>
            </p:cNvSpPr>
            <p:nvPr/>
          </p:nvSpPr>
          <p:spPr bwMode="auto">
            <a:xfrm>
              <a:off x="1521285" y="1600698"/>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3" name="Freeform 1187">
              <a:extLst>
                <a:ext uri="{FF2B5EF4-FFF2-40B4-BE49-F238E27FC236}">
                  <a16:creationId xmlns:a16="http://schemas.microsoft.com/office/drawing/2014/main" id="{1A4C8F0E-227D-B84A-B2FB-74A612F78F8F}"/>
                </a:ext>
              </a:extLst>
            </p:cNvPr>
            <p:cNvSpPr>
              <a:spLocks/>
            </p:cNvSpPr>
            <p:nvPr/>
          </p:nvSpPr>
          <p:spPr bwMode="auto">
            <a:xfrm>
              <a:off x="1521285" y="160069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4" name="Freeform 1188">
              <a:extLst>
                <a:ext uri="{FF2B5EF4-FFF2-40B4-BE49-F238E27FC236}">
                  <a16:creationId xmlns:a16="http://schemas.microsoft.com/office/drawing/2014/main" id="{3BD14008-9FF5-5644-A4C4-9DBC8EC95C36}"/>
                </a:ext>
              </a:extLst>
            </p:cNvPr>
            <p:cNvSpPr>
              <a:spLocks/>
            </p:cNvSpPr>
            <p:nvPr/>
          </p:nvSpPr>
          <p:spPr bwMode="auto">
            <a:xfrm>
              <a:off x="1528262" y="1600698"/>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4" y="9"/>
                  </a:moveTo>
                  <a:lnTo>
                    <a:pt x="0" y="6"/>
                  </a:lnTo>
                  <a:lnTo>
                    <a:pt x="0" y="3"/>
                  </a:lnTo>
                  <a:lnTo>
                    <a:pt x="0" y="0"/>
                  </a:lnTo>
                  <a:lnTo>
                    <a:pt x="4" y="0"/>
                  </a:lnTo>
                  <a:lnTo>
                    <a:pt x="10" y="0"/>
                  </a:lnTo>
                  <a:lnTo>
                    <a:pt x="13" y="0"/>
                  </a:lnTo>
                  <a:lnTo>
                    <a:pt x="13" y="3"/>
                  </a:lnTo>
                  <a:lnTo>
                    <a:pt x="13" y="6"/>
                  </a:lnTo>
                  <a:lnTo>
                    <a:pt x="10"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5" name="Freeform 1189">
              <a:extLst>
                <a:ext uri="{FF2B5EF4-FFF2-40B4-BE49-F238E27FC236}">
                  <a16:creationId xmlns:a16="http://schemas.microsoft.com/office/drawing/2014/main" id="{044D89B3-CE86-E94A-A9D4-B77AE8850CB7}"/>
                </a:ext>
              </a:extLst>
            </p:cNvPr>
            <p:cNvSpPr>
              <a:spLocks/>
            </p:cNvSpPr>
            <p:nvPr/>
          </p:nvSpPr>
          <p:spPr bwMode="auto">
            <a:xfrm>
              <a:off x="1536403" y="1584812"/>
              <a:ext cx="11629" cy="21843"/>
            </a:xfrm>
            <a:custGeom>
              <a:avLst/>
              <a:gdLst>
                <a:gd name="T0" fmla="*/ 2147483646 w 10"/>
                <a:gd name="T1" fmla="*/ 2147483646 h 22"/>
                <a:gd name="T2" fmla="*/ 2147483646 w 10"/>
                <a:gd name="T3" fmla="*/ 2147483646 h 22"/>
                <a:gd name="T4" fmla="*/ 2147483646 w 10"/>
                <a:gd name="T5" fmla="*/ 2147483646 h 22"/>
                <a:gd name="T6" fmla="*/ 2147483646 w 10"/>
                <a:gd name="T7" fmla="*/ 2147483646 h 22"/>
                <a:gd name="T8" fmla="*/ 0 w 10"/>
                <a:gd name="T9" fmla="*/ 2147483646 h 22"/>
                <a:gd name="T10" fmla="*/ 0 w 10"/>
                <a:gd name="T11" fmla="*/ 2147483646 h 22"/>
                <a:gd name="T12" fmla="*/ 0 w 10"/>
                <a:gd name="T13" fmla="*/ 2147483646 h 22"/>
                <a:gd name="T14" fmla="*/ 0 w 10"/>
                <a:gd name="T15" fmla="*/ 0 h 22"/>
                <a:gd name="T16" fmla="*/ 2147483646 w 10"/>
                <a:gd name="T17" fmla="*/ 0 h 22"/>
                <a:gd name="T18" fmla="*/ 2147483646 w 10"/>
                <a:gd name="T19" fmla="*/ 0 h 22"/>
                <a:gd name="T20" fmla="*/ 2147483646 w 10"/>
                <a:gd name="T21" fmla="*/ 0 h 22"/>
                <a:gd name="T22" fmla="*/ 2147483646 w 10"/>
                <a:gd name="T23" fmla="*/ 2147483646 h 22"/>
                <a:gd name="T24" fmla="*/ 2147483646 w 10"/>
                <a:gd name="T25" fmla="*/ 214748364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2">
                  <a:moveTo>
                    <a:pt x="10" y="19"/>
                  </a:moveTo>
                  <a:lnTo>
                    <a:pt x="6" y="22"/>
                  </a:lnTo>
                  <a:lnTo>
                    <a:pt x="3" y="22"/>
                  </a:lnTo>
                  <a:lnTo>
                    <a:pt x="0" y="22"/>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6" name="Freeform 1190">
              <a:extLst>
                <a:ext uri="{FF2B5EF4-FFF2-40B4-BE49-F238E27FC236}">
                  <a16:creationId xmlns:a16="http://schemas.microsoft.com/office/drawing/2014/main" id="{866F9733-D4D6-834E-B8F4-022B42F74BED}"/>
                </a:ext>
              </a:extLst>
            </p:cNvPr>
            <p:cNvSpPr>
              <a:spLocks/>
            </p:cNvSpPr>
            <p:nvPr/>
          </p:nvSpPr>
          <p:spPr bwMode="auto">
            <a:xfrm>
              <a:off x="1536403" y="1584812"/>
              <a:ext cx="30236" cy="8936"/>
            </a:xfrm>
            <a:custGeom>
              <a:avLst/>
              <a:gdLst>
                <a:gd name="T0" fmla="*/ 2147483646 w 26"/>
                <a:gd name="T1" fmla="*/ 2147483646 h 9"/>
                <a:gd name="T2" fmla="*/ 0 w 26"/>
                <a:gd name="T3" fmla="*/ 2147483646 h 9"/>
                <a:gd name="T4" fmla="*/ 0 w 26"/>
                <a:gd name="T5" fmla="*/ 2147483646 h 9"/>
                <a:gd name="T6" fmla="*/ 0 w 26"/>
                <a:gd name="T7" fmla="*/ 2147483646 h 9"/>
                <a:gd name="T8" fmla="*/ 0 w 26"/>
                <a:gd name="T9" fmla="*/ 0 h 9"/>
                <a:gd name="T10" fmla="*/ 2147483646 w 26"/>
                <a:gd name="T11" fmla="*/ 0 h 9"/>
                <a:gd name="T12" fmla="*/ 2147483646 w 26"/>
                <a:gd name="T13" fmla="*/ 0 h 9"/>
                <a:gd name="T14" fmla="*/ 2147483646 w 26"/>
                <a:gd name="T15" fmla="*/ 0 h 9"/>
                <a:gd name="T16" fmla="*/ 2147483646 w 26"/>
                <a:gd name="T17" fmla="*/ 2147483646 h 9"/>
                <a:gd name="T18" fmla="*/ 2147483646 w 26"/>
                <a:gd name="T19" fmla="*/ 2147483646 h 9"/>
                <a:gd name="T20" fmla="*/ 2147483646 w 26"/>
                <a:gd name="T21" fmla="*/ 2147483646 h 9"/>
                <a:gd name="T22" fmla="*/ 2147483646 w 26"/>
                <a:gd name="T23" fmla="*/ 2147483646 h 9"/>
                <a:gd name="T24" fmla="*/ 2147483646 w 2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9">
                  <a:moveTo>
                    <a:pt x="3" y="9"/>
                  </a:moveTo>
                  <a:lnTo>
                    <a:pt x="0" y="6"/>
                  </a:lnTo>
                  <a:lnTo>
                    <a:pt x="0" y="3"/>
                  </a:lnTo>
                  <a:lnTo>
                    <a:pt x="0" y="0"/>
                  </a:lnTo>
                  <a:lnTo>
                    <a:pt x="3" y="0"/>
                  </a:lnTo>
                  <a:lnTo>
                    <a:pt x="22" y="0"/>
                  </a:lnTo>
                  <a:lnTo>
                    <a:pt x="26" y="0"/>
                  </a:lnTo>
                  <a:lnTo>
                    <a:pt x="26" y="3"/>
                  </a:lnTo>
                  <a:lnTo>
                    <a:pt x="26" y="6"/>
                  </a:lnTo>
                  <a:lnTo>
                    <a:pt x="22"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7" name="Freeform 1191">
              <a:extLst>
                <a:ext uri="{FF2B5EF4-FFF2-40B4-BE49-F238E27FC236}">
                  <a16:creationId xmlns:a16="http://schemas.microsoft.com/office/drawing/2014/main" id="{E820C39D-2C37-3043-B4EA-9ACDC012D4A3}"/>
                </a:ext>
              </a:extLst>
            </p:cNvPr>
            <p:cNvSpPr>
              <a:spLocks/>
            </p:cNvSpPr>
            <p:nvPr/>
          </p:nvSpPr>
          <p:spPr bwMode="auto">
            <a:xfrm>
              <a:off x="1558498" y="1567934"/>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7" y="23"/>
                  </a:lnTo>
                  <a:lnTo>
                    <a:pt x="3" y="23"/>
                  </a:lnTo>
                  <a:lnTo>
                    <a:pt x="0" y="23"/>
                  </a:lnTo>
                  <a:lnTo>
                    <a:pt x="0" y="20"/>
                  </a:lnTo>
                  <a:lnTo>
                    <a:pt x="0" y="4"/>
                  </a:lnTo>
                  <a:lnTo>
                    <a:pt x="0" y="0"/>
                  </a:lnTo>
                  <a:lnTo>
                    <a:pt x="3" y="0"/>
                  </a:lnTo>
                  <a:lnTo>
                    <a:pt x="7" y="0"/>
                  </a:lnTo>
                  <a:lnTo>
                    <a:pt x="10" y="4"/>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8" name="Freeform 1192">
              <a:extLst>
                <a:ext uri="{FF2B5EF4-FFF2-40B4-BE49-F238E27FC236}">
                  <a16:creationId xmlns:a16="http://schemas.microsoft.com/office/drawing/2014/main" id="{43C48123-860C-844B-AF89-498CD968C4C1}"/>
                </a:ext>
              </a:extLst>
            </p:cNvPr>
            <p:cNvSpPr>
              <a:spLocks/>
            </p:cNvSpPr>
            <p:nvPr/>
          </p:nvSpPr>
          <p:spPr bwMode="auto">
            <a:xfrm>
              <a:off x="1558498" y="1567934"/>
              <a:ext cx="52332" cy="9928"/>
            </a:xfrm>
            <a:custGeom>
              <a:avLst/>
              <a:gdLst>
                <a:gd name="T0" fmla="*/ 2147483646 w 45"/>
                <a:gd name="T1" fmla="*/ 2147483646 h 10"/>
                <a:gd name="T2" fmla="*/ 0 w 45"/>
                <a:gd name="T3" fmla="*/ 2147483646 h 10"/>
                <a:gd name="T4" fmla="*/ 0 w 45"/>
                <a:gd name="T5" fmla="*/ 2147483646 h 10"/>
                <a:gd name="T6" fmla="*/ 0 w 45"/>
                <a:gd name="T7" fmla="*/ 2147483646 h 10"/>
                <a:gd name="T8" fmla="*/ 0 w 45"/>
                <a:gd name="T9" fmla="*/ 0 h 10"/>
                <a:gd name="T10" fmla="*/ 2147483646 w 45"/>
                <a:gd name="T11" fmla="*/ 0 h 10"/>
                <a:gd name="T12" fmla="*/ 2147483646 w 45"/>
                <a:gd name="T13" fmla="*/ 0 h 10"/>
                <a:gd name="T14" fmla="*/ 2147483646 w 45"/>
                <a:gd name="T15" fmla="*/ 0 h 10"/>
                <a:gd name="T16" fmla="*/ 2147483646 w 45"/>
                <a:gd name="T17" fmla="*/ 2147483646 h 10"/>
                <a:gd name="T18" fmla="*/ 2147483646 w 45"/>
                <a:gd name="T19" fmla="*/ 2147483646 h 10"/>
                <a:gd name="T20" fmla="*/ 2147483646 w 45"/>
                <a:gd name="T21" fmla="*/ 2147483646 h 10"/>
                <a:gd name="T22" fmla="*/ 2147483646 w 45"/>
                <a:gd name="T23" fmla="*/ 2147483646 h 10"/>
                <a:gd name="T24" fmla="*/ 2147483646 w 4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10">
                  <a:moveTo>
                    <a:pt x="3" y="10"/>
                  </a:moveTo>
                  <a:lnTo>
                    <a:pt x="0" y="7"/>
                  </a:lnTo>
                  <a:lnTo>
                    <a:pt x="0" y="4"/>
                  </a:lnTo>
                  <a:lnTo>
                    <a:pt x="0" y="0"/>
                  </a:lnTo>
                  <a:lnTo>
                    <a:pt x="3" y="0"/>
                  </a:lnTo>
                  <a:lnTo>
                    <a:pt x="42" y="0"/>
                  </a:lnTo>
                  <a:lnTo>
                    <a:pt x="45" y="0"/>
                  </a:lnTo>
                  <a:lnTo>
                    <a:pt x="45" y="4"/>
                  </a:lnTo>
                  <a:lnTo>
                    <a:pt x="45" y="7"/>
                  </a:lnTo>
                  <a:lnTo>
                    <a:pt x="4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49" name="Freeform 1193">
              <a:extLst>
                <a:ext uri="{FF2B5EF4-FFF2-40B4-BE49-F238E27FC236}">
                  <a16:creationId xmlns:a16="http://schemas.microsoft.com/office/drawing/2014/main" id="{FA1E17F8-EAEC-B64A-A54A-2FA742C6E83B}"/>
                </a:ext>
              </a:extLst>
            </p:cNvPr>
            <p:cNvSpPr>
              <a:spLocks/>
            </p:cNvSpPr>
            <p:nvPr/>
          </p:nvSpPr>
          <p:spPr bwMode="auto">
            <a:xfrm>
              <a:off x="1603853" y="1552049"/>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20"/>
                  </a:moveTo>
                  <a:lnTo>
                    <a:pt x="6" y="23"/>
                  </a:lnTo>
                  <a:lnTo>
                    <a:pt x="3" y="23"/>
                  </a:lnTo>
                  <a:lnTo>
                    <a:pt x="0" y="23"/>
                  </a:lnTo>
                  <a:lnTo>
                    <a:pt x="0" y="20"/>
                  </a:lnTo>
                  <a:lnTo>
                    <a:pt x="0" y="3"/>
                  </a:lnTo>
                  <a:lnTo>
                    <a:pt x="0" y="0"/>
                  </a:lnTo>
                  <a:lnTo>
                    <a:pt x="3" y="0"/>
                  </a:lnTo>
                  <a:lnTo>
                    <a:pt x="6" y="0"/>
                  </a:lnTo>
                  <a:lnTo>
                    <a:pt x="10" y="3"/>
                  </a:lnTo>
                  <a:lnTo>
                    <a:pt x="10" y="2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0" name="Freeform 1194">
              <a:extLst>
                <a:ext uri="{FF2B5EF4-FFF2-40B4-BE49-F238E27FC236}">
                  <a16:creationId xmlns:a16="http://schemas.microsoft.com/office/drawing/2014/main" id="{030FD7B3-A7B1-1345-9B4F-A1B46EE8F58C}"/>
                </a:ext>
              </a:extLst>
            </p:cNvPr>
            <p:cNvSpPr>
              <a:spLocks/>
            </p:cNvSpPr>
            <p:nvPr/>
          </p:nvSpPr>
          <p:spPr bwMode="auto">
            <a:xfrm>
              <a:off x="1603853" y="1552049"/>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1" name="Freeform 1195">
              <a:extLst>
                <a:ext uri="{FF2B5EF4-FFF2-40B4-BE49-F238E27FC236}">
                  <a16:creationId xmlns:a16="http://schemas.microsoft.com/office/drawing/2014/main" id="{87086CA7-DF4A-9042-B2CE-745CB670C693}"/>
                </a:ext>
              </a:extLst>
            </p:cNvPr>
            <p:cNvSpPr>
              <a:spLocks/>
            </p:cNvSpPr>
            <p:nvPr/>
          </p:nvSpPr>
          <p:spPr bwMode="auto">
            <a:xfrm>
              <a:off x="1625948" y="1552049"/>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10" y="0"/>
                  </a:lnTo>
                  <a:lnTo>
                    <a:pt x="13" y="0"/>
                  </a:lnTo>
                  <a:lnTo>
                    <a:pt x="13" y="3"/>
                  </a:lnTo>
                  <a:lnTo>
                    <a:pt x="13" y="7"/>
                  </a:lnTo>
                  <a:lnTo>
                    <a:pt x="10"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2" name="Freeform 1196">
              <a:extLst>
                <a:ext uri="{FF2B5EF4-FFF2-40B4-BE49-F238E27FC236}">
                  <a16:creationId xmlns:a16="http://schemas.microsoft.com/office/drawing/2014/main" id="{ACB5D54D-ED3B-EF4F-A598-34271CAAEB09}"/>
                </a:ext>
              </a:extLst>
            </p:cNvPr>
            <p:cNvSpPr>
              <a:spLocks/>
            </p:cNvSpPr>
            <p:nvPr/>
          </p:nvSpPr>
          <p:spPr bwMode="auto">
            <a:xfrm>
              <a:off x="1634089" y="1552049"/>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7"/>
                  </a:lnTo>
                  <a:lnTo>
                    <a:pt x="0" y="3"/>
                  </a:lnTo>
                  <a:lnTo>
                    <a:pt x="0" y="0"/>
                  </a:lnTo>
                  <a:lnTo>
                    <a:pt x="3" y="0"/>
                  </a:lnTo>
                  <a:lnTo>
                    <a:pt x="19" y="0"/>
                  </a:lnTo>
                  <a:lnTo>
                    <a:pt x="22" y="0"/>
                  </a:lnTo>
                  <a:lnTo>
                    <a:pt x="22" y="3"/>
                  </a:lnTo>
                  <a:lnTo>
                    <a:pt x="22" y="7"/>
                  </a:lnTo>
                  <a:lnTo>
                    <a:pt x="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3" name="Freeform 1197">
              <a:extLst>
                <a:ext uri="{FF2B5EF4-FFF2-40B4-BE49-F238E27FC236}">
                  <a16:creationId xmlns:a16="http://schemas.microsoft.com/office/drawing/2014/main" id="{925EE829-024A-5841-84E4-09F82D0243F2}"/>
                </a:ext>
              </a:extLst>
            </p:cNvPr>
            <p:cNvSpPr>
              <a:spLocks/>
            </p:cNvSpPr>
            <p:nvPr/>
          </p:nvSpPr>
          <p:spPr bwMode="auto">
            <a:xfrm>
              <a:off x="1652695" y="1552049"/>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3"/>
                  </a:lnTo>
                  <a:lnTo>
                    <a:pt x="0" y="0"/>
                  </a:lnTo>
                  <a:lnTo>
                    <a:pt x="3" y="0"/>
                  </a:lnTo>
                  <a:lnTo>
                    <a:pt x="13" y="0"/>
                  </a:lnTo>
                  <a:lnTo>
                    <a:pt x="16" y="0"/>
                  </a:lnTo>
                  <a:lnTo>
                    <a:pt x="16" y="3"/>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4" name="Freeform 1198">
              <a:extLst>
                <a:ext uri="{FF2B5EF4-FFF2-40B4-BE49-F238E27FC236}">
                  <a16:creationId xmlns:a16="http://schemas.microsoft.com/office/drawing/2014/main" id="{09AC0682-EC5D-AF4E-AA17-8B0224F09980}"/>
                </a:ext>
              </a:extLst>
            </p:cNvPr>
            <p:cNvSpPr>
              <a:spLocks/>
            </p:cNvSpPr>
            <p:nvPr/>
          </p:nvSpPr>
          <p:spPr bwMode="auto">
            <a:xfrm>
              <a:off x="1663161" y="1533184"/>
              <a:ext cx="11629" cy="25814"/>
            </a:xfrm>
            <a:custGeom>
              <a:avLst/>
              <a:gdLst>
                <a:gd name="T0" fmla="*/ 2147483646 w 10"/>
                <a:gd name="T1" fmla="*/ 2147483646 h 26"/>
                <a:gd name="T2" fmla="*/ 2147483646 w 10"/>
                <a:gd name="T3" fmla="*/ 2147483646 h 26"/>
                <a:gd name="T4" fmla="*/ 2147483646 w 10"/>
                <a:gd name="T5" fmla="*/ 2147483646 h 26"/>
                <a:gd name="T6" fmla="*/ 2147483646 w 10"/>
                <a:gd name="T7" fmla="*/ 2147483646 h 26"/>
                <a:gd name="T8" fmla="*/ 0 w 10"/>
                <a:gd name="T9" fmla="*/ 2147483646 h 26"/>
                <a:gd name="T10" fmla="*/ 0 w 10"/>
                <a:gd name="T11" fmla="*/ 2147483646 h 26"/>
                <a:gd name="T12" fmla="*/ 0 w 10"/>
                <a:gd name="T13" fmla="*/ 2147483646 h 26"/>
                <a:gd name="T14" fmla="*/ 0 w 10"/>
                <a:gd name="T15" fmla="*/ 0 h 26"/>
                <a:gd name="T16" fmla="*/ 2147483646 w 10"/>
                <a:gd name="T17" fmla="*/ 0 h 26"/>
                <a:gd name="T18" fmla="*/ 2147483646 w 10"/>
                <a:gd name="T19" fmla="*/ 0 h 26"/>
                <a:gd name="T20" fmla="*/ 2147483646 w 10"/>
                <a:gd name="T21" fmla="*/ 0 h 26"/>
                <a:gd name="T22" fmla="*/ 2147483646 w 10"/>
                <a:gd name="T23" fmla="*/ 2147483646 h 26"/>
                <a:gd name="T24" fmla="*/ 2147483646 w 10"/>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6">
                  <a:moveTo>
                    <a:pt x="10" y="22"/>
                  </a:moveTo>
                  <a:lnTo>
                    <a:pt x="7" y="26"/>
                  </a:lnTo>
                  <a:lnTo>
                    <a:pt x="4" y="26"/>
                  </a:lnTo>
                  <a:lnTo>
                    <a:pt x="0" y="26"/>
                  </a:lnTo>
                  <a:lnTo>
                    <a:pt x="0" y="22"/>
                  </a:lnTo>
                  <a:lnTo>
                    <a:pt x="0" y="3"/>
                  </a:lnTo>
                  <a:lnTo>
                    <a:pt x="0" y="0"/>
                  </a:lnTo>
                  <a:lnTo>
                    <a:pt x="4" y="0"/>
                  </a:lnTo>
                  <a:lnTo>
                    <a:pt x="7" y="0"/>
                  </a:lnTo>
                  <a:lnTo>
                    <a:pt x="10" y="3"/>
                  </a:lnTo>
                  <a:lnTo>
                    <a:pt x="10" y="2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5" name="Freeform 1199">
              <a:extLst>
                <a:ext uri="{FF2B5EF4-FFF2-40B4-BE49-F238E27FC236}">
                  <a16:creationId xmlns:a16="http://schemas.microsoft.com/office/drawing/2014/main" id="{790D501F-1E1A-EF44-B756-CD39969012A9}"/>
                </a:ext>
              </a:extLst>
            </p:cNvPr>
            <p:cNvSpPr>
              <a:spLocks/>
            </p:cNvSpPr>
            <p:nvPr/>
          </p:nvSpPr>
          <p:spPr bwMode="auto">
            <a:xfrm>
              <a:off x="1663161" y="1533184"/>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4" y="10"/>
                  </a:moveTo>
                  <a:lnTo>
                    <a:pt x="0" y="6"/>
                  </a:lnTo>
                  <a:lnTo>
                    <a:pt x="0" y="3"/>
                  </a:lnTo>
                  <a:lnTo>
                    <a:pt x="0" y="0"/>
                  </a:lnTo>
                  <a:lnTo>
                    <a:pt x="4" y="0"/>
                  </a:lnTo>
                  <a:lnTo>
                    <a:pt x="26" y="0"/>
                  </a:lnTo>
                  <a:lnTo>
                    <a:pt x="29" y="0"/>
                  </a:lnTo>
                  <a:lnTo>
                    <a:pt x="29" y="3"/>
                  </a:lnTo>
                  <a:lnTo>
                    <a:pt x="29" y="6"/>
                  </a:lnTo>
                  <a:lnTo>
                    <a:pt x="26" y="10"/>
                  </a:lnTo>
                  <a:lnTo>
                    <a:pt x="4"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6" name="Freeform 1200">
              <a:extLst>
                <a:ext uri="{FF2B5EF4-FFF2-40B4-BE49-F238E27FC236}">
                  <a16:creationId xmlns:a16="http://schemas.microsoft.com/office/drawing/2014/main" id="{005F7554-EBC3-E347-A4BE-9D2A6600581D}"/>
                </a:ext>
              </a:extLst>
            </p:cNvPr>
            <p:cNvSpPr>
              <a:spLocks/>
            </p:cNvSpPr>
            <p:nvPr/>
          </p:nvSpPr>
          <p:spPr bwMode="auto">
            <a:xfrm>
              <a:off x="1689909" y="153318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6" y="0"/>
                  </a:lnTo>
                  <a:lnTo>
                    <a:pt x="10" y="0"/>
                  </a:lnTo>
                  <a:lnTo>
                    <a:pt x="10" y="3"/>
                  </a:lnTo>
                  <a:lnTo>
                    <a:pt x="10" y="6"/>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7" name="Freeform 1201">
              <a:extLst>
                <a:ext uri="{FF2B5EF4-FFF2-40B4-BE49-F238E27FC236}">
                  <a16:creationId xmlns:a16="http://schemas.microsoft.com/office/drawing/2014/main" id="{9592DD93-586A-CB48-991C-77FDEF031434}"/>
                </a:ext>
              </a:extLst>
            </p:cNvPr>
            <p:cNvSpPr>
              <a:spLocks/>
            </p:cNvSpPr>
            <p:nvPr/>
          </p:nvSpPr>
          <p:spPr bwMode="auto">
            <a:xfrm>
              <a:off x="1693397" y="1533184"/>
              <a:ext cx="11629" cy="9928"/>
            </a:xfrm>
            <a:custGeom>
              <a:avLst/>
              <a:gdLst>
                <a:gd name="T0" fmla="*/ 2147483646 w 10"/>
                <a:gd name="T1" fmla="*/ 2147483646 h 10"/>
                <a:gd name="T2" fmla="*/ 0 w 10"/>
                <a:gd name="T3" fmla="*/ 2147483646 h 10"/>
                <a:gd name="T4" fmla="*/ 0 w 10"/>
                <a:gd name="T5" fmla="*/ 2147483646 h 10"/>
                <a:gd name="T6" fmla="*/ 0 w 10"/>
                <a:gd name="T7" fmla="*/ 2147483646 h 10"/>
                <a:gd name="T8" fmla="*/ 0 w 10"/>
                <a:gd name="T9" fmla="*/ 0 h 10"/>
                <a:gd name="T10" fmla="*/ 2147483646 w 10"/>
                <a:gd name="T11" fmla="*/ 0 h 10"/>
                <a:gd name="T12" fmla="*/ 2147483646 w 10"/>
                <a:gd name="T13" fmla="*/ 0 h 10"/>
                <a:gd name="T14" fmla="*/ 2147483646 w 10"/>
                <a:gd name="T15" fmla="*/ 0 h 10"/>
                <a:gd name="T16" fmla="*/ 2147483646 w 10"/>
                <a:gd name="T17" fmla="*/ 2147483646 h 10"/>
                <a:gd name="T18" fmla="*/ 2147483646 w 10"/>
                <a:gd name="T19" fmla="*/ 2147483646 h 10"/>
                <a:gd name="T20" fmla="*/ 2147483646 w 10"/>
                <a:gd name="T21" fmla="*/ 2147483646 h 10"/>
                <a:gd name="T22" fmla="*/ 2147483646 w 10"/>
                <a:gd name="T23" fmla="*/ 2147483646 h 10"/>
                <a:gd name="T24" fmla="*/ 2147483646 w 10"/>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0">
                  <a:moveTo>
                    <a:pt x="3" y="10"/>
                  </a:moveTo>
                  <a:lnTo>
                    <a:pt x="0" y="6"/>
                  </a:lnTo>
                  <a:lnTo>
                    <a:pt x="0" y="3"/>
                  </a:lnTo>
                  <a:lnTo>
                    <a:pt x="0" y="0"/>
                  </a:lnTo>
                  <a:lnTo>
                    <a:pt x="3" y="0"/>
                  </a:lnTo>
                  <a:lnTo>
                    <a:pt x="7" y="0"/>
                  </a:lnTo>
                  <a:lnTo>
                    <a:pt x="10" y="0"/>
                  </a:lnTo>
                  <a:lnTo>
                    <a:pt x="10" y="3"/>
                  </a:lnTo>
                  <a:lnTo>
                    <a:pt x="10" y="6"/>
                  </a:lnTo>
                  <a:lnTo>
                    <a:pt x="7"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8" name="Freeform 1202">
              <a:extLst>
                <a:ext uri="{FF2B5EF4-FFF2-40B4-BE49-F238E27FC236}">
                  <a16:creationId xmlns:a16="http://schemas.microsoft.com/office/drawing/2014/main" id="{471731EF-B286-9D47-819D-031550E56D9A}"/>
                </a:ext>
              </a:extLst>
            </p:cNvPr>
            <p:cNvSpPr>
              <a:spLocks/>
            </p:cNvSpPr>
            <p:nvPr/>
          </p:nvSpPr>
          <p:spPr bwMode="auto">
            <a:xfrm>
              <a:off x="1696886" y="1514321"/>
              <a:ext cx="11629" cy="24821"/>
            </a:xfrm>
            <a:custGeom>
              <a:avLst/>
              <a:gdLst>
                <a:gd name="T0" fmla="*/ 2147483646 w 10"/>
                <a:gd name="T1" fmla="*/ 2147483646 h 25"/>
                <a:gd name="T2" fmla="*/ 2147483646 w 10"/>
                <a:gd name="T3" fmla="*/ 2147483646 h 25"/>
                <a:gd name="T4" fmla="*/ 2147483646 w 10"/>
                <a:gd name="T5" fmla="*/ 2147483646 h 25"/>
                <a:gd name="T6" fmla="*/ 2147483646 w 10"/>
                <a:gd name="T7" fmla="*/ 2147483646 h 25"/>
                <a:gd name="T8" fmla="*/ 0 w 10"/>
                <a:gd name="T9" fmla="*/ 2147483646 h 25"/>
                <a:gd name="T10" fmla="*/ 0 w 10"/>
                <a:gd name="T11" fmla="*/ 2147483646 h 25"/>
                <a:gd name="T12" fmla="*/ 0 w 10"/>
                <a:gd name="T13" fmla="*/ 2147483646 h 25"/>
                <a:gd name="T14" fmla="*/ 0 w 10"/>
                <a:gd name="T15" fmla="*/ 0 h 25"/>
                <a:gd name="T16" fmla="*/ 2147483646 w 10"/>
                <a:gd name="T17" fmla="*/ 0 h 25"/>
                <a:gd name="T18" fmla="*/ 2147483646 w 10"/>
                <a:gd name="T19" fmla="*/ 0 h 25"/>
                <a:gd name="T20" fmla="*/ 2147483646 w 10"/>
                <a:gd name="T21" fmla="*/ 0 h 25"/>
                <a:gd name="T22" fmla="*/ 2147483646 w 10"/>
                <a:gd name="T23" fmla="*/ 2147483646 h 25"/>
                <a:gd name="T24" fmla="*/ 2147483646 w 10"/>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5">
                  <a:moveTo>
                    <a:pt x="10" y="22"/>
                  </a:moveTo>
                  <a:lnTo>
                    <a:pt x="7" y="25"/>
                  </a:lnTo>
                  <a:lnTo>
                    <a:pt x="4" y="25"/>
                  </a:lnTo>
                  <a:lnTo>
                    <a:pt x="0" y="25"/>
                  </a:lnTo>
                  <a:lnTo>
                    <a:pt x="0" y="22"/>
                  </a:lnTo>
                  <a:lnTo>
                    <a:pt x="0" y="3"/>
                  </a:lnTo>
                  <a:lnTo>
                    <a:pt x="0" y="0"/>
                  </a:lnTo>
                  <a:lnTo>
                    <a:pt x="4" y="0"/>
                  </a:lnTo>
                  <a:lnTo>
                    <a:pt x="7" y="0"/>
                  </a:lnTo>
                  <a:lnTo>
                    <a:pt x="10" y="3"/>
                  </a:lnTo>
                  <a:lnTo>
                    <a:pt x="10" y="2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59" name="Freeform 1203">
              <a:extLst>
                <a:ext uri="{FF2B5EF4-FFF2-40B4-BE49-F238E27FC236}">
                  <a16:creationId xmlns:a16="http://schemas.microsoft.com/office/drawing/2014/main" id="{12D81B45-786E-2848-9669-B694A3C3F582}"/>
                </a:ext>
              </a:extLst>
            </p:cNvPr>
            <p:cNvSpPr>
              <a:spLocks/>
            </p:cNvSpPr>
            <p:nvPr/>
          </p:nvSpPr>
          <p:spPr bwMode="auto">
            <a:xfrm>
              <a:off x="1696886" y="1514321"/>
              <a:ext cx="11629" cy="8936"/>
            </a:xfrm>
            <a:custGeom>
              <a:avLst/>
              <a:gdLst>
                <a:gd name="T0" fmla="*/ 2147483646 w 10"/>
                <a:gd name="T1" fmla="*/ 2147483646 h 9"/>
                <a:gd name="T2" fmla="*/ 0 w 10"/>
                <a:gd name="T3" fmla="*/ 2147483646 h 9"/>
                <a:gd name="T4" fmla="*/ 0 w 10"/>
                <a:gd name="T5" fmla="*/ 2147483646 h 9"/>
                <a:gd name="T6" fmla="*/ 0 w 10"/>
                <a:gd name="T7" fmla="*/ 2147483646 h 9"/>
                <a:gd name="T8" fmla="*/ 0 w 10"/>
                <a:gd name="T9" fmla="*/ 0 h 9"/>
                <a:gd name="T10" fmla="*/ 2147483646 w 10"/>
                <a:gd name="T11" fmla="*/ 0 h 9"/>
                <a:gd name="T12" fmla="*/ 2147483646 w 10"/>
                <a:gd name="T13" fmla="*/ 0 h 9"/>
                <a:gd name="T14" fmla="*/ 2147483646 w 10"/>
                <a:gd name="T15" fmla="*/ 0 h 9"/>
                <a:gd name="T16" fmla="*/ 2147483646 w 10"/>
                <a:gd name="T17" fmla="*/ 2147483646 h 9"/>
                <a:gd name="T18" fmla="*/ 2147483646 w 10"/>
                <a:gd name="T19" fmla="*/ 2147483646 h 9"/>
                <a:gd name="T20" fmla="*/ 2147483646 w 10"/>
                <a:gd name="T21" fmla="*/ 2147483646 h 9"/>
                <a:gd name="T22" fmla="*/ 2147483646 w 10"/>
                <a:gd name="T23" fmla="*/ 2147483646 h 9"/>
                <a:gd name="T24" fmla="*/ 2147483646 w 1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9">
                  <a:moveTo>
                    <a:pt x="4" y="9"/>
                  </a:moveTo>
                  <a:lnTo>
                    <a:pt x="0" y="6"/>
                  </a:lnTo>
                  <a:lnTo>
                    <a:pt x="0" y="3"/>
                  </a:lnTo>
                  <a:lnTo>
                    <a:pt x="0" y="0"/>
                  </a:lnTo>
                  <a:lnTo>
                    <a:pt x="4" y="0"/>
                  </a:lnTo>
                  <a:lnTo>
                    <a:pt x="7" y="0"/>
                  </a:lnTo>
                  <a:lnTo>
                    <a:pt x="10" y="0"/>
                  </a:lnTo>
                  <a:lnTo>
                    <a:pt x="10" y="3"/>
                  </a:lnTo>
                  <a:lnTo>
                    <a:pt x="10" y="6"/>
                  </a:lnTo>
                  <a:lnTo>
                    <a:pt x="7" y="9"/>
                  </a:lnTo>
                  <a:lnTo>
                    <a:pt x="4"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0" name="Freeform 1204">
              <a:extLst>
                <a:ext uri="{FF2B5EF4-FFF2-40B4-BE49-F238E27FC236}">
                  <a16:creationId xmlns:a16="http://schemas.microsoft.com/office/drawing/2014/main" id="{945D317D-1EEA-EE41-A28F-654D53C00053}"/>
                </a:ext>
              </a:extLst>
            </p:cNvPr>
            <p:cNvSpPr>
              <a:spLocks/>
            </p:cNvSpPr>
            <p:nvPr/>
          </p:nvSpPr>
          <p:spPr bwMode="auto">
            <a:xfrm>
              <a:off x="1701538" y="1494464"/>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3"/>
                  </a:lnTo>
                  <a:lnTo>
                    <a:pt x="0" y="0"/>
                  </a:lnTo>
                  <a:lnTo>
                    <a:pt x="3" y="0"/>
                  </a:lnTo>
                  <a:lnTo>
                    <a:pt x="6" y="0"/>
                  </a:lnTo>
                  <a:lnTo>
                    <a:pt x="9" y="3"/>
                  </a:lnTo>
                  <a:lnTo>
                    <a:pt x="9" y="23"/>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1" name="Freeform 1205">
              <a:extLst>
                <a:ext uri="{FF2B5EF4-FFF2-40B4-BE49-F238E27FC236}">
                  <a16:creationId xmlns:a16="http://schemas.microsoft.com/office/drawing/2014/main" id="{3D771D79-98AD-EA4F-BCEA-B7FDED6131E1}"/>
                </a:ext>
              </a:extLst>
            </p:cNvPr>
            <p:cNvSpPr>
              <a:spLocks/>
            </p:cNvSpPr>
            <p:nvPr/>
          </p:nvSpPr>
          <p:spPr bwMode="auto">
            <a:xfrm>
              <a:off x="1701538" y="1494464"/>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3"/>
                  </a:lnTo>
                  <a:lnTo>
                    <a:pt x="0" y="0"/>
                  </a:lnTo>
                  <a:lnTo>
                    <a:pt x="3" y="0"/>
                  </a:lnTo>
                  <a:lnTo>
                    <a:pt x="6" y="0"/>
                  </a:lnTo>
                  <a:lnTo>
                    <a:pt x="9" y="0"/>
                  </a:lnTo>
                  <a:lnTo>
                    <a:pt x="9" y="3"/>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2" name="Freeform 1206">
              <a:extLst>
                <a:ext uri="{FF2B5EF4-FFF2-40B4-BE49-F238E27FC236}">
                  <a16:creationId xmlns:a16="http://schemas.microsoft.com/office/drawing/2014/main" id="{CCB8AC4A-98ED-EA4B-8215-50C8E9AEDE5B}"/>
                </a:ext>
              </a:extLst>
            </p:cNvPr>
            <p:cNvSpPr>
              <a:spLocks/>
            </p:cNvSpPr>
            <p:nvPr/>
          </p:nvSpPr>
          <p:spPr bwMode="auto">
            <a:xfrm>
              <a:off x="1705026" y="1478578"/>
              <a:ext cx="11629" cy="22836"/>
            </a:xfrm>
            <a:custGeom>
              <a:avLst/>
              <a:gdLst>
                <a:gd name="T0" fmla="*/ 2147483646 w 10"/>
                <a:gd name="T1" fmla="*/ 2147483646 h 23"/>
                <a:gd name="T2" fmla="*/ 2147483646 w 10"/>
                <a:gd name="T3" fmla="*/ 2147483646 h 23"/>
                <a:gd name="T4" fmla="*/ 2147483646 w 10"/>
                <a:gd name="T5" fmla="*/ 2147483646 h 23"/>
                <a:gd name="T6" fmla="*/ 2147483646 w 10"/>
                <a:gd name="T7" fmla="*/ 2147483646 h 23"/>
                <a:gd name="T8" fmla="*/ 0 w 10"/>
                <a:gd name="T9" fmla="*/ 2147483646 h 23"/>
                <a:gd name="T10" fmla="*/ 0 w 10"/>
                <a:gd name="T11" fmla="*/ 2147483646 h 23"/>
                <a:gd name="T12" fmla="*/ 0 w 10"/>
                <a:gd name="T13" fmla="*/ 2147483646 h 23"/>
                <a:gd name="T14" fmla="*/ 0 w 10"/>
                <a:gd name="T15" fmla="*/ 0 h 23"/>
                <a:gd name="T16" fmla="*/ 2147483646 w 10"/>
                <a:gd name="T17" fmla="*/ 0 h 23"/>
                <a:gd name="T18" fmla="*/ 2147483646 w 10"/>
                <a:gd name="T19" fmla="*/ 0 h 23"/>
                <a:gd name="T20" fmla="*/ 2147483646 w 10"/>
                <a:gd name="T21" fmla="*/ 0 h 23"/>
                <a:gd name="T22" fmla="*/ 2147483646 w 10"/>
                <a:gd name="T23" fmla="*/ 2147483646 h 23"/>
                <a:gd name="T24" fmla="*/ 2147483646 w 10"/>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3">
                  <a:moveTo>
                    <a:pt x="10" y="19"/>
                  </a:moveTo>
                  <a:lnTo>
                    <a:pt x="6" y="23"/>
                  </a:lnTo>
                  <a:lnTo>
                    <a:pt x="3" y="23"/>
                  </a:lnTo>
                  <a:lnTo>
                    <a:pt x="0" y="23"/>
                  </a:lnTo>
                  <a:lnTo>
                    <a:pt x="0" y="19"/>
                  </a:lnTo>
                  <a:lnTo>
                    <a:pt x="0" y="3"/>
                  </a:lnTo>
                  <a:lnTo>
                    <a:pt x="0" y="0"/>
                  </a:lnTo>
                  <a:lnTo>
                    <a:pt x="3" y="0"/>
                  </a:lnTo>
                  <a:lnTo>
                    <a:pt x="6" y="0"/>
                  </a:lnTo>
                  <a:lnTo>
                    <a:pt x="10" y="3"/>
                  </a:lnTo>
                  <a:lnTo>
                    <a:pt x="10" y="1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3" name="Freeform 1207">
              <a:extLst>
                <a:ext uri="{FF2B5EF4-FFF2-40B4-BE49-F238E27FC236}">
                  <a16:creationId xmlns:a16="http://schemas.microsoft.com/office/drawing/2014/main" id="{36105891-D12F-6F47-9671-61479C1D68D3}"/>
                </a:ext>
              </a:extLst>
            </p:cNvPr>
            <p:cNvSpPr>
              <a:spLocks/>
            </p:cNvSpPr>
            <p:nvPr/>
          </p:nvSpPr>
          <p:spPr bwMode="auto">
            <a:xfrm>
              <a:off x="1705026" y="1478578"/>
              <a:ext cx="79079" cy="9928"/>
            </a:xfrm>
            <a:custGeom>
              <a:avLst/>
              <a:gdLst>
                <a:gd name="T0" fmla="*/ 2147483646 w 68"/>
                <a:gd name="T1" fmla="*/ 2147483646 h 10"/>
                <a:gd name="T2" fmla="*/ 0 w 68"/>
                <a:gd name="T3" fmla="*/ 2147483646 h 10"/>
                <a:gd name="T4" fmla="*/ 0 w 68"/>
                <a:gd name="T5" fmla="*/ 2147483646 h 10"/>
                <a:gd name="T6" fmla="*/ 0 w 68"/>
                <a:gd name="T7" fmla="*/ 2147483646 h 10"/>
                <a:gd name="T8" fmla="*/ 0 w 68"/>
                <a:gd name="T9" fmla="*/ 0 h 10"/>
                <a:gd name="T10" fmla="*/ 2147483646 w 68"/>
                <a:gd name="T11" fmla="*/ 0 h 10"/>
                <a:gd name="T12" fmla="*/ 2147483646 w 68"/>
                <a:gd name="T13" fmla="*/ 0 h 10"/>
                <a:gd name="T14" fmla="*/ 2147483646 w 68"/>
                <a:gd name="T15" fmla="*/ 0 h 10"/>
                <a:gd name="T16" fmla="*/ 2147483646 w 68"/>
                <a:gd name="T17" fmla="*/ 2147483646 h 10"/>
                <a:gd name="T18" fmla="*/ 2147483646 w 68"/>
                <a:gd name="T19" fmla="*/ 2147483646 h 10"/>
                <a:gd name="T20" fmla="*/ 2147483646 w 68"/>
                <a:gd name="T21" fmla="*/ 2147483646 h 10"/>
                <a:gd name="T22" fmla="*/ 2147483646 w 68"/>
                <a:gd name="T23" fmla="*/ 2147483646 h 10"/>
                <a:gd name="T24" fmla="*/ 2147483646 w 6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8" h="10">
                  <a:moveTo>
                    <a:pt x="3" y="10"/>
                  </a:moveTo>
                  <a:lnTo>
                    <a:pt x="0" y="6"/>
                  </a:lnTo>
                  <a:lnTo>
                    <a:pt x="0" y="3"/>
                  </a:lnTo>
                  <a:lnTo>
                    <a:pt x="0" y="0"/>
                  </a:lnTo>
                  <a:lnTo>
                    <a:pt x="3" y="0"/>
                  </a:lnTo>
                  <a:lnTo>
                    <a:pt x="64" y="0"/>
                  </a:lnTo>
                  <a:lnTo>
                    <a:pt x="68" y="0"/>
                  </a:lnTo>
                  <a:lnTo>
                    <a:pt x="68" y="3"/>
                  </a:lnTo>
                  <a:lnTo>
                    <a:pt x="68" y="6"/>
                  </a:lnTo>
                  <a:lnTo>
                    <a:pt x="6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4" name="Freeform 1208">
              <a:extLst>
                <a:ext uri="{FF2B5EF4-FFF2-40B4-BE49-F238E27FC236}">
                  <a16:creationId xmlns:a16="http://schemas.microsoft.com/office/drawing/2014/main" id="{49CC1317-6037-CB49-872F-163ED9DF14CB}"/>
                </a:ext>
              </a:extLst>
            </p:cNvPr>
            <p:cNvSpPr>
              <a:spLocks/>
            </p:cNvSpPr>
            <p:nvPr/>
          </p:nvSpPr>
          <p:spPr bwMode="auto">
            <a:xfrm>
              <a:off x="1775965" y="1459714"/>
              <a:ext cx="11629" cy="24821"/>
            </a:xfrm>
            <a:custGeom>
              <a:avLst/>
              <a:gdLst>
                <a:gd name="T0" fmla="*/ 2147483646 w 10"/>
                <a:gd name="T1" fmla="*/ 2147483646 h 25"/>
                <a:gd name="T2" fmla="*/ 2147483646 w 10"/>
                <a:gd name="T3" fmla="*/ 2147483646 h 25"/>
                <a:gd name="T4" fmla="*/ 2147483646 w 10"/>
                <a:gd name="T5" fmla="*/ 2147483646 h 25"/>
                <a:gd name="T6" fmla="*/ 2147483646 w 10"/>
                <a:gd name="T7" fmla="*/ 2147483646 h 25"/>
                <a:gd name="T8" fmla="*/ 0 w 10"/>
                <a:gd name="T9" fmla="*/ 2147483646 h 25"/>
                <a:gd name="T10" fmla="*/ 0 w 10"/>
                <a:gd name="T11" fmla="*/ 2147483646 h 25"/>
                <a:gd name="T12" fmla="*/ 0 w 10"/>
                <a:gd name="T13" fmla="*/ 2147483646 h 25"/>
                <a:gd name="T14" fmla="*/ 0 w 10"/>
                <a:gd name="T15" fmla="*/ 0 h 25"/>
                <a:gd name="T16" fmla="*/ 2147483646 w 10"/>
                <a:gd name="T17" fmla="*/ 0 h 25"/>
                <a:gd name="T18" fmla="*/ 2147483646 w 10"/>
                <a:gd name="T19" fmla="*/ 0 h 25"/>
                <a:gd name="T20" fmla="*/ 2147483646 w 10"/>
                <a:gd name="T21" fmla="*/ 0 h 25"/>
                <a:gd name="T22" fmla="*/ 2147483646 w 10"/>
                <a:gd name="T23" fmla="*/ 2147483646 h 25"/>
                <a:gd name="T24" fmla="*/ 2147483646 w 10"/>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5">
                  <a:moveTo>
                    <a:pt x="10" y="22"/>
                  </a:moveTo>
                  <a:lnTo>
                    <a:pt x="7" y="25"/>
                  </a:lnTo>
                  <a:lnTo>
                    <a:pt x="3" y="25"/>
                  </a:lnTo>
                  <a:lnTo>
                    <a:pt x="0" y="25"/>
                  </a:lnTo>
                  <a:lnTo>
                    <a:pt x="0" y="22"/>
                  </a:lnTo>
                  <a:lnTo>
                    <a:pt x="0" y="3"/>
                  </a:lnTo>
                  <a:lnTo>
                    <a:pt x="0" y="0"/>
                  </a:lnTo>
                  <a:lnTo>
                    <a:pt x="3" y="0"/>
                  </a:lnTo>
                  <a:lnTo>
                    <a:pt x="7" y="0"/>
                  </a:lnTo>
                  <a:lnTo>
                    <a:pt x="10" y="3"/>
                  </a:lnTo>
                  <a:lnTo>
                    <a:pt x="10" y="2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5" name="Freeform 1209">
              <a:extLst>
                <a:ext uri="{FF2B5EF4-FFF2-40B4-BE49-F238E27FC236}">
                  <a16:creationId xmlns:a16="http://schemas.microsoft.com/office/drawing/2014/main" id="{0E2D433D-A7DA-C54E-BF50-CD07CA47A7CA}"/>
                </a:ext>
              </a:extLst>
            </p:cNvPr>
            <p:cNvSpPr>
              <a:spLocks/>
            </p:cNvSpPr>
            <p:nvPr/>
          </p:nvSpPr>
          <p:spPr bwMode="auto">
            <a:xfrm>
              <a:off x="1775965" y="1459714"/>
              <a:ext cx="15118" cy="8936"/>
            </a:xfrm>
            <a:custGeom>
              <a:avLst/>
              <a:gdLst>
                <a:gd name="T0" fmla="*/ 2147483646 w 13"/>
                <a:gd name="T1" fmla="*/ 2147483646 h 9"/>
                <a:gd name="T2" fmla="*/ 0 w 13"/>
                <a:gd name="T3" fmla="*/ 2147483646 h 9"/>
                <a:gd name="T4" fmla="*/ 0 w 13"/>
                <a:gd name="T5" fmla="*/ 2147483646 h 9"/>
                <a:gd name="T6" fmla="*/ 0 w 13"/>
                <a:gd name="T7" fmla="*/ 2147483646 h 9"/>
                <a:gd name="T8" fmla="*/ 0 w 13"/>
                <a:gd name="T9" fmla="*/ 0 h 9"/>
                <a:gd name="T10" fmla="*/ 2147483646 w 13"/>
                <a:gd name="T11" fmla="*/ 0 h 9"/>
                <a:gd name="T12" fmla="*/ 2147483646 w 13"/>
                <a:gd name="T13" fmla="*/ 0 h 9"/>
                <a:gd name="T14" fmla="*/ 2147483646 w 13"/>
                <a:gd name="T15" fmla="*/ 0 h 9"/>
                <a:gd name="T16" fmla="*/ 2147483646 w 13"/>
                <a:gd name="T17" fmla="*/ 2147483646 h 9"/>
                <a:gd name="T18" fmla="*/ 2147483646 w 13"/>
                <a:gd name="T19" fmla="*/ 2147483646 h 9"/>
                <a:gd name="T20" fmla="*/ 2147483646 w 13"/>
                <a:gd name="T21" fmla="*/ 2147483646 h 9"/>
                <a:gd name="T22" fmla="*/ 2147483646 w 13"/>
                <a:gd name="T23" fmla="*/ 2147483646 h 9"/>
                <a:gd name="T24" fmla="*/ 2147483646 w 13"/>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9">
                  <a:moveTo>
                    <a:pt x="3" y="9"/>
                  </a:moveTo>
                  <a:lnTo>
                    <a:pt x="0" y="6"/>
                  </a:lnTo>
                  <a:lnTo>
                    <a:pt x="0" y="3"/>
                  </a:lnTo>
                  <a:lnTo>
                    <a:pt x="0" y="0"/>
                  </a:lnTo>
                  <a:lnTo>
                    <a:pt x="3" y="0"/>
                  </a:lnTo>
                  <a:lnTo>
                    <a:pt x="10" y="0"/>
                  </a:lnTo>
                  <a:lnTo>
                    <a:pt x="13" y="0"/>
                  </a:lnTo>
                  <a:lnTo>
                    <a:pt x="13" y="3"/>
                  </a:lnTo>
                  <a:lnTo>
                    <a:pt x="13" y="6"/>
                  </a:lnTo>
                  <a:lnTo>
                    <a:pt x="10"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6" name="Freeform 1211">
              <a:extLst>
                <a:ext uri="{FF2B5EF4-FFF2-40B4-BE49-F238E27FC236}">
                  <a16:creationId xmlns:a16="http://schemas.microsoft.com/office/drawing/2014/main" id="{952C8F72-9B67-174B-AAB9-ADADD5E8C340}"/>
                </a:ext>
              </a:extLst>
            </p:cNvPr>
            <p:cNvSpPr>
              <a:spLocks/>
            </p:cNvSpPr>
            <p:nvPr/>
          </p:nvSpPr>
          <p:spPr bwMode="auto">
            <a:xfrm>
              <a:off x="1784105" y="1439857"/>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4"/>
                  </a:lnTo>
                  <a:lnTo>
                    <a:pt x="0" y="0"/>
                  </a:lnTo>
                  <a:lnTo>
                    <a:pt x="3" y="0"/>
                  </a:lnTo>
                  <a:lnTo>
                    <a:pt x="6" y="0"/>
                  </a:lnTo>
                  <a:lnTo>
                    <a:pt x="9" y="4"/>
                  </a:lnTo>
                  <a:lnTo>
                    <a:pt x="9" y="23"/>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7" name="Freeform 1212">
              <a:extLst>
                <a:ext uri="{FF2B5EF4-FFF2-40B4-BE49-F238E27FC236}">
                  <a16:creationId xmlns:a16="http://schemas.microsoft.com/office/drawing/2014/main" id="{E2FB356A-B065-2341-B73F-13C7C7A5180E}"/>
                </a:ext>
              </a:extLst>
            </p:cNvPr>
            <p:cNvSpPr>
              <a:spLocks/>
            </p:cNvSpPr>
            <p:nvPr/>
          </p:nvSpPr>
          <p:spPr bwMode="auto">
            <a:xfrm>
              <a:off x="1784105" y="1439857"/>
              <a:ext cx="10467" cy="9928"/>
            </a:xfrm>
            <a:custGeom>
              <a:avLst/>
              <a:gdLst>
                <a:gd name="T0" fmla="*/ 2147483646 w 9"/>
                <a:gd name="T1" fmla="*/ 2147483646 h 10"/>
                <a:gd name="T2" fmla="*/ 0 w 9"/>
                <a:gd name="T3" fmla="*/ 2147483646 h 10"/>
                <a:gd name="T4" fmla="*/ 0 w 9"/>
                <a:gd name="T5" fmla="*/ 2147483646 h 10"/>
                <a:gd name="T6" fmla="*/ 0 w 9"/>
                <a:gd name="T7" fmla="*/ 2147483646 h 10"/>
                <a:gd name="T8" fmla="*/ 0 w 9"/>
                <a:gd name="T9" fmla="*/ 0 h 10"/>
                <a:gd name="T10" fmla="*/ 2147483646 w 9"/>
                <a:gd name="T11" fmla="*/ 0 h 10"/>
                <a:gd name="T12" fmla="*/ 2147483646 w 9"/>
                <a:gd name="T13" fmla="*/ 0 h 10"/>
                <a:gd name="T14" fmla="*/ 2147483646 w 9"/>
                <a:gd name="T15" fmla="*/ 0 h 10"/>
                <a:gd name="T16" fmla="*/ 2147483646 w 9"/>
                <a:gd name="T17" fmla="*/ 2147483646 h 10"/>
                <a:gd name="T18" fmla="*/ 2147483646 w 9"/>
                <a:gd name="T19" fmla="*/ 2147483646 h 10"/>
                <a:gd name="T20" fmla="*/ 2147483646 w 9"/>
                <a:gd name="T21" fmla="*/ 2147483646 h 10"/>
                <a:gd name="T22" fmla="*/ 2147483646 w 9"/>
                <a:gd name="T23" fmla="*/ 2147483646 h 10"/>
                <a:gd name="T24" fmla="*/ 2147483646 w 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10">
                  <a:moveTo>
                    <a:pt x="3" y="10"/>
                  </a:moveTo>
                  <a:lnTo>
                    <a:pt x="0" y="7"/>
                  </a:lnTo>
                  <a:lnTo>
                    <a:pt x="0" y="4"/>
                  </a:lnTo>
                  <a:lnTo>
                    <a:pt x="0" y="0"/>
                  </a:lnTo>
                  <a:lnTo>
                    <a:pt x="3" y="0"/>
                  </a:lnTo>
                  <a:lnTo>
                    <a:pt x="6" y="0"/>
                  </a:lnTo>
                  <a:lnTo>
                    <a:pt x="9" y="0"/>
                  </a:lnTo>
                  <a:lnTo>
                    <a:pt x="9" y="4"/>
                  </a:lnTo>
                  <a:lnTo>
                    <a:pt x="9" y="7"/>
                  </a:lnTo>
                  <a:lnTo>
                    <a:pt x="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8" name="Freeform 1213">
              <a:extLst>
                <a:ext uri="{FF2B5EF4-FFF2-40B4-BE49-F238E27FC236}">
                  <a16:creationId xmlns:a16="http://schemas.microsoft.com/office/drawing/2014/main" id="{4EFCF961-503D-5E47-8828-C32C80E8847C}"/>
                </a:ext>
              </a:extLst>
            </p:cNvPr>
            <p:cNvSpPr>
              <a:spLocks/>
            </p:cNvSpPr>
            <p:nvPr/>
          </p:nvSpPr>
          <p:spPr bwMode="auto">
            <a:xfrm>
              <a:off x="1787594" y="1420994"/>
              <a:ext cx="10467" cy="25814"/>
            </a:xfrm>
            <a:custGeom>
              <a:avLst/>
              <a:gdLst>
                <a:gd name="T0" fmla="*/ 2147483646 w 9"/>
                <a:gd name="T1" fmla="*/ 2147483646 h 26"/>
                <a:gd name="T2" fmla="*/ 2147483646 w 9"/>
                <a:gd name="T3" fmla="*/ 2147483646 h 26"/>
                <a:gd name="T4" fmla="*/ 2147483646 w 9"/>
                <a:gd name="T5" fmla="*/ 2147483646 h 26"/>
                <a:gd name="T6" fmla="*/ 2147483646 w 9"/>
                <a:gd name="T7" fmla="*/ 2147483646 h 26"/>
                <a:gd name="T8" fmla="*/ 0 w 9"/>
                <a:gd name="T9" fmla="*/ 2147483646 h 26"/>
                <a:gd name="T10" fmla="*/ 0 w 9"/>
                <a:gd name="T11" fmla="*/ 2147483646 h 26"/>
                <a:gd name="T12" fmla="*/ 0 w 9"/>
                <a:gd name="T13" fmla="*/ 2147483646 h 26"/>
                <a:gd name="T14" fmla="*/ 0 w 9"/>
                <a:gd name="T15" fmla="*/ 0 h 26"/>
                <a:gd name="T16" fmla="*/ 2147483646 w 9"/>
                <a:gd name="T17" fmla="*/ 0 h 26"/>
                <a:gd name="T18" fmla="*/ 2147483646 w 9"/>
                <a:gd name="T19" fmla="*/ 0 h 26"/>
                <a:gd name="T20" fmla="*/ 2147483646 w 9"/>
                <a:gd name="T21" fmla="*/ 0 h 26"/>
                <a:gd name="T22" fmla="*/ 2147483646 w 9"/>
                <a:gd name="T23" fmla="*/ 2147483646 h 26"/>
                <a:gd name="T24" fmla="*/ 2147483646 w 9"/>
                <a:gd name="T25" fmla="*/ 214748364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6">
                  <a:moveTo>
                    <a:pt x="9" y="23"/>
                  </a:moveTo>
                  <a:lnTo>
                    <a:pt x="6" y="26"/>
                  </a:lnTo>
                  <a:lnTo>
                    <a:pt x="3" y="26"/>
                  </a:lnTo>
                  <a:lnTo>
                    <a:pt x="0" y="26"/>
                  </a:lnTo>
                  <a:lnTo>
                    <a:pt x="0" y="23"/>
                  </a:lnTo>
                  <a:lnTo>
                    <a:pt x="0" y="3"/>
                  </a:lnTo>
                  <a:lnTo>
                    <a:pt x="0" y="0"/>
                  </a:lnTo>
                  <a:lnTo>
                    <a:pt x="3" y="0"/>
                  </a:lnTo>
                  <a:lnTo>
                    <a:pt x="6" y="0"/>
                  </a:lnTo>
                  <a:lnTo>
                    <a:pt x="9" y="3"/>
                  </a:lnTo>
                  <a:lnTo>
                    <a:pt x="9" y="23"/>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69" name="Freeform 1214">
              <a:extLst>
                <a:ext uri="{FF2B5EF4-FFF2-40B4-BE49-F238E27FC236}">
                  <a16:creationId xmlns:a16="http://schemas.microsoft.com/office/drawing/2014/main" id="{DA519DC6-2C2D-2B41-814F-E2A222D95B7E}"/>
                </a:ext>
              </a:extLst>
            </p:cNvPr>
            <p:cNvSpPr>
              <a:spLocks/>
            </p:cNvSpPr>
            <p:nvPr/>
          </p:nvSpPr>
          <p:spPr bwMode="auto">
            <a:xfrm>
              <a:off x="1787594" y="1420994"/>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6"/>
                  </a:lnTo>
                  <a:lnTo>
                    <a:pt x="0" y="3"/>
                  </a:lnTo>
                  <a:lnTo>
                    <a:pt x="0" y="0"/>
                  </a:lnTo>
                  <a:lnTo>
                    <a:pt x="3" y="0"/>
                  </a:lnTo>
                  <a:lnTo>
                    <a:pt x="9" y="0"/>
                  </a:lnTo>
                  <a:lnTo>
                    <a:pt x="13" y="0"/>
                  </a:lnTo>
                  <a:lnTo>
                    <a:pt x="13" y="3"/>
                  </a:lnTo>
                  <a:lnTo>
                    <a:pt x="13" y="6"/>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0" name="Freeform 1215">
              <a:extLst>
                <a:ext uri="{FF2B5EF4-FFF2-40B4-BE49-F238E27FC236}">
                  <a16:creationId xmlns:a16="http://schemas.microsoft.com/office/drawing/2014/main" id="{653FDE30-5E90-AC4B-8A08-2196FB7F70AE}"/>
                </a:ext>
              </a:extLst>
            </p:cNvPr>
            <p:cNvSpPr>
              <a:spLocks/>
            </p:cNvSpPr>
            <p:nvPr/>
          </p:nvSpPr>
          <p:spPr bwMode="auto">
            <a:xfrm>
              <a:off x="1794572" y="142099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1" name="Freeform 1216">
              <a:extLst>
                <a:ext uri="{FF2B5EF4-FFF2-40B4-BE49-F238E27FC236}">
                  <a16:creationId xmlns:a16="http://schemas.microsoft.com/office/drawing/2014/main" id="{91F81387-87EF-D44F-B0B8-DB688C0BFE4D}"/>
                </a:ext>
              </a:extLst>
            </p:cNvPr>
            <p:cNvSpPr>
              <a:spLocks/>
            </p:cNvSpPr>
            <p:nvPr/>
          </p:nvSpPr>
          <p:spPr bwMode="auto">
            <a:xfrm>
              <a:off x="1806201" y="142099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6"/>
                  </a:lnTo>
                  <a:lnTo>
                    <a:pt x="0" y="3"/>
                  </a:lnTo>
                  <a:lnTo>
                    <a:pt x="0" y="0"/>
                  </a:lnTo>
                  <a:lnTo>
                    <a:pt x="3" y="0"/>
                  </a:lnTo>
                  <a:lnTo>
                    <a:pt x="13" y="0"/>
                  </a:lnTo>
                  <a:lnTo>
                    <a:pt x="16" y="0"/>
                  </a:lnTo>
                  <a:lnTo>
                    <a:pt x="16" y="3"/>
                  </a:lnTo>
                  <a:lnTo>
                    <a:pt x="16" y="6"/>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2" name="Freeform 1217">
              <a:extLst>
                <a:ext uri="{FF2B5EF4-FFF2-40B4-BE49-F238E27FC236}">
                  <a16:creationId xmlns:a16="http://schemas.microsoft.com/office/drawing/2014/main" id="{193B8749-4A22-9C44-8252-B3A1159184DB}"/>
                </a:ext>
              </a:extLst>
            </p:cNvPr>
            <p:cNvSpPr>
              <a:spLocks/>
            </p:cNvSpPr>
            <p:nvPr/>
          </p:nvSpPr>
          <p:spPr bwMode="auto">
            <a:xfrm>
              <a:off x="1817830" y="1402129"/>
              <a:ext cx="10467" cy="24821"/>
            </a:xfrm>
            <a:custGeom>
              <a:avLst/>
              <a:gdLst>
                <a:gd name="T0" fmla="*/ 2147483646 w 9"/>
                <a:gd name="T1" fmla="*/ 2147483646 h 25"/>
                <a:gd name="T2" fmla="*/ 2147483646 w 9"/>
                <a:gd name="T3" fmla="*/ 2147483646 h 25"/>
                <a:gd name="T4" fmla="*/ 2147483646 w 9"/>
                <a:gd name="T5" fmla="*/ 2147483646 h 25"/>
                <a:gd name="T6" fmla="*/ 2147483646 w 9"/>
                <a:gd name="T7" fmla="*/ 2147483646 h 25"/>
                <a:gd name="T8" fmla="*/ 0 w 9"/>
                <a:gd name="T9" fmla="*/ 2147483646 h 25"/>
                <a:gd name="T10" fmla="*/ 0 w 9"/>
                <a:gd name="T11" fmla="*/ 2147483646 h 25"/>
                <a:gd name="T12" fmla="*/ 0 w 9"/>
                <a:gd name="T13" fmla="*/ 2147483646 h 25"/>
                <a:gd name="T14" fmla="*/ 0 w 9"/>
                <a:gd name="T15" fmla="*/ 0 h 25"/>
                <a:gd name="T16" fmla="*/ 2147483646 w 9"/>
                <a:gd name="T17" fmla="*/ 0 h 25"/>
                <a:gd name="T18" fmla="*/ 2147483646 w 9"/>
                <a:gd name="T19" fmla="*/ 0 h 25"/>
                <a:gd name="T20" fmla="*/ 2147483646 w 9"/>
                <a:gd name="T21" fmla="*/ 0 h 25"/>
                <a:gd name="T22" fmla="*/ 2147483646 w 9"/>
                <a:gd name="T23" fmla="*/ 2147483646 h 25"/>
                <a:gd name="T24" fmla="*/ 2147483646 w 9"/>
                <a:gd name="T25" fmla="*/ 2147483646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5">
                  <a:moveTo>
                    <a:pt x="9" y="22"/>
                  </a:moveTo>
                  <a:lnTo>
                    <a:pt x="6" y="25"/>
                  </a:lnTo>
                  <a:lnTo>
                    <a:pt x="3" y="25"/>
                  </a:lnTo>
                  <a:lnTo>
                    <a:pt x="0" y="25"/>
                  </a:lnTo>
                  <a:lnTo>
                    <a:pt x="0" y="22"/>
                  </a:lnTo>
                  <a:lnTo>
                    <a:pt x="0" y="3"/>
                  </a:lnTo>
                  <a:lnTo>
                    <a:pt x="0" y="0"/>
                  </a:lnTo>
                  <a:lnTo>
                    <a:pt x="3" y="0"/>
                  </a:lnTo>
                  <a:lnTo>
                    <a:pt x="6" y="0"/>
                  </a:lnTo>
                  <a:lnTo>
                    <a:pt x="9" y="3"/>
                  </a:lnTo>
                  <a:lnTo>
                    <a:pt x="9" y="2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3" name="Freeform 1218">
              <a:extLst>
                <a:ext uri="{FF2B5EF4-FFF2-40B4-BE49-F238E27FC236}">
                  <a16:creationId xmlns:a16="http://schemas.microsoft.com/office/drawing/2014/main" id="{75D46A38-CB18-FB4C-9100-22CAF7B11AB5}"/>
                </a:ext>
              </a:extLst>
            </p:cNvPr>
            <p:cNvSpPr>
              <a:spLocks/>
            </p:cNvSpPr>
            <p:nvPr/>
          </p:nvSpPr>
          <p:spPr bwMode="auto">
            <a:xfrm>
              <a:off x="1817830" y="1379294"/>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4" name="Freeform 1219">
              <a:extLst>
                <a:ext uri="{FF2B5EF4-FFF2-40B4-BE49-F238E27FC236}">
                  <a16:creationId xmlns:a16="http://schemas.microsoft.com/office/drawing/2014/main" id="{61312EF3-647C-F545-8B94-D23A11C61078}"/>
                </a:ext>
              </a:extLst>
            </p:cNvPr>
            <p:cNvSpPr>
              <a:spLocks/>
            </p:cNvSpPr>
            <p:nvPr/>
          </p:nvSpPr>
          <p:spPr bwMode="auto">
            <a:xfrm>
              <a:off x="1817830" y="1379294"/>
              <a:ext cx="29073" cy="9928"/>
            </a:xfrm>
            <a:custGeom>
              <a:avLst/>
              <a:gdLst>
                <a:gd name="T0" fmla="*/ 2147483646 w 25"/>
                <a:gd name="T1" fmla="*/ 2147483646 h 10"/>
                <a:gd name="T2" fmla="*/ 0 w 25"/>
                <a:gd name="T3" fmla="*/ 2147483646 h 10"/>
                <a:gd name="T4" fmla="*/ 0 w 25"/>
                <a:gd name="T5" fmla="*/ 2147483646 h 10"/>
                <a:gd name="T6" fmla="*/ 0 w 25"/>
                <a:gd name="T7" fmla="*/ 2147483646 h 10"/>
                <a:gd name="T8" fmla="*/ 0 w 25"/>
                <a:gd name="T9" fmla="*/ 0 h 10"/>
                <a:gd name="T10" fmla="*/ 2147483646 w 25"/>
                <a:gd name="T11" fmla="*/ 0 h 10"/>
                <a:gd name="T12" fmla="*/ 2147483646 w 25"/>
                <a:gd name="T13" fmla="*/ 0 h 10"/>
                <a:gd name="T14" fmla="*/ 2147483646 w 25"/>
                <a:gd name="T15" fmla="*/ 0 h 10"/>
                <a:gd name="T16" fmla="*/ 2147483646 w 25"/>
                <a:gd name="T17" fmla="*/ 2147483646 h 10"/>
                <a:gd name="T18" fmla="*/ 2147483646 w 25"/>
                <a:gd name="T19" fmla="*/ 2147483646 h 10"/>
                <a:gd name="T20" fmla="*/ 2147483646 w 25"/>
                <a:gd name="T21" fmla="*/ 2147483646 h 10"/>
                <a:gd name="T22" fmla="*/ 2147483646 w 25"/>
                <a:gd name="T23" fmla="*/ 2147483646 h 10"/>
                <a:gd name="T24" fmla="*/ 2147483646 w 2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0">
                  <a:moveTo>
                    <a:pt x="3" y="10"/>
                  </a:moveTo>
                  <a:lnTo>
                    <a:pt x="0" y="6"/>
                  </a:lnTo>
                  <a:lnTo>
                    <a:pt x="0" y="3"/>
                  </a:lnTo>
                  <a:lnTo>
                    <a:pt x="0" y="0"/>
                  </a:lnTo>
                  <a:lnTo>
                    <a:pt x="3" y="0"/>
                  </a:lnTo>
                  <a:lnTo>
                    <a:pt x="22" y="0"/>
                  </a:lnTo>
                  <a:lnTo>
                    <a:pt x="25" y="0"/>
                  </a:lnTo>
                  <a:lnTo>
                    <a:pt x="25" y="3"/>
                  </a:lnTo>
                  <a:lnTo>
                    <a:pt x="25" y="6"/>
                  </a:lnTo>
                  <a:lnTo>
                    <a:pt x="2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5" name="Freeform 1220">
              <a:extLst>
                <a:ext uri="{FF2B5EF4-FFF2-40B4-BE49-F238E27FC236}">
                  <a16:creationId xmlns:a16="http://schemas.microsoft.com/office/drawing/2014/main" id="{0251DFC3-04E6-874B-B0F3-E9420CC48209}"/>
                </a:ext>
              </a:extLst>
            </p:cNvPr>
            <p:cNvSpPr>
              <a:spLocks/>
            </p:cNvSpPr>
            <p:nvPr/>
          </p:nvSpPr>
          <p:spPr bwMode="auto">
            <a:xfrm>
              <a:off x="1839925" y="1379294"/>
              <a:ext cx="25584" cy="9928"/>
            </a:xfrm>
            <a:custGeom>
              <a:avLst/>
              <a:gdLst>
                <a:gd name="T0" fmla="*/ 2147483646 w 22"/>
                <a:gd name="T1" fmla="*/ 2147483646 h 10"/>
                <a:gd name="T2" fmla="*/ 0 w 22"/>
                <a:gd name="T3" fmla="*/ 2147483646 h 10"/>
                <a:gd name="T4" fmla="*/ 0 w 22"/>
                <a:gd name="T5" fmla="*/ 2147483646 h 10"/>
                <a:gd name="T6" fmla="*/ 0 w 22"/>
                <a:gd name="T7" fmla="*/ 2147483646 h 10"/>
                <a:gd name="T8" fmla="*/ 0 w 22"/>
                <a:gd name="T9" fmla="*/ 0 h 10"/>
                <a:gd name="T10" fmla="*/ 2147483646 w 22"/>
                <a:gd name="T11" fmla="*/ 0 h 10"/>
                <a:gd name="T12" fmla="*/ 2147483646 w 22"/>
                <a:gd name="T13" fmla="*/ 0 h 10"/>
                <a:gd name="T14" fmla="*/ 2147483646 w 22"/>
                <a:gd name="T15" fmla="*/ 0 h 10"/>
                <a:gd name="T16" fmla="*/ 2147483646 w 22"/>
                <a:gd name="T17" fmla="*/ 2147483646 h 10"/>
                <a:gd name="T18" fmla="*/ 2147483646 w 22"/>
                <a:gd name="T19" fmla="*/ 2147483646 h 10"/>
                <a:gd name="T20" fmla="*/ 2147483646 w 22"/>
                <a:gd name="T21" fmla="*/ 2147483646 h 10"/>
                <a:gd name="T22" fmla="*/ 2147483646 w 22"/>
                <a:gd name="T23" fmla="*/ 2147483646 h 10"/>
                <a:gd name="T24" fmla="*/ 2147483646 w 2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0">
                  <a:moveTo>
                    <a:pt x="3" y="10"/>
                  </a:moveTo>
                  <a:lnTo>
                    <a:pt x="0" y="6"/>
                  </a:lnTo>
                  <a:lnTo>
                    <a:pt x="0" y="3"/>
                  </a:lnTo>
                  <a:lnTo>
                    <a:pt x="0" y="0"/>
                  </a:lnTo>
                  <a:lnTo>
                    <a:pt x="3" y="0"/>
                  </a:lnTo>
                  <a:lnTo>
                    <a:pt x="19" y="0"/>
                  </a:lnTo>
                  <a:lnTo>
                    <a:pt x="22" y="0"/>
                  </a:lnTo>
                  <a:lnTo>
                    <a:pt x="22" y="3"/>
                  </a:lnTo>
                  <a:lnTo>
                    <a:pt x="22" y="6"/>
                  </a:lnTo>
                  <a:lnTo>
                    <a:pt x="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6" name="Freeform 1221">
              <a:extLst>
                <a:ext uri="{FF2B5EF4-FFF2-40B4-BE49-F238E27FC236}">
                  <a16:creationId xmlns:a16="http://schemas.microsoft.com/office/drawing/2014/main" id="{4C56615F-65EB-D34F-A489-F6CE9083FF70}"/>
                </a:ext>
              </a:extLst>
            </p:cNvPr>
            <p:cNvSpPr>
              <a:spLocks/>
            </p:cNvSpPr>
            <p:nvPr/>
          </p:nvSpPr>
          <p:spPr bwMode="auto">
            <a:xfrm>
              <a:off x="1858532" y="1379294"/>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6"/>
                  </a:lnTo>
                  <a:lnTo>
                    <a:pt x="0" y="3"/>
                  </a:lnTo>
                  <a:lnTo>
                    <a:pt x="0" y="0"/>
                  </a:lnTo>
                  <a:lnTo>
                    <a:pt x="3" y="0"/>
                  </a:lnTo>
                  <a:lnTo>
                    <a:pt x="16" y="0"/>
                  </a:lnTo>
                  <a:lnTo>
                    <a:pt x="19" y="0"/>
                  </a:lnTo>
                  <a:lnTo>
                    <a:pt x="19" y="3"/>
                  </a:lnTo>
                  <a:lnTo>
                    <a:pt x="19" y="6"/>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7" name="Freeform 1222">
              <a:extLst>
                <a:ext uri="{FF2B5EF4-FFF2-40B4-BE49-F238E27FC236}">
                  <a16:creationId xmlns:a16="http://schemas.microsoft.com/office/drawing/2014/main" id="{F4041808-DACE-134E-AD42-692208D32359}"/>
                </a:ext>
              </a:extLst>
            </p:cNvPr>
            <p:cNvSpPr>
              <a:spLocks/>
            </p:cNvSpPr>
            <p:nvPr/>
          </p:nvSpPr>
          <p:spPr bwMode="auto">
            <a:xfrm>
              <a:off x="1873650" y="1356458"/>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6" y="29"/>
                  </a:lnTo>
                  <a:lnTo>
                    <a:pt x="3" y="29"/>
                  </a:lnTo>
                  <a:lnTo>
                    <a:pt x="0" y="29"/>
                  </a:lnTo>
                  <a:lnTo>
                    <a:pt x="0" y="26"/>
                  </a:lnTo>
                  <a:lnTo>
                    <a:pt x="0" y="4"/>
                  </a:lnTo>
                  <a:lnTo>
                    <a:pt x="0" y="0"/>
                  </a:lnTo>
                  <a:lnTo>
                    <a:pt x="3" y="0"/>
                  </a:lnTo>
                  <a:lnTo>
                    <a:pt x="6" y="0"/>
                  </a:lnTo>
                  <a:lnTo>
                    <a:pt x="10" y="4"/>
                  </a:lnTo>
                  <a:lnTo>
                    <a:pt x="10" y="2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8" name="Freeform 1223">
              <a:extLst>
                <a:ext uri="{FF2B5EF4-FFF2-40B4-BE49-F238E27FC236}">
                  <a16:creationId xmlns:a16="http://schemas.microsoft.com/office/drawing/2014/main" id="{CF6D95DE-B6D4-FC41-B5EE-D604A0EC5A2D}"/>
                </a:ext>
              </a:extLst>
            </p:cNvPr>
            <p:cNvSpPr>
              <a:spLocks/>
            </p:cNvSpPr>
            <p:nvPr/>
          </p:nvSpPr>
          <p:spPr bwMode="auto">
            <a:xfrm>
              <a:off x="1873650" y="1356458"/>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79" name="Freeform 1224">
              <a:extLst>
                <a:ext uri="{FF2B5EF4-FFF2-40B4-BE49-F238E27FC236}">
                  <a16:creationId xmlns:a16="http://schemas.microsoft.com/office/drawing/2014/main" id="{3A3E396E-9CA7-C544-B48A-A1C3E50E989D}"/>
                </a:ext>
              </a:extLst>
            </p:cNvPr>
            <p:cNvSpPr>
              <a:spLocks/>
            </p:cNvSpPr>
            <p:nvPr/>
          </p:nvSpPr>
          <p:spPr bwMode="auto">
            <a:xfrm>
              <a:off x="1888768" y="1356458"/>
              <a:ext cx="44191" cy="9928"/>
            </a:xfrm>
            <a:custGeom>
              <a:avLst/>
              <a:gdLst>
                <a:gd name="T0" fmla="*/ 2147483646 w 38"/>
                <a:gd name="T1" fmla="*/ 2147483646 h 10"/>
                <a:gd name="T2" fmla="*/ 0 w 38"/>
                <a:gd name="T3" fmla="*/ 2147483646 h 10"/>
                <a:gd name="T4" fmla="*/ 0 w 38"/>
                <a:gd name="T5" fmla="*/ 2147483646 h 10"/>
                <a:gd name="T6" fmla="*/ 0 w 38"/>
                <a:gd name="T7" fmla="*/ 2147483646 h 10"/>
                <a:gd name="T8" fmla="*/ 0 w 38"/>
                <a:gd name="T9" fmla="*/ 0 h 10"/>
                <a:gd name="T10" fmla="*/ 2147483646 w 38"/>
                <a:gd name="T11" fmla="*/ 0 h 10"/>
                <a:gd name="T12" fmla="*/ 2147483646 w 38"/>
                <a:gd name="T13" fmla="*/ 0 h 10"/>
                <a:gd name="T14" fmla="*/ 2147483646 w 38"/>
                <a:gd name="T15" fmla="*/ 0 h 10"/>
                <a:gd name="T16" fmla="*/ 2147483646 w 38"/>
                <a:gd name="T17" fmla="*/ 2147483646 h 10"/>
                <a:gd name="T18" fmla="*/ 2147483646 w 38"/>
                <a:gd name="T19" fmla="*/ 2147483646 h 10"/>
                <a:gd name="T20" fmla="*/ 2147483646 w 38"/>
                <a:gd name="T21" fmla="*/ 2147483646 h 10"/>
                <a:gd name="T22" fmla="*/ 2147483646 w 38"/>
                <a:gd name="T23" fmla="*/ 2147483646 h 10"/>
                <a:gd name="T24" fmla="*/ 2147483646 w 3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0">
                  <a:moveTo>
                    <a:pt x="3" y="10"/>
                  </a:moveTo>
                  <a:lnTo>
                    <a:pt x="0" y="7"/>
                  </a:lnTo>
                  <a:lnTo>
                    <a:pt x="0" y="4"/>
                  </a:lnTo>
                  <a:lnTo>
                    <a:pt x="0" y="0"/>
                  </a:lnTo>
                  <a:lnTo>
                    <a:pt x="3" y="0"/>
                  </a:lnTo>
                  <a:lnTo>
                    <a:pt x="35" y="0"/>
                  </a:lnTo>
                  <a:lnTo>
                    <a:pt x="38" y="0"/>
                  </a:lnTo>
                  <a:lnTo>
                    <a:pt x="38" y="4"/>
                  </a:lnTo>
                  <a:lnTo>
                    <a:pt x="38" y="7"/>
                  </a:lnTo>
                  <a:lnTo>
                    <a:pt x="35"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0" name="Freeform 1225">
              <a:extLst>
                <a:ext uri="{FF2B5EF4-FFF2-40B4-BE49-F238E27FC236}">
                  <a16:creationId xmlns:a16="http://schemas.microsoft.com/office/drawing/2014/main" id="{78FAB35C-8147-4846-B901-0661C3FA2DB3}"/>
                </a:ext>
              </a:extLst>
            </p:cNvPr>
            <p:cNvSpPr>
              <a:spLocks/>
            </p:cNvSpPr>
            <p:nvPr/>
          </p:nvSpPr>
          <p:spPr bwMode="auto">
            <a:xfrm>
              <a:off x="1925982" y="1334616"/>
              <a:ext cx="11629" cy="28793"/>
            </a:xfrm>
            <a:custGeom>
              <a:avLst/>
              <a:gdLst>
                <a:gd name="T0" fmla="*/ 2147483646 w 10"/>
                <a:gd name="T1" fmla="*/ 2147483646 h 29"/>
                <a:gd name="T2" fmla="*/ 2147483646 w 10"/>
                <a:gd name="T3" fmla="*/ 2147483646 h 29"/>
                <a:gd name="T4" fmla="*/ 2147483646 w 10"/>
                <a:gd name="T5" fmla="*/ 2147483646 h 29"/>
                <a:gd name="T6" fmla="*/ 2147483646 w 10"/>
                <a:gd name="T7" fmla="*/ 2147483646 h 29"/>
                <a:gd name="T8" fmla="*/ 0 w 10"/>
                <a:gd name="T9" fmla="*/ 2147483646 h 29"/>
                <a:gd name="T10" fmla="*/ 0 w 10"/>
                <a:gd name="T11" fmla="*/ 2147483646 h 29"/>
                <a:gd name="T12" fmla="*/ 0 w 10"/>
                <a:gd name="T13" fmla="*/ 2147483646 h 29"/>
                <a:gd name="T14" fmla="*/ 0 w 10"/>
                <a:gd name="T15" fmla="*/ 0 h 29"/>
                <a:gd name="T16" fmla="*/ 2147483646 w 10"/>
                <a:gd name="T17" fmla="*/ 0 h 29"/>
                <a:gd name="T18" fmla="*/ 2147483646 w 10"/>
                <a:gd name="T19" fmla="*/ 0 h 29"/>
                <a:gd name="T20" fmla="*/ 2147483646 w 10"/>
                <a:gd name="T21" fmla="*/ 0 h 29"/>
                <a:gd name="T22" fmla="*/ 2147483646 w 10"/>
                <a:gd name="T23" fmla="*/ 2147483646 h 29"/>
                <a:gd name="T24" fmla="*/ 2147483646 w 10"/>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29">
                  <a:moveTo>
                    <a:pt x="10" y="26"/>
                  </a:moveTo>
                  <a:lnTo>
                    <a:pt x="6" y="29"/>
                  </a:lnTo>
                  <a:lnTo>
                    <a:pt x="3" y="29"/>
                  </a:lnTo>
                  <a:lnTo>
                    <a:pt x="0" y="29"/>
                  </a:lnTo>
                  <a:lnTo>
                    <a:pt x="0" y="26"/>
                  </a:lnTo>
                  <a:lnTo>
                    <a:pt x="0" y="3"/>
                  </a:lnTo>
                  <a:lnTo>
                    <a:pt x="0" y="0"/>
                  </a:lnTo>
                  <a:lnTo>
                    <a:pt x="3" y="0"/>
                  </a:lnTo>
                  <a:lnTo>
                    <a:pt x="6" y="0"/>
                  </a:lnTo>
                  <a:lnTo>
                    <a:pt x="10" y="3"/>
                  </a:lnTo>
                  <a:lnTo>
                    <a:pt x="10" y="2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1" name="Freeform 1226">
              <a:extLst>
                <a:ext uri="{FF2B5EF4-FFF2-40B4-BE49-F238E27FC236}">
                  <a16:creationId xmlns:a16="http://schemas.microsoft.com/office/drawing/2014/main" id="{FE5E143E-25C0-AD4D-BE51-7D68EF9E7980}"/>
                </a:ext>
              </a:extLst>
            </p:cNvPr>
            <p:cNvSpPr>
              <a:spLocks/>
            </p:cNvSpPr>
            <p:nvPr/>
          </p:nvSpPr>
          <p:spPr bwMode="auto">
            <a:xfrm>
              <a:off x="1925982" y="1334616"/>
              <a:ext cx="18607" cy="8936"/>
            </a:xfrm>
            <a:custGeom>
              <a:avLst/>
              <a:gdLst>
                <a:gd name="T0" fmla="*/ 2147483646 w 16"/>
                <a:gd name="T1" fmla="*/ 2147483646 h 9"/>
                <a:gd name="T2" fmla="*/ 0 w 16"/>
                <a:gd name="T3" fmla="*/ 2147483646 h 9"/>
                <a:gd name="T4" fmla="*/ 0 w 16"/>
                <a:gd name="T5" fmla="*/ 2147483646 h 9"/>
                <a:gd name="T6" fmla="*/ 0 w 16"/>
                <a:gd name="T7" fmla="*/ 2147483646 h 9"/>
                <a:gd name="T8" fmla="*/ 0 w 16"/>
                <a:gd name="T9" fmla="*/ 0 h 9"/>
                <a:gd name="T10" fmla="*/ 2147483646 w 16"/>
                <a:gd name="T11" fmla="*/ 0 h 9"/>
                <a:gd name="T12" fmla="*/ 2147483646 w 16"/>
                <a:gd name="T13" fmla="*/ 0 h 9"/>
                <a:gd name="T14" fmla="*/ 2147483646 w 16"/>
                <a:gd name="T15" fmla="*/ 0 h 9"/>
                <a:gd name="T16" fmla="*/ 2147483646 w 16"/>
                <a:gd name="T17" fmla="*/ 2147483646 h 9"/>
                <a:gd name="T18" fmla="*/ 2147483646 w 16"/>
                <a:gd name="T19" fmla="*/ 2147483646 h 9"/>
                <a:gd name="T20" fmla="*/ 2147483646 w 16"/>
                <a:gd name="T21" fmla="*/ 2147483646 h 9"/>
                <a:gd name="T22" fmla="*/ 2147483646 w 16"/>
                <a:gd name="T23" fmla="*/ 2147483646 h 9"/>
                <a:gd name="T24" fmla="*/ 2147483646 w 16"/>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9">
                  <a:moveTo>
                    <a:pt x="3" y="9"/>
                  </a:moveTo>
                  <a:lnTo>
                    <a:pt x="0" y="6"/>
                  </a:lnTo>
                  <a:lnTo>
                    <a:pt x="0" y="3"/>
                  </a:lnTo>
                  <a:lnTo>
                    <a:pt x="0" y="0"/>
                  </a:lnTo>
                  <a:lnTo>
                    <a:pt x="3" y="0"/>
                  </a:lnTo>
                  <a:lnTo>
                    <a:pt x="13" y="0"/>
                  </a:lnTo>
                  <a:lnTo>
                    <a:pt x="16" y="0"/>
                  </a:lnTo>
                  <a:lnTo>
                    <a:pt x="16" y="3"/>
                  </a:lnTo>
                  <a:lnTo>
                    <a:pt x="16" y="6"/>
                  </a:lnTo>
                  <a:lnTo>
                    <a:pt x="13"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2" name="Freeform 1227">
              <a:extLst>
                <a:ext uri="{FF2B5EF4-FFF2-40B4-BE49-F238E27FC236}">
                  <a16:creationId xmlns:a16="http://schemas.microsoft.com/office/drawing/2014/main" id="{4D03B9D6-DCBE-8B43-866C-263B159C82A6}"/>
                </a:ext>
              </a:extLst>
            </p:cNvPr>
            <p:cNvSpPr>
              <a:spLocks/>
            </p:cNvSpPr>
            <p:nvPr/>
          </p:nvSpPr>
          <p:spPr bwMode="auto">
            <a:xfrm>
              <a:off x="1937611" y="1311781"/>
              <a:ext cx="10467" cy="28793"/>
            </a:xfrm>
            <a:custGeom>
              <a:avLst/>
              <a:gdLst>
                <a:gd name="T0" fmla="*/ 2147483646 w 9"/>
                <a:gd name="T1" fmla="*/ 2147483646 h 29"/>
                <a:gd name="T2" fmla="*/ 2147483646 w 9"/>
                <a:gd name="T3" fmla="*/ 2147483646 h 29"/>
                <a:gd name="T4" fmla="*/ 2147483646 w 9"/>
                <a:gd name="T5" fmla="*/ 2147483646 h 29"/>
                <a:gd name="T6" fmla="*/ 2147483646 w 9"/>
                <a:gd name="T7" fmla="*/ 2147483646 h 29"/>
                <a:gd name="T8" fmla="*/ 0 w 9"/>
                <a:gd name="T9" fmla="*/ 2147483646 h 29"/>
                <a:gd name="T10" fmla="*/ 0 w 9"/>
                <a:gd name="T11" fmla="*/ 2147483646 h 29"/>
                <a:gd name="T12" fmla="*/ 0 w 9"/>
                <a:gd name="T13" fmla="*/ 2147483646 h 29"/>
                <a:gd name="T14" fmla="*/ 0 w 9"/>
                <a:gd name="T15" fmla="*/ 0 h 29"/>
                <a:gd name="T16" fmla="*/ 2147483646 w 9"/>
                <a:gd name="T17" fmla="*/ 0 h 29"/>
                <a:gd name="T18" fmla="*/ 2147483646 w 9"/>
                <a:gd name="T19" fmla="*/ 0 h 29"/>
                <a:gd name="T20" fmla="*/ 2147483646 w 9"/>
                <a:gd name="T21" fmla="*/ 0 h 29"/>
                <a:gd name="T22" fmla="*/ 2147483646 w 9"/>
                <a:gd name="T23" fmla="*/ 2147483646 h 29"/>
                <a:gd name="T24" fmla="*/ 2147483646 w 9"/>
                <a:gd name="T25" fmla="*/ 2147483646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29">
                  <a:moveTo>
                    <a:pt x="9" y="26"/>
                  </a:moveTo>
                  <a:lnTo>
                    <a:pt x="6" y="29"/>
                  </a:lnTo>
                  <a:lnTo>
                    <a:pt x="3" y="29"/>
                  </a:lnTo>
                  <a:lnTo>
                    <a:pt x="0" y="29"/>
                  </a:lnTo>
                  <a:lnTo>
                    <a:pt x="0" y="26"/>
                  </a:lnTo>
                  <a:lnTo>
                    <a:pt x="0" y="3"/>
                  </a:lnTo>
                  <a:lnTo>
                    <a:pt x="0" y="0"/>
                  </a:lnTo>
                  <a:lnTo>
                    <a:pt x="3" y="0"/>
                  </a:lnTo>
                  <a:lnTo>
                    <a:pt x="6" y="0"/>
                  </a:lnTo>
                  <a:lnTo>
                    <a:pt x="9" y="3"/>
                  </a:lnTo>
                  <a:lnTo>
                    <a:pt x="9" y="2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3" name="Freeform 1228">
              <a:extLst>
                <a:ext uri="{FF2B5EF4-FFF2-40B4-BE49-F238E27FC236}">
                  <a16:creationId xmlns:a16="http://schemas.microsoft.com/office/drawing/2014/main" id="{925CD651-894C-8B47-9404-A52547D5B66A}"/>
                </a:ext>
              </a:extLst>
            </p:cNvPr>
            <p:cNvSpPr>
              <a:spLocks/>
            </p:cNvSpPr>
            <p:nvPr/>
          </p:nvSpPr>
          <p:spPr bwMode="auto">
            <a:xfrm>
              <a:off x="1937611" y="1311781"/>
              <a:ext cx="15118" cy="9928"/>
            </a:xfrm>
            <a:custGeom>
              <a:avLst/>
              <a:gdLst>
                <a:gd name="T0" fmla="*/ 2147483646 w 13"/>
                <a:gd name="T1" fmla="*/ 2147483646 h 10"/>
                <a:gd name="T2" fmla="*/ 0 w 13"/>
                <a:gd name="T3" fmla="*/ 2147483646 h 10"/>
                <a:gd name="T4" fmla="*/ 0 w 13"/>
                <a:gd name="T5" fmla="*/ 2147483646 h 10"/>
                <a:gd name="T6" fmla="*/ 0 w 13"/>
                <a:gd name="T7" fmla="*/ 2147483646 h 10"/>
                <a:gd name="T8" fmla="*/ 0 w 13"/>
                <a:gd name="T9" fmla="*/ 0 h 10"/>
                <a:gd name="T10" fmla="*/ 2147483646 w 13"/>
                <a:gd name="T11" fmla="*/ 0 h 10"/>
                <a:gd name="T12" fmla="*/ 2147483646 w 13"/>
                <a:gd name="T13" fmla="*/ 0 h 10"/>
                <a:gd name="T14" fmla="*/ 2147483646 w 13"/>
                <a:gd name="T15" fmla="*/ 0 h 10"/>
                <a:gd name="T16" fmla="*/ 2147483646 w 13"/>
                <a:gd name="T17" fmla="*/ 2147483646 h 10"/>
                <a:gd name="T18" fmla="*/ 2147483646 w 13"/>
                <a:gd name="T19" fmla="*/ 2147483646 h 10"/>
                <a:gd name="T20" fmla="*/ 2147483646 w 13"/>
                <a:gd name="T21" fmla="*/ 2147483646 h 10"/>
                <a:gd name="T22" fmla="*/ 2147483646 w 13"/>
                <a:gd name="T23" fmla="*/ 2147483646 h 10"/>
                <a:gd name="T24" fmla="*/ 2147483646 w 1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3" y="10"/>
                  </a:moveTo>
                  <a:lnTo>
                    <a:pt x="0" y="7"/>
                  </a:lnTo>
                  <a:lnTo>
                    <a:pt x="0" y="3"/>
                  </a:lnTo>
                  <a:lnTo>
                    <a:pt x="0" y="0"/>
                  </a:lnTo>
                  <a:lnTo>
                    <a:pt x="3" y="0"/>
                  </a:lnTo>
                  <a:lnTo>
                    <a:pt x="9" y="0"/>
                  </a:lnTo>
                  <a:lnTo>
                    <a:pt x="13" y="0"/>
                  </a:lnTo>
                  <a:lnTo>
                    <a:pt x="13" y="3"/>
                  </a:lnTo>
                  <a:lnTo>
                    <a:pt x="13" y="7"/>
                  </a:lnTo>
                  <a:lnTo>
                    <a:pt x="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4" name="Freeform 1229">
              <a:extLst>
                <a:ext uri="{FF2B5EF4-FFF2-40B4-BE49-F238E27FC236}">
                  <a16:creationId xmlns:a16="http://schemas.microsoft.com/office/drawing/2014/main" id="{EDD51011-B3AE-B046-9F21-174052B5D8D1}"/>
                </a:ext>
              </a:extLst>
            </p:cNvPr>
            <p:cNvSpPr>
              <a:spLocks/>
            </p:cNvSpPr>
            <p:nvPr/>
          </p:nvSpPr>
          <p:spPr bwMode="auto">
            <a:xfrm>
              <a:off x="1944588" y="1311781"/>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3"/>
                  </a:lnTo>
                  <a:lnTo>
                    <a:pt x="0" y="0"/>
                  </a:lnTo>
                  <a:lnTo>
                    <a:pt x="3" y="0"/>
                  </a:lnTo>
                  <a:lnTo>
                    <a:pt x="26" y="0"/>
                  </a:lnTo>
                  <a:lnTo>
                    <a:pt x="29" y="0"/>
                  </a:lnTo>
                  <a:lnTo>
                    <a:pt x="29" y="3"/>
                  </a:lnTo>
                  <a:lnTo>
                    <a:pt x="29" y="7"/>
                  </a:lnTo>
                  <a:lnTo>
                    <a:pt x="2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5" name="Freeform 1230">
              <a:extLst>
                <a:ext uri="{FF2B5EF4-FFF2-40B4-BE49-F238E27FC236}">
                  <a16:creationId xmlns:a16="http://schemas.microsoft.com/office/drawing/2014/main" id="{6C90A363-8A89-4E48-8303-32BF205DEB12}"/>
                </a:ext>
              </a:extLst>
            </p:cNvPr>
            <p:cNvSpPr>
              <a:spLocks/>
            </p:cNvSpPr>
            <p:nvPr/>
          </p:nvSpPr>
          <p:spPr bwMode="auto">
            <a:xfrm>
              <a:off x="1971336" y="1285967"/>
              <a:ext cx="10467" cy="32764"/>
            </a:xfrm>
            <a:custGeom>
              <a:avLst/>
              <a:gdLst>
                <a:gd name="T0" fmla="*/ 2147483646 w 9"/>
                <a:gd name="T1" fmla="*/ 2147483646 h 33"/>
                <a:gd name="T2" fmla="*/ 2147483646 w 9"/>
                <a:gd name="T3" fmla="*/ 2147483646 h 33"/>
                <a:gd name="T4" fmla="*/ 2147483646 w 9"/>
                <a:gd name="T5" fmla="*/ 2147483646 h 33"/>
                <a:gd name="T6" fmla="*/ 2147483646 w 9"/>
                <a:gd name="T7" fmla="*/ 2147483646 h 33"/>
                <a:gd name="T8" fmla="*/ 0 w 9"/>
                <a:gd name="T9" fmla="*/ 2147483646 h 33"/>
                <a:gd name="T10" fmla="*/ 0 w 9"/>
                <a:gd name="T11" fmla="*/ 2147483646 h 33"/>
                <a:gd name="T12" fmla="*/ 0 w 9"/>
                <a:gd name="T13" fmla="*/ 2147483646 h 33"/>
                <a:gd name="T14" fmla="*/ 0 w 9"/>
                <a:gd name="T15" fmla="*/ 0 h 33"/>
                <a:gd name="T16" fmla="*/ 2147483646 w 9"/>
                <a:gd name="T17" fmla="*/ 0 h 33"/>
                <a:gd name="T18" fmla="*/ 2147483646 w 9"/>
                <a:gd name="T19" fmla="*/ 0 h 33"/>
                <a:gd name="T20" fmla="*/ 2147483646 w 9"/>
                <a:gd name="T21" fmla="*/ 0 h 33"/>
                <a:gd name="T22" fmla="*/ 2147483646 w 9"/>
                <a:gd name="T23" fmla="*/ 2147483646 h 33"/>
                <a:gd name="T24" fmla="*/ 2147483646 w 9"/>
                <a:gd name="T25" fmla="*/ 2147483646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33">
                  <a:moveTo>
                    <a:pt x="9" y="29"/>
                  </a:moveTo>
                  <a:lnTo>
                    <a:pt x="6" y="33"/>
                  </a:lnTo>
                  <a:lnTo>
                    <a:pt x="3" y="33"/>
                  </a:lnTo>
                  <a:lnTo>
                    <a:pt x="0" y="33"/>
                  </a:lnTo>
                  <a:lnTo>
                    <a:pt x="0" y="29"/>
                  </a:lnTo>
                  <a:lnTo>
                    <a:pt x="0" y="4"/>
                  </a:lnTo>
                  <a:lnTo>
                    <a:pt x="0" y="0"/>
                  </a:lnTo>
                  <a:lnTo>
                    <a:pt x="3" y="0"/>
                  </a:lnTo>
                  <a:lnTo>
                    <a:pt x="6" y="0"/>
                  </a:lnTo>
                  <a:lnTo>
                    <a:pt x="9" y="4"/>
                  </a:lnTo>
                  <a:lnTo>
                    <a:pt x="9" y="2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6" name="Freeform 1231">
              <a:extLst>
                <a:ext uri="{FF2B5EF4-FFF2-40B4-BE49-F238E27FC236}">
                  <a16:creationId xmlns:a16="http://schemas.microsoft.com/office/drawing/2014/main" id="{7B1898C1-A95C-5D48-A956-50F382A671DB}"/>
                </a:ext>
              </a:extLst>
            </p:cNvPr>
            <p:cNvSpPr>
              <a:spLocks/>
            </p:cNvSpPr>
            <p:nvPr/>
          </p:nvSpPr>
          <p:spPr bwMode="auto">
            <a:xfrm>
              <a:off x="1971336" y="1285967"/>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4"/>
                  </a:lnTo>
                  <a:lnTo>
                    <a:pt x="0" y="0"/>
                  </a:lnTo>
                  <a:lnTo>
                    <a:pt x="3" y="0"/>
                  </a:lnTo>
                  <a:lnTo>
                    <a:pt x="16" y="0"/>
                  </a:lnTo>
                  <a:lnTo>
                    <a:pt x="19" y="0"/>
                  </a:lnTo>
                  <a:lnTo>
                    <a:pt x="19" y="4"/>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7" name="Freeform 1232">
              <a:extLst>
                <a:ext uri="{FF2B5EF4-FFF2-40B4-BE49-F238E27FC236}">
                  <a16:creationId xmlns:a16="http://schemas.microsoft.com/office/drawing/2014/main" id="{AB7BA5DC-697C-864D-B68F-7261ACE4DC46}"/>
                </a:ext>
              </a:extLst>
            </p:cNvPr>
            <p:cNvSpPr>
              <a:spLocks/>
            </p:cNvSpPr>
            <p:nvPr/>
          </p:nvSpPr>
          <p:spPr bwMode="auto">
            <a:xfrm>
              <a:off x="1986453" y="1285967"/>
              <a:ext cx="67449" cy="9928"/>
            </a:xfrm>
            <a:custGeom>
              <a:avLst/>
              <a:gdLst>
                <a:gd name="T0" fmla="*/ 2147483646 w 58"/>
                <a:gd name="T1" fmla="*/ 2147483646 h 10"/>
                <a:gd name="T2" fmla="*/ 0 w 58"/>
                <a:gd name="T3" fmla="*/ 2147483646 h 10"/>
                <a:gd name="T4" fmla="*/ 0 w 58"/>
                <a:gd name="T5" fmla="*/ 2147483646 h 10"/>
                <a:gd name="T6" fmla="*/ 0 w 58"/>
                <a:gd name="T7" fmla="*/ 2147483646 h 10"/>
                <a:gd name="T8" fmla="*/ 0 w 58"/>
                <a:gd name="T9" fmla="*/ 0 h 10"/>
                <a:gd name="T10" fmla="*/ 2147483646 w 58"/>
                <a:gd name="T11" fmla="*/ 0 h 10"/>
                <a:gd name="T12" fmla="*/ 2147483646 w 58"/>
                <a:gd name="T13" fmla="*/ 0 h 10"/>
                <a:gd name="T14" fmla="*/ 2147483646 w 58"/>
                <a:gd name="T15" fmla="*/ 0 h 10"/>
                <a:gd name="T16" fmla="*/ 2147483646 w 58"/>
                <a:gd name="T17" fmla="*/ 2147483646 h 10"/>
                <a:gd name="T18" fmla="*/ 2147483646 w 58"/>
                <a:gd name="T19" fmla="*/ 2147483646 h 10"/>
                <a:gd name="T20" fmla="*/ 2147483646 w 58"/>
                <a:gd name="T21" fmla="*/ 2147483646 h 10"/>
                <a:gd name="T22" fmla="*/ 2147483646 w 58"/>
                <a:gd name="T23" fmla="*/ 2147483646 h 10"/>
                <a:gd name="T24" fmla="*/ 2147483646 w 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10">
                  <a:moveTo>
                    <a:pt x="3" y="10"/>
                  </a:moveTo>
                  <a:lnTo>
                    <a:pt x="0" y="7"/>
                  </a:lnTo>
                  <a:lnTo>
                    <a:pt x="0" y="4"/>
                  </a:lnTo>
                  <a:lnTo>
                    <a:pt x="0" y="0"/>
                  </a:lnTo>
                  <a:lnTo>
                    <a:pt x="3" y="0"/>
                  </a:lnTo>
                  <a:lnTo>
                    <a:pt x="54" y="0"/>
                  </a:lnTo>
                  <a:lnTo>
                    <a:pt x="58" y="0"/>
                  </a:lnTo>
                  <a:lnTo>
                    <a:pt x="58" y="4"/>
                  </a:lnTo>
                  <a:lnTo>
                    <a:pt x="58" y="7"/>
                  </a:lnTo>
                  <a:lnTo>
                    <a:pt x="5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8" name="Freeform 1233">
              <a:extLst>
                <a:ext uri="{FF2B5EF4-FFF2-40B4-BE49-F238E27FC236}">
                  <a16:creationId xmlns:a16="http://schemas.microsoft.com/office/drawing/2014/main" id="{E8D7FD9C-AB06-6847-8715-8EBC86C732AF}"/>
                </a:ext>
              </a:extLst>
            </p:cNvPr>
            <p:cNvSpPr>
              <a:spLocks/>
            </p:cNvSpPr>
            <p:nvPr/>
          </p:nvSpPr>
          <p:spPr bwMode="auto">
            <a:xfrm>
              <a:off x="2045763" y="1285967"/>
              <a:ext cx="33725" cy="9928"/>
            </a:xfrm>
            <a:custGeom>
              <a:avLst/>
              <a:gdLst>
                <a:gd name="T0" fmla="*/ 2147483646 w 29"/>
                <a:gd name="T1" fmla="*/ 2147483646 h 10"/>
                <a:gd name="T2" fmla="*/ 0 w 29"/>
                <a:gd name="T3" fmla="*/ 2147483646 h 10"/>
                <a:gd name="T4" fmla="*/ 0 w 29"/>
                <a:gd name="T5" fmla="*/ 2147483646 h 10"/>
                <a:gd name="T6" fmla="*/ 0 w 29"/>
                <a:gd name="T7" fmla="*/ 2147483646 h 10"/>
                <a:gd name="T8" fmla="*/ 0 w 29"/>
                <a:gd name="T9" fmla="*/ 0 h 10"/>
                <a:gd name="T10" fmla="*/ 2147483646 w 29"/>
                <a:gd name="T11" fmla="*/ 0 h 10"/>
                <a:gd name="T12" fmla="*/ 2147483646 w 29"/>
                <a:gd name="T13" fmla="*/ 0 h 10"/>
                <a:gd name="T14" fmla="*/ 2147483646 w 29"/>
                <a:gd name="T15" fmla="*/ 0 h 10"/>
                <a:gd name="T16" fmla="*/ 2147483646 w 29"/>
                <a:gd name="T17" fmla="*/ 2147483646 h 10"/>
                <a:gd name="T18" fmla="*/ 2147483646 w 29"/>
                <a:gd name="T19" fmla="*/ 2147483646 h 10"/>
                <a:gd name="T20" fmla="*/ 2147483646 w 29"/>
                <a:gd name="T21" fmla="*/ 2147483646 h 10"/>
                <a:gd name="T22" fmla="*/ 2147483646 w 29"/>
                <a:gd name="T23" fmla="*/ 2147483646 h 10"/>
                <a:gd name="T24" fmla="*/ 2147483646 w 2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0">
                  <a:moveTo>
                    <a:pt x="3" y="10"/>
                  </a:moveTo>
                  <a:lnTo>
                    <a:pt x="0" y="7"/>
                  </a:lnTo>
                  <a:lnTo>
                    <a:pt x="0" y="4"/>
                  </a:lnTo>
                  <a:lnTo>
                    <a:pt x="0" y="0"/>
                  </a:lnTo>
                  <a:lnTo>
                    <a:pt x="3" y="0"/>
                  </a:lnTo>
                  <a:lnTo>
                    <a:pt x="26" y="0"/>
                  </a:lnTo>
                  <a:lnTo>
                    <a:pt x="29" y="0"/>
                  </a:lnTo>
                  <a:lnTo>
                    <a:pt x="29" y="4"/>
                  </a:lnTo>
                  <a:lnTo>
                    <a:pt x="29" y="7"/>
                  </a:lnTo>
                  <a:lnTo>
                    <a:pt x="2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89" name="Freeform 1234">
              <a:extLst>
                <a:ext uri="{FF2B5EF4-FFF2-40B4-BE49-F238E27FC236}">
                  <a16:creationId xmlns:a16="http://schemas.microsoft.com/office/drawing/2014/main" id="{C6E8F3DF-4CE5-024F-9720-ED4018B87743}"/>
                </a:ext>
              </a:extLst>
            </p:cNvPr>
            <p:cNvSpPr>
              <a:spLocks/>
            </p:cNvSpPr>
            <p:nvPr/>
          </p:nvSpPr>
          <p:spPr bwMode="auto">
            <a:xfrm>
              <a:off x="2072510" y="1285967"/>
              <a:ext cx="67449" cy="9928"/>
            </a:xfrm>
            <a:custGeom>
              <a:avLst/>
              <a:gdLst>
                <a:gd name="T0" fmla="*/ 2147483646 w 58"/>
                <a:gd name="T1" fmla="*/ 2147483646 h 10"/>
                <a:gd name="T2" fmla="*/ 0 w 58"/>
                <a:gd name="T3" fmla="*/ 2147483646 h 10"/>
                <a:gd name="T4" fmla="*/ 0 w 58"/>
                <a:gd name="T5" fmla="*/ 2147483646 h 10"/>
                <a:gd name="T6" fmla="*/ 0 w 58"/>
                <a:gd name="T7" fmla="*/ 2147483646 h 10"/>
                <a:gd name="T8" fmla="*/ 0 w 58"/>
                <a:gd name="T9" fmla="*/ 0 h 10"/>
                <a:gd name="T10" fmla="*/ 2147483646 w 58"/>
                <a:gd name="T11" fmla="*/ 0 h 10"/>
                <a:gd name="T12" fmla="*/ 2147483646 w 58"/>
                <a:gd name="T13" fmla="*/ 0 h 10"/>
                <a:gd name="T14" fmla="*/ 2147483646 w 58"/>
                <a:gd name="T15" fmla="*/ 0 h 10"/>
                <a:gd name="T16" fmla="*/ 2147483646 w 58"/>
                <a:gd name="T17" fmla="*/ 2147483646 h 10"/>
                <a:gd name="T18" fmla="*/ 2147483646 w 58"/>
                <a:gd name="T19" fmla="*/ 2147483646 h 10"/>
                <a:gd name="T20" fmla="*/ 2147483646 w 58"/>
                <a:gd name="T21" fmla="*/ 2147483646 h 10"/>
                <a:gd name="T22" fmla="*/ 2147483646 w 58"/>
                <a:gd name="T23" fmla="*/ 2147483646 h 10"/>
                <a:gd name="T24" fmla="*/ 2147483646 w 58"/>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10">
                  <a:moveTo>
                    <a:pt x="3" y="10"/>
                  </a:moveTo>
                  <a:lnTo>
                    <a:pt x="0" y="7"/>
                  </a:lnTo>
                  <a:lnTo>
                    <a:pt x="0" y="4"/>
                  </a:lnTo>
                  <a:lnTo>
                    <a:pt x="0" y="0"/>
                  </a:lnTo>
                  <a:lnTo>
                    <a:pt x="3" y="0"/>
                  </a:lnTo>
                  <a:lnTo>
                    <a:pt x="54" y="0"/>
                  </a:lnTo>
                  <a:lnTo>
                    <a:pt x="58" y="0"/>
                  </a:lnTo>
                  <a:lnTo>
                    <a:pt x="58" y="4"/>
                  </a:lnTo>
                  <a:lnTo>
                    <a:pt x="58" y="7"/>
                  </a:lnTo>
                  <a:lnTo>
                    <a:pt x="5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0" name="Freeform 1235">
              <a:extLst>
                <a:ext uri="{FF2B5EF4-FFF2-40B4-BE49-F238E27FC236}">
                  <a16:creationId xmlns:a16="http://schemas.microsoft.com/office/drawing/2014/main" id="{7AE7E084-3DB1-5D48-B0D8-E23A75D2CA1C}"/>
                </a:ext>
              </a:extLst>
            </p:cNvPr>
            <p:cNvSpPr>
              <a:spLocks/>
            </p:cNvSpPr>
            <p:nvPr/>
          </p:nvSpPr>
          <p:spPr bwMode="auto">
            <a:xfrm>
              <a:off x="2131819" y="1254196"/>
              <a:ext cx="11629" cy="38721"/>
            </a:xfrm>
            <a:custGeom>
              <a:avLst/>
              <a:gdLst>
                <a:gd name="T0" fmla="*/ 2147483646 w 10"/>
                <a:gd name="T1" fmla="*/ 2147483646 h 39"/>
                <a:gd name="T2" fmla="*/ 2147483646 w 10"/>
                <a:gd name="T3" fmla="*/ 2147483646 h 39"/>
                <a:gd name="T4" fmla="*/ 2147483646 w 10"/>
                <a:gd name="T5" fmla="*/ 2147483646 h 39"/>
                <a:gd name="T6" fmla="*/ 2147483646 w 10"/>
                <a:gd name="T7" fmla="*/ 2147483646 h 39"/>
                <a:gd name="T8" fmla="*/ 0 w 10"/>
                <a:gd name="T9" fmla="*/ 2147483646 h 39"/>
                <a:gd name="T10" fmla="*/ 0 w 10"/>
                <a:gd name="T11" fmla="*/ 2147483646 h 39"/>
                <a:gd name="T12" fmla="*/ 0 w 10"/>
                <a:gd name="T13" fmla="*/ 2147483646 h 39"/>
                <a:gd name="T14" fmla="*/ 0 w 10"/>
                <a:gd name="T15" fmla="*/ 0 h 39"/>
                <a:gd name="T16" fmla="*/ 2147483646 w 10"/>
                <a:gd name="T17" fmla="*/ 0 h 39"/>
                <a:gd name="T18" fmla="*/ 2147483646 w 10"/>
                <a:gd name="T19" fmla="*/ 0 h 39"/>
                <a:gd name="T20" fmla="*/ 2147483646 w 10"/>
                <a:gd name="T21" fmla="*/ 0 h 39"/>
                <a:gd name="T22" fmla="*/ 2147483646 w 10"/>
                <a:gd name="T23" fmla="*/ 2147483646 h 39"/>
                <a:gd name="T24" fmla="*/ 2147483646 w 10"/>
                <a:gd name="T25" fmla="*/ 2147483646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39">
                  <a:moveTo>
                    <a:pt x="10" y="36"/>
                  </a:moveTo>
                  <a:lnTo>
                    <a:pt x="7" y="39"/>
                  </a:lnTo>
                  <a:lnTo>
                    <a:pt x="3" y="39"/>
                  </a:lnTo>
                  <a:lnTo>
                    <a:pt x="0" y="39"/>
                  </a:lnTo>
                  <a:lnTo>
                    <a:pt x="0" y="36"/>
                  </a:lnTo>
                  <a:lnTo>
                    <a:pt x="0" y="3"/>
                  </a:lnTo>
                  <a:lnTo>
                    <a:pt x="0" y="0"/>
                  </a:lnTo>
                  <a:lnTo>
                    <a:pt x="3" y="0"/>
                  </a:lnTo>
                  <a:lnTo>
                    <a:pt x="7" y="0"/>
                  </a:lnTo>
                  <a:lnTo>
                    <a:pt x="10" y="3"/>
                  </a:lnTo>
                  <a:lnTo>
                    <a:pt x="10" y="36"/>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1" name="Freeform 1236">
              <a:extLst>
                <a:ext uri="{FF2B5EF4-FFF2-40B4-BE49-F238E27FC236}">
                  <a16:creationId xmlns:a16="http://schemas.microsoft.com/office/drawing/2014/main" id="{80290E11-7648-9040-9F19-EE6642261019}"/>
                </a:ext>
              </a:extLst>
            </p:cNvPr>
            <p:cNvSpPr>
              <a:spLocks/>
            </p:cNvSpPr>
            <p:nvPr/>
          </p:nvSpPr>
          <p:spPr bwMode="auto">
            <a:xfrm>
              <a:off x="2131819" y="1254196"/>
              <a:ext cx="48843" cy="9928"/>
            </a:xfrm>
            <a:custGeom>
              <a:avLst/>
              <a:gdLst>
                <a:gd name="T0" fmla="*/ 2147483646 w 42"/>
                <a:gd name="T1" fmla="*/ 2147483646 h 10"/>
                <a:gd name="T2" fmla="*/ 0 w 42"/>
                <a:gd name="T3" fmla="*/ 2147483646 h 10"/>
                <a:gd name="T4" fmla="*/ 0 w 42"/>
                <a:gd name="T5" fmla="*/ 2147483646 h 10"/>
                <a:gd name="T6" fmla="*/ 0 w 42"/>
                <a:gd name="T7" fmla="*/ 2147483646 h 10"/>
                <a:gd name="T8" fmla="*/ 0 w 42"/>
                <a:gd name="T9" fmla="*/ 0 h 10"/>
                <a:gd name="T10" fmla="*/ 2147483646 w 42"/>
                <a:gd name="T11" fmla="*/ 0 h 10"/>
                <a:gd name="T12" fmla="*/ 2147483646 w 42"/>
                <a:gd name="T13" fmla="*/ 0 h 10"/>
                <a:gd name="T14" fmla="*/ 2147483646 w 42"/>
                <a:gd name="T15" fmla="*/ 0 h 10"/>
                <a:gd name="T16" fmla="*/ 2147483646 w 42"/>
                <a:gd name="T17" fmla="*/ 2147483646 h 10"/>
                <a:gd name="T18" fmla="*/ 2147483646 w 42"/>
                <a:gd name="T19" fmla="*/ 2147483646 h 10"/>
                <a:gd name="T20" fmla="*/ 2147483646 w 42"/>
                <a:gd name="T21" fmla="*/ 2147483646 h 10"/>
                <a:gd name="T22" fmla="*/ 2147483646 w 42"/>
                <a:gd name="T23" fmla="*/ 2147483646 h 10"/>
                <a:gd name="T24" fmla="*/ 2147483646 w 42"/>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10">
                  <a:moveTo>
                    <a:pt x="3" y="10"/>
                  </a:moveTo>
                  <a:lnTo>
                    <a:pt x="0" y="7"/>
                  </a:lnTo>
                  <a:lnTo>
                    <a:pt x="0" y="3"/>
                  </a:lnTo>
                  <a:lnTo>
                    <a:pt x="0" y="0"/>
                  </a:lnTo>
                  <a:lnTo>
                    <a:pt x="3" y="0"/>
                  </a:lnTo>
                  <a:lnTo>
                    <a:pt x="39" y="0"/>
                  </a:lnTo>
                  <a:lnTo>
                    <a:pt x="42" y="0"/>
                  </a:lnTo>
                  <a:lnTo>
                    <a:pt x="42" y="3"/>
                  </a:lnTo>
                  <a:lnTo>
                    <a:pt x="42" y="7"/>
                  </a:lnTo>
                  <a:lnTo>
                    <a:pt x="3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2" name="Freeform 1237">
              <a:extLst>
                <a:ext uri="{FF2B5EF4-FFF2-40B4-BE49-F238E27FC236}">
                  <a16:creationId xmlns:a16="http://schemas.microsoft.com/office/drawing/2014/main" id="{10A80FAA-94EC-CF47-8577-918E8FB30827}"/>
                </a:ext>
              </a:extLst>
            </p:cNvPr>
            <p:cNvSpPr>
              <a:spLocks/>
            </p:cNvSpPr>
            <p:nvPr/>
          </p:nvSpPr>
          <p:spPr bwMode="auto">
            <a:xfrm>
              <a:off x="2173684" y="1254196"/>
              <a:ext cx="77916" cy="9928"/>
            </a:xfrm>
            <a:custGeom>
              <a:avLst/>
              <a:gdLst>
                <a:gd name="T0" fmla="*/ 2147483646 w 67"/>
                <a:gd name="T1" fmla="*/ 2147483646 h 10"/>
                <a:gd name="T2" fmla="*/ 0 w 67"/>
                <a:gd name="T3" fmla="*/ 2147483646 h 10"/>
                <a:gd name="T4" fmla="*/ 0 w 67"/>
                <a:gd name="T5" fmla="*/ 2147483646 h 10"/>
                <a:gd name="T6" fmla="*/ 0 w 67"/>
                <a:gd name="T7" fmla="*/ 2147483646 h 10"/>
                <a:gd name="T8" fmla="*/ 0 w 67"/>
                <a:gd name="T9" fmla="*/ 0 h 10"/>
                <a:gd name="T10" fmla="*/ 2147483646 w 67"/>
                <a:gd name="T11" fmla="*/ 0 h 10"/>
                <a:gd name="T12" fmla="*/ 2147483646 w 67"/>
                <a:gd name="T13" fmla="*/ 0 h 10"/>
                <a:gd name="T14" fmla="*/ 2147483646 w 67"/>
                <a:gd name="T15" fmla="*/ 0 h 10"/>
                <a:gd name="T16" fmla="*/ 2147483646 w 67"/>
                <a:gd name="T17" fmla="*/ 2147483646 h 10"/>
                <a:gd name="T18" fmla="*/ 2147483646 w 67"/>
                <a:gd name="T19" fmla="*/ 2147483646 h 10"/>
                <a:gd name="T20" fmla="*/ 2147483646 w 67"/>
                <a:gd name="T21" fmla="*/ 2147483646 h 10"/>
                <a:gd name="T22" fmla="*/ 2147483646 w 67"/>
                <a:gd name="T23" fmla="*/ 2147483646 h 10"/>
                <a:gd name="T24" fmla="*/ 2147483646 w 6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7" h="10">
                  <a:moveTo>
                    <a:pt x="3" y="10"/>
                  </a:moveTo>
                  <a:lnTo>
                    <a:pt x="0" y="7"/>
                  </a:lnTo>
                  <a:lnTo>
                    <a:pt x="0" y="3"/>
                  </a:lnTo>
                  <a:lnTo>
                    <a:pt x="0" y="0"/>
                  </a:lnTo>
                  <a:lnTo>
                    <a:pt x="3" y="0"/>
                  </a:lnTo>
                  <a:lnTo>
                    <a:pt x="64" y="0"/>
                  </a:lnTo>
                  <a:lnTo>
                    <a:pt x="67" y="0"/>
                  </a:lnTo>
                  <a:lnTo>
                    <a:pt x="67" y="3"/>
                  </a:lnTo>
                  <a:lnTo>
                    <a:pt x="67" y="7"/>
                  </a:lnTo>
                  <a:lnTo>
                    <a:pt x="6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3" name="Freeform 1238">
              <a:extLst>
                <a:ext uri="{FF2B5EF4-FFF2-40B4-BE49-F238E27FC236}">
                  <a16:creationId xmlns:a16="http://schemas.microsoft.com/office/drawing/2014/main" id="{383204AC-B4C5-3E4F-8EC7-79EA9F9E3BAF}"/>
                </a:ext>
              </a:extLst>
            </p:cNvPr>
            <p:cNvSpPr>
              <a:spLocks/>
            </p:cNvSpPr>
            <p:nvPr/>
          </p:nvSpPr>
          <p:spPr bwMode="auto">
            <a:xfrm>
              <a:off x="2244622" y="1254196"/>
              <a:ext cx="22096" cy="9928"/>
            </a:xfrm>
            <a:custGeom>
              <a:avLst/>
              <a:gdLst>
                <a:gd name="T0" fmla="*/ 2147483646 w 19"/>
                <a:gd name="T1" fmla="*/ 2147483646 h 10"/>
                <a:gd name="T2" fmla="*/ 0 w 19"/>
                <a:gd name="T3" fmla="*/ 2147483646 h 10"/>
                <a:gd name="T4" fmla="*/ 0 w 19"/>
                <a:gd name="T5" fmla="*/ 2147483646 h 10"/>
                <a:gd name="T6" fmla="*/ 0 w 19"/>
                <a:gd name="T7" fmla="*/ 2147483646 h 10"/>
                <a:gd name="T8" fmla="*/ 0 w 19"/>
                <a:gd name="T9" fmla="*/ 0 h 10"/>
                <a:gd name="T10" fmla="*/ 2147483646 w 19"/>
                <a:gd name="T11" fmla="*/ 0 h 10"/>
                <a:gd name="T12" fmla="*/ 2147483646 w 19"/>
                <a:gd name="T13" fmla="*/ 0 h 10"/>
                <a:gd name="T14" fmla="*/ 2147483646 w 19"/>
                <a:gd name="T15" fmla="*/ 0 h 10"/>
                <a:gd name="T16" fmla="*/ 2147483646 w 19"/>
                <a:gd name="T17" fmla="*/ 2147483646 h 10"/>
                <a:gd name="T18" fmla="*/ 2147483646 w 19"/>
                <a:gd name="T19" fmla="*/ 2147483646 h 10"/>
                <a:gd name="T20" fmla="*/ 2147483646 w 19"/>
                <a:gd name="T21" fmla="*/ 2147483646 h 10"/>
                <a:gd name="T22" fmla="*/ 2147483646 w 19"/>
                <a:gd name="T23" fmla="*/ 2147483646 h 10"/>
                <a:gd name="T24" fmla="*/ 2147483646 w 19"/>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0">
                  <a:moveTo>
                    <a:pt x="3" y="10"/>
                  </a:moveTo>
                  <a:lnTo>
                    <a:pt x="0" y="7"/>
                  </a:lnTo>
                  <a:lnTo>
                    <a:pt x="0" y="3"/>
                  </a:lnTo>
                  <a:lnTo>
                    <a:pt x="0" y="0"/>
                  </a:lnTo>
                  <a:lnTo>
                    <a:pt x="3" y="0"/>
                  </a:lnTo>
                  <a:lnTo>
                    <a:pt x="16" y="0"/>
                  </a:lnTo>
                  <a:lnTo>
                    <a:pt x="19" y="0"/>
                  </a:lnTo>
                  <a:lnTo>
                    <a:pt x="19" y="3"/>
                  </a:lnTo>
                  <a:lnTo>
                    <a:pt x="19" y="7"/>
                  </a:lnTo>
                  <a:lnTo>
                    <a:pt x="16"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4" name="Freeform 1239">
              <a:extLst>
                <a:ext uri="{FF2B5EF4-FFF2-40B4-BE49-F238E27FC236}">
                  <a16:creationId xmlns:a16="http://schemas.microsoft.com/office/drawing/2014/main" id="{E4AD0ECA-FDB2-5841-AF7D-6FD9B2FE3B55}"/>
                </a:ext>
              </a:extLst>
            </p:cNvPr>
            <p:cNvSpPr>
              <a:spLocks/>
            </p:cNvSpPr>
            <p:nvPr/>
          </p:nvSpPr>
          <p:spPr bwMode="auto">
            <a:xfrm>
              <a:off x="2259740" y="1254196"/>
              <a:ext cx="30236" cy="9928"/>
            </a:xfrm>
            <a:custGeom>
              <a:avLst/>
              <a:gdLst>
                <a:gd name="T0" fmla="*/ 2147483646 w 26"/>
                <a:gd name="T1" fmla="*/ 2147483646 h 10"/>
                <a:gd name="T2" fmla="*/ 0 w 26"/>
                <a:gd name="T3" fmla="*/ 2147483646 h 10"/>
                <a:gd name="T4" fmla="*/ 0 w 26"/>
                <a:gd name="T5" fmla="*/ 2147483646 h 10"/>
                <a:gd name="T6" fmla="*/ 0 w 26"/>
                <a:gd name="T7" fmla="*/ 2147483646 h 10"/>
                <a:gd name="T8" fmla="*/ 0 w 26"/>
                <a:gd name="T9" fmla="*/ 0 h 10"/>
                <a:gd name="T10" fmla="*/ 2147483646 w 26"/>
                <a:gd name="T11" fmla="*/ 0 h 10"/>
                <a:gd name="T12" fmla="*/ 2147483646 w 26"/>
                <a:gd name="T13" fmla="*/ 0 h 10"/>
                <a:gd name="T14" fmla="*/ 2147483646 w 26"/>
                <a:gd name="T15" fmla="*/ 0 h 10"/>
                <a:gd name="T16" fmla="*/ 2147483646 w 26"/>
                <a:gd name="T17" fmla="*/ 2147483646 h 10"/>
                <a:gd name="T18" fmla="*/ 2147483646 w 26"/>
                <a:gd name="T19" fmla="*/ 2147483646 h 10"/>
                <a:gd name="T20" fmla="*/ 2147483646 w 26"/>
                <a:gd name="T21" fmla="*/ 2147483646 h 10"/>
                <a:gd name="T22" fmla="*/ 2147483646 w 26"/>
                <a:gd name="T23" fmla="*/ 2147483646 h 10"/>
                <a:gd name="T24" fmla="*/ 2147483646 w 2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0">
                  <a:moveTo>
                    <a:pt x="3" y="10"/>
                  </a:moveTo>
                  <a:lnTo>
                    <a:pt x="0" y="7"/>
                  </a:lnTo>
                  <a:lnTo>
                    <a:pt x="0" y="3"/>
                  </a:lnTo>
                  <a:lnTo>
                    <a:pt x="0" y="0"/>
                  </a:lnTo>
                  <a:lnTo>
                    <a:pt x="3" y="0"/>
                  </a:lnTo>
                  <a:lnTo>
                    <a:pt x="22" y="0"/>
                  </a:lnTo>
                  <a:lnTo>
                    <a:pt x="26" y="0"/>
                  </a:lnTo>
                  <a:lnTo>
                    <a:pt x="26" y="3"/>
                  </a:lnTo>
                  <a:lnTo>
                    <a:pt x="26" y="7"/>
                  </a:lnTo>
                  <a:lnTo>
                    <a:pt x="2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5" name="Freeform 1240">
              <a:extLst>
                <a:ext uri="{FF2B5EF4-FFF2-40B4-BE49-F238E27FC236}">
                  <a16:creationId xmlns:a16="http://schemas.microsoft.com/office/drawing/2014/main" id="{26E27D25-1070-2C43-9153-AAB437E87359}"/>
                </a:ext>
              </a:extLst>
            </p:cNvPr>
            <p:cNvSpPr>
              <a:spLocks/>
            </p:cNvSpPr>
            <p:nvPr/>
          </p:nvSpPr>
          <p:spPr bwMode="auto">
            <a:xfrm>
              <a:off x="2281836" y="1209518"/>
              <a:ext cx="11629" cy="51628"/>
            </a:xfrm>
            <a:custGeom>
              <a:avLst/>
              <a:gdLst>
                <a:gd name="T0" fmla="*/ 2147483646 w 10"/>
                <a:gd name="T1" fmla="*/ 2147483646 h 52"/>
                <a:gd name="T2" fmla="*/ 2147483646 w 10"/>
                <a:gd name="T3" fmla="*/ 2147483646 h 52"/>
                <a:gd name="T4" fmla="*/ 2147483646 w 10"/>
                <a:gd name="T5" fmla="*/ 2147483646 h 52"/>
                <a:gd name="T6" fmla="*/ 2147483646 w 10"/>
                <a:gd name="T7" fmla="*/ 2147483646 h 52"/>
                <a:gd name="T8" fmla="*/ 0 w 10"/>
                <a:gd name="T9" fmla="*/ 2147483646 h 52"/>
                <a:gd name="T10" fmla="*/ 0 w 10"/>
                <a:gd name="T11" fmla="*/ 2147483646 h 52"/>
                <a:gd name="T12" fmla="*/ 0 w 10"/>
                <a:gd name="T13" fmla="*/ 2147483646 h 52"/>
                <a:gd name="T14" fmla="*/ 0 w 10"/>
                <a:gd name="T15" fmla="*/ 0 h 52"/>
                <a:gd name="T16" fmla="*/ 2147483646 w 10"/>
                <a:gd name="T17" fmla="*/ 0 h 52"/>
                <a:gd name="T18" fmla="*/ 2147483646 w 10"/>
                <a:gd name="T19" fmla="*/ 0 h 52"/>
                <a:gd name="T20" fmla="*/ 2147483646 w 10"/>
                <a:gd name="T21" fmla="*/ 0 h 52"/>
                <a:gd name="T22" fmla="*/ 2147483646 w 10"/>
                <a:gd name="T23" fmla="*/ 2147483646 h 52"/>
                <a:gd name="T24" fmla="*/ 2147483646 w 10"/>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52">
                  <a:moveTo>
                    <a:pt x="10" y="48"/>
                  </a:moveTo>
                  <a:lnTo>
                    <a:pt x="7" y="52"/>
                  </a:lnTo>
                  <a:lnTo>
                    <a:pt x="3" y="52"/>
                  </a:lnTo>
                  <a:lnTo>
                    <a:pt x="0" y="52"/>
                  </a:lnTo>
                  <a:lnTo>
                    <a:pt x="0" y="48"/>
                  </a:lnTo>
                  <a:lnTo>
                    <a:pt x="0" y="3"/>
                  </a:lnTo>
                  <a:lnTo>
                    <a:pt x="0" y="0"/>
                  </a:lnTo>
                  <a:lnTo>
                    <a:pt x="3" y="0"/>
                  </a:lnTo>
                  <a:lnTo>
                    <a:pt x="7" y="0"/>
                  </a:lnTo>
                  <a:lnTo>
                    <a:pt x="10" y="3"/>
                  </a:lnTo>
                  <a:lnTo>
                    <a:pt x="10" y="48"/>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6" name="Freeform 1241">
              <a:extLst>
                <a:ext uri="{FF2B5EF4-FFF2-40B4-BE49-F238E27FC236}">
                  <a16:creationId xmlns:a16="http://schemas.microsoft.com/office/drawing/2014/main" id="{20887C77-1FAE-3D44-9E25-B5798975C93E}"/>
                </a:ext>
              </a:extLst>
            </p:cNvPr>
            <p:cNvSpPr>
              <a:spLocks/>
            </p:cNvSpPr>
            <p:nvPr/>
          </p:nvSpPr>
          <p:spPr bwMode="auto">
            <a:xfrm>
              <a:off x="2281836" y="1209518"/>
              <a:ext cx="143040" cy="9928"/>
            </a:xfrm>
            <a:custGeom>
              <a:avLst/>
              <a:gdLst>
                <a:gd name="T0" fmla="*/ 2147483646 w 123"/>
                <a:gd name="T1" fmla="*/ 2147483646 h 10"/>
                <a:gd name="T2" fmla="*/ 0 w 123"/>
                <a:gd name="T3" fmla="*/ 2147483646 h 10"/>
                <a:gd name="T4" fmla="*/ 0 w 123"/>
                <a:gd name="T5" fmla="*/ 2147483646 h 10"/>
                <a:gd name="T6" fmla="*/ 0 w 123"/>
                <a:gd name="T7" fmla="*/ 2147483646 h 10"/>
                <a:gd name="T8" fmla="*/ 0 w 123"/>
                <a:gd name="T9" fmla="*/ 0 h 10"/>
                <a:gd name="T10" fmla="*/ 2147483646 w 123"/>
                <a:gd name="T11" fmla="*/ 0 h 10"/>
                <a:gd name="T12" fmla="*/ 2147483646 w 123"/>
                <a:gd name="T13" fmla="*/ 0 h 10"/>
                <a:gd name="T14" fmla="*/ 2147483646 w 123"/>
                <a:gd name="T15" fmla="*/ 0 h 10"/>
                <a:gd name="T16" fmla="*/ 2147483646 w 123"/>
                <a:gd name="T17" fmla="*/ 2147483646 h 10"/>
                <a:gd name="T18" fmla="*/ 2147483646 w 123"/>
                <a:gd name="T19" fmla="*/ 2147483646 h 10"/>
                <a:gd name="T20" fmla="*/ 2147483646 w 123"/>
                <a:gd name="T21" fmla="*/ 2147483646 h 10"/>
                <a:gd name="T22" fmla="*/ 2147483646 w 123"/>
                <a:gd name="T23" fmla="*/ 2147483646 h 10"/>
                <a:gd name="T24" fmla="*/ 2147483646 w 123"/>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3" h="10">
                  <a:moveTo>
                    <a:pt x="3" y="10"/>
                  </a:moveTo>
                  <a:lnTo>
                    <a:pt x="0" y="6"/>
                  </a:lnTo>
                  <a:lnTo>
                    <a:pt x="0" y="3"/>
                  </a:lnTo>
                  <a:lnTo>
                    <a:pt x="0" y="0"/>
                  </a:lnTo>
                  <a:lnTo>
                    <a:pt x="3" y="0"/>
                  </a:lnTo>
                  <a:lnTo>
                    <a:pt x="119" y="0"/>
                  </a:lnTo>
                  <a:lnTo>
                    <a:pt x="123" y="0"/>
                  </a:lnTo>
                  <a:lnTo>
                    <a:pt x="123" y="3"/>
                  </a:lnTo>
                  <a:lnTo>
                    <a:pt x="123" y="6"/>
                  </a:lnTo>
                  <a:lnTo>
                    <a:pt x="119"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7" name="Freeform 1242">
              <a:extLst>
                <a:ext uri="{FF2B5EF4-FFF2-40B4-BE49-F238E27FC236}">
                  <a16:creationId xmlns:a16="http://schemas.microsoft.com/office/drawing/2014/main" id="{6CDA30B6-0770-384C-9625-9C6F27C8B8AB}"/>
                </a:ext>
              </a:extLst>
            </p:cNvPr>
            <p:cNvSpPr>
              <a:spLocks/>
            </p:cNvSpPr>
            <p:nvPr/>
          </p:nvSpPr>
          <p:spPr bwMode="auto">
            <a:xfrm>
              <a:off x="2416734" y="1161861"/>
              <a:ext cx="11629" cy="53614"/>
            </a:xfrm>
            <a:custGeom>
              <a:avLst/>
              <a:gdLst>
                <a:gd name="T0" fmla="*/ 2147483646 w 10"/>
                <a:gd name="T1" fmla="*/ 2147483646 h 54"/>
                <a:gd name="T2" fmla="*/ 2147483646 w 10"/>
                <a:gd name="T3" fmla="*/ 2147483646 h 54"/>
                <a:gd name="T4" fmla="*/ 2147483646 w 10"/>
                <a:gd name="T5" fmla="*/ 2147483646 h 54"/>
                <a:gd name="T6" fmla="*/ 2147483646 w 10"/>
                <a:gd name="T7" fmla="*/ 2147483646 h 54"/>
                <a:gd name="T8" fmla="*/ 0 w 10"/>
                <a:gd name="T9" fmla="*/ 2147483646 h 54"/>
                <a:gd name="T10" fmla="*/ 0 w 10"/>
                <a:gd name="T11" fmla="*/ 2147483646 h 54"/>
                <a:gd name="T12" fmla="*/ 0 w 10"/>
                <a:gd name="T13" fmla="*/ 2147483646 h 54"/>
                <a:gd name="T14" fmla="*/ 0 w 10"/>
                <a:gd name="T15" fmla="*/ 0 h 54"/>
                <a:gd name="T16" fmla="*/ 2147483646 w 10"/>
                <a:gd name="T17" fmla="*/ 0 h 54"/>
                <a:gd name="T18" fmla="*/ 2147483646 w 10"/>
                <a:gd name="T19" fmla="*/ 0 h 54"/>
                <a:gd name="T20" fmla="*/ 2147483646 w 10"/>
                <a:gd name="T21" fmla="*/ 0 h 54"/>
                <a:gd name="T22" fmla="*/ 2147483646 w 10"/>
                <a:gd name="T23" fmla="*/ 2147483646 h 54"/>
                <a:gd name="T24" fmla="*/ 2147483646 w 10"/>
                <a:gd name="T25" fmla="*/ 2147483646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54">
                  <a:moveTo>
                    <a:pt x="10" y="51"/>
                  </a:moveTo>
                  <a:lnTo>
                    <a:pt x="7" y="54"/>
                  </a:lnTo>
                  <a:lnTo>
                    <a:pt x="3" y="54"/>
                  </a:lnTo>
                  <a:lnTo>
                    <a:pt x="0" y="54"/>
                  </a:lnTo>
                  <a:lnTo>
                    <a:pt x="0" y="51"/>
                  </a:lnTo>
                  <a:lnTo>
                    <a:pt x="0" y="3"/>
                  </a:lnTo>
                  <a:lnTo>
                    <a:pt x="0" y="0"/>
                  </a:lnTo>
                  <a:lnTo>
                    <a:pt x="3" y="0"/>
                  </a:lnTo>
                  <a:lnTo>
                    <a:pt x="7" y="0"/>
                  </a:lnTo>
                  <a:lnTo>
                    <a:pt x="10" y="3"/>
                  </a:lnTo>
                  <a:lnTo>
                    <a:pt x="10" y="51"/>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8" name="Freeform 1243">
              <a:extLst>
                <a:ext uri="{FF2B5EF4-FFF2-40B4-BE49-F238E27FC236}">
                  <a16:creationId xmlns:a16="http://schemas.microsoft.com/office/drawing/2014/main" id="{8B067957-1E53-C848-B540-114227DB0E9B}"/>
                </a:ext>
              </a:extLst>
            </p:cNvPr>
            <p:cNvSpPr>
              <a:spLocks/>
            </p:cNvSpPr>
            <p:nvPr/>
          </p:nvSpPr>
          <p:spPr bwMode="auto">
            <a:xfrm>
              <a:off x="2416734" y="1161861"/>
              <a:ext cx="104663" cy="8936"/>
            </a:xfrm>
            <a:custGeom>
              <a:avLst/>
              <a:gdLst>
                <a:gd name="T0" fmla="*/ 2147483646 w 90"/>
                <a:gd name="T1" fmla="*/ 2147483646 h 9"/>
                <a:gd name="T2" fmla="*/ 0 w 90"/>
                <a:gd name="T3" fmla="*/ 2147483646 h 9"/>
                <a:gd name="T4" fmla="*/ 0 w 90"/>
                <a:gd name="T5" fmla="*/ 2147483646 h 9"/>
                <a:gd name="T6" fmla="*/ 0 w 90"/>
                <a:gd name="T7" fmla="*/ 2147483646 h 9"/>
                <a:gd name="T8" fmla="*/ 0 w 90"/>
                <a:gd name="T9" fmla="*/ 0 h 9"/>
                <a:gd name="T10" fmla="*/ 2147483646 w 90"/>
                <a:gd name="T11" fmla="*/ 0 h 9"/>
                <a:gd name="T12" fmla="*/ 2147483646 w 90"/>
                <a:gd name="T13" fmla="*/ 0 h 9"/>
                <a:gd name="T14" fmla="*/ 2147483646 w 90"/>
                <a:gd name="T15" fmla="*/ 0 h 9"/>
                <a:gd name="T16" fmla="*/ 2147483646 w 90"/>
                <a:gd name="T17" fmla="*/ 2147483646 h 9"/>
                <a:gd name="T18" fmla="*/ 2147483646 w 90"/>
                <a:gd name="T19" fmla="*/ 2147483646 h 9"/>
                <a:gd name="T20" fmla="*/ 2147483646 w 90"/>
                <a:gd name="T21" fmla="*/ 2147483646 h 9"/>
                <a:gd name="T22" fmla="*/ 2147483646 w 90"/>
                <a:gd name="T23" fmla="*/ 2147483646 h 9"/>
                <a:gd name="T24" fmla="*/ 2147483646 w 90"/>
                <a:gd name="T25" fmla="*/ 2147483646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9">
                  <a:moveTo>
                    <a:pt x="3" y="9"/>
                  </a:moveTo>
                  <a:lnTo>
                    <a:pt x="0" y="6"/>
                  </a:lnTo>
                  <a:lnTo>
                    <a:pt x="0" y="3"/>
                  </a:lnTo>
                  <a:lnTo>
                    <a:pt x="0" y="0"/>
                  </a:lnTo>
                  <a:lnTo>
                    <a:pt x="3" y="0"/>
                  </a:lnTo>
                  <a:lnTo>
                    <a:pt x="87" y="0"/>
                  </a:lnTo>
                  <a:lnTo>
                    <a:pt x="90" y="0"/>
                  </a:lnTo>
                  <a:lnTo>
                    <a:pt x="90" y="3"/>
                  </a:lnTo>
                  <a:lnTo>
                    <a:pt x="90" y="6"/>
                  </a:lnTo>
                  <a:lnTo>
                    <a:pt x="87" y="9"/>
                  </a:lnTo>
                  <a:lnTo>
                    <a:pt x="3" y="9"/>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199" name="Freeform 1244">
              <a:extLst>
                <a:ext uri="{FF2B5EF4-FFF2-40B4-BE49-F238E27FC236}">
                  <a16:creationId xmlns:a16="http://schemas.microsoft.com/office/drawing/2014/main" id="{072294DC-5517-0A4F-8B6C-DD3526AA9265}"/>
                </a:ext>
              </a:extLst>
            </p:cNvPr>
            <p:cNvSpPr>
              <a:spLocks/>
            </p:cNvSpPr>
            <p:nvPr/>
          </p:nvSpPr>
          <p:spPr bwMode="auto">
            <a:xfrm>
              <a:off x="2514420" y="1103284"/>
              <a:ext cx="11629" cy="64535"/>
            </a:xfrm>
            <a:custGeom>
              <a:avLst/>
              <a:gdLst>
                <a:gd name="T0" fmla="*/ 2147483646 w 10"/>
                <a:gd name="T1" fmla="*/ 2147483646 h 65"/>
                <a:gd name="T2" fmla="*/ 2147483646 w 10"/>
                <a:gd name="T3" fmla="*/ 2147483646 h 65"/>
                <a:gd name="T4" fmla="*/ 2147483646 w 10"/>
                <a:gd name="T5" fmla="*/ 2147483646 h 65"/>
                <a:gd name="T6" fmla="*/ 2147483646 w 10"/>
                <a:gd name="T7" fmla="*/ 2147483646 h 65"/>
                <a:gd name="T8" fmla="*/ 0 w 10"/>
                <a:gd name="T9" fmla="*/ 2147483646 h 65"/>
                <a:gd name="T10" fmla="*/ 0 w 10"/>
                <a:gd name="T11" fmla="*/ 2147483646 h 65"/>
                <a:gd name="T12" fmla="*/ 0 w 10"/>
                <a:gd name="T13" fmla="*/ 2147483646 h 65"/>
                <a:gd name="T14" fmla="*/ 0 w 10"/>
                <a:gd name="T15" fmla="*/ 0 h 65"/>
                <a:gd name="T16" fmla="*/ 2147483646 w 10"/>
                <a:gd name="T17" fmla="*/ 0 h 65"/>
                <a:gd name="T18" fmla="*/ 2147483646 w 10"/>
                <a:gd name="T19" fmla="*/ 0 h 65"/>
                <a:gd name="T20" fmla="*/ 2147483646 w 10"/>
                <a:gd name="T21" fmla="*/ 0 h 65"/>
                <a:gd name="T22" fmla="*/ 2147483646 w 10"/>
                <a:gd name="T23" fmla="*/ 2147483646 h 65"/>
                <a:gd name="T24" fmla="*/ 2147483646 w 10"/>
                <a:gd name="T25" fmla="*/ 2147483646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65">
                  <a:moveTo>
                    <a:pt x="10" y="62"/>
                  </a:moveTo>
                  <a:lnTo>
                    <a:pt x="6" y="65"/>
                  </a:lnTo>
                  <a:lnTo>
                    <a:pt x="3" y="65"/>
                  </a:lnTo>
                  <a:lnTo>
                    <a:pt x="0" y="65"/>
                  </a:lnTo>
                  <a:lnTo>
                    <a:pt x="0" y="62"/>
                  </a:lnTo>
                  <a:lnTo>
                    <a:pt x="0" y="4"/>
                  </a:lnTo>
                  <a:lnTo>
                    <a:pt x="0" y="0"/>
                  </a:lnTo>
                  <a:lnTo>
                    <a:pt x="3" y="0"/>
                  </a:lnTo>
                  <a:lnTo>
                    <a:pt x="6" y="0"/>
                  </a:lnTo>
                  <a:lnTo>
                    <a:pt x="10" y="4"/>
                  </a:lnTo>
                  <a:lnTo>
                    <a:pt x="10" y="62"/>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0" name="Freeform 1245">
              <a:extLst>
                <a:ext uri="{FF2B5EF4-FFF2-40B4-BE49-F238E27FC236}">
                  <a16:creationId xmlns:a16="http://schemas.microsoft.com/office/drawing/2014/main" id="{7EE2F462-BD58-4B4D-A304-F3A06B146B54}"/>
                </a:ext>
              </a:extLst>
            </p:cNvPr>
            <p:cNvSpPr>
              <a:spLocks/>
            </p:cNvSpPr>
            <p:nvPr/>
          </p:nvSpPr>
          <p:spPr bwMode="auto">
            <a:xfrm>
              <a:off x="2514420" y="1103284"/>
              <a:ext cx="40703" cy="9928"/>
            </a:xfrm>
            <a:custGeom>
              <a:avLst/>
              <a:gdLst>
                <a:gd name="T0" fmla="*/ 2147483646 w 35"/>
                <a:gd name="T1" fmla="*/ 2147483646 h 10"/>
                <a:gd name="T2" fmla="*/ 0 w 35"/>
                <a:gd name="T3" fmla="*/ 2147483646 h 10"/>
                <a:gd name="T4" fmla="*/ 0 w 35"/>
                <a:gd name="T5" fmla="*/ 2147483646 h 10"/>
                <a:gd name="T6" fmla="*/ 0 w 35"/>
                <a:gd name="T7" fmla="*/ 2147483646 h 10"/>
                <a:gd name="T8" fmla="*/ 0 w 35"/>
                <a:gd name="T9" fmla="*/ 0 h 10"/>
                <a:gd name="T10" fmla="*/ 2147483646 w 35"/>
                <a:gd name="T11" fmla="*/ 0 h 10"/>
                <a:gd name="T12" fmla="*/ 2147483646 w 35"/>
                <a:gd name="T13" fmla="*/ 0 h 10"/>
                <a:gd name="T14" fmla="*/ 2147483646 w 35"/>
                <a:gd name="T15" fmla="*/ 0 h 10"/>
                <a:gd name="T16" fmla="*/ 2147483646 w 35"/>
                <a:gd name="T17" fmla="*/ 2147483646 h 10"/>
                <a:gd name="T18" fmla="*/ 2147483646 w 35"/>
                <a:gd name="T19" fmla="*/ 2147483646 h 10"/>
                <a:gd name="T20" fmla="*/ 2147483646 w 35"/>
                <a:gd name="T21" fmla="*/ 2147483646 h 10"/>
                <a:gd name="T22" fmla="*/ 2147483646 w 35"/>
                <a:gd name="T23" fmla="*/ 2147483646 h 10"/>
                <a:gd name="T24" fmla="*/ 2147483646 w 35"/>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10">
                  <a:moveTo>
                    <a:pt x="3" y="10"/>
                  </a:moveTo>
                  <a:lnTo>
                    <a:pt x="0" y="7"/>
                  </a:lnTo>
                  <a:lnTo>
                    <a:pt x="0" y="4"/>
                  </a:lnTo>
                  <a:lnTo>
                    <a:pt x="0" y="0"/>
                  </a:lnTo>
                  <a:lnTo>
                    <a:pt x="3" y="0"/>
                  </a:lnTo>
                  <a:lnTo>
                    <a:pt x="32" y="0"/>
                  </a:lnTo>
                  <a:lnTo>
                    <a:pt x="35" y="0"/>
                  </a:lnTo>
                  <a:lnTo>
                    <a:pt x="35" y="4"/>
                  </a:lnTo>
                  <a:lnTo>
                    <a:pt x="35" y="7"/>
                  </a:lnTo>
                  <a:lnTo>
                    <a:pt x="32"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1" name="Freeform 1246">
              <a:extLst>
                <a:ext uri="{FF2B5EF4-FFF2-40B4-BE49-F238E27FC236}">
                  <a16:creationId xmlns:a16="http://schemas.microsoft.com/office/drawing/2014/main" id="{1F459DFA-A032-9A42-AA38-E9D62BC71720}"/>
                </a:ext>
              </a:extLst>
            </p:cNvPr>
            <p:cNvSpPr>
              <a:spLocks/>
            </p:cNvSpPr>
            <p:nvPr/>
          </p:nvSpPr>
          <p:spPr bwMode="auto">
            <a:xfrm>
              <a:off x="2548145" y="1103284"/>
              <a:ext cx="205837" cy="9928"/>
            </a:xfrm>
            <a:custGeom>
              <a:avLst/>
              <a:gdLst>
                <a:gd name="T0" fmla="*/ 2147483646 w 177"/>
                <a:gd name="T1" fmla="*/ 2147483646 h 10"/>
                <a:gd name="T2" fmla="*/ 0 w 177"/>
                <a:gd name="T3" fmla="*/ 2147483646 h 10"/>
                <a:gd name="T4" fmla="*/ 0 w 177"/>
                <a:gd name="T5" fmla="*/ 2147483646 h 10"/>
                <a:gd name="T6" fmla="*/ 0 w 177"/>
                <a:gd name="T7" fmla="*/ 2147483646 h 10"/>
                <a:gd name="T8" fmla="*/ 0 w 177"/>
                <a:gd name="T9" fmla="*/ 0 h 10"/>
                <a:gd name="T10" fmla="*/ 2147483646 w 177"/>
                <a:gd name="T11" fmla="*/ 0 h 10"/>
                <a:gd name="T12" fmla="*/ 2147483646 w 177"/>
                <a:gd name="T13" fmla="*/ 0 h 10"/>
                <a:gd name="T14" fmla="*/ 2147483646 w 177"/>
                <a:gd name="T15" fmla="*/ 0 h 10"/>
                <a:gd name="T16" fmla="*/ 2147483646 w 177"/>
                <a:gd name="T17" fmla="*/ 2147483646 h 10"/>
                <a:gd name="T18" fmla="*/ 2147483646 w 177"/>
                <a:gd name="T19" fmla="*/ 2147483646 h 10"/>
                <a:gd name="T20" fmla="*/ 2147483646 w 177"/>
                <a:gd name="T21" fmla="*/ 2147483646 h 10"/>
                <a:gd name="T22" fmla="*/ 2147483646 w 177"/>
                <a:gd name="T23" fmla="*/ 2147483646 h 10"/>
                <a:gd name="T24" fmla="*/ 2147483646 w 177"/>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7" h="10">
                  <a:moveTo>
                    <a:pt x="3" y="10"/>
                  </a:moveTo>
                  <a:lnTo>
                    <a:pt x="0" y="7"/>
                  </a:lnTo>
                  <a:lnTo>
                    <a:pt x="0" y="4"/>
                  </a:lnTo>
                  <a:lnTo>
                    <a:pt x="0" y="0"/>
                  </a:lnTo>
                  <a:lnTo>
                    <a:pt x="3" y="0"/>
                  </a:lnTo>
                  <a:lnTo>
                    <a:pt x="174" y="0"/>
                  </a:lnTo>
                  <a:lnTo>
                    <a:pt x="177" y="0"/>
                  </a:lnTo>
                  <a:lnTo>
                    <a:pt x="177" y="4"/>
                  </a:lnTo>
                  <a:lnTo>
                    <a:pt x="177" y="7"/>
                  </a:lnTo>
                  <a:lnTo>
                    <a:pt x="174"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2" name="Freeform 1247">
              <a:extLst>
                <a:ext uri="{FF2B5EF4-FFF2-40B4-BE49-F238E27FC236}">
                  <a16:creationId xmlns:a16="http://schemas.microsoft.com/office/drawing/2014/main" id="{E1534206-3FB4-2040-A718-2BE59A3D12BF}"/>
                </a:ext>
              </a:extLst>
            </p:cNvPr>
            <p:cNvSpPr>
              <a:spLocks/>
            </p:cNvSpPr>
            <p:nvPr/>
          </p:nvSpPr>
          <p:spPr bwMode="auto">
            <a:xfrm>
              <a:off x="2747004" y="1103284"/>
              <a:ext cx="18607" cy="9928"/>
            </a:xfrm>
            <a:custGeom>
              <a:avLst/>
              <a:gdLst>
                <a:gd name="T0" fmla="*/ 2147483646 w 16"/>
                <a:gd name="T1" fmla="*/ 2147483646 h 10"/>
                <a:gd name="T2" fmla="*/ 0 w 16"/>
                <a:gd name="T3" fmla="*/ 2147483646 h 10"/>
                <a:gd name="T4" fmla="*/ 0 w 16"/>
                <a:gd name="T5" fmla="*/ 2147483646 h 10"/>
                <a:gd name="T6" fmla="*/ 0 w 16"/>
                <a:gd name="T7" fmla="*/ 2147483646 h 10"/>
                <a:gd name="T8" fmla="*/ 0 w 16"/>
                <a:gd name="T9" fmla="*/ 0 h 10"/>
                <a:gd name="T10" fmla="*/ 2147483646 w 16"/>
                <a:gd name="T11" fmla="*/ 0 h 10"/>
                <a:gd name="T12" fmla="*/ 2147483646 w 16"/>
                <a:gd name="T13" fmla="*/ 0 h 10"/>
                <a:gd name="T14" fmla="*/ 2147483646 w 16"/>
                <a:gd name="T15" fmla="*/ 0 h 10"/>
                <a:gd name="T16" fmla="*/ 2147483646 w 16"/>
                <a:gd name="T17" fmla="*/ 2147483646 h 10"/>
                <a:gd name="T18" fmla="*/ 2147483646 w 16"/>
                <a:gd name="T19" fmla="*/ 2147483646 h 10"/>
                <a:gd name="T20" fmla="*/ 2147483646 w 16"/>
                <a:gd name="T21" fmla="*/ 2147483646 h 10"/>
                <a:gd name="T22" fmla="*/ 2147483646 w 16"/>
                <a:gd name="T23" fmla="*/ 2147483646 h 10"/>
                <a:gd name="T24" fmla="*/ 2147483646 w 16"/>
                <a:gd name="T25" fmla="*/ 214748364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0">
                  <a:moveTo>
                    <a:pt x="3" y="10"/>
                  </a:moveTo>
                  <a:lnTo>
                    <a:pt x="0" y="7"/>
                  </a:lnTo>
                  <a:lnTo>
                    <a:pt x="0" y="4"/>
                  </a:lnTo>
                  <a:lnTo>
                    <a:pt x="0" y="0"/>
                  </a:lnTo>
                  <a:lnTo>
                    <a:pt x="3" y="0"/>
                  </a:lnTo>
                  <a:lnTo>
                    <a:pt x="13" y="0"/>
                  </a:lnTo>
                  <a:lnTo>
                    <a:pt x="16" y="0"/>
                  </a:lnTo>
                  <a:lnTo>
                    <a:pt x="16" y="4"/>
                  </a:lnTo>
                  <a:lnTo>
                    <a:pt x="16" y="7"/>
                  </a:lnTo>
                  <a:lnTo>
                    <a:pt x="13" y="10"/>
                  </a:lnTo>
                  <a:lnTo>
                    <a:pt x="3" y="10"/>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3" name="Freeform 1248">
              <a:extLst>
                <a:ext uri="{FF2B5EF4-FFF2-40B4-BE49-F238E27FC236}">
                  <a16:creationId xmlns:a16="http://schemas.microsoft.com/office/drawing/2014/main" id="{27029CE3-2CCA-4647-9899-72D9DF06E95A}"/>
                </a:ext>
              </a:extLst>
            </p:cNvPr>
            <p:cNvSpPr>
              <a:spLocks/>
            </p:cNvSpPr>
            <p:nvPr/>
          </p:nvSpPr>
          <p:spPr bwMode="auto">
            <a:xfrm>
              <a:off x="2757471" y="933507"/>
              <a:ext cx="11629" cy="176726"/>
            </a:xfrm>
            <a:custGeom>
              <a:avLst/>
              <a:gdLst>
                <a:gd name="T0" fmla="*/ 2147483646 w 10"/>
                <a:gd name="T1" fmla="*/ 2147483646 h 178"/>
                <a:gd name="T2" fmla="*/ 2147483646 w 10"/>
                <a:gd name="T3" fmla="*/ 2147483646 h 178"/>
                <a:gd name="T4" fmla="*/ 2147483646 w 10"/>
                <a:gd name="T5" fmla="*/ 2147483646 h 178"/>
                <a:gd name="T6" fmla="*/ 2147483646 w 10"/>
                <a:gd name="T7" fmla="*/ 2147483646 h 178"/>
                <a:gd name="T8" fmla="*/ 0 w 10"/>
                <a:gd name="T9" fmla="*/ 2147483646 h 178"/>
                <a:gd name="T10" fmla="*/ 0 w 10"/>
                <a:gd name="T11" fmla="*/ 2147483646 h 178"/>
                <a:gd name="T12" fmla="*/ 0 w 10"/>
                <a:gd name="T13" fmla="*/ 2147483646 h 178"/>
                <a:gd name="T14" fmla="*/ 0 w 10"/>
                <a:gd name="T15" fmla="*/ 0 h 178"/>
                <a:gd name="T16" fmla="*/ 2147483646 w 10"/>
                <a:gd name="T17" fmla="*/ 0 h 178"/>
                <a:gd name="T18" fmla="*/ 2147483646 w 10"/>
                <a:gd name="T19" fmla="*/ 0 h 178"/>
                <a:gd name="T20" fmla="*/ 2147483646 w 10"/>
                <a:gd name="T21" fmla="*/ 0 h 178"/>
                <a:gd name="T22" fmla="*/ 2147483646 w 10"/>
                <a:gd name="T23" fmla="*/ 2147483646 h 178"/>
                <a:gd name="T24" fmla="*/ 2147483646 w 10"/>
                <a:gd name="T25" fmla="*/ 2147483646 h 1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 h="178">
                  <a:moveTo>
                    <a:pt x="10" y="175"/>
                  </a:moveTo>
                  <a:lnTo>
                    <a:pt x="7" y="178"/>
                  </a:lnTo>
                  <a:lnTo>
                    <a:pt x="4" y="178"/>
                  </a:lnTo>
                  <a:lnTo>
                    <a:pt x="0" y="178"/>
                  </a:lnTo>
                  <a:lnTo>
                    <a:pt x="0" y="175"/>
                  </a:lnTo>
                  <a:lnTo>
                    <a:pt x="0" y="4"/>
                  </a:lnTo>
                  <a:lnTo>
                    <a:pt x="0" y="0"/>
                  </a:lnTo>
                  <a:lnTo>
                    <a:pt x="4" y="0"/>
                  </a:lnTo>
                  <a:lnTo>
                    <a:pt x="7" y="0"/>
                  </a:lnTo>
                  <a:lnTo>
                    <a:pt x="10" y="4"/>
                  </a:lnTo>
                  <a:lnTo>
                    <a:pt x="10" y="175"/>
                  </a:lnTo>
                  <a:close/>
                </a:path>
              </a:pathLst>
            </a:custGeom>
            <a:solidFill>
              <a:srgbClr val="FFD70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69204" name="Freeform 1249">
              <a:extLst>
                <a:ext uri="{FF2B5EF4-FFF2-40B4-BE49-F238E27FC236}">
                  <a16:creationId xmlns:a16="http://schemas.microsoft.com/office/drawing/2014/main" id="{6E35388A-68B7-5B4C-AF5F-5F7FA9E3EF5E}"/>
                </a:ext>
              </a:extLst>
            </p:cNvPr>
            <p:cNvSpPr>
              <a:spLocks/>
            </p:cNvSpPr>
            <p:nvPr/>
          </p:nvSpPr>
          <p:spPr bwMode="auto">
            <a:xfrm>
              <a:off x="696774" y="914644"/>
              <a:ext cx="5238962" cy="1947958"/>
            </a:xfrm>
            <a:custGeom>
              <a:avLst/>
              <a:gdLst>
                <a:gd name="T0" fmla="*/ 0 w 4505"/>
                <a:gd name="T1" fmla="*/ 2147483646 h 1962"/>
                <a:gd name="T2" fmla="*/ 0 w 4505"/>
                <a:gd name="T3" fmla="*/ 0 h 1962"/>
                <a:gd name="T4" fmla="*/ 2147483646 w 4505"/>
                <a:gd name="T5" fmla="*/ 0 h 1962"/>
                <a:gd name="T6" fmla="*/ 2147483646 w 4505"/>
                <a:gd name="T7" fmla="*/ 2147483646 h 1962"/>
                <a:gd name="T8" fmla="*/ 0 w 4505"/>
                <a:gd name="T9" fmla="*/ 2147483646 h 1962"/>
                <a:gd name="T10" fmla="*/ 0 w 4505"/>
                <a:gd name="T11" fmla="*/ 2147483646 h 19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505" h="1962">
                  <a:moveTo>
                    <a:pt x="0" y="1959"/>
                  </a:moveTo>
                  <a:lnTo>
                    <a:pt x="0" y="0"/>
                  </a:lnTo>
                  <a:lnTo>
                    <a:pt x="4505" y="0"/>
                  </a:lnTo>
                  <a:lnTo>
                    <a:pt x="4505" y="1959"/>
                  </a:lnTo>
                  <a:lnTo>
                    <a:pt x="0" y="1959"/>
                  </a:lnTo>
                  <a:lnTo>
                    <a:pt x="0" y="1962"/>
                  </a:lnTo>
                </a:path>
              </a:pathLst>
            </a:custGeom>
            <a:noFill/>
            <a:ln w="4763">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pPr defTabSz="457189" eaLnBrk="0" fontAlgn="base" hangingPunct="0">
                <a:spcBef>
                  <a:spcPct val="0"/>
                </a:spcBef>
                <a:spcAft>
                  <a:spcPct val="0"/>
                </a:spcAft>
                <a:defRPr/>
              </a:pPr>
              <a:endParaRPr lang="en-US">
                <a:solidFill>
                  <a:prstClr val="black"/>
                </a:solidFill>
                <a:latin typeface="Arial" panose="020B0604020202020204" pitchFamily="34" charset="0"/>
              </a:endParaRPr>
            </a:p>
          </p:txBody>
        </p:sp>
        <p:sp>
          <p:nvSpPr>
            <p:cNvPr id="1233" name="TextBox 1232">
              <a:extLst>
                <a:ext uri="{FF2B5EF4-FFF2-40B4-BE49-F238E27FC236}">
                  <a16:creationId xmlns:a16="http://schemas.microsoft.com/office/drawing/2014/main" id="{B51EC016-C7AF-B64D-BC22-619D3C9660D5}"/>
                </a:ext>
              </a:extLst>
            </p:cNvPr>
            <p:cNvSpPr txBox="1"/>
            <p:nvPr/>
          </p:nvSpPr>
          <p:spPr bwMode="auto">
            <a:xfrm>
              <a:off x="2855896" y="927633"/>
              <a:ext cx="902811" cy="207749"/>
            </a:xfrm>
            <a:prstGeom prst="rect">
              <a:avLst/>
            </a:prstGeom>
            <a:noFill/>
          </p:spPr>
          <p:txBody>
            <a:bodyPr wrap="none">
              <a:spAutoFit/>
            </a:bodyPr>
            <a:lstStyle/>
            <a:p>
              <a:pPr defTabSz="457189" eaLnBrk="0" fontAlgn="base" hangingPunct="0">
                <a:spcBef>
                  <a:spcPct val="0"/>
                </a:spcBef>
                <a:spcAft>
                  <a:spcPct val="0"/>
                </a:spcAft>
                <a:defRPr/>
              </a:pPr>
              <a:r>
                <a:rPr lang="en-US" sz="750" b="1">
                  <a:solidFill>
                    <a:prstClr val="black"/>
                  </a:solidFill>
                  <a:latin typeface="Arial" panose="020B0604020202020204" pitchFamily="34" charset="0"/>
                  <a:cs typeface="Arial" panose="020B0604020202020204" pitchFamily="34" charset="0"/>
                </a:rPr>
                <a:t>High-risk group</a:t>
              </a:r>
            </a:p>
          </p:txBody>
        </p:sp>
        <p:sp>
          <p:nvSpPr>
            <p:cNvPr id="1234" name="TextBox 1233">
              <a:extLst>
                <a:ext uri="{FF2B5EF4-FFF2-40B4-BE49-F238E27FC236}">
                  <a16:creationId xmlns:a16="http://schemas.microsoft.com/office/drawing/2014/main" id="{DC1AE381-610E-2B40-BA3C-D0201841CA3C}"/>
                </a:ext>
              </a:extLst>
            </p:cNvPr>
            <p:cNvSpPr txBox="1"/>
            <p:nvPr/>
          </p:nvSpPr>
          <p:spPr bwMode="auto">
            <a:xfrm>
              <a:off x="4728914" y="1227866"/>
              <a:ext cx="1252538" cy="207749"/>
            </a:xfrm>
            <a:prstGeom prst="rect">
              <a:avLst/>
            </a:prstGeom>
            <a:noFill/>
          </p:spPr>
          <p:txBody>
            <a:bodyPr>
              <a:spAutoFit/>
            </a:bodyPr>
            <a:lstStyle/>
            <a:p>
              <a:pPr defTabSz="457189" eaLnBrk="0" fontAlgn="base" hangingPunct="0">
                <a:spcBef>
                  <a:spcPct val="0"/>
                </a:spcBef>
                <a:spcAft>
                  <a:spcPct val="0"/>
                </a:spcAft>
                <a:defRPr/>
              </a:pPr>
              <a:r>
                <a:rPr lang="en-US" sz="750" b="1">
                  <a:solidFill>
                    <a:prstClr val="black"/>
                  </a:solidFill>
                  <a:latin typeface="Arial" panose="020B0604020202020204" pitchFamily="34" charset="0"/>
                  <a:cs typeface="Arial" panose="020B0604020202020204" pitchFamily="34" charset="0"/>
                </a:rPr>
                <a:t>Intermediate-risk group</a:t>
              </a:r>
            </a:p>
          </p:txBody>
        </p:sp>
        <p:sp>
          <p:nvSpPr>
            <p:cNvPr id="1235" name="TextBox 1234">
              <a:extLst>
                <a:ext uri="{FF2B5EF4-FFF2-40B4-BE49-F238E27FC236}">
                  <a16:creationId xmlns:a16="http://schemas.microsoft.com/office/drawing/2014/main" id="{60C354BE-3BBC-6C4D-BCCF-4178B12BFBE3}"/>
                </a:ext>
              </a:extLst>
            </p:cNvPr>
            <p:cNvSpPr txBox="1"/>
            <p:nvPr/>
          </p:nvSpPr>
          <p:spPr bwMode="auto">
            <a:xfrm>
              <a:off x="4466815" y="1930588"/>
              <a:ext cx="881973" cy="207749"/>
            </a:xfrm>
            <a:prstGeom prst="rect">
              <a:avLst/>
            </a:prstGeom>
            <a:noFill/>
          </p:spPr>
          <p:txBody>
            <a:bodyPr wrap="none">
              <a:spAutoFit/>
            </a:bodyPr>
            <a:lstStyle/>
            <a:p>
              <a:pPr defTabSz="457189" eaLnBrk="0" fontAlgn="base" hangingPunct="0">
                <a:spcBef>
                  <a:spcPct val="0"/>
                </a:spcBef>
                <a:spcAft>
                  <a:spcPct val="0"/>
                </a:spcAft>
                <a:defRPr/>
              </a:pPr>
              <a:r>
                <a:rPr lang="en-US" sz="750" b="1">
                  <a:solidFill>
                    <a:prstClr val="black"/>
                  </a:solidFill>
                  <a:latin typeface="Arial" panose="020B0604020202020204" pitchFamily="34" charset="0"/>
                  <a:cs typeface="Arial" panose="020B0604020202020204" pitchFamily="34" charset="0"/>
                </a:rPr>
                <a:t>Low-risk group</a:t>
              </a:r>
            </a:p>
          </p:txBody>
        </p:sp>
        <p:sp>
          <p:nvSpPr>
            <p:cNvPr id="1236" name="TextBox 1235">
              <a:extLst>
                <a:ext uri="{FF2B5EF4-FFF2-40B4-BE49-F238E27FC236}">
                  <a16:creationId xmlns:a16="http://schemas.microsoft.com/office/drawing/2014/main" id="{FDE1249F-9435-8940-81D7-B7F22911113E}"/>
                </a:ext>
              </a:extLst>
            </p:cNvPr>
            <p:cNvSpPr txBox="1"/>
            <p:nvPr/>
          </p:nvSpPr>
          <p:spPr bwMode="auto">
            <a:xfrm>
              <a:off x="4347183" y="1443517"/>
              <a:ext cx="1329550" cy="323165"/>
            </a:xfrm>
            <a:prstGeom prst="rect">
              <a:avLst/>
            </a:prstGeom>
            <a:noFill/>
          </p:spPr>
          <p:txBody>
            <a:bodyPr wrap="square">
              <a:spAutoFit/>
            </a:bodyPr>
            <a:lstStyle/>
            <a:p>
              <a:pPr defTabSz="457189" eaLnBrk="0" fontAlgn="base" hangingPunct="0">
                <a:spcBef>
                  <a:spcPct val="0"/>
                </a:spcBef>
                <a:spcAft>
                  <a:spcPct val="0"/>
                </a:spcAft>
                <a:defRPr/>
              </a:pPr>
              <a:r>
                <a:rPr lang="en-US" sz="750" b="1">
                  <a:solidFill>
                    <a:prstClr val="black"/>
                  </a:solidFill>
                  <a:latin typeface="Arial" panose="020B0604020202020204" pitchFamily="34" charset="0"/>
                  <a:cs typeface="Arial" panose="020B0604020202020204" pitchFamily="34" charset="0"/>
                </a:rPr>
                <a:t>Low- to intermediate-risk group</a:t>
              </a:r>
            </a:p>
          </p:txBody>
        </p:sp>
      </p:grpSp>
      <p:sp>
        <p:nvSpPr>
          <p:cNvPr id="84010" name="Content Placeholder 11">
            <a:extLst>
              <a:ext uri="{FF2B5EF4-FFF2-40B4-BE49-F238E27FC236}">
                <a16:creationId xmlns:a16="http://schemas.microsoft.com/office/drawing/2014/main" id="{A06204D4-EA96-614F-867B-1D3290E22060}"/>
              </a:ext>
            </a:extLst>
          </p:cNvPr>
          <p:cNvSpPr txBox="1">
            <a:spLocks noChangeArrowheads="1"/>
          </p:cNvSpPr>
          <p:nvPr/>
        </p:nvSpPr>
        <p:spPr bwMode="auto">
          <a:xfrm>
            <a:off x="6179806" y="956305"/>
            <a:ext cx="2848947" cy="190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34290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defTabSz="914378" fontAlgn="base">
              <a:spcBef>
                <a:spcPts val="1000"/>
              </a:spcBef>
              <a:spcAft>
                <a:spcPct val="0"/>
              </a:spcAft>
              <a:buNone/>
              <a:defRPr/>
            </a:pPr>
            <a:r>
              <a:rPr lang="en-CA" altLang="es-ES" sz="1600">
                <a:solidFill>
                  <a:prstClr val="black"/>
                </a:solidFill>
                <a:latin typeface="Arial" panose="020B0604020202020204" pitchFamily="34" charset="0"/>
                <a:cs typeface="Arial" panose="020B0604020202020204" pitchFamily="34" charset="0"/>
              </a:rPr>
              <a:t>Characteristics included in the model</a:t>
            </a:r>
          </a:p>
          <a:p>
            <a:pPr marL="342892" lvl="1" defTabSz="914378" fontAlgn="base">
              <a:spcBef>
                <a:spcPts val="500"/>
              </a:spcBef>
              <a:spcAft>
                <a:spcPct val="0"/>
              </a:spcAft>
              <a:buNone/>
              <a:defRPr/>
            </a:pPr>
            <a:endParaRPr lang="en-CA" altLang="es-ES" sz="1200" b="1">
              <a:solidFill>
                <a:srgbClr val="C00000"/>
              </a:solidFill>
              <a:latin typeface="Arial" panose="020B0604020202020204" pitchFamily="34" charset="0"/>
              <a:cs typeface="Arial" panose="020B0604020202020204" pitchFamily="34" charset="0"/>
            </a:endParaRPr>
          </a:p>
          <a:p>
            <a:pPr marL="230183" lvl="1" indent="-230183" defTabSz="914378" fontAlgn="base">
              <a:spcBef>
                <a:spcPts val="500"/>
              </a:spcBef>
              <a:spcAft>
                <a:spcPct val="0"/>
              </a:spcAft>
              <a:defRPr/>
            </a:pPr>
            <a:r>
              <a:rPr lang="en-CA" altLang="es-ES" sz="1600" b="1">
                <a:solidFill>
                  <a:srgbClr val="000000"/>
                </a:solidFill>
                <a:latin typeface="Arial" panose="020B0604020202020204" pitchFamily="34" charset="0"/>
                <a:cs typeface="Arial" panose="020B0604020202020204" pitchFamily="34" charset="0"/>
              </a:rPr>
              <a:t>Serum M-spike: &gt;2 g/dL</a:t>
            </a:r>
          </a:p>
          <a:p>
            <a:pPr marL="230183" lvl="1" indent="-230183" defTabSz="914378" fontAlgn="base">
              <a:spcBef>
                <a:spcPts val="500"/>
              </a:spcBef>
              <a:spcAft>
                <a:spcPct val="0"/>
              </a:spcAft>
              <a:defRPr/>
            </a:pPr>
            <a:r>
              <a:rPr lang="en-CA" altLang="es-ES" sz="1600" b="1">
                <a:solidFill>
                  <a:srgbClr val="000000"/>
                </a:solidFill>
                <a:latin typeface="Arial" panose="020B0604020202020204" pitchFamily="34" charset="0"/>
                <a:cs typeface="Arial" panose="020B0604020202020204" pitchFamily="34" charset="0"/>
              </a:rPr>
              <a:t>FLC ratio: &gt;20</a:t>
            </a:r>
          </a:p>
          <a:p>
            <a:pPr marL="230183" lvl="1" indent="-230183" defTabSz="914378" fontAlgn="base">
              <a:spcBef>
                <a:spcPts val="500"/>
              </a:spcBef>
              <a:spcAft>
                <a:spcPct val="0"/>
              </a:spcAft>
              <a:defRPr/>
            </a:pPr>
            <a:r>
              <a:rPr lang="en-CA" altLang="es-ES" sz="1600" b="1">
                <a:solidFill>
                  <a:srgbClr val="000000"/>
                </a:solidFill>
                <a:latin typeface="Arial" panose="020B0604020202020204" pitchFamily="34" charset="0"/>
                <a:cs typeface="Arial" panose="020B0604020202020204" pitchFamily="34" charset="0"/>
              </a:rPr>
              <a:t>BMPC: &gt;20%</a:t>
            </a:r>
            <a:endParaRPr lang="en-CA" altLang="es-ES" sz="1200" b="1">
              <a:solidFill>
                <a:srgbClr val="000000"/>
              </a:solidFill>
              <a:latin typeface="Arial" panose="020B0604020202020204" pitchFamily="34" charset="0"/>
              <a:cs typeface="Arial" panose="020B0604020202020204" pitchFamily="34" charset="0"/>
            </a:endParaRPr>
          </a:p>
          <a:p>
            <a:pPr marL="342892" lvl="1" defTabSz="914378" fontAlgn="base">
              <a:spcBef>
                <a:spcPts val="500"/>
              </a:spcBef>
              <a:spcAft>
                <a:spcPct val="0"/>
              </a:spcAft>
              <a:buNone/>
              <a:defRPr/>
            </a:pPr>
            <a:r>
              <a:rPr lang="en-CA" altLang="es-ES" sz="1400" b="1">
                <a:solidFill>
                  <a:srgbClr val="C00000"/>
                </a:solidFill>
                <a:latin typeface="Arial" panose="020B0604020202020204" pitchFamily="34" charset="0"/>
                <a:cs typeface="Arial" panose="020B0604020202020204" pitchFamily="34" charset="0"/>
              </a:rPr>
              <a:t>Presence of any of the CA</a:t>
            </a:r>
            <a:endParaRPr lang="en-CA" altLang="es-ES" sz="1100" b="1">
              <a:solidFill>
                <a:srgbClr val="C00000"/>
              </a:solidFill>
              <a:latin typeface="Arial" panose="020B0604020202020204" pitchFamily="34" charset="0"/>
              <a:cs typeface="Arial" panose="020B0604020202020204" pitchFamily="34" charset="0"/>
            </a:endParaRPr>
          </a:p>
        </p:txBody>
      </p:sp>
      <p:sp>
        <p:nvSpPr>
          <p:cNvPr id="1239" name="CuadroTexto 1">
            <a:extLst>
              <a:ext uri="{FF2B5EF4-FFF2-40B4-BE49-F238E27FC236}">
                <a16:creationId xmlns:a16="http://schemas.microsoft.com/office/drawing/2014/main" id="{1621B449-C5CA-4770-8333-8A9C65343754}"/>
              </a:ext>
            </a:extLst>
          </p:cNvPr>
          <p:cNvSpPr txBox="1">
            <a:spLocks noChangeArrowheads="1"/>
          </p:cNvSpPr>
          <p:nvPr/>
        </p:nvSpPr>
        <p:spPr bwMode="auto">
          <a:xfrm>
            <a:off x="6270569" y="4901965"/>
            <a:ext cx="28745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r" defTabSz="457189" eaLnBrk="0" fontAlgn="base" hangingPunct="0">
              <a:spcBef>
                <a:spcPct val="0"/>
              </a:spcBef>
              <a:spcAft>
                <a:spcPct val="0"/>
              </a:spcAft>
              <a:defRPr/>
            </a:pPr>
            <a:r>
              <a:rPr lang="es-ES" altLang="es-ES" sz="1000">
                <a:solidFill>
                  <a:prstClr val="black"/>
                </a:solidFill>
              </a:rPr>
              <a:t>San Miguel J, et al. ASCO 2019. Abstract 8000.</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19">
            <a:extLst>
              <a:ext uri="{FF2B5EF4-FFF2-40B4-BE49-F238E27FC236}">
                <a16:creationId xmlns:a16="http://schemas.microsoft.com/office/drawing/2014/main" id="{0D030695-B09C-1742-8B69-BECA8D9ECDED}"/>
              </a:ext>
            </a:extLst>
          </p:cNvPr>
          <p:cNvSpPr>
            <a:spLocks noGrp="1" noChangeArrowheads="1"/>
          </p:cNvSpPr>
          <p:nvPr>
            <p:ph type="title"/>
          </p:nvPr>
        </p:nvSpPr>
        <p:spPr>
          <a:xfrm>
            <a:off x="0" y="59098"/>
            <a:ext cx="9144000" cy="549377"/>
          </a:xfrm>
        </p:spPr>
        <p:txBody>
          <a:bodyPr/>
          <a:lstStyle/>
          <a:p>
            <a:pPr algn="ctr" eaLnBrk="1" hangingPunct="1"/>
            <a:r>
              <a:rPr lang="en-US" altLang="es-ES" sz="2400" b="1" spc="-30">
                <a:solidFill>
                  <a:srgbClr val="0070C0"/>
                </a:solidFill>
                <a:latin typeface="Arial" panose="020B0604020202020204" pitchFamily="34" charset="0"/>
                <a:cs typeface="Arial" panose="020B0604020202020204" pitchFamily="34" charset="0"/>
              </a:rPr>
              <a:t>Impact of circulating plasma cells (CPCs) in smoldering MM</a:t>
            </a:r>
            <a:endParaRPr lang="en-US" altLang="es-ES" sz="2400" b="1" spc="-30">
              <a:solidFill>
                <a:srgbClr val="0070C0"/>
              </a:solidFill>
              <a:latin typeface="Arial" panose="020B0604020202020204" pitchFamily="34" charset="0"/>
              <a:cs typeface="Arial" panose="020B0604020202020204" pitchFamily="34" charset="0"/>
              <a:sym typeface="Symbol" pitchFamily="2" charset="2"/>
            </a:endParaRPr>
          </a:p>
        </p:txBody>
      </p:sp>
      <p:sp>
        <p:nvSpPr>
          <p:cNvPr id="7" name="5 Rectángulo">
            <a:extLst>
              <a:ext uri="{FF2B5EF4-FFF2-40B4-BE49-F238E27FC236}">
                <a16:creationId xmlns:a16="http://schemas.microsoft.com/office/drawing/2014/main" id="{1CAB1C87-89AE-DD4C-8EBF-5D9D1D61B3AA}"/>
              </a:ext>
            </a:extLst>
          </p:cNvPr>
          <p:cNvSpPr>
            <a:spLocks noChangeArrowheads="1"/>
          </p:cNvSpPr>
          <p:nvPr/>
        </p:nvSpPr>
        <p:spPr bwMode="auto">
          <a:xfrm>
            <a:off x="3732214" y="4959351"/>
            <a:ext cx="184731" cy="207749"/>
          </a:xfrm>
          <a:prstGeom prst="rect">
            <a:avLst/>
          </a:prstGeom>
          <a:noFill/>
          <a:ln>
            <a:noFill/>
          </a:ln>
        </p:spPr>
        <p:txBody>
          <a:bodyPr wrap="none">
            <a:spAutoFit/>
          </a:bodyPr>
          <a:lstStyle>
            <a:defPPr>
              <a:defRPr lang="en-US"/>
            </a:defPPr>
            <a:lvl1pPr algn="l" rtl="0" fontAlgn="base">
              <a:spcBef>
                <a:spcPct val="0"/>
              </a:spcBef>
              <a:spcAft>
                <a:spcPct val="0"/>
              </a:spcAft>
              <a:defRPr sz="2400" b="1" kern="1200">
                <a:solidFill>
                  <a:schemeClr val="hlink"/>
                </a:solidFill>
                <a:latin typeface="Times New Roman" pitchFamily="18" charset="0"/>
                <a:ea typeface="MS PGothic" pitchFamily="34" charset="-128"/>
                <a:cs typeface="+mn-cs"/>
              </a:defRPr>
            </a:lvl1pPr>
            <a:lvl2pPr marL="457200" algn="l" rtl="0" fontAlgn="base">
              <a:spcBef>
                <a:spcPct val="0"/>
              </a:spcBef>
              <a:spcAft>
                <a:spcPct val="0"/>
              </a:spcAft>
              <a:defRPr sz="2400" b="1" kern="1200">
                <a:solidFill>
                  <a:schemeClr val="hlink"/>
                </a:solidFill>
                <a:latin typeface="Times New Roman" pitchFamily="18" charset="0"/>
                <a:ea typeface="MS PGothic" pitchFamily="34" charset="-128"/>
                <a:cs typeface="+mn-cs"/>
              </a:defRPr>
            </a:lvl2pPr>
            <a:lvl3pPr marL="914400" algn="l" rtl="0" fontAlgn="base">
              <a:spcBef>
                <a:spcPct val="0"/>
              </a:spcBef>
              <a:spcAft>
                <a:spcPct val="0"/>
              </a:spcAft>
              <a:defRPr sz="2400" b="1" kern="1200">
                <a:solidFill>
                  <a:schemeClr val="hlink"/>
                </a:solidFill>
                <a:latin typeface="Times New Roman" pitchFamily="18" charset="0"/>
                <a:ea typeface="MS PGothic" pitchFamily="34" charset="-128"/>
                <a:cs typeface="+mn-cs"/>
              </a:defRPr>
            </a:lvl3pPr>
            <a:lvl4pPr marL="1371600" algn="l" rtl="0" fontAlgn="base">
              <a:spcBef>
                <a:spcPct val="0"/>
              </a:spcBef>
              <a:spcAft>
                <a:spcPct val="0"/>
              </a:spcAft>
              <a:defRPr sz="2400" b="1" kern="1200">
                <a:solidFill>
                  <a:schemeClr val="hlink"/>
                </a:solidFill>
                <a:latin typeface="Times New Roman" pitchFamily="18" charset="0"/>
                <a:ea typeface="MS PGothic" pitchFamily="34" charset="-128"/>
                <a:cs typeface="+mn-cs"/>
              </a:defRPr>
            </a:lvl4pPr>
            <a:lvl5pPr marL="1828800" algn="l" rtl="0" fontAlgn="base">
              <a:spcBef>
                <a:spcPct val="0"/>
              </a:spcBef>
              <a:spcAft>
                <a:spcPct val="0"/>
              </a:spcAft>
              <a:defRPr sz="2400" b="1" kern="1200">
                <a:solidFill>
                  <a:schemeClr val="hlink"/>
                </a:solidFill>
                <a:latin typeface="Times New Roman" pitchFamily="18" charset="0"/>
                <a:ea typeface="MS PGothic" pitchFamily="34" charset="-128"/>
                <a:cs typeface="+mn-cs"/>
              </a:defRPr>
            </a:lvl5pPr>
            <a:lvl6pPr marL="2286000" algn="l" defTabSz="914400" rtl="0" eaLnBrk="1" latinLnBrk="0" hangingPunct="1">
              <a:defRPr sz="2400" b="1" kern="1200">
                <a:solidFill>
                  <a:schemeClr val="hlink"/>
                </a:solidFill>
                <a:latin typeface="Times New Roman" pitchFamily="18" charset="0"/>
                <a:ea typeface="MS PGothic" pitchFamily="34" charset="-128"/>
                <a:cs typeface="+mn-cs"/>
              </a:defRPr>
            </a:lvl6pPr>
            <a:lvl7pPr marL="2743200" algn="l" defTabSz="914400" rtl="0" eaLnBrk="1" latinLnBrk="0" hangingPunct="1">
              <a:defRPr sz="2400" b="1" kern="1200">
                <a:solidFill>
                  <a:schemeClr val="hlink"/>
                </a:solidFill>
                <a:latin typeface="Times New Roman" pitchFamily="18" charset="0"/>
                <a:ea typeface="MS PGothic" pitchFamily="34" charset="-128"/>
                <a:cs typeface="+mn-cs"/>
              </a:defRPr>
            </a:lvl7pPr>
            <a:lvl8pPr marL="3200400" algn="l" defTabSz="914400" rtl="0" eaLnBrk="1" latinLnBrk="0" hangingPunct="1">
              <a:defRPr sz="2400" b="1" kern="1200">
                <a:solidFill>
                  <a:schemeClr val="hlink"/>
                </a:solidFill>
                <a:latin typeface="Times New Roman" pitchFamily="18" charset="0"/>
                <a:ea typeface="MS PGothic" pitchFamily="34" charset="-128"/>
                <a:cs typeface="+mn-cs"/>
              </a:defRPr>
            </a:lvl8pPr>
            <a:lvl9pPr marL="3657600" algn="l" defTabSz="914400" rtl="0" eaLnBrk="1" latinLnBrk="0" hangingPunct="1">
              <a:defRPr sz="2400" b="1" kern="1200">
                <a:solidFill>
                  <a:schemeClr val="hlink"/>
                </a:solidFill>
                <a:latin typeface="Times New Roman" pitchFamily="18" charset="0"/>
                <a:ea typeface="MS PGothic" pitchFamily="34" charset="-128"/>
                <a:cs typeface="+mn-cs"/>
              </a:defRPr>
            </a:lvl9pPr>
          </a:lstStyle>
          <a:p>
            <a:pPr defTabSz="685783">
              <a:defRPr/>
            </a:pPr>
            <a:endParaRPr lang="en-US" altLang="en-US" sz="750" b="0">
              <a:solidFill>
                <a:srgbClr val="000000"/>
              </a:solidFill>
              <a:latin typeface="Arial" pitchFamily="34" charset="0"/>
              <a:cs typeface="Arial" pitchFamily="34" charset="0"/>
            </a:endParaRPr>
          </a:p>
        </p:txBody>
      </p:sp>
      <p:sp>
        <p:nvSpPr>
          <p:cNvPr id="16" name="14 Rectángulo">
            <a:extLst>
              <a:ext uri="{FF2B5EF4-FFF2-40B4-BE49-F238E27FC236}">
                <a16:creationId xmlns:a16="http://schemas.microsoft.com/office/drawing/2014/main" id="{CD421516-E50F-8248-86E2-ED004E48BF14}"/>
              </a:ext>
            </a:extLst>
          </p:cNvPr>
          <p:cNvSpPr/>
          <p:nvPr/>
        </p:nvSpPr>
        <p:spPr>
          <a:xfrm>
            <a:off x="2806995" y="4896679"/>
            <a:ext cx="6340069" cy="246221"/>
          </a:xfrm>
          <a:prstGeom prst="rect">
            <a:avLst/>
          </a:prstGeom>
        </p:spPr>
        <p:txBody>
          <a:bodyPr wrap="square" anchor="b">
            <a:spAutoFit/>
          </a:bodyPr>
          <a:lstStyle/>
          <a:p>
            <a:pPr algn="r" defTabSz="685783" fontAlgn="base">
              <a:spcBef>
                <a:spcPct val="0"/>
              </a:spcBef>
              <a:spcAft>
                <a:spcPct val="0"/>
              </a:spcAft>
              <a:defRPr/>
            </a:pPr>
            <a:r>
              <a:rPr lang="en-US" altLang="en-US" sz="1000">
                <a:solidFill>
                  <a:srgbClr val="000000"/>
                </a:solidFill>
                <a:latin typeface="Arial" panose="020B0604020202020204" pitchFamily="34" charset="0"/>
                <a:cs typeface="Arial" pitchFamily="34" charset="0"/>
              </a:rPr>
              <a:t>1. Bianchi G, et al. </a:t>
            </a:r>
            <a:r>
              <a:rPr lang="en-US" altLang="en-US" sz="1000" i="1">
                <a:solidFill>
                  <a:srgbClr val="000000"/>
                </a:solidFill>
                <a:latin typeface="Arial" panose="020B0604020202020204" pitchFamily="34" charset="0"/>
                <a:cs typeface="Arial" pitchFamily="34" charset="0"/>
              </a:rPr>
              <a:t>Leukemia</a:t>
            </a:r>
            <a:r>
              <a:rPr lang="en-US" altLang="en-US" sz="1000">
                <a:solidFill>
                  <a:srgbClr val="000000"/>
                </a:solidFill>
                <a:latin typeface="Arial" panose="020B0604020202020204" pitchFamily="34" charset="0"/>
                <a:cs typeface="Arial" pitchFamily="34" charset="0"/>
              </a:rPr>
              <a:t>. 2013;27(3):680-685; 2. Gonsalves WI, et al. </a:t>
            </a:r>
            <a:r>
              <a:rPr lang="en-US" altLang="en-US" sz="1000" i="1">
                <a:solidFill>
                  <a:srgbClr val="000000"/>
                </a:solidFill>
                <a:latin typeface="Arial" panose="020B0604020202020204" pitchFamily="34" charset="0"/>
                <a:cs typeface="Arial" pitchFamily="34" charset="0"/>
              </a:rPr>
              <a:t>Leukemia</a:t>
            </a:r>
            <a:r>
              <a:rPr lang="en-US" altLang="en-US" sz="1000">
                <a:solidFill>
                  <a:srgbClr val="000000"/>
                </a:solidFill>
                <a:latin typeface="Arial" panose="020B0604020202020204" pitchFamily="34" charset="0"/>
                <a:cs typeface="Arial" pitchFamily="34" charset="0"/>
              </a:rPr>
              <a:t>. 2017;31(1):130-135.</a:t>
            </a:r>
          </a:p>
        </p:txBody>
      </p:sp>
      <p:sp>
        <p:nvSpPr>
          <p:cNvPr id="91140" name="6 CuadroTexto">
            <a:extLst>
              <a:ext uri="{FF2B5EF4-FFF2-40B4-BE49-F238E27FC236}">
                <a16:creationId xmlns:a16="http://schemas.microsoft.com/office/drawing/2014/main" id="{B2D3A31E-4E7B-0B43-A31D-826FDCFEC704}"/>
              </a:ext>
            </a:extLst>
          </p:cNvPr>
          <p:cNvSpPr txBox="1">
            <a:spLocks noChangeArrowheads="1"/>
          </p:cNvSpPr>
          <p:nvPr/>
        </p:nvSpPr>
        <p:spPr bwMode="auto">
          <a:xfrm>
            <a:off x="1345293" y="572439"/>
            <a:ext cx="292099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defTabSz="685783" fontAlgn="base">
              <a:lnSpc>
                <a:spcPct val="100000"/>
              </a:lnSpc>
              <a:spcBef>
                <a:spcPct val="0"/>
              </a:spcBef>
              <a:spcAft>
                <a:spcPct val="0"/>
              </a:spcAft>
              <a:buNone/>
              <a:defRPr/>
            </a:pPr>
            <a:r>
              <a:rPr lang="en-US" altLang="en-US" sz="1500" b="1">
                <a:solidFill>
                  <a:srgbClr val="000000"/>
                </a:solidFill>
                <a:latin typeface="Arial" panose="020B0604020202020204" pitchFamily="34" charset="0"/>
                <a:ea typeface="ＭＳ Ｐゴシック" panose="020B0600070205080204" pitchFamily="34" charset="-128"/>
                <a:cs typeface="Arial" panose="020B0604020202020204" pitchFamily="34" charset="0"/>
              </a:rPr>
              <a:t>Immunofluorescence (n = 91)</a:t>
            </a:r>
            <a:r>
              <a:rPr lang="en-US" altLang="en-US" sz="1500" baseline="30000">
                <a:solidFill>
                  <a:srgbClr val="000000"/>
                </a:solidFill>
                <a:latin typeface="Arial" panose="020B0604020202020204" pitchFamily="34" charset="0"/>
                <a:ea typeface="ＭＳ Ｐゴシック" panose="020B0600070205080204" pitchFamily="34" charset="-128"/>
                <a:cs typeface="Arial" panose="020B0604020202020204" pitchFamily="34" charset="0"/>
              </a:rPr>
              <a:t>1</a:t>
            </a:r>
          </a:p>
        </p:txBody>
      </p:sp>
      <p:pic>
        <p:nvPicPr>
          <p:cNvPr id="91141" name="Picture 2" descr="Unfortunately we are unable to provide accessible alternative text for this. If you require assistance to access this image, please contact help@nature.com or the author">
            <a:extLst>
              <a:ext uri="{FF2B5EF4-FFF2-40B4-BE49-F238E27FC236}">
                <a16:creationId xmlns:a16="http://schemas.microsoft.com/office/drawing/2014/main" id="{5239AAD0-5A8A-B748-ADCD-0132B471D4C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35903" y="1541881"/>
            <a:ext cx="3528558" cy="238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2" name="Picture 2" descr="Unfortunately we are unable to provide accessible alternative text for this. If you require assistance to access this image, please contact help@nature.com or the author">
            <a:extLst>
              <a:ext uri="{FF2B5EF4-FFF2-40B4-BE49-F238E27FC236}">
                <a16:creationId xmlns:a16="http://schemas.microsoft.com/office/drawing/2014/main" id="{2A51E4EB-A05F-9247-AEE7-A8E18469888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684112" y="1300352"/>
            <a:ext cx="3050268" cy="776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143" name="6 CuadroTexto">
            <a:extLst>
              <a:ext uri="{FF2B5EF4-FFF2-40B4-BE49-F238E27FC236}">
                <a16:creationId xmlns:a16="http://schemas.microsoft.com/office/drawing/2014/main" id="{EE900B55-2DFD-FD46-9D2B-C7DE1202EB0C}"/>
              </a:ext>
            </a:extLst>
          </p:cNvPr>
          <p:cNvSpPr txBox="1">
            <a:spLocks noChangeArrowheads="1"/>
          </p:cNvSpPr>
          <p:nvPr/>
        </p:nvSpPr>
        <p:spPr bwMode="auto">
          <a:xfrm>
            <a:off x="6302830" y="573120"/>
            <a:ext cx="2170787"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defTabSz="685783" fontAlgn="base">
              <a:lnSpc>
                <a:spcPct val="100000"/>
              </a:lnSpc>
              <a:spcBef>
                <a:spcPct val="0"/>
              </a:spcBef>
              <a:spcAft>
                <a:spcPct val="0"/>
              </a:spcAft>
              <a:buNone/>
              <a:defRPr/>
            </a:pPr>
            <a:r>
              <a:rPr lang="en-US" altLang="en-US" sz="1500" b="1">
                <a:solidFill>
                  <a:srgbClr val="000000"/>
                </a:solidFill>
                <a:latin typeface="Arial" panose="020B0604020202020204" pitchFamily="34" charset="0"/>
                <a:ea typeface="ＭＳ Ｐゴシック" panose="020B0600070205080204" pitchFamily="34" charset="-128"/>
                <a:cs typeface="Arial" panose="020B0604020202020204" pitchFamily="34" charset="0"/>
              </a:rPr>
              <a:t>6-color flow (n = 100)</a:t>
            </a:r>
            <a:r>
              <a:rPr lang="en-US" altLang="en-US" sz="1500" b="1" baseline="30000">
                <a:solidFill>
                  <a:srgbClr val="000000"/>
                </a:solidFill>
                <a:latin typeface="Arial" panose="020B0604020202020204" pitchFamily="34" charset="0"/>
                <a:ea typeface="ＭＳ Ｐゴシック" panose="020B0600070205080204" pitchFamily="34" charset="-128"/>
                <a:cs typeface="Arial" panose="020B0604020202020204" pitchFamily="34" charset="0"/>
              </a:rPr>
              <a:t>2</a:t>
            </a:r>
          </a:p>
        </p:txBody>
      </p:sp>
      <p:sp>
        <p:nvSpPr>
          <p:cNvPr id="91145" name="CuadroTexto 1">
            <a:extLst>
              <a:ext uri="{FF2B5EF4-FFF2-40B4-BE49-F238E27FC236}">
                <a16:creationId xmlns:a16="http://schemas.microsoft.com/office/drawing/2014/main" id="{7D3DA792-849B-764B-9717-6BD0F2FAAFAE}"/>
              </a:ext>
            </a:extLst>
          </p:cNvPr>
          <p:cNvSpPr txBox="1">
            <a:spLocks noChangeArrowheads="1"/>
          </p:cNvSpPr>
          <p:nvPr/>
        </p:nvSpPr>
        <p:spPr bwMode="auto">
          <a:xfrm>
            <a:off x="184379" y="869075"/>
            <a:ext cx="50069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eaLnBrk="0" fontAlgn="base" hangingPunct="0">
              <a:spcBef>
                <a:spcPct val="0"/>
              </a:spcBef>
              <a:spcAft>
                <a:spcPct val="0"/>
              </a:spcAft>
              <a:defRPr/>
            </a:pPr>
            <a:r>
              <a:rPr lang="en-US" altLang="es-ES" sz="1100">
                <a:solidFill>
                  <a:prstClr val="black"/>
                </a:solidFill>
              </a:rPr>
              <a:t>High level of circulating PCs was defined as absolute PB </a:t>
            </a:r>
            <a:r>
              <a:rPr lang="en-US" altLang="es-ES" sz="1100">
                <a:solidFill>
                  <a:srgbClr val="C00000"/>
                </a:solidFill>
              </a:rPr>
              <a:t>PCs &gt;5 × 10(6)/L </a:t>
            </a:r>
            <a:r>
              <a:rPr lang="en-US" altLang="es-ES" sz="1100">
                <a:solidFill>
                  <a:prstClr val="black"/>
                </a:solidFill>
              </a:rPr>
              <a:t>and/or </a:t>
            </a:r>
            <a:r>
              <a:rPr lang="en-US" altLang="es-ES" sz="1100">
                <a:solidFill>
                  <a:srgbClr val="C00000"/>
                </a:solidFill>
              </a:rPr>
              <a:t>&gt;5% PCs per 100 </a:t>
            </a:r>
            <a:r>
              <a:rPr lang="en-US" altLang="es-ES" sz="1100">
                <a:solidFill>
                  <a:prstClr val="black"/>
                </a:solidFill>
              </a:rPr>
              <a:t>cytoplasmic (Ig)+ (14/91 patients) </a:t>
            </a:r>
          </a:p>
        </p:txBody>
      </p:sp>
      <p:sp>
        <p:nvSpPr>
          <p:cNvPr id="91146" name="Rectángulo 2">
            <a:extLst>
              <a:ext uri="{FF2B5EF4-FFF2-40B4-BE49-F238E27FC236}">
                <a16:creationId xmlns:a16="http://schemas.microsoft.com/office/drawing/2014/main" id="{3ED777B8-1397-B343-BC97-271671405677}"/>
              </a:ext>
            </a:extLst>
          </p:cNvPr>
          <p:cNvSpPr>
            <a:spLocks noChangeArrowheads="1"/>
          </p:cNvSpPr>
          <p:nvPr/>
        </p:nvSpPr>
        <p:spPr bwMode="auto">
          <a:xfrm>
            <a:off x="318872" y="3941434"/>
            <a:ext cx="48720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eaLnBrk="0" fontAlgn="base" hangingPunct="0">
              <a:spcBef>
                <a:spcPct val="0"/>
              </a:spcBef>
              <a:spcAft>
                <a:spcPct val="0"/>
              </a:spcAft>
              <a:defRPr/>
            </a:pPr>
            <a:r>
              <a:rPr lang="en-US" altLang="es-ES" sz="1200" b="1">
                <a:solidFill>
                  <a:srgbClr val="212121"/>
                </a:solidFill>
                <a:cs typeface="Arial" panose="020B0604020202020204" pitchFamily="34" charset="0"/>
              </a:rPr>
              <a:t>Patients with high circulating PCs (14 of 91 pts; 15%) had higher risk of </a:t>
            </a:r>
            <a:r>
              <a:rPr lang="en-US" altLang="es-ES" sz="1200" b="1">
                <a:solidFill>
                  <a:srgbClr val="C00000"/>
                </a:solidFill>
                <a:cs typeface="Arial" panose="020B0604020202020204" pitchFamily="34" charset="0"/>
              </a:rPr>
              <a:t>progression at 2 yr: 71% vs 24%</a:t>
            </a:r>
            <a:r>
              <a:rPr lang="en-US" altLang="es-ES" sz="1200" b="1">
                <a:solidFill>
                  <a:srgbClr val="212121"/>
                </a:solidFill>
                <a:cs typeface="Arial" panose="020B0604020202020204" pitchFamily="34" charset="0"/>
              </a:rPr>
              <a:t>; </a:t>
            </a:r>
            <a:r>
              <a:rPr lang="en-US" altLang="es-ES" sz="1200" b="1" i="1">
                <a:solidFill>
                  <a:srgbClr val="212121"/>
                </a:solidFill>
                <a:cs typeface="Arial" panose="020B0604020202020204" pitchFamily="34" charset="0"/>
              </a:rPr>
              <a:t>P</a:t>
            </a:r>
            <a:r>
              <a:rPr lang="en-US" altLang="es-ES" sz="1200" b="1">
                <a:solidFill>
                  <a:srgbClr val="212121"/>
                </a:solidFill>
                <a:cs typeface="Arial" panose="020B0604020202020204" pitchFamily="34" charset="0"/>
              </a:rPr>
              <a:t> = .001</a:t>
            </a:r>
            <a:endParaRPr lang="en-US" altLang="es-ES" sz="1200" b="1">
              <a:solidFill>
                <a:prstClr val="black"/>
              </a:solidFill>
              <a:cs typeface="Arial" panose="020B0604020202020204" pitchFamily="34" charset="0"/>
            </a:endParaRPr>
          </a:p>
        </p:txBody>
      </p:sp>
      <p:sp>
        <p:nvSpPr>
          <p:cNvPr id="91147" name="Rectángulo 3">
            <a:extLst>
              <a:ext uri="{FF2B5EF4-FFF2-40B4-BE49-F238E27FC236}">
                <a16:creationId xmlns:a16="http://schemas.microsoft.com/office/drawing/2014/main" id="{5E42ACC7-3D0B-7446-909E-7026E0A088BC}"/>
              </a:ext>
            </a:extLst>
          </p:cNvPr>
          <p:cNvSpPr>
            <a:spLocks noChangeArrowheads="1"/>
          </p:cNvSpPr>
          <p:nvPr/>
        </p:nvSpPr>
        <p:spPr bwMode="auto">
          <a:xfrm>
            <a:off x="5296129" y="3941434"/>
            <a:ext cx="36147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eaLnBrk="0" fontAlgn="base" hangingPunct="0">
              <a:spcBef>
                <a:spcPct val="0"/>
              </a:spcBef>
              <a:spcAft>
                <a:spcPct val="0"/>
              </a:spcAft>
              <a:defRPr/>
            </a:pPr>
            <a:r>
              <a:rPr lang="en-US" altLang="es-ES" sz="1200" b="1">
                <a:solidFill>
                  <a:srgbClr val="212121"/>
                </a:solidFill>
                <a:cs typeface="Arial" panose="020B0604020202020204" pitchFamily="34" charset="0"/>
              </a:rPr>
              <a:t>TTP of patients with ≥150 </a:t>
            </a:r>
            <a:r>
              <a:rPr lang="en-US" altLang="es-ES" sz="1200" b="1" err="1">
                <a:solidFill>
                  <a:srgbClr val="212121"/>
                </a:solidFill>
                <a:cs typeface="Arial" panose="020B0604020202020204" pitchFamily="34" charset="0"/>
              </a:rPr>
              <a:t>cPCs</a:t>
            </a:r>
            <a:r>
              <a:rPr lang="en-US" altLang="es-ES" sz="1200" b="1">
                <a:solidFill>
                  <a:srgbClr val="212121"/>
                </a:solidFill>
                <a:cs typeface="Arial" panose="020B0604020202020204" pitchFamily="34" charset="0"/>
              </a:rPr>
              <a:t> was </a:t>
            </a:r>
            <a:r>
              <a:rPr lang="en-US" altLang="es-ES" sz="1200" b="1">
                <a:solidFill>
                  <a:srgbClr val="C00000"/>
                </a:solidFill>
                <a:cs typeface="Arial" panose="020B0604020202020204" pitchFamily="34" charset="0"/>
              </a:rPr>
              <a:t>9 months </a:t>
            </a:r>
          </a:p>
          <a:p>
            <a:pPr algn="ctr" defTabSz="457189" eaLnBrk="0" fontAlgn="base" hangingPunct="0">
              <a:spcBef>
                <a:spcPct val="0"/>
              </a:spcBef>
              <a:spcAft>
                <a:spcPct val="0"/>
              </a:spcAft>
              <a:defRPr/>
            </a:pPr>
            <a:r>
              <a:rPr lang="en-US" altLang="es-ES" sz="1200" b="1">
                <a:solidFill>
                  <a:srgbClr val="212121"/>
                </a:solidFill>
                <a:cs typeface="Arial" panose="020B0604020202020204" pitchFamily="34" charset="0"/>
              </a:rPr>
              <a:t>vs NR (</a:t>
            </a:r>
            <a:r>
              <a:rPr lang="en-US" altLang="es-ES" sz="1200" b="1" i="1">
                <a:solidFill>
                  <a:srgbClr val="212121"/>
                </a:solidFill>
                <a:cs typeface="Arial" panose="020B0604020202020204" pitchFamily="34" charset="0"/>
              </a:rPr>
              <a:t>P</a:t>
            </a:r>
            <a:r>
              <a:rPr lang="en-US" altLang="es-ES" sz="1200" b="1">
                <a:solidFill>
                  <a:srgbClr val="212121"/>
                </a:solidFill>
                <a:cs typeface="Arial" panose="020B0604020202020204" pitchFamily="34" charset="0"/>
              </a:rPr>
              <a:t> &lt;.001)</a:t>
            </a:r>
            <a:endParaRPr lang="en-US" altLang="es-ES" sz="1200" b="1">
              <a:solidFill>
                <a:prstClr val="black"/>
              </a:solidFill>
              <a:cs typeface="Arial" panose="020B0604020202020204" pitchFamily="34" charset="0"/>
            </a:endParaRPr>
          </a:p>
        </p:txBody>
      </p:sp>
      <p:sp>
        <p:nvSpPr>
          <p:cNvPr id="13" name="Rectángulo 2">
            <a:extLst>
              <a:ext uri="{FF2B5EF4-FFF2-40B4-BE49-F238E27FC236}">
                <a16:creationId xmlns:a16="http://schemas.microsoft.com/office/drawing/2014/main" id="{460622A5-96B1-47A7-9F29-F9150B9D9D31}"/>
              </a:ext>
            </a:extLst>
          </p:cNvPr>
          <p:cNvSpPr>
            <a:spLocks noChangeArrowheads="1"/>
          </p:cNvSpPr>
          <p:nvPr/>
        </p:nvSpPr>
        <p:spPr bwMode="auto">
          <a:xfrm rot="16200000">
            <a:off x="4327693" y="2512524"/>
            <a:ext cx="2209016" cy="261610"/>
          </a:xfrm>
          <a:prstGeom prst="rect">
            <a:avLst/>
          </a:prstGeom>
          <a:solidFill>
            <a:schemeClr val="bg1"/>
          </a:solidFill>
          <a:ln>
            <a:noFill/>
          </a:ln>
        </p:spPr>
        <p:txBody>
          <a:bodyPr wrap="squar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eaLnBrk="0" fontAlgn="base" hangingPunct="0">
              <a:spcBef>
                <a:spcPct val="0"/>
              </a:spcBef>
              <a:spcAft>
                <a:spcPct val="0"/>
              </a:spcAft>
              <a:defRPr/>
            </a:pPr>
            <a:r>
              <a:rPr lang="en-US" altLang="es-ES" sz="1100" b="1">
                <a:solidFill>
                  <a:srgbClr val="212121"/>
                </a:solidFill>
                <a:cs typeface="Arial" panose="020B0604020202020204" pitchFamily="34" charset="0"/>
              </a:rPr>
              <a:t>Percentage not progressing</a:t>
            </a:r>
            <a:endParaRPr lang="en-US" altLang="es-ES" sz="1100" b="1">
              <a:solidFill>
                <a:prstClr val="black"/>
              </a:solidFill>
              <a:cs typeface="Arial" panose="020B0604020202020204" pitchFamily="34" charset="0"/>
            </a:endParaRPr>
          </a:p>
        </p:txBody>
      </p:sp>
      <p:pic>
        <p:nvPicPr>
          <p:cNvPr id="3" name="Picture 2">
            <a:extLst>
              <a:ext uri="{FF2B5EF4-FFF2-40B4-BE49-F238E27FC236}">
                <a16:creationId xmlns:a16="http://schemas.microsoft.com/office/drawing/2014/main" id="{95F8D316-FAFE-4EDA-9E4F-4BDACEB9B3B8}"/>
              </a:ext>
            </a:extLst>
          </p:cNvPr>
          <p:cNvPicPr>
            <a:picLocks noChangeAspect="1"/>
          </p:cNvPicPr>
          <p:nvPr/>
        </p:nvPicPr>
        <p:blipFill>
          <a:blip r:embed="rId4"/>
          <a:stretch>
            <a:fillRect/>
          </a:stretch>
        </p:blipFill>
        <p:spPr>
          <a:xfrm>
            <a:off x="4991318" y="1037154"/>
            <a:ext cx="3904805" cy="2887522"/>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box and whisker chart&#10;&#10;Description automatically generated">
            <a:extLst>
              <a:ext uri="{FF2B5EF4-FFF2-40B4-BE49-F238E27FC236}">
                <a16:creationId xmlns:a16="http://schemas.microsoft.com/office/drawing/2014/main" id="{F9FC476F-CF2F-ED45-B476-01CC5282A5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00675" y="1730449"/>
            <a:ext cx="3298979" cy="2853616"/>
          </a:xfrm>
          <a:prstGeom prst="rect">
            <a:avLst/>
          </a:prstGeom>
        </p:spPr>
      </p:pic>
      <p:sp>
        <p:nvSpPr>
          <p:cNvPr id="2" name="Text Placeholder 1">
            <a:extLst>
              <a:ext uri="{FF2B5EF4-FFF2-40B4-BE49-F238E27FC236}">
                <a16:creationId xmlns:a16="http://schemas.microsoft.com/office/drawing/2014/main" id="{B3D2B871-212B-7645-B88D-CE10EEDC696A}"/>
              </a:ext>
            </a:extLst>
          </p:cNvPr>
          <p:cNvSpPr>
            <a:spLocks noGrp="1"/>
          </p:cNvSpPr>
          <p:nvPr>
            <p:ph type="body" sz="quarter" idx="20"/>
          </p:nvPr>
        </p:nvSpPr>
        <p:spPr>
          <a:xfrm>
            <a:off x="706582" y="101402"/>
            <a:ext cx="7808768" cy="506016"/>
          </a:xfrm>
        </p:spPr>
        <p:txBody>
          <a:bodyPr>
            <a:normAutofit/>
          </a:bodyPr>
          <a:lstStyle/>
          <a:p>
            <a:r>
              <a:rPr lang="en-US" sz="2400" noProof="0">
                <a:solidFill>
                  <a:srgbClr val="0070C0"/>
                </a:solidFill>
                <a:latin typeface="Arial" panose="020B0604020202020204" pitchFamily="34" charset="0"/>
                <a:cs typeface="Arial" panose="020B0604020202020204" pitchFamily="34" charset="0"/>
              </a:rPr>
              <a:t>Circulating tumor cells in MGUS and SMM</a:t>
            </a:r>
          </a:p>
        </p:txBody>
      </p:sp>
      <p:sp>
        <p:nvSpPr>
          <p:cNvPr id="6" name="Content Placeholder 2">
            <a:extLst>
              <a:ext uri="{FF2B5EF4-FFF2-40B4-BE49-F238E27FC236}">
                <a16:creationId xmlns:a16="http://schemas.microsoft.com/office/drawing/2014/main" id="{DD093640-3467-5C4E-9A5C-840E7B8EBA0B}"/>
              </a:ext>
            </a:extLst>
          </p:cNvPr>
          <p:cNvSpPr txBox="1">
            <a:spLocks/>
          </p:cNvSpPr>
          <p:nvPr/>
        </p:nvSpPr>
        <p:spPr>
          <a:xfrm>
            <a:off x="370442" y="840852"/>
            <a:ext cx="8403116" cy="319295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4794" indent="-254794" defTabSz="914378">
              <a:spcBef>
                <a:spcPts val="0"/>
              </a:spcBef>
              <a:spcAft>
                <a:spcPts val="750"/>
              </a:spcAft>
              <a:buFont typeface="Arial" panose="020B0604020202020204" pitchFamily="34" charset="0"/>
              <a:buChar char="•"/>
            </a:pPr>
            <a:r>
              <a:rPr lang="en-US" sz="1350">
                <a:solidFill>
                  <a:prstClr val="black"/>
                </a:solidFill>
                <a:latin typeface="Arial" panose="020B0604020202020204" pitchFamily="34" charset="0"/>
                <a:cs typeface="Arial" panose="020B0604020202020204" pitchFamily="34" charset="0"/>
              </a:rPr>
              <a:t>One or more CMMC was detected in 84% of all patients enrolled</a:t>
            </a:r>
          </a:p>
          <a:p>
            <a:pPr marL="254794" indent="-254794" defTabSz="914378">
              <a:spcBef>
                <a:spcPts val="0"/>
              </a:spcBef>
              <a:spcAft>
                <a:spcPts val="750"/>
              </a:spcAft>
              <a:buFont typeface="Arial" panose="020B0604020202020204" pitchFamily="34" charset="0"/>
              <a:buChar char="•"/>
            </a:pPr>
            <a:r>
              <a:rPr lang="en-US" sz="1350">
                <a:solidFill>
                  <a:prstClr val="black"/>
                </a:solidFill>
                <a:latin typeface="Arial" panose="020B0604020202020204" pitchFamily="34" charset="0"/>
                <a:cs typeface="Arial" panose="020B0604020202020204" pitchFamily="34" charset="0"/>
              </a:rPr>
              <a:t>74% of MGUS (56) and 84% of SMM (92) patients with successful enumeration</a:t>
            </a:r>
            <a:r>
              <a:rPr lang="en-US" sz="1350" baseline="30000">
                <a:solidFill>
                  <a:prstClr val="black"/>
                </a:solidFill>
                <a:latin typeface="Arial" panose="020B0604020202020204" pitchFamily="34" charset="0"/>
                <a:cs typeface="Arial" panose="020B0604020202020204" pitchFamily="34" charset="0"/>
              </a:rPr>
              <a:t>1</a:t>
            </a:r>
            <a:endParaRPr lang="en-US" sz="1350">
              <a:solidFill>
                <a:prstClr val="black"/>
              </a:solidFill>
              <a:latin typeface="Arial" panose="020B0604020202020204" pitchFamily="34" charset="0"/>
              <a:cs typeface="Arial" panose="020B0604020202020204" pitchFamily="34" charset="0"/>
            </a:endParaRPr>
          </a:p>
          <a:p>
            <a:pPr marL="254794" indent="-254794" defTabSz="914378">
              <a:spcBef>
                <a:spcPts val="0"/>
              </a:spcBef>
              <a:spcAft>
                <a:spcPts val="750"/>
              </a:spcAft>
              <a:buFont typeface="Arial" panose="020B0604020202020204" pitchFamily="34" charset="0"/>
              <a:buChar char="•"/>
            </a:pPr>
            <a:r>
              <a:rPr lang="en-US" sz="1350">
                <a:solidFill>
                  <a:prstClr val="black"/>
                </a:solidFill>
                <a:latin typeface="Arial" panose="020B0604020202020204" pitchFamily="34" charset="0"/>
                <a:cs typeface="Arial" panose="020B0604020202020204" pitchFamily="34" charset="0"/>
              </a:rPr>
              <a:t>In MM setting, 98% patients found to show CMMCs</a:t>
            </a:r>
            <a:r>
              <a:rPr lang="en-US" sz="1350" baseline="30000">
                <a:solidFill>
                  <a:prstClr val="black"/>
                </a:solidFill>
                <a:latin typeface="Arial" panose="020B0604020202020204" pitchFamily="34" charset="0"/>
                <a:cs typeface="Arial" panose="020B0604020202020204" pitchFamily="34" charset="0"/>
              </a:rPr>
              <a:t>2</a:t>
            </a:r>
            <a:r>
              <a:rPr lang="en-US" sz="1350">
                <a:solidFill>
                  <a:prstClr val="black"/>
                </a:solidFill>
                <a:latin typeface="Arial" panose="020B0604020202020204" pitchFamily="34" charset="0"/>
                <a:cs typeface="Arial" panose="020B0604020202020204" pitchFamily="34" charset="0"/>
              </a:rPr>
              <a:t> </a:t>
            </a:r>
            <a:endParaRPr lang="en-AU" sz="788" i="1">
              <a:solidFill>
                <a:prstClr val="black"/>
              </a:solidFill>
              <a:latin typeface="Arial" panose="020B0604020202020204" pitchFamily="34" charset="0"/>
              <a:ea typeface="ＭＳ 明朝"/>
              <a:cs typeface="Arial" panose="020B0604020202020204" pitchFamily="34" charset="0"/>
            </a:endParaRPr>
          </a:p>
        </p:txBody>
      </p:sp>
      <p:pic>
        <p:nvPicPr>
          <p:cNvPr id="19" name="Picture 18" descr="Chart, bar chart&#10;&#10;Description automatically generated">
            <a:extLst>
              <a:ext uri="{FF2B5EF4-FFF2-40B4-BE49-F238E27FC236}">
                <a16:creationId xmlns:a16="http://schemas.microsoft.com/office/drawing/2014/main" id="{4D7B5567-8E04-6844-8296-322BEAD0B2F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6997" y="1856270"/>
            <a:ext cx="4924249" cy="2667302"/>
          </a:xfrm>
          <a:prstGeom prst="rect">
            <a:avLst/>
          </a:prstGeom>
        </p:spPr>
      </p:pic>
      <p:sp>
        <p:nvSpPr>
          <p:cNvPr id="20" name="TextBox 19">
            <a:extLst>
              <a:ext uri="{FF2B5EF4-FFF2-40B4-BE49-F238E27FC236}">
                <a16:creationId xmlns:a16="http://schemas.microsoft.com/office/drawing/2014/main" id="{7424EE8C-82B1-9147-9B49-93C81D7A4C96}"/>
              </a:ext>
            </a:extLst>
          </p:cNvPr>
          <p:cNvSpPr txBox="1"/>
          <p:nvPr/>
        </p:nvSpPr>
        <p:spPr>
          <a:xfrm>
            <a:off x="6216358" y="2173757"/>
            <a:ext cx="963686" cy="230832"/>
          </a:xfrm>
          <a:prstGeom prst="rect">
            <a:avLst/>
          </a:prstGeom>
          <a:noFill/>
        </p:spPr>
        <p:txBody>
          <a:bodyPr wrap="square" rtlCol="0">
            <a:spAutoFit/>
          </a:bodyPr>
          <a:lstStyle/>
          <a:p>
            <a:pPr algn="ctr" defTabSz="685800"/>
            <a:r>
              <a:rPr lang="en-US" sz="900" i="1">
                <a:solidFill>
                  <a:prstClr val="black"/>
                </a:solidFill>
                <a:latin typeface="Calibri" panose="020F0502020204030204" pitchFamily="34" charset="0"/>
                <a:cs typeface="Calibri" panose="020F0502020204030204" pitchFamily="34" charset="0"/>
              </a:rPr>
              <a:t>Median = 2</a:t>
            </a:r>
          </a:p>
        </p:txBody>
      </p:sp>
      <p:sp>
        <p:nvSpPr>
          <p:cNvPr id="21" name="TextBox 20">
            <a:extLst>
              <a:ext uri="{FF2B5EF4-FFF2-40B4-BE49-F238E27FC236}">
                <a16:creationId xmlns:a16="http://schemas.microsoft.com/office/drawing/2014/main" id="{0ADB9A5D-277B-3C4E-A9EC-B996429D533C}"/>
              </a:ext>
            </a:extLst>
          </p:cNvPr>
          <p:cNvSpPr txBox="1"/>
          <p:nvPr/>
        </p:nvSpPr>
        <p:spPr>
          <a:xfrm>
            <a:off x="7257030" y="1955834"/>
            <a:ext cx="1191712" cy="230832"/>
          </a:xfrm>
          <a:prstGeom prst="rect">
            <a:avLst/>
          </a:prstGeom>
          <a:noFill/>
        </p:spPr>
        <p:txBody>
          <a:bodyPr wrap="square" rtlCol="0">
            <a:spAutoFit/>
          </a:bodyPr>
          <a:lstStyle/>
          <a:p>
            <a:pPr algn="ctr" defTabSz="685800"/>
            <a:r>
              <a:rPr lang="en-US" sz="900" i="1">
                <a:solidFill>
                  <a:prstClr val="black"/>
                </a:solidFill>
                <a:latin typeface="Calibri" panose="020F0502020204030204" pitchFamily="34" charset="0"/>
                <a:cs typeface="Calibri" panose="020F0502020204030204" pitchFamily="34" charset="0"/>
              </a:rPr>
              <a:t>Median = 13</a:t>
            </a:r>
          </a:p>
        </p:txBody>
      </p:sp>
      <p:sp>
        <p:nvSpPr>
          <p:cNvPr id="8" name="14 Rectángulo">
            <a:extLst>
              <a:ext uri="{FF2B5EF4-FFF2-40B4-BE49-F238E27FC236}">
                <a16:creationId xmlns:a16="http://schemas.microsoft.com/office/drawing/2014/main" id="{87A52282-6D74-4B5B-879C-23F2996E7293}"/>
              </a:ext>
            </a:extLst>
          </p:cNvPr>
          <p:cNvSpPr/>
          <p:nvPr/>
        </p:nvSpPr>
        <p:spPr>
          <a:xfrm>
            <a:off x="2514600" y="4898000"/>
            <a:ext cx="6629400" cy="246221"/>
          </a:xfrm>
          <a:prstGeom prst="rect">
            <a:avLst/>
          </a:prstGeom>
        </p:spPr>
        <p:txBody>
          <a:bodyPr wrap="square" anchor="b">
            <a:spAutoFit/>
          </a:bodyPr>
          <a:lstStyle/>
          <a:p>
            <a:pPr algn="r" defTabSz="685783" fontAlgn="base">
              <a:spcBef>
                <a:spcPct val="0"/>
              </a:spcBef>
              <a:spcAft>
                <a:spcPct val="0"/>
              </a:spcAft>
              <a:defRPr/>
            </a:pPr>
            <a:r>
              <a:rPr lang="es-ES" altLang="en-US" sz="1000">
                <a:solidFill>
                  <a:srgbClr val="000000"/>
                </a:solidFill>
                <a:latin typeface="Arial" panose="020B0604020202020204" pitchFamily="34" charset="0"/>
                <a:cs typeface="Arial" pitchFamily="34" charset="0"/>
              </a:rPr>
              <a:t>1. Foulk B, et al. AACR 2016. Abstract 3136; 2. Foulk B, et al. </a:t>
            </a:r>
            <a:r>
              <a:rPr lang="es-ES" altLang="en-US" sz="1000" i="1">
                <a:solidFill>
                  <a:srgbClr val="000000"/>
                </a:solidFill>
                <a:latin typeface="Arial" panose="020B0604020202020204" pitchFamily="34" charset="0"/>
                <a:cs typeface="Arial" pitchFamily="34" charset="0"/>
              </a:rPr>
              <a:t>Br J Haematol</a:t>
            </a:r>
            <a:r>
              <a:rPr lang="es-ES" altLang="en-US" sz="1000">
                <a:solidFill>
                  <a:srgbClr val="000000"/>
                </a:solidFill>
                <a:latin typeface="Arial" panose="020B0604020202020204" pitchFamily="34" charset="0"/>
                <a:cs typeface="Arial" pitchFamily="34" charset="0"/>
              </a:rPr>
              <a:t>. 2017;180:71-81.</a:t>
            </a:r>
          </a:p>
        </p:txBody>
      </p:sp>
    </p:spTree>
    <p:extLst>
      <p:ext uri="{BB962C8B-B14F-4D97-AF65-F5344CB8AC3E}">
        <p14:creationId xmlns:p14="http://schemas.microsoft.com/office/powerpoint/2010/main" val="27148920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D2B871-212B-7645-B88D-CE10EEDC696A}"/>
              </a:ext>
            </a:extLst>
          </p:cNvPr>
          <p:cNvSpPr>
            <a:spLocks noGrp="1"/>
          </p:cNvSpPr>
          <p:nvPr>
            <p:ph type="body" sz="quarter" idx="20"/>
          </p:nvPr>
        </p:nvSpPr>
        <p:spPr>
          <a:xfrm>
            <a:off x="539827" y="99911"/>
            <a:ext cx="8064347" cy="506016"/>
          </a:xfrm>
        </p:spPr>
        <p:txBody>
          <a:bodyPr>
            <a:noAutofit/>
          </a:bodyPr>
          <a:lstStyle/>
          <a:p>
            <a:r>
              <a:rPr lang="en-US" sz="2400" noProof="0">
                <a:solidFill>
                  <a:srgbClr val="0070C0"/>
                </a:solidFill>
                <a:latin typeface="Arial" panose="020B0604020202020204" pitchFamily="34" charset="0"/>
                <a:cs typeface="Arial" panose="020B0604020202020204" pitchFamily="34" charset="0"/>
              </a:rPr>
              <a:t>Circulating tumor cells can improve over 20/2/20</a:t>
            </a:r>
          </a:p>
        </p:txBody>
      </p:sp>
      <p:sp>
        <p:nvSpPr>
          <p:cNvPr id="6" name="Content Placeholder 2">
            <a:extLst>
              <a:ext uri="{FF2B5EF4-FFF2-40B4-BE49-F238E27FC236}">
                <a16:creationId xmlns:a16="http://schemas.microsoft.com/office/drawing/2014/main" id="{DD093640-3467-5C4E-9A5C-840E7B8EBA0B}"/>
              </a:ext>
            </a:extLst>
          </p:cNvPr>
          <p:cNvSpPr txBox="1">
            <a:spLocks/>
          </p:cNvSpPr>
          <p:nvPr/>
        </p:nvSpPr>
        <p:spPr>
          <a:xfrm>
            <a:off x="370442" y="838298"/>
            <a:ext cx="8536983" cy="319295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4794" indent="-254794" defTabSz="914378">
              <a:spcBef>
                <a:spcPts val="0"/>
              </a:spcBef>
              <a:buFont typeface="Arial" panose="020B0604020202020204" pitchFamily="34" charset="0"/>
              <a:buChar char="•"/>
            </a:pPr>
            <a:r>
              <a:rPr lang="en-US" sz="1350" spc="-23">
                <a:solidFill>
                  <a:prstClr val="black"/>
                </a:solidFill>
                <a:latin typeface="Arial" panose="020B0604020202020204" pitchFamily="34" charset="0"/>
                <a:cs typeface="Arial" panose="020B0604020202020204" pitchFamily="34" charset="0"/>
              </a:rPr>
              <a:t>A higher CMMC count was associated with increasing 2/20/20 risk group on the basis of the 3-risk-factor model</a:t>
            </a:r>
          </a:p>
          <a:p>
            <a:pPr marL="254794" indent="-254794" defTabSz="914378">
              <a:spcBef>
                <a:spcPts val="750"/>
              </a:spcBef>
              <a:spcAft>
                <a:spcPts val="400"/>
              </a:spcAft>
              <a:buFont typeface="Arial" panose="020B0604020202020204" pitchFamily="34" charset="0"/>
              <a:buChar char="•"/>
            </a:pPr>
            <a:r>
              <a:rPr lang="en-US" sz="1350">
                <a:solidFill>
                  <a:prstClr val="black"/>
                </a:solidFill>
                <a:latin typeface="Arial" panose="020B0604020202020204" pitchFamily="34" charset="0"/>
                <a:cs typeface="Arial" panose="020B0604020202020204" pitchFamily="34" charset="0"/>
              </a:rPr>
              <a:t>Median of 5, 29, and 59 CMMCs detected at low, intermediate, and high-risk SMM groups, respectively</a:t>
            </a:r>
            <a:endParaRPr lang="en-AU" sz="1350">
              <a:solidFill>
                <a:prstClr val="black"/>
              </a:solidFill>
              <a:latin typeface="Arial" panose="020B0604020202020204" pitchFamily="34" charset="0"/>
              <a:ea typeface="ＭＳ 明朝"/>
              <a:cs typeface="Arial" panose="020B0604020202020204" pitchFamily="34" charset="0"/>
            </a:endParaRPr>
          </a:p>
        </p:txBody>
      </p:sp>
      <p:pic>
        <p:nvPicPr>
          <p:cNvPr id="15" name="Picture 14" descr="Chart, box and whisker chart&#10;&#10;Description automatically generated">
            <a:extLst>
              <a:ext uri="{FF2B5EF4-FFF2-40B4-BE49-F238E27FC236}">
                <a16:creationId xmlns:a16="http://schemas.microsoft.com/office/drawing/2014/main" id="{1064FD06-4DB9-ED40-86F4-A2931018BB9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73442" y="1433231"/>
            <a:ext cx="4486619" cy="3526392"/>
          </a:xfrm>
          <a:prstGeom prst="rect">
            <a:avLst/>
          </a:prstGeom>
        </p:spPr>
      </p:pic>
      <p:sp>
        <p:nvSpPr>
          <p:cNvPr id="8" name="TextBox 7">
            <a:extLst>
              <a:ext uri="{FF2B5EF4-FFF2-40B4-BE49-F238E27FC236}">
                <a16:creationId xmlns:a16="http://schemas.microsoft.com/office/drawing/2014/main" id="{34618421-D8CF-4A41-A543-3819DCFE7C68}"/>
              </a:ext>
            </a:extLst>
          </p:cNvPr>
          <p:cNvSpPr txBox="1"/>
          <p:nvPr/>
        </p:nvSpPr>
        <p:spPr>
          <a:xfrm>
            <a:off x="2991287" y="2832933"/>
            <a:ext cx="963686" cy="219291"/>
          </a:xfrm>
          <a:prstGeom prst="rect">
            <a:avLst/>
          </a:prstGeom>
          <a:noFill/>
        </p:spPr>
        <p:txBody>
          <a:bodyPr wrap="square" rtlCol="0">
            <a:spAutoFit/>
          </a:bodyPr>
          <a:lstStyle/>
          <a:p>
            <a:pPr algn="ctr" defTabSz="685800"/>
            <a:r>
              <a:rPr lang="en-US" sz="825" i="1">
                <a:solidFill>
                  <a:prstClr val="black">
                    <a:lumMod val="65000"/>
                    <a:lumOff val="35000"/>
                  </a:prstClr>
                </a:solidFill>
                <a:latin typeface="Calibri" panose="020F0502020204030204" pitchFamily="34" charset="0"/>
                <a:cs typeface="Calibri" panose="020F0502020204030204" pitchFamily="34" charset="0"/>
              </a:rPr>
              <a:t>n = 42</a:t>
            </a:r>
          </a:p>
        </p:txBody>
      </p:sp>
      <p:sp>
        <p:nvSpPr>
          <p:cNvPr id="16" name="TextBox 15">
            <a:extLst>
              <a:ext uri="{FF2B5EF4-FFF2-40B4-BE49-F238E27FC236}">
                <a16:creationId xmlns:a16="http://schemas.microsoft.com/office/drawing/2014/main" id="{397148B0-7514-C346-B6E8-E9BB9D84F59C}"/>
              </a:ext>
            </a:extLst>
          </p:cNvPr>
          <p:cNvSpPr txBox="1"/>
          <p:nvPr/>
        </p:nvSpPr>
        <p:spPr>
          <a:xfrm>
            <a:off x="3906992" y="2187197"/>
            <a:ext cx="963686" cy="219291"/>
          </a:xfrm>
          <a:prstGeom prst="rect">
            <a:avLst/>
          </a:prstGeom>
          <a:noFill/>
        </p:spPr>
        <p:txBody>
          <a:bodyPr wrap="square" rtlCol="0">
            <a:spAutoFit/>
          </a:bodyPr>
          <a:lstStyle/>
          <a:p>
            <a:pPr algn="ctr" defTabSz="685800"/>
            <a:r>
              <a:rPr lang="en-US" sz="825" i="1">
                <a:solidFill>
                  <a:prstClr val="black">
                    <a:lumMod val="65000"/>
                    <a:lumOff val="35000"/>
                  </a:prstClr>
                </a:solidFill>
                <a:latin typeface="Calibri" panose="020F0502020204030204" pitchFamily="34" charset="0"/>
                <a:cs typeface="Calibri" panose="020F0502020204030204" pitchFamily="34" charset="0"/>
              </a:rPr>
              <a:t>n = 25</a:t>
            </a:r>
          </a:p>
        </p:txBody>
      </p:sp>
      <p:sp>
        <p:nvSpPr>
          <p:cNvPr id="17" name="TextBox 16">
            <a:extLst>
              <a:ext uri="{FF2B5EF4-FFF2-40B4-BE49-F238E27FC236}">
                <a16:creationId xmlns:a16="http://schemas.microsoft.com/office/drawing/2014/main" id="{8F96C024-556B-FA40-8629-A0463337DB7D}"/>
              </a:ext>
            </a:extLst>
          </p:cNvPr>
          <p:cNvSpPr txBox="1"/>
          <p:nvPr/>
        </p:nvSpPr>
        <p:spPr>
          <a:xfrm>
            <a:off x="4870678" y="2420316"/>
            <a:ext cx="963686" cy="219291"/>
          </a:xfrm>
          <a:prstGeom prst="rect">
            <a:avLst/>
          </a:prstGeom>
          <a:noFill/>
        </p:spPr>
        <p:txBody>
          <a:bodyPr wrap="square" rtlCol="0">
            <a:spAutoFit/>
          </a:bodyPr>
          <a:lstStyle/>
          <a:p>
            <a:pPr algn="ctr" defTabSz="685800"/>
            <a:r>
              <a:rPr lang="en-US" sz="825" i="1">
                <a:solidFill>
                  <a:prstClr val="black">
                    <a:lumMod val="65000"/>
                    <a:lumOff val="35000"/>
                  </a:prstClr>
                </a:solidFill>
                <a:latin typeface="Calibri" panose="020F0502020204030204" pitchFamily="34" charset="0"/>
                <a:cs typeface="Calibri" panose="020F0502020204030204" pitchFamily="34" charset="0"/>
              </a:rPr>
              <a:t>n = 12</a:t>
            </a:r>
          </a:p>
        </p:txBody>
      </p:sp>
      <p:sp>
        <p:nvSpPr>
          <p:cNvPr id="9" name="14 Rectángulo">
            <a:extLst>
              <a:ext uri="{FF2B5EF4-FFF2-40B4-BE49-F238E27FC236}">
                <a16:creationId xmlns:a16="http://schemas.microsoft.com/office/drawing/2014/main" id="{7778DF2F-7EB7-4947-A59F-9974CE7507C2}"/>
              </a:ext>
            </a:extLst>
          </p:cNvPr>
          <p:cNvSpPr/>
          <p:nvPr/>
        </p:nvSpPr>
        <p:spPr>
          <a:xfrm>
            <a:off x="5164138" y="4901132"/>
            <a:ext cx="3979862" cy="246221"/>
          </a:xfrm>
          <a:prstGeom prst="rect">
            <a:avLst/>
          </a:prstGeom>
        </p:spPr>
        <p:txBody>
          <a:bodyPr wrap="square" anchor="b">
            <a:spAutoFit/>
          </a:bodyPr>
          <a:lstStyle/>
          <a:p>
            <a:pPr algn="r" defTabSz="685783" fontAlgn="base">
              <a:spcBef>
                <a:spcPct val="0"/>
              </a:spcBef>
              <a:spcAft>
                <a:spcPct val="0"/>
              </a:spcAft>
              <a:defRPr/>
            </a:pPr>
            <a:r>
              <a:rPr lang="es-ES" altLang="en-US" sz="1000">
                <a:solidFill>
                  <a:srgbClr val="000000"/>
                </a:solidFill>
                <a:latin typeface="Arial" panose="020B0604020202020204" pitchFamily="34" charset="0"/>
                <a:cs typeface="Arial" pitchFamily="34" charset="0"/>
              </a:rPr>
              <a:t>Dutta AK, et al. </a:t>
            </a:r>
            <a:r>
              <a:rPr lang="es-ES" altLang="en-US" sz="1000" i="1">
                <a:solidFill>
                  <a:srgbClr val="000000"/>
                </a:solidFill>
                <a:latin typeface="Arial" panose="020B0604020202020204" pitchFamily="34" charset="0"/>
                <a:cs typeface="Arial" pitchFamily="34" charset="0"/>
              </a:rPr>
              <a:t>Blood</a:t>
            </a:r>
            <a:r>
              <a:rPr lang="es-ES" altLang="en-US" sz="1000">
                <a:solidFill>
                  <a:srgbClr val="000000"/>
                </a:solidFill>
                <a:latin typeface="Arial" panose="020B0604020202020204" pitchFamily="34" charset="0"/>
                <a:cs typeface="Arial" pitchFamily="34" charset="0"/>
              </a:rPr>
              <a:t>. 2021;138(</a:t>
            </a:r>
            <a:r>
              <a:rPr lang="en-US" altLang="en-US" sz="1000">
                <a:solidFill>
                  <a:srgbClr val="000000"/>
                </a:solidFill>
                <a:latin typeface="Arial" panose="020B0604020202020204" pitchFamily="34" charset="0"/>
                <a:cs typeface="Arial" pitchFamily="34" charset="0"/>
              </a:rPr>
              <a:t>suppl</a:t>
            </a:r>
            <a:r>
              <a:rPr lang="es-ES" altLang="en-US" sz="1000">
                <a:solidFill>
                  <a:srgbClr val="000000"/>
                </a:solidFill>
                <a:latin typeface="Arial" panose="020B0604020202020204" pitchFamily="34" charset="0"/>
                <a:cs typeface="Arial" pitchFamily="34" charset="0"/>
              </a:rPr>
              <a:t> 1): abstract 78.</a:t>
            </a:r>
          </a:p>
        </p:txBody>
      </p:sp>
    </p:spTree>
    <p:extLst>
      <p:ext uri="{BB962C8B-B14F-4D97-AF65-F5344CB8AC3E}">
        <p14:creationId xmlns:p14="http://schemas.microsoft.com/office/powerpoint/2010/main" val="34056456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Text Box 18">
            <a:extLst>
              <a:ext uri="{FF2B5EF4-FFF2-40B4-BE49-F238E27FC236}">
                <a16:creationId xmlns:a16="http://schemas.microsoft.com/office/drawing/2014/main" id="{595E3430-70C0-0845-AFA2-BAF45235F67A}"/>
              </a:ext>
            </a:extLst>
          </p:cNvPr>
          <p:cNvSpPr txBox="1">
            <a:spLocks noChangeArrowheads="1"/>
          </p:cNvSpPr>
          <p:nvPr/>
        </p:nvSpPr>
        <p:spPr bwMode="auto">
          <a:xfrm>
            <a:off x="14289" y="103085"/>
            <a:ext cx="912971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37931725" indent="-37474525">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fontAlgn="base">
              <a:spcBef>
                <a:spcPct val="0"/>
              </a:spcBef>
              <a:spcAft>
                <a:spcPct val="0"/>
              </a:spcAft>
              <a:defRPr/>
            </a:pPr>
            <a:r>
              <a:rPr lang="en-US" altLang="es-ES_tradnl" sz="2400" b="1">
                <a:solidFill>
                  <a:srgbClr val="0070C0"/>
                </a:solidFill>
                <a:ea typeface="ＭＳ Ｐゴシック" panose="020B0600070205080204" pitchFamily="34" charset="-128"/>
                <a:cs typeface="ＭＳ Ｐゴシック" panose="020B0600070205080204" pitchFamily="34" charset="-128"/>
              </a:rPr>
              <a:t>Smoldering multiple myeloma: Evolving vs non-evolving </a:t>
            </a:r>
            <a:br>
              <a:rPr lang="en-US" altLang="es-ES_tradnl" sz="2400" b="1">
                <a:solidFill>
                  <a:srgbClr val="0070C0"/>
                </a:solidFill>
                <a:ea typeface="ＭＳ Ｐゴシック" panose="020B0600070205080204" pitchFamily="34" charset="-128"/>
                <a:cs typeface="ＭＳ Ｐゴシック" panose="020B0600070205080204" pitchFamily="34" charset="-128"/>
              </a:rPr>
            </a:br>
            <a:r>
              <a:rPr lang="en-US" altLang="es-ES_tradnl" b="1">
                <a:solidFill>
                  <a:srgbClr val="0070C0"/>
                </a:solidFill>
                <a:ea typeface="ＭＳ Ｐゴシック" panose="020B0600070205080204" pitchFamily="34" charset="-128"/>
                <a:cs typeface="ＭＳ Ｐゴシック" panose="020B0600070205080204" pitchFamily="34" charset="-128"/>
              </a:rPr>
              <a:t>(N = 206)</a:t>
            </a:r>
            <a:endParaRPr lang="en-US" altLang="es-ES_tradnl" sz="2400" b="1">
              <a:solidFill>
                <a:srgbClr val="0070C0"/>
              </a:solidFill>
              <a:ea typeface="ＭＳ Ｐゴシック" panose="020B0600070205080204" pitchFamily="34" charset="-128"/>
              <a:cs typeface="ＭＳ Ｐゴシック" panose="020B0600070205080204" pitchFamily="34" charset="-128"/>
            </a:endParaRPr>
          </a:p>
        </p:txBody>
      </p:sp>
      <p:sp>
        <p:nvSpPr>
          <p:cNvPr id="92162" name="CuadroTexto 16">
            <a:extLst>
              <a:ext uri="{FF2B5EF4-FFF2-40B4-BE49-F238E27FC236}">
                <a16:creationId xmlns:a16="http://schemas.microsoft.com/office/drawing/2014/main" id="{FA8E0358-E554-F443-A42D-2387962888E9}"/>
              </a:ext>
            </a:extLst>
          </p:cNvPr>
          <p:cNvSpPr txBox="1">
            <a:spLocks noChangeArrowheads="1"/>
          </p:cNvSpPr>
          <p:nvPr/>
        </p:nvSpPr>
        <p:spPr bwMode="auto">
          <a:xfrm>
            <a:off x="382772" y="952501"/>
            <a:ext cx="769197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37931725" indent="-37474525">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fontAlgn="base">
              <a:spcBef>
                <a:spcPct val="0"/>
              </a:spcBef>
              <a:spcAft>
                <a:spcPct val="0"/>
              </a:spcAft>
              <a:defRPr/>
            </a:pPr>
            <a:r>
              <a:rPr lang="en-US" altLang="es-ES_tradnl" sz="1400" b="1">
                <a:solidFill>
                  <a:srgbClr val="0366F0"/>
                </a:solidFill>
                <a:ea typeface="ＭＳ Ｐゴシック" panose="020B0600070205080204" pitchFamily="34" charset="-128"/>
                <a:cs typeface="ＭＳ Ｐゴシック" panose="020B0600070205080204" pitchFamily="34" charset="-128"/>
              </a:rPr>
              <a:t>Evolving SMM (52 [25%]): </a:t>
            </a:r>
            <a:r>
              <a:rPr lang="en-US" altLang="es-ES_tradnl" sz="1200" i="1">
                <a:solidFill>
                  <a:prstClr val="black"/>
                </a:solidFill>
                <a:ea typeface="ＭＳ Ｐゴシック" panose="020B0600070205080204" pitchFamily="34" charset="-128"/>
                <a:cs typeface="ＭＳ Ｐゴシック" panose="020B0600070205080204" pitchFamily="34" charset="-128"/>
              </a:rPr>
              <a:t>If MC ≥30 g/L; at least 10% increase within the first 6 months from diagnosis; or if MC &lt;30 g/L, progressive increase in MC in each of the annual consecutive measurements during 3 years </a:t>
            </a:r>
            <a:r>
              <a:rPr lang="en-US" altLang="es-ES_tradnl" sz="1400" b="1">
                <a:solidFill>
                  <a:srgbClr val="0366F0"/>
                </a:solidFill>
                <a:ea typeface="ＭＳ Ｐゴシック" panose="020B0600070205080204" pitchFamily="34" charset="-128"/>
                <a:cs typeface="ＭＳ Ｐゴシック" panose="020B0600070205080204" pitchFamily="34" charset="-128"/>
              </a:rPr>
              <a:t>Non-evolving (75%): </a:t>
            </a:r>
            <a:r>
              <a:rPr lang="en-US" altLang="es-ES_tradnl" sz="1200" i="1">
                <a:solidFill>
                  <a:prstClr val="black"/>
                </a:solidFill>
                <a:ea typeface="ＭＳ Ｐゴシック" panose="020B0600070205080204" pitchFamily="34" charset="-128"/>
                <a:cs typeface="ＭＳ Ｐゴシック" panose="020B0600070205080204" pitchFamily="34" charset="-128"/>
              </a:rPr>
              <a:t>Stable serum M component until progression occurs</a:t>
            </a:r>
          </a:p>
        </p:txBody>
      </p:sp>
      <p:pic>
        <p:nvPicPr>
          <p:cNvPr id="92163" name="Picture 15">
            <a:extLst>
              <a:ext uri="{FF2B5EF4-FFF2-40B4-BE49-F238E27FC236}">
                <a16:creationId xmlns:a16="http://schemas.microsoft.com/office/drawing/2014/main" id="{92E0707F-28A1-694E-AA79-AB1991F51D7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908548" y="1779750"/>
            <a:ext cx="3706812" cy="3038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 name="TextBox 6">
            <a:extLst>
              <a:ext uri="{FF2B5EF4-FFF2-40B4-BE49-F238E27FC236}">
                <a16:creationId xmlns:a16="http://schemas.microsoft.com/office/drawing/2014/main" id="{FB55AD2F-3909-0E45-B537-441D3A181FE8}"/>
              </a:ext>
            </a:extLst>
          </p:cNvPr>
          <p:cNvSpPr txBox="1">
            <a:spLocks noChangeArrowheads="1"/>
          </p:cNvSpPr>
          <p:nvPr/>
        </p:nvSpPr>
        <p:spPr bwMode="auto">
          <a:xfrm>
            <a:off x="5653863" y="1928813"/>
            <a:ext cx="3416395" cy="2246449"/>
          </a:xfrm>
          <a:prstGeom prst="rect">
            <a:avLst/>
          </a:prstGeom>
          <a:noFill/>
          <a:ln w="9525">
            <a:noFill/>
            <a:miter lim="800000"/>
            <a:headEnd/>
            <a:tailEnd/>
          </a:ln>
        </p:spPr>
        <p:txBody>
          <a:bodyPr wrap="square">
            <a:spAutoFit/>
          </a:bodyPr>
          <a:lstStyle/>
          <a:p>
            <a:pPr defTabSz="685783">
              <a:defRPr/>
            </a:pPr>
            <a:r>
              <a:rPr lang="en-US" sz="1350" b="1" i="1" kern="0" dirty="0">
                <a:solidFill>
                  <a:srgbClr val="0432FF"/>
                </a:solidFill>
                <a:latin typeface="Arial" charset="0"/>
                <a:ea typeface="Geneva" charset="0"/>
                <a:cs typeface="Geneva" charset="0"/>
              </a:rPr>
              <a:t>Evolving SMM: </a:t>
            </a:r>
            <a:r>
              <a:rPr lang="en-US" altLang="es-ES" sz="1350" dirty="0">
                <a:solidFill>
                  <a:prstClr val="black"/>
                </a:solidFill>
                <a:latin typeface="Arial" panose="020B0604020202020204" pitchFamily="34" charset="0"/>
              </a:rPr>
              <a:t>Median time from </a:t>
            </a:r>
            <a:r>
              <a:rPr lang="en-US" altLang="es-ES" sz="1350" u="sng" dirty="0">
                <a:solidFill>
                  <a:prstClr val="black"/>
                </a:solidFill>
                <a:latin typeface="Arial" panose="020B0604020202020204" pitchFamily="34" charset="0"/>
              </a:rPr>
              <a:t>recognition</a:t>
            </a:r>
            <a:r>
              <a:rPr lang="en-US" altLang="es-ES" sz="1350" dirty="0">
                <a:solidFill>
                  <a:prstClr val="black"/>
                </a:solidFill>
                <a:latin typeface="Arial" panose="020B0604020202020204" pitchFamily="34" charset="0"/>
              </a:rPr>
              <a:t> of evolving type to symptomatic MM – 1.1 years.</a:t>
            </a:r>
          </a:p>
          <a:p>
            <a:pPr defTabSz="685783">
              <a:defRPr/>
            </a:pPr>
            <a:endParaRPr lang="en-US" sz="1350" b="1" i="1" kern="0" dirty="0">
              <a:solidFill>
                <a:srgbClr val="0432FF"/>
              </a:solidFill>
              <a:latin typeface="Arial" charset="0"/>
              <a:ea typeface="Geneva" charset="0"/>
              <a:cs typeface="Geneva" charset="0"/>
            </a:endParaRPr>
          </a:p>
          <a:p>
            <a:pPr marL="214308" indent="-214308" defTabSz="685783">
              <a:buFont typeface="Arial" charset="0"/>
              <a:buChar char="•"/>
              <a:defRPr/>
            </a:pPr>
            <a:r>
              <a:rPr lang="en-US" altLang="es-ES" sz="1200" b="1" dirty="0">
                <a:solidFill>
                  <a:prstClr val="black"/>
                </a:solidFill>
                <a:latin typeface="Arial" panose="020B0604020202020204" pitchFamily="34" charset="0"/>
              </a:rPr>
              <a:t>Increased the HR for progression to 5.1 </a:t>
            </a:r>
          </a:p>
          <a:p>
            <a:pPr marL="214308" indent="-214308" defTabSz="685783">
              <a:buFont typeface="Arial" charset="0"/>
              <a:buChar char="•"/>
              <a:defRPr/>
            </a:pPr>
            <a:endParaRPr lang="en-US" sz="1200" kern="0" dirty="0">
              <a:solidFill>
                <a:prstClr val="black"/>
              </a:solidFill>
              <a:latin typeface="Arial" charset="0"/>
              <a:ea typeface="Geneva" charset="0"/>
              <a:cs typeface="Geneva" charset="0"/>
            </a:endParaRPr>
          </a:p>
          <a:p>
            <a:pPr marL="214308" indent="-214308" defTabSz="685783">
              <a:buFont typeface="Arial" charset="0"/>
              <a:buChar char="•"/>
              <a:defRPr/>
            </a:pPr>
            <a:r>
              <a:rPr lang="en-US" sz="1200" b="1" kern="0" dirty="0">
                <a:solidFill>
                  <a:srgbClr val="C00000"/>
                </a:solidFill>
                <a:latin typeface="Arial" charset="0"/>
                <a:ea typeface="Geneva" charset="0"/>
                <a:cs typeface="Geneva" charset="0"/>
              </a:rPr>
              <a:t>Risk progression at 2 years: 45%</a:t>
            </a:r>
          </a:p>
          <a:p>
            <a:pPr marL="214308" indent="-214308" defTabSz="685783">
              <a:defRPr/>
            </a:pPr>
            <a:endParaRPr lang="en-US" sz="1200" kern="0" dirty="0">
              <a:solidFill>
                <a:srgbClr val="C00000"/>
              </a:solidFill>
              <a:latin typeface="Arial" charset="0"/>
              <a:ea typeface="Geneva" charset="0"/>
              <a:cs typeface="Geneva" charset="0"/>
            </a:endParaRPr>
          </a:p>
          <a:p>
            <a:pPr marL="214308" indent="-214308" defTabSz="685783">
              <a:buFont typeface="Arial" charset="0"/>
              <a:buChar char="•"/>
              <a:defRPr/>
            </a:pPr>
            <a:r>
              <a:rPr lang="en-US" sz="1200" b="1" kern="0" dirty="0">
                <a:solidFill>
                  <a:srgbClr val="C00000"/>
                </a:solidFill>
                <a:latin typeface="Arial" charset="0"/>
                <a:ea typeface="Geneva" charset="0"/>
                <a:cs typeface="Geneva" charset="0"/>
              </a:rPr>
              <a:t>Risk progression at 3 years: 71%</a:t>
            </a:r>
          </a:p>
          <a:p>
            <a:pPr marL="214308" indent="-214308" defTabSz="685783">
              <a:defRPr/>
            </a:pPr>
            <a:endParaRPr lang="en-US" sz="1200" kern="0" dirty="0">
              <a:solidFill>
                <a:prstClr val="black"/>
              </a:solidFill>
              <a:latin typeface="Arial" charset="0"/>
              <a:ea typeface="Geneva" charset="0"/>
              <a:cs typeface="Geneva" charset="0"/>
            </a:endParaRPr>
          </a:p>
          <a:p>
            <a:pPr marL="214308" indent="-214308" defTabSz="685783">
              <a:lnSpc>
                <a:spcPct val="130000"/>
              </a:lnSpc>
              <a:buFont typeface="Arial" charset="0"/>
              <a:buChar char="•"/>
              <a:defRPr/>
            </a:pPr>
            <a:r>
              <a:rPr lang="en-US" sz="1200" kern="0" dirty="0">
                <a:solidFill>
                  <a:prstClr val="black"/>
                </a:solidFill>
                <a:latin typeface="Arial" charset="0"/>
                <a:ea typeface="Geneva" charset="0"/>
                <a:cs typeface="Geneva" charset="0"/>
              </a:rPr>
              <a:t>IgA isotype: (41.2% vs 23.8%; </a:t>
            </a:r>
            <a:r>
              <a:rPr lang="en-US" sz="1200" i="1" kern="0" dirty="0">
                <a:solidFill>
                  <a:prstClr val="black"/>
                </a:solidFill>
                <a:latin typeface="Arial" charset="0"/>
                <a:ea typeface="Geneva" charset="0"/>
                <a:cs typeface="Geneva" charset="0"/>
              </a:rPr>
              <a:t>P</a:t>
            </a:r>
            <a:r>
              <a:rPr lang="en-US" sz="1200" kern="0" dirty="0">
                <a:solidFill>
                  <a:prstClr val="black"/>
                </a:solidFill>
                <a:latin typeface="Arial" charset="0"/>
                <a:ea typeface="Geneva" charset="0"/>
                <a:cs typeface="Geneva" charset="0"/>
              </a:rPr>
              <a:t> = .02) </a:t>
            </a:r>
          </a:p>
        </p:txBody>
      </p:sp>
      <p:sp>
        <p:nvSpPr>
          <p:cNvPr id="155" name="TextBox 7">
            <a:extLst>
              <a:ext uri="{FF2B5EF4-FFF2-40B4-BE49-F238E27FC236}">
                <a16:creationId xmlns:a16="http://schemas.microsoft.com/office/drawing/2014/main" id="{2120DBB7-8F08-6244-A909-C6ED8B7629BD}"/>
              </a:ext>
            </a:extLst>
          </p:cNvPr>
          <p:cNvSpPr txBox="1">
            <a:spLocks noChangeArrowheads="1"/>
          </p:cNvSpPr>
          <p:nvPr/>
        </p:nvSpPr>
        <p:spPr bwMode="auto">
          <a:xfrm>
            <a:off x="3176934" y="2091613"/>
            <a:ext cx="1577975" cy="300082"/>
          </a:xfrm>
          <a:prstGeom prst="rect">
            <a:avLst/>
          </a:prstGeom>
          <a:noFill/>
          <a:ln w="9525">
            <a:noFill/>
            <a:miter lim="800000"/>
            <a:headEnd/>
            <a:tailEnd/>
          </a:ln>
        </p:spPr>
        <p:txBody>
          <a:bodyPr>
            <a:spAutoFit/>
          </a:bodyPr>
          <a:lstStyle/>
          <a:p>
            <a:pPr defTabSz="685783">
              <a:defRPr/>
            </a:pPr>
            <a:r>
              <a:rPr lang="en-US" sz="1350" kern="0">
                <a:solidFill>
                  <a:sysClr val="windowText" lastClr="000000"/>
                </a:solidFill>
                <a:latin typeface="Arial" charset="0"/>
                <a:ea typeface="Geneva" charset="0"/>
                <a:cs typeface="Geneva" charset="0"/>
              </a:rPr>
              <a:t> </a:t>
            </a:r>
            <a:r>
              <a:rPr lang="en-US" sz="1050" b="1" kern="0">
                <a:solidFill>
                  <a:srgbClr val="F50505"/>
                </a:solidFill>
                <a:latin typeface="Arial" charset="0"/>
                <a:ea typeface="Geneva" charset="0"/>
                <a:cs typeface="Geneva" charset="0"/>
              </a:rPr>
              <a:t>Median TTP 3 years</a:t>
            </a:r>
          </a:p>
        </p:txBody>
      </p:sp>
      <p:sp>
        <p:nvSpPr>
          <p:cNvPr id="156" name="TextBox 8">
            <a:extLst>
              <a:ext uri="{FF2B5EF4-FFF2-40B4-BE49-F238E27FC236}">
                <a16:creationId xmlns:a16="http://schemas.microsoft.com/office/drawing/2014/main" id="{46F3E06B-5D61-F446-8C78-9A166EDDCAE3}"/>
              </a:ext>
            </a:extLst>
          </p:cNvPr>
          <p:cNvSpPr txBox="1">
            <a:spLocks noChangeArrowheads="1"/>
          </p:cNvSpPr>
          <p:nvPr/>
        </p:nvSpPr>
        <p:spPr bwMode="auto">
          <a:xfrm>
            <a:off x="3698877" y="2791596"/>
            <a:ext cx="1662113" cy="253916"/>
          </a:xfrm>
          <a:prstGeom prst="rect">
            <a:avLst/>
          </a:prstGeom>
          <a:noFill/>
          <a:ln w="9525">
            <a:noFill/>
            <a:miter lim="800000"/>
            <a:headEnd/>
            <a:tailEnd/>
          </a:ln>
        </p:spPr>
        <p:txBody>
          <a:bodyPr>
            <a:spAutoFit/>
          </a:bodyPr>
          <a:lstStyle/>
          <a:p>
            <a:pPr defTabSz="685783">
              <a:defRPr/>
            </a:pPr>
            <a:r>
              <a:rPr lang="en-US" sz="1050" b="1" kern="0">
                <a:solidFill>
                  <a:sysClr val="windowText" lastClr="000000"/>
                </a:solidFill>
                <a:latin typeface="Arial" charset="0"/>
                <a:ea typeface="Geneva" charset="0"/>
                <a:cs typeface="Geneva" charset="0"/>
              </a:rPr>
              <a:t>Median TTP 19.4 years</a:t>
            </a:r>
          </a:p>
        </p:txBody>
      </p:sp>
      <p:sp>
        <p:nvSpPr>
          <p:cNvPr id="157" name="TextBox 9">
            <a:extLst>
              <a:ext uri="{FF2B5EF4-FFF2-40B4-BE49-F238E27FC236}">
                <a16:creationId xmlns:a16="http://schemas.microsoft.com/office/drawing/2014/main" id="{42CA3E78-144E-CB47-A2A1-18E18CB10C63}"/>
              </a:ext>
            </a:extLst>
          </p:cNvPr>
          <p:cNvSpPr txBox="1">
            <a:spLocks noChangeArrowheads="1"/>
          </p:cNvSpPr>
          <p:nvPr/>
        </p:nvSpPr>
        <p:spPr bwMode="auto">
          <a:xfrm>
            <a:off x="3595689" y="3529013"/>
            <a:ext cx="747712" cy="230832"/>
          </a:xfrm>
          <a:prstGeom prst="rect">
            <a:avLst/>
          </a:prstGeom>
          <a:noFill/>
          <a:ln w="9525">
            <a:noFill/>
            <a:miter lim="800000"/>
            <a:headEnd/>
            <a:tailEnd/>
          </a:ln>
        </p:spPr>
        <p:txBody>
          <a:bodyPr>
            <a:spAutoFit/>
          </a:bodyPr>
          <a:lstStyle/>
          <a:p>
            <a:pPr defTabSz="685783">
              <a:defRPr/>
            </a:pPr>
            <a:r>
              <a:rPr lang="en-US" sz="900" i="1" kern="0">
                <a:solidFill>
                  <a:sysClr val="windowText" lastClr="000000"/>
                </a:solidFill>
                <a:latin typeface="Arial" charset="0"/>
                <a:ea typeface="Geneva" charset="0"/>
                <a:cs typeface="Geneva" charset="0"/>
              </a:rPr>
              <a:t>P</a:t>
            </a:r>
            <a:r>
              <a:rPr lang="en-US" sz="900" kern="0">
                <a:solidFill>
                  <a:sysClr val="windowText" lastClr="000000"/>
                </a:solidFill>
                <a:latin typeface="Arial" charset="0"/>
                <a:ea typeface="Geneva" charset="0"/>
                <a:cs typeface="Geneva" charset="0"/>
              </a:rPr>
              <a:t> &lt;.001</a:t>
            </a:r>
          </a:p>
        </p:txBody>
      </p:sp>
      <p:sp>
        <p:nvSpPr>
          <p:cNvPr id="92168" name="Marcador de contenido 2">
            <a:extLst>
              <a:ext uri="{FF2B5EF4-FFF2-40B4-BE49-F238E27FC236}">
                <a16:creationId xmlns:a16="http://schemas.microsoft.com/office/drawing/2014/main" id="{D4ADB63A-C5AD-A843-BCA0-0F994619E0C0}"/>
              </a:ext>
            </a:extLst>
          </p:cNvPr>
          <p:cNvSpPr txBox="1">
            <a:spLocks noChangeArrowheads="1"/>
          </p:cNvSpPr>
          <p:nvPr/>
        </p:nvSpPr>
        <p:spPr bwMode="auto">
          <a:xfrm>
            <a:off x="105642" y="2243139"/>
            <a:ext cx="1755058" cy="196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1450" indent="-171450"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marL="171446" indent="-171446" defTabSz="685783" eaLnBrk="0" fontAlgn="base" hangingPunct="0">
              <a:spcAft>
                <a:spcPct val="0"/>
              </a:spcAft>
              <a:defRPr/>
            </a:pPr>
            <a:r>
              <a:rPr lang="en-US" altLang="es-ES" sz="1400">
                <a:solidFill>
                  <a:prstClr val="black"/>
                </a:solidFill>
                <a:latin typeface="Arial" panose="020B0604020202020204" pitchFamily="34" charset="0"/>
                <a:cs typeface="Arial" panose="020B0604020202020204" pitchFamily="34" charset="0"/>
              </a:rPr>
              <a:t>206 patients</a:t>
            </a:r>
          </a:p>
          <a:p>
            <a:pPr marL="171446" indent="-171446" defTabSz="685783" eaLnBrk="0" fontAlgn="base" hangingPunct="0">
              <a:spcAft>
                <a:spcPct val="0"/>
              </a:spcAft>
              <a:defRPr/>
            </a:pPr>
            <a:r>
              <a:rPr lang="en-US" altLang="es-ES" sz="1400">
                <a:solidFill>
                  <a:prstClr val="black"/>
                </a:solidFill>
                <a:latin typeface="Arial" panose="020B0604020202020204" pitchFamily="34" charset="0"/>
                <a:cs typeface="Arial" panose="020B0604020202020204" pitchFamily="34" charset="0"/>
              </a:rPr>
              <a:t>Independent of Mayo criteria and immunoparesis</a:t>
            </a:r>
          </a:p>
          <a:p>
            <a:pPr marL="171446" indent="-171446" defTabSz="685783" eaLnBrk="0" fontAlgn="base" hangingPunct="0">
              <a:spcAft>
                <a:spcPct val="0"/>
              </a:spcAft>
              <a:defRPr/>
            </a:pPr>
            <a:endParaRPr lang="en-US" altLang="es-ES" sz="2000">
              <a:solidFill>
                <a:prstClr val="black"/>
              </a:solidFill>
              <a:latin typeface="Arial" panose="020B0604020202020204" pitchFamily="34" charset="0"/>
              <a:cs typeface="Arial" panose="020B0604020202020204" pitchFamily="34" charset="0"/>
            </a:endParaRPr>
          </a:p>
        </p:txBody>
      </p:sp>
      <p:sp>
        <p:nvSpPr>
          <p:cNvPr id="92169" name="Rectángulo 3">
            <a:extLst>
              <a:ext uri="{FF2B5EF4-FFF2-40B4-BE49-F238E27FC236}">
                <a16:creationId xmlns:a16="http://schemas.microsoft.com/office/drawing/2014/main" id="{7BE99C52-7688-B048-A397-B982EB3B9661}"/>
              </a:ext>
            </a:extLst>
          </p:cNvPr>
          <p:cNvSpPr>
            <a:spLocks noChangeArrowheads="1"/>
          </p:cNvSpPr>
          <p:nvPr/>
        </p:nvSpPr>
        <p:spPr bwMode="auto">
          <a:xfrm>
            <a:off x="4972930" y="4903490"/>
            <a:ext cx="41710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r" defTabSz="457189" eaLnBrk="0" fontAlgn="base" hangingPunct="0">
              <a:spcBef>
                <a:spcPct val="0"/>
              </a:spcBef>
              <a:spcAft>
                <a:spcPct val="0"/>
              </a:spcAft>
              <a:defRPr/>
            </a:pPr>
            <a:r>
              <a:rPr lang="en-US" altLang="es-ES" sz="1000">
                <a:solidFill>
                  <a:prstClr val="black"/>
                </a:solidFill>
              </a:rPr>
              <a:t>Fernández de Larrea C, et al. </a:t>
            </a:r>
            <a:r>
              <a:rPr lang="en-US" altLang="es-ES" sz="1000" i="1">
                <a:solidFill>
                  <a:prstClr val="black"/>
                </a:solidFill>
              </a:rPr>
              <a:t>Leukemia</a:t>
            </a:r>
            <a:r>
              <a:rPr lang="en-US" altLang="es-ES" sz="1000">
                <a:solidFill>
                  <a:prstClr val="black"/>
                </a:solidFill>
              </a:rPr>
              <a:t>. 2018,32:1427-1434.</a:t>
            </a:r>
          </a:p>
        </p:txBody>
      </p:sp>
      <p:sp>
        <p:nvSpPr>
          <p:cNvPr id="12" name="TextBox 11">
            <a:extLst>
              <a:ext uri="{FF2B5EF4-FFF2-40B4-BE49-F238E27FC236}">
                <a16:creationId xmlns:a16="http://schemas.microsoft.com/office/drawing/2014/main" id="{6476E8AC-522D-4294-85A6-8CD128C8FADE}"/>
              </a:ext>
            </a:extLst>
          </p:cNvPr>
          <p:cNvSpPr txBox="1"/>
          <p:nvPr/>
        </p:nvSpPr>
        <p:spPr>
          <a:xfrm>
            <a:off x="0" y="4901168"/>
            <a:ext cx="2805112" cy="246221"/>
          </a:xfrm>
          <a:prstGeom prst="rect">
            <a:avLst/>
          </a:prstGeom>
          <a:noFill/>
        </p:spPr>
        <p:txBody>
          <a:bodyPr anchor="b">
            <a:spAutoFit/>
          </a:bodyPr>
          <a:lstStyle/>
          <a:p>
            <a:pPr defTabSz="457189" eaLnBrk="0" fontAlgn="base" hangingPunct="0">
              <a:spcBef>
                <a:spcPct val="0"/>
              </a:spcBef>
              <a:spcAft>
                <a:spcPct val="0"/>
              </a:spcAft>
              <a:defRPr/>
            </a:pPr>
            <a:r>
              <a:rPr lang="en-US" sz="1000">
                <a:solidFill>
                  <a:prstClr val="black"/>
                </a:solidFill>
                <a:latin typeface="Arial" panose="020B0604020202020204" pitchFamily="34" charset="0"/>
              </a:rPr>
              <a:t>Slides courtesy of Dr San Miguel. </a:t>
            </a:r>
          </a:p>
        </p:txBody>
      </p:sp>
      <p:sp>
        <p:nvSpPr>
          <p:cNvPr id="13" name="TextBox 12">
            <a:extLst>
              <a:ext uri="{FF2B5EF4-FFF2-40B4-BE49-F238E27FC236}">
                <a16:creationId xmlns:a16="http://schemas.microsoft.com/office/drawing/2014/main" id="{401C523F-B725-439B-BF28-C0FF1FB92FCE}"/>
              </a:ext>
            </a:extLst>
          </p:cNvPr>
          <p:cNvSpPr txBox="1"/>
          <p:nvPr/>
        </p:nvSpPr>
        <p:spPr>
          <a:xfrm>
            <a:off x="2960554" y="4636199"/>
            <a:ext cx="1856935" cy="230832"/>
          </a:xfrm>
          <a:prstGeom prst="rect">
            <a:avLst/>
          </a:prstGeom>
          <a:solidFill>
            <a:schemeClr val="bg1"/>
          </a:solidFill>
        </p:spPr>
        <p:txBody>
          <a:bodyPr wrap="square" anchor="b">
            <a:spAutoFit/>
          </a:bodyPr>
          <a:lstStyle/>
          <a:p>
            <a:pPr algn="ctr" defTabSz="457189" eaLnBrk="0" fontAlgn="base" hangingPunct="0">
              <a:spcBef>
                <a:spcPct val="0"/>
              </a:spcBef>
              <a:spcAft>
                <a:spcPct val="0"/>
              </a:spcAft>
              <a:defRPr/>
            </a:pPr>
            <a:r>
              <a:rPr lang="en-US" sz="900">
                <a:solidFill>
                  <a:prstClr val="black"/>
                </a:solidFill>
                <a:latin typeface="Arial" panose="020B0604020202020204" pitchFamily="34" charset="0"/>
              </a:rPr>
              <a:t>Years since diagnosis</a:t>
            </a:r>
          </a:p>
        </p:txBody>
      </p:sp>
      <p:sp>
        <p:nvSpPr>
          <p:cNvPr id="14" name="TextBox 13">
            <a:extLst>
              <a:ext uri="{FF2B5EF4-FFF2-40B4-BE49-F238E27FC236}">
                <a16:creationId xmlns:a16="http://schemas.microsoft.com/office/drawing/2014/main" id="{4524965F-8660-4ACD-BB99-CDDC8D538C79}"/>
              </a:ext>
            </a:extLst>
          </p:cNvPr>
          <p:cNvSpPr txBox="1"/>
          <p:nvPr/>
        </p:nvSpPr>
        <p:spPr>
          <a:xfrm rot="16200000">
            <a:off x="1068195" y="2955821"/>
            <a:ext cx="1856935" cy="230832"/>
          </a:xfrm>
          <a:prstGeom prst="rect">
            <a:avLst/>
          </a:prstGeom>
          <a:solidFill>
            <a:schemeClr val="bg1"/>
          </a:solidFill>
        </p:spPr>
        <p:txBody>
          <a:bodyPr wrap="square" anchor="b">
            <a:spAutoFit/>
          </a:bodyPr>
          <a:lstStyle/>
          <a:p>
            <a:pPr algn="ctr" defTabSz="457189" eaLnBrk="0" fontAlgn="base" hangingPunct="0">
              <a:spcBef>
                <a:spcPct val="0"/>
              </a:spcBef>
              <a:spcAft>
                <a:spcPct val="0"/>
              </a:spcAft>
              <a:defRPr/>
            </a:pPr>
            <a:r>
              <a:rPr lang="en-US" sz="900">
                <a:solidFill>
                  <a:prstClr val="black"/>
                </a:solidFill>
                <a:latin typeface="Arial" panose="020B0604020202020204" pitchFamily="34" charset="0"/>
              </a:rPr>
              <a:t>Probability of progression, %</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8">
            <a:extLst>
              <a:ext uri="{FF2B5EF4-FFF2-40B4-BE49-F238E27FC236}">
                <a16:creationId xmlns:a16="http://schemas.microsoft.com/office/drawing/2014/main" id="{41E04662-82BA-3646-A6DD-41CAD5F0AD5D}"/>
              </a:ext>
            </a:extLst>
          </p:cNvPr>
          <p:cNvSpPr txBox="1">
            <a:spLocks noChangeArrowheads="1"/>
          </p:cNvSpPr>
          <p:nvPr/>
        </p:nvSpPr>
        <p:spPr bwMode="auto">
          <a:xfrm>
            <a:off x="0" y="101753"/>
            <a:ext cx="9144000" cy="738664"/>
          </a:xfrm>
          <a:prstGeom prst="rect">
            <a:avLst/>
          </a:prstGeom>
          <a:noFill/>
          <a:ln>
            <a:noFill/>
          </a:ln>
        </p:spPr>
        <p:txBody>
          <a:bodyPr wrap="square">
            <a:spAutoFit/>
          </a:bodyPr>
          <a:lstStyle>
            <a:lvl1pPr>
              <a:defRPr sz="2000">
                <a:solidFill>
                  <a:schemeClr val="tx1"/>
                </a:solidFill>
                <a:latin typeface="Arial" charset="0"/>
                <a:ea typeface="ＭＳ Ｐゴシック" charset="0"/>
                <a:cs typeface="ＭＳ Ｐゴシック" charset="0"/>
              </a:defRPr>
            </a:lvl1pPr>
            <a:lvl2pPr marL="37931725" indent="-37474525">
              <a:defRPr sz="2000">
                <a:solidFill>
                  <a:schemeClr val="tx1"/>
                </a:solidFill>
                <a:latin typeface="Arial" charset="0"/>
                <a:ea typeface="ＭＳ Ｐゴシック" charset="0"/>
              </a:defRPr>
            </a:lvl2pPr>
            <a:lvl3pPr>
              <a:defRPr sz="2000">
                <a:solidFill>
                  <a:schemeClr val="tx1"/>
                </a:solidFill>
                <a:latin typeface="Arial" charset="0"/>
                <a:ea typeface="ＭＳ Ｐゴシック" charset="0"/>
              </a:defRPr>
            </a:lvl3pPr>
            <a:lvl4pPr>
              <a:defRPr sz="2000">
                <a:solidFill>
                  <a:schemeClr val="tx1"/>
                </a:solidFill>
                <a:latin typeface="Arial" charset="0"/>
                <a:ea typeface="ＭＳ Ｐゴシック" charset="0"/>
              </a:defRPr>
            </a:lvl4pPr>
            <a:lvl5pPr>
              <a:defRPr sz="2000">
                <a:solidFill>
                  <a:schemeClr val="tx1"/>
                </a:solidFill>
                <a:latin typeface="Arial" charset="0"/>
                <a:ea typeface="ＭＳ Ｐゴシック" charset="0"/>
              </a:defRPr>
            </a:lvl5pPr>
            <a:lvl6pPr marL="457200" eaLnBrk="0" fontAlgn="base" hangingPunct="0">
              <a:spcBef>
                <a:spcPct val="20000"/>
              </a:spcBef>
              <a:spcAft>
                <a:spcPct val="0"/>
              </a:spcAft>
              <a:defRPr sz="2000">
                <a:solidFill>
                  <a:schemeClr val="tx1"/>
                </a:solidFill>
                <a:latin typeface="Arial" charset="0"/>
                <a:ea typeface="ＭＳ Ｐゴシック" charset="0"/>
              </a:defRPr>
            </a:lvl6pPr>
            <a:lvl7pPr marL="914400" eaLnBrk="0" fontAlgn="base" hangingPunct="0">
              <a:spcBef>
                <a:spcPct val="20000"/>
              </a:spcBef>
              <a:spcAft>
                <a:spcPct val="0"/>
              </a:spcAft>
              <a:defRPr sz="2000">
                <a:solidFill>
                  <a:schemeClr val="tx1"/>
                </a:solidFill>
                <a:latin typeface="Arial" charset="0"/>
                <a:ea typeface="ＭＳ Ｐゴシック" charset="0"/>
              </a:defRPr>
            </a:lvl7pPr>
            <a:lvl8pPr marL="1371600" eaLnBrk="0" fontAlgn="base" hangingPunct="0">
              <a:spcBef>
                <a:spcPct val="20000"/>
              </a:spcBef>
              <a:spcAft>
                <a:spcPct val="0"/>
              </a:spcAft>
              <a:defRPr sz="2000">
                <a:solidFill>
                  <a:schemeClr val="tx1"/>
                </a:solidFill>
                <a:latin typeface="Arial" charset="0"/>
                <a:ea typeface="ＭＳ Ｐゴシック" charset="0"/>
              </a:defRPr>
            </a:lvl8pPr>
            <a:lvl9pPr marL="1828800" eaLnBrk="0" fontAlgn="base" hangingPunct="0">
              <a:spcBef>
                <a:spcPct val="20000"/>
              </a:spcBef>
              <a:spcAft>
                <a:spcPct val="0"/>
              </a:spcAft>
              <a:defRPr sz="2000">
                <a:solidFill>
                  <a:schemeClr val="tx1"/>
                </a:solidFill>
                <a:latin typeface="Arial" charset="0"/>
                <a:ea typeface="ＭＳ Ｐゴシック" charset="0"/>
              </a:defRPr>
            </a:lvl9pPr>
          </a:lstStyle>
          <a:p>
            <a:pPr algn="ctr" defTabSz="457189" fontAlgn="base">
              <a:spcBef>
                <a:spcPct val="0"/>
              </a:spcBef>
              <a:spcAft>
                <a:spcPct val="0"/>
              </a:spcAft>
              <a:defRPr/>
            </a:pPr>
            <a:r>
              <a:rPr lang="es-ES" sz="2400" b="1">
                <a:solidFill>
                  <a:srgbClr val="0070C0"/>
                </a:solidFill>
              </a:rPr>
              <a:t>Evolving pattern of the M-spike + eHb + BMPC</a:t>
            </a:r>
          </a:p>
          <a:p>
            <a:pPr algn="ctr" defTabSz="457189" fontAlgn="base">
              <a:spcBef>
                <a:spcPct val="0"/>
              </a:spcBef>
              <a:spcAft>
                <a:spcPct val="0"/>
              </a:spcAft>
              <a:defRPr/>
            </a:pPr>
            <a:r>
              <a:rPr lang="es-ES" sz="1800" b="1">
                <a:solidFill>
                  <a:srgbClr val="0070C0"/>
                </a:solidFill>
              </a:rPr>
              <a:t>(N = 190; Mayo Clinic)</a:t>
            </a:r>
            <a:endParaRPr lang="es-ES" sz="2400" b="1">
              <a:solidFill>
                <a:srgbClr val="0070C0"/>
              </a:solidFill>
            </a:endParaRPr>
          </a:p>
        </p:txBody>
      </p:sp>
      <p:sp>
        <p:nvSpPr>
          <p:cNvPr id="94210" name="CuadroTexto 8">
            <a:extLst>
              <a:ext uri="{FF2B5EF4-FFF2-40B4-BE49-F238E27FC236}">
                <a16:creationId xmlns:a16="http://schemas.microsoft.com/office/drawing/2014/main" id="{BCB5C67D-C8AC-4C42-ABCC-15015C67DAA8}"/>
              </a:ext>
            </a:extLst>
          </p:cNvPr>
          <p:cNvSpPr txBox="1">
            <a:spLocks noChangeArrowheads="1"/>
          </p:cNvSpPr>
          <p:nvPr/>
        </p:nvSpPr>
        <p:spPr bwMode="auto">
          <a:xfrm>
            <a:off x="147637" y="1159182"/>
            <a:ext cx="3729162" cy="2400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fontAlgn="base">
              <a:spcBef>
                <a:spcPct val="0"/>
              </a:spcBef>
              <a:spcAft>
                <a:spcPct val="0"/>
              </a:spcAft>
              <a:defRPr/>
            </a:pPr>
            <a:r>
              <a:rPr lang="en-US" altLang="es-ES_tradnl" sz="1500" b="1">
                <a:solidFill>
                  <a:prstClr val="black"/>
                </a:solidFill>
              </a:rPr>
              <a:t>Risk factors predicting high risk</a:t>
            </a:r>
            <a:r>
              <a:rPr lang="en-US" altLang="es-ES_tradnl" sz="1500">
                <a:solidFill>
                  <a:prstClr val="black"/>
                </a:solidFill>
              </a:rPr>
              <a:t>: </a:t>
            </a:r>
          </a:p>
          <a:p>
            <a:pPr marL="342892" indent="-342892" defTabSz="457189" fontAlgn="base">
              <a:spcBef>
                <a:spcPct val="0"/>
              </a:spcBef>
              <a:spcAft>
                <a:spcPct val="0"/>
              </a:spcAft>
              <a:buFont typeface="+mj-lt"/>
              <a:buAutoNum type="arabicPeriod"/>
              <a:defRPr/>
            </a:pPr>
            <a:r>
              <a:rPr lang="en-US" altLang="es-ES_tradnl" sz="1350" b="1">
                <a:solidFill>
                  <a:prstClr val="black"/>
                </a:solidFill>
              </a:rPr>
              <a:t>eMP </a:t>
            </a:r>
            <a:r>
              <a:rPr lang="en-US" altLang="es-ES_tradnl" sz="1350">
                <a:solidFill>
                  <a:prstClr val="black"/>
                </a:solidFill>
              </a:rPr>
              <a:t>(</a:t>
            </a:r>
            <a:r>
              <a:rPr lang="en-US" altLang="es-ES" sz="1350">
                <a:solidFill>
                  <a:prstClr val="black"/>
                </a:solidFill>
              </a:rPr>
              <a:t>≥10% increase in MC/Ig) within the first 6 months (only if M-protein ≥3 g/dL) and/or ≥25% increase in M/Ig within the first 12 months, with a minimum required increase of 0.5 g/dL in M-protein and/or 500 mg/dL in Ig </a:t>
            </a:r>
          </a:p>
          <a:p>
            <a:pPr marL="342892" indent="-342892" defTabSz="457189" fontAlgn="base">
              <a:spcBef>
                <a:spcPct val="0"/>
              </a:spcBef>
              <a:spcAft>
                <a:spcPct val="0"/>
              </a:spcAft>
              <a:buFont typeface="+mj-lt"/>
              <a:buAutoNum type="arabicPeriod"/>
              <a:defRPr/>
            </a:pPr>
            <a:r>
              <a:rPr lang="en-US" altLang="es-ES" sz="1350" b="1">
                <a:solidFill>
                  <a:prstClr val="black"/>
                </a:solidFill>
              </a:rPr>
              <a:t>Evolving change in hemoglobin (eHb) </a:t>
            </a:r>
            <a:r>
              <a:rPr lang="en-US" altLang="es-ES" sz="1350">
                <a:solidFill>
                  <a:prstClr val="black"/>
                </a:solidFill>
              </a:rPr>
              <a:t>≥0.5 g/dL decrease within 12 months of diagnosis</a:t>
            </a:r>
            <a:r>
              <a:rPr lang="en-US" altLang="es-ES_tradnl" sz="1350">
                <a:solidFill>
                  <a:prstClr val="black"/>
                </a:solidFill>
              </a:rPr>
              <a:t>; and</a:t>
            </a:r>
          </a:p>
          <a:p>
            <a:pPr marL="342892" indent="-342892" defTabSz="457189" fontAlgn="base">
              <a:spcBef>
                <a:spcPct val="0"/>
              </a:spcBef>
              <a:spcAft>
                <a:spcPct val="0"/>
              </a:spcAft>
              <a:buFont typeface="+mj-lt"/>
              <a:buAutoNum type="arabicPeriod"/>
              <a:defRPr/>
            </a:pPr>
            <a:r>
              <a:rPr lang="en-US" altLang="es-ES_tradnl" sz="1350" b="1">
                <a:solidFill>
                  <a:prstClr val="black"/>
                </a:solidFill>
              </a:rPr>
              <a:t>BMPC</a:t>
            </a:r>
            <a:r>
              <a:rPr lang="en-US" altLang="es-ES_tradnl" sz="1350">
                <a:solidFill>
                  <a:prstClr val="black"/>
                </a:solidFill>
              </a:rPr>
              <a:t> infiltration: ≥20% </a:t>
            </a:r>
          </a:p>
        </p:txBody>
      </p:sp>
      <p:grpSp>
        <p:nvGrpSpPr>
          <p:cNvPr id="94211" name="Group 5">
            <a:extLst>
              <a:ext uri="{FF2B5EF4-FFF2-40B4-BE49-F238E27FC236}">
                <a16:creationId xmlns:a16="http://schemas.microsoft.com/office/drawing/2014/main" id="{88CD6A52-4B75-F846-B1C8-C23B919E2DEC}"/>
              </a:ext>
            </a:extLst>
          </p:cNvPr>
          <p:cNvGrpSpPr>
            <a:grpSpLocks/>
          </p:cNvGrpSpPr>
          <p:nvPr/>
        </p:nvGrpSpPr>
        <p:grpSpPr bwMode="auto">
          <a:xfrm>
            <a:off x="4025390" y="759303"/>
            <a:ext cx="4970973" cy="3453922"/>
            <a:chOff x="1882426" y="133350"/>
            <a:chExt cx="5508974" cy="4408939"/>
          </a:xfrm>
        </p:grpSpPr>
        <p:pic>
          <p:nvPicPr>
            <p:cNvPr id="94215" name="Picture 2" descr="graph1.tif">
              <a:extLst>
                <a:ext uri="{FF2B5EF4-FFF2-40B4-BE49-F238E27FC236}">
                  <a16:creationId xmlns:a16="http://schemas.microsoft.com/office/drawing/2014/main" id="{B94FC0C1-F4E4-8144-A7F1-517ACA690AEF}"/>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882426" y="133350"/>
              <a:ext cx="5508974" cy="4408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3">
              <a:extLst>
                <a:ext uri="{FF2B5EF4-FFF2-40B4-BE49-F238E27FC236}">
                  <a16:creationId xmlns:a16="http://schemas.microsoft.com/office/drawing/2014/main" id="{553DCFCA-1CCC-CB44-BACD-2A26C4FA741B}"/>
                </a:ext>
              </a:extLst>
            </p:cNvPr>
            <p:cNvSpPr txBox="1"/>
            <p:nvPr/>
          </p:nvSpPr>
          <p:spPr>
            <a:xfrm>
              <a:off x="6056000" y="2740888"/>
              <a:ext cx="1335400" cy="1252297"/>
            </a:xfrm>
            <a:prstGeom prst="rect">
              <a:avLst/>
            </a:prstGeom>
            <a:noFill/>
          </p:spPr>
          <p:txBody>
            <a:bodyPr>
              <a:spAutoFit/>
            </a:bodyPr>
            <a:lstStyle/>
            <a:p>
              <a:pPr algn="ctr" defTabSz="457189" fontAlgn="base">
                <a:spcBef>
                  <a:spcPct val="0"/>
                </a:spcBef>
                <a:spcAft>
                  <a:spcPct val="0"/>
                </a:spcAft>
                <a:defRPr/>
              </a:pPr>
              <a:r>
                <a:rPr lang="en-US" sz="825" b="1">
                  <a:solidFill>
                    <a:srgbClr val="000000"/>
                  </a:solidFill>
                  <a:latin typeface="Arial" charset="0"/>
                  <a:ea typeface="Geneva" charset="0"/>
                  <a:cs typeface="Geneva" charset="0"/>
                </a:rPr>
                <a:t>mTTP</a:t>
              </a:r>
            </a:p>
            <a:p>
              <a:pPr defTabSz="457189" fontAlgn="base">
                <a:spcBef>
                  <a:spcPct val="0"/>
                </a:spcBef>
                <a:spcAft>
                  <a:spcPct val="0"/>
                </a:spcAft>
                <a:defRPr/>
              </a:pPr>
              <a:r>
                <a:rPr lang="en-US" sz="825">
                  <a:solidFill>
                    <a:srgbClr val="000000"/>
                  </a:solidFill>
                  <a:latin typeface="Arial" charset="0"/>
                  <a:ea typeface="Geneva" charset="0"/>
                  <a:cs typeface="Geneva" charset="0"/>
                </a:rPr>
                <a:t>0 (n = 54): 12.3 yr</a:t>
              </a:r>
            </a:p>
            <a:p>
              <a:pPr defTabSz="457189" fontAlgn="base">
                <a:spcBef>
                  <a:spcPct val="0"/>
                </a:spcBef>
                <a:spcAft>
                  <a:spcPct val="0"/>
                </a:spcAft>
                <a:defRPr/>
              </a:pPr>
              <a:r>
                <a:rPr lang="en-US" sz="825">
                  <a:solidFill>
                    <a:srgbClr val="000000"/>
                  </a:solidFill>
                  <a:latin typeface="Arial" charset="0"/>
                  <a:ea typeface="Geneva" charset="0"/>
                  <a:cs typeface="Geneva" charset="0"/>
                </a:rPr>
                <a:t>1 (n = 58): 5.1 yr</a:t>
              </a:r>
            </a:p>
            <a:p>
              <a:pPr defTabSz="457189" fontAlgn="base">
                <a:spcBef>
                  <a:spcPct val="0"/>
                </a:spcBef>
                <a:spcAft>
                  <a:spcPct val="0"/>
                </a:spcAft>
                <a:defRPr/>
              </a:pPr>
              <a:r>
                <a:rPr lang="en-US" sz="825">
                  <a:solidFill>
                    <a:srgbClr val="000000"/>
                  </a:solidFill>
                  <a:latin typeface="Arial" charset="0"/>
                  <a:ea typeface="Geneva" charset="0"/>
                  <a:cs typeface="Geneva" charset="0"/>
                </a:rPr>
                <a:t>2 (n = 32): 2.0 yr</a:t>
              </a:r>
            </a:p>
            <a:p>
              <a:pPr defTabSz="457189" fontAlgn="base">
                <a:spcBef>
                  <a:spcPct val="0"/>
                </a:spcBef>
                <a:spcAft>
                  <a:spcPct val="0"/>
                </a:spcAft>
                <a:defRPr/>
              </a:pPr>
              <a:r>
                <a:rPr lang="en-US" sz="825">
                  <a:solidFill>
                    <a:srgbClr val="000000"/>
                  </a:solidFill>
                  <a:latin typeface="Arial" charset="0"/>
                  <a:ea typeface="Geneva" charset="0"/>
                  <a:cs typeface="Geneva" charset="0"/>
                </a:rPr>
                <a:t>3 (n = 22): 1.0 yr</a:t>
              </a:r>
            </a:p>
            <a:p>
              <a:pPr defTabSz="457189" fontAlgn="base">
                <a:spcBef>
                  <a:spcPct val="0"/>
                </a:spcBef>
                <a:spcAft>
                  <a:spcPct val="0"/>
                </a:spcAft>
                <a:defRPr/>
              </a:pPr>
              <a:endParaRPr lang="en-US" sz="825">
                <a:solidFill>
                  <a:srgbClr val="000000"/>
                </a:solidFill>
                <a:latin typeface="Arial" charset="0"/>
                <a:ea typeface="Geneva" charset="0"/>
                <a:cs typeface="Geneva" charset="0"/>
              </a:endParaRPr>
            </a:p>
            <a:p>
              <a:pPr defTabSz="457189" fontAlgn="base">
                <a:spcBef>
                  <a:spcPct val="0"/>
                </a:spcBef>
                <a:spcAft>
                  <a:spcPct val="0"/>
                </a:spcAft>
                <a:defRPr/>
              </a:pPr>
              <a:r>
                <a:rPr lang="en-US" sz="825" b="1" i="1">
                  <a:solidFill>
                    <a:srgbClr val="000000"/>
                  </a:solidFill>
                  <a:latin typeface="Arial" charset="0"/>
                  <a:ea typeface="Geneva" charset="0"/>
                  <a:cs typeface="Geneva" charset="0"/>
                </a:rPr>
                <a:t>P</a:t>
              </a:r>
              <a:r>
                <a:rPr lang="en-US" sz="825" b="1">
                  <a:solidFill>
                    <a:srgbClr val="000000"/>
                  </a:solidFill>
                  <a:latin typeface="Arial" charset="0"/>
                  <a:ea typeface="Geneva" charset="0"/>
                  <a:cs typeface="Geneva" charset="0"/>
                </a:rPr>
                <a:t> &lt;.001</a:t>
              </a:r>
            </a:p>
          </p:txBody>
        </p:sp>
      </p:grpSp>
      <p:sp>
        <p:nvSpPr>
          <p:cNvPr id="94212" name="CuadroTexto 13">
            <a:extLst>
              <a:ext uri="{FF2B5EF4-FFF2-40B4-BE49-F238E27FC236}">
                <a16:creationId xmlns:a16="http://schemas.microsoft.com/office/drawing/2014/main" id="{0A7D369F-405A-4A42-B1E0-30FDDD107F9B}"/>
              </a:ext>
            </a:extLst>
          </p:cNvPr>
          <p:cNvSpPr txBox="1">
            <a:spLocks noChangeArrowheads="1"/>
          </p:cNvSpPr>
          <p:nvPr/>
        </p:nvSpPr>
        <p:spPr bwMode="auto">
          <a:xfrm>
            <a:off x="268289" y="4213225"/>
            <a:ext cx="87280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fontAlgn="base">
              <a:spcBef>
                <a:spcPct val="0"/>
              </a:spcBef>
              <a:spcAft>
                <a:spcPct val="0"/>
              </a:spcAft>
              <a:defRPr/>
            </a:pPr>
            <a:r>
              <a:rPr lang="en-US" altLang="es-ES" sz="1500" i="1">
                <a:solidFill>
                  <a:srgbClr val="C00000"/>
                </a:solidFill>
              </a:rPr>
              <a:t>The 2-year progression risk was 81.5% in individuals who demonstrated both eMP and eHb, and 90.5% in those with all 3 risk factors</a:t>
            </a:r>
            <a:r>
              <a:rPr lang="en-US" altLang="es-ES_tradnl" sz="1500" i="1">
                <a:solidFill>
                  <a:srgbClr val="A10E2F"/>
                </a:solidFill>
                <a:sym typeface="Wingdings" pitchFamily="2" charset="2"/>
              </a:rPr>
              <a:t> </a:t>
            </a:r>
            <a:r>
              <a:rPr lang="en-US" altLang="es-ES_tradnl" sz="1500" b="1" i="1">
                <a:solidFill>
                  <a:srgbClr val="A10E2F"/>
                </a:solidFill>
                <a:sym typeface="Wingdings" pitchFamily="2" charset="2"/>
              </a:rPr>
              <a:t>ultra-high-risk SMM</a:t>
            </a:r>
            <a:endParaRPr lang="en-US" altLang="es-ES_tradnl" sz="1500" b="1" i="1">
              <a:solidFill>
                <a:srgbClr val="A10E2F"/>
              </a:solidFill>
            </a:endParaRPr>
          </a:p>
        </p:txBody>
      </p:sp>
      <p:sp>
        <p:nvSpPr>
          <p:cNvPr id="15" name="Textfeld 6">
            <a:extLst>
              <a:ext uri="{FF2B5EF4-FFF2-40B4-BE49-F238E27FC236}">
                <a16:creationId xmlns:a16="http://schemas.microsoft.com/office/drawing/2014/main" id="{64269C84-9940-3E47-9DE0-27DDC1564B44}"/>
              </a:ext>
            </a:extLst>
          </p:cNvPr>
          <p:cNvSpPr txBox="1">
            <a:spLocks noChangeArrowheads="1"/>
          </p:cNvSpPr>
          <p:nvPr/>
        </p:nvSpPr>
        <p:spPr bwMode="auto">
          <a:xfrm>
            <a:off x="6076179" y="4903453"/>
            <a:ext cx="3067822" cy="246221"/>
          </a:xfrm>
          <a:prstGeom prst="rect">
            <a:avLst/>
          </a:prstGeom>
          <a:noFill/>
          <a:ln>
            <a:noFill/>
          </a:ln>
        </p:spPr>
        <p:txBody>
          <a:bodyPr wrap="square"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defTabSz="457189" fontAlgn="base">
              <a:spcBef>
                <a:spcPct val="0"/>
              </a:spcBef>
              <a:spcAft>
                <a:spcPct val="0"/>
              </a:spcAft>
              <a:defRPr/>
            </a:pPr>
            <a:r>
              <a:rPr lang="en-US" sz="1000">
                <a:solidFill>
                  <a:prstClr val="black"/>
                </a:solidFill>
              </a:rPr>
              <a:t>Ravi P, et al. </a:t>
            </a:r>
            <a:r>
              <a:rPr lang="en-US" sz="1000" i="1">
                <a:solidFill>
                  <a:prstClr val="black"/>
                </a:solidFill>
              </a:rPr>
              <a:t>Blood Cancer J. </a:t>
            </a:r>
            <a:r>
              <a:rPr lang="en-US" sz="1000">
                <a:solidFill>
                  <a:prstClr val="black"/>
                </a:solidFill>
              </a:rPr>
              <a:t>2016;6(7):e454.</a:t>
            </a:r>
          </a:p>
        </p:txBody>
      </p:sp>
      <p:sp>
        <p:nvSpPr>
          <p:cNvPr id="10" name="TextBox 9">
            <a:extLst>
              <a:ext uri="{FF2B5EF4-FFF2-40B4-BE49-F238E27FC236}">
                <a16:creationId xmlns:a16="http://schemas.microsoft.com/office/drawing/2014/main" id="{78A5B205-B423-49FD-A0CC-BAD3D79CD2D3}"/>
              </a:ext>
            </a:extLst>
          </p:cNvPr>
          <p:cNvSpPr txBox="1"/>
          <p:nvPr/>
        </p:nvSpPr>
        <p:spPr>
          <a:xfrm>
            <a:off x="0" y="4901168"/>
            <a:ext cx="2805112" cy="246221"/>
          </a:xfrm>
          <a:prstGeom prst="rect">
            <a:avLst/>
          </a:prstGeom>
          <a:noFill/>
        </p:spPr>
        <p:txBody>
          <a:bodyPr anchor="b">
            <a:spAutoFit/>
          </a:bodyPr>
          <a:lstStyle/>
          <a:p>
            <a:pPr defTabSz="457189" eaLnBrk="0" fontAlgn="base" hangingPunct="0">
              <a:spcBef>
                <a:spcPct val="0"/>
              </a:spcBef>
              <a:spcAft>
                <a:spcPct val="0"/>
              </a:spcAft>
              <a:defRPr/>
            </a:pPr>
            <a:r>
              <a:rPr lang="en-US" sz="1000">
                <a:solidFill>
                  <a:prstClr val="black"/>
                </a:solidFill>
                <a:latin typeface="Arial" panose="020B0604020202020204" pitchFamily="34" charset="0"/>
              </a:rPr>
              <a:t>Slides courtesy of Dr San Miguel. </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5" name="Picture 2" descr="A close up of a map&#10;&#10;Description automatically generated">
            <a:extLst>
              <a:ext uri="{FF2B5EF4-FFF2-40B4-BE49-F238E27FC236}">
                <a16:creationId xmlns:a16="http://schemas.microsoft.com/office/drawing/2014/main" id="{B5CC3AF0-837D-AD4C-8693-709CDDEAC061}"/>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428588" y="77483"/>
            <a:ext cx="3621882" cy="4992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307" name="Titel 1">
            <a:extLst>
              <a:ext uri="{FF2B5EF4-FFF2-40B4-BE49-F238E27FC236}">
                <a16:creationId xmlns:a16="http://schemas.microsoft.com/office/drawing/2014/main" id="{2A93F7F5-3898-D940-849A-AB928B4C03D7}"/>
              </a:ext>
            </a:extLst>
          </p:cNvPr>
          <p:cNvSpPr txBox="1">
            <a:spLocks/>
          </p:cNvSpPr>
          <p:nvPr/>
        </p:nvSpPr>
        <p:spPr bwMode="auto">
          <a:xfrm>
            <a:off x="501445" y="136475"/>
            <a:ext cx="4771104"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eaLnBrk="0" fontAlgn="base" hangingPunct="0">
              <a:lnSpc>
                <a:spcPct val="90000"/>
              </a:lnSpc>
              <a:spcBef>
                <a:spcPct val="0"/>
              </a:spcBef>
              <a:spcAft>
                <a:spcPct val="0"/>
              </a:spcAft>
              <a:defRPr/>
            </a:pPr>
            <a:r>
              <a:rPr lang="en-GB" altLang="es-ES_tradnl" sz="2400" b="1">
                <a:solidFill>
                  <a:srgbClr val="0070C0"/>
                </a:solidFill>
                <a:ea typeface="ＭＳ Ｐゴシック" panose="020B0600070205080204" pitchFamily="34" charset="-128"/>
                <a:cs typeface="Arial" panose="020B0604020202020204" pitchFamily="34" charset="0"/>
              </a:rPr>
              <a:t>MYC and risk of progression </a:t>
            </a:r>
          </a:p>
          <a:p>
            <a:pPr algn="ctr" defTabSz="457189" eaLnBrk="0" fontAlgn="base" hangingPunct="0">
              <a:lnSpc>
                <a:spcPct val="90000"/>
              </a:lnSpc>
              <a:spcBef>
                <a:spcPct val="0"/>
              </a:spcBef>
              <a:spcAft>
                <a:spcPct val="0"/>
              </a:spcAft>
              <a:defRPr/>
            </a:pPr>
            <a:r>
              <a:rPr lang="en-GB" altLang="es-ES_tradnl" sz="2400" b="1">
                <a:solidFill>
                  <a:srgbClr val="0070C0"/>
                </a:solidFill>
                <a:ea typeface="ＭＳ Ｐゴシック" panose="020B0600070205080204" pitchFamily="34" charset="-128"/>
                <a:cs typeface="Arial" panose="020B0604020202020204" pitchFamily="34" charset="0"/>
              </a:rPr>
              <a:t>in SMM</a:t>
            </a:r>
          </a:p>
        </p:txBody>
      </p:sp>
      <p:pic>
        <p:nvPicPr>
          <p:cNvPr id="3" name="Picture 2">
            <a:extLst>
              <a:ext uri="{FF2B5EF4-FFF2-40B4-BE49-F238E27FC236}">
                <a16:creationId xmlns:a16="http://schemas.microsoft.com/office/drawing/2014/main" id="{128B72EC-3F4C-4A05-9044-BC5C7DE43EF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9381" y="1314450"/>
            <a:ext cx="5272720" cy="2268661"/>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Title 1">
            <a:extLst>
              <a:ext uri="{FF2B5EF4-FFF2-40B4-BE49-F238E27FC236}">
                <a16:creationId xmlns:a16="http://schemas.microsoft.com/office/drawing/2014/main" id="{D282F71A-5012-0E48-96B4-9BFDBD33A520}"/>
              </a:ext>
            </a:extLst>
          </p:cNvPr>
          <p:cNvSpPr>
            <a:spLocks noGrp="1"/>
          </p:cNvSpPr>
          <p:nvPr>
            <p:ph type="title" idx="4294967295"/>
          </p:nvPr>
        </p:nvSpPr>
        <p:spPr>
          <a:xfrm>
            <a:off x="0" y="36191"/>
            <a:ext cx="9144000" cy="857251"/>
          </a:xfrm>
        </p:spPr>
        <p:txBody>
          <a:bodyPr>
            <a:noAutofit/>
          </a:bodyPr>
          <a:lstStyle/>
          <a:p>
            <a:pPr algn="ctr"/>
            <a:r>
              <a:rPr lang="en-US" altLang="en-US" sz="2400" b="1" noProof="0">
                <a:solidFill>
                  <a:srgbClr val="0070C0"/>
                </a:solidFill>
                <a:latin typeface="Arial" panose="020B0604020202020204" pitchFamily="34" charset="0"/>
                <a:ea typeface="Calibri" panose="020F0502020204030204" pitchFamily="34" charset="0"/>
                <a:cs typeface="Arial" panose="020B0604020202020204" pitchFamily="34" charset="0"/>
              </a:rPr>
              <a:t>Genomic landscape of progressors vs non-progressors </a:t>
            </a:r>
            <a:br>
              <a:rPr lang="en-US" altLang="en-US" sz="2400" b="1" noProof="0">
                <a:solidFill>
                  <a:srgbClr val="0070C0"/>
                </a:solidFill>
                <a:latin typeface="Arial" panose="020B0604020202020204" pitchFamily="34" charset="0"/>
                <a:ea typeface="Calibri" panose="020F0502020204030204" pitchFamily="34" charset="0"/>
                <a:cs typeface="Arial" panose="020B0604020202020204" pitchFamily="34" charset="0"/>
              </a:rPr>
            </a:br>
            <a:r>
              <a:rPr lang="en-US" altLang="en-US" sz="1800" b="1" noProof="0">
                <a:solidFill>
                  <a:srgbClr val="0070C0"/>
                </a:solidFill>
                <a:latin typeface="Arial" panose="020B0604020202020204" pitchFamily="34" charset="0"/>
                <a:ea typeface="Calibri" panose="020F0502020204030204" pitchFamily="34" charset="0"/>
                <a:cs typeface="Arial" panose="020B0604020202020204" pitchFamily="34" charset="0"/>
              </a:rPr>
              <a:t>(N = 85)</a:t>
            </a:r>
            <a:endParaRPr lang="en-US" altLang="en-US" sz="2400" b="1" noProof="0">
              <a:solidFill>
                <a:srgbClr val="0070C0"/>
              </a:solidFill>
              <a:latin typeface="Arial" panose="020B0604020202020204" pitchFamily="34" charset="0"/>
              <a:ea typeface="Calibri" panose="020F0502020204030204" pitchFamily="34" charset="0"/>
              <a:cs typeface="Arial" panose="020B0604020202020204" pitchFamily="34" charset="0"/>
            </a:endParaRPr>
          </a:p>
        </p:txBody>
      </p:sp>
      <p:pic>
        <p:nvPicPr>
          <p:cNvPr id="99330" name="Picture 6">
            <a:extLst>
              <a:ext uri="{FF2B5EF4-FFF2-40B4-BE49-F238E27FC236}">
                <a16:creationId xmlns:a16="http://schemas.microsoft.com/office/drawing/2014/main" id="{094E0CBE-5AA3-4E49-997A-B34F61A4BCD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l="603" t="1732" r="1302" b="14253"/>
          <a:stretch>
            <a:fillRect/>
          </a:stretch>
        </p:blipFill>
        <p:spPr bwMode="auto">
          <a:xfrm>
            <a:off x="4645742" y="821371"/>
            <a:ext cx="4164303" cy="3923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9331" name="TextBox 2">
            <a:extLst>
              <a:ext uri="{FF2B5EF4-FFF2-40B4-BE49-F238E27FC236}">
                <a16:creationId xmlns:a16="http://schemas.microsoft.com/office/drawing/2014/main" id="{0686036F-BB44-2546-9E08-40E25F81F24C}"/>
              </a:ext>
            </a:extLst>
          </p:cNvPr>
          <p:cNvSpPr txBox="1">
            <a:spLocks noChangeArrowheads="1"/>
          </p:cNvSpPr>
          <p:nvPr/>
        </p:nvSpPr>
        <p:spPr bwMode="auto">
          <a:xfrm>
            <a:off x="1" y="4613475"/>
            <a:ext cx="37912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defTabSz="685783" eaLnBrk="0" fontAlgn="base" hangingPunct="0">
              <a:lnSpc>
                <a:spcPct val="100000"/>
              </a:lnSpc>
              <a:spcBef>
                <a:spcPct val="0"/>
              </a:spcBef>
              <a:spcAft>
                <a:spcPct val="0"/>
              </a:spcAft>
              <a:buNone/>
              <a:defRPr/>
            </a:pPr>
            <a:r>
              <a:rPr lang="en-US" altLang="en-US" sz="1000">
                <a:solidFill>
                  <a:prstClr val="black"/>
                </a:solidFill>
                <a:latin typeface="Arial" panose="020B0604020202020204" pitchFamily="34" charset="0"/>
                <a:ea typeface="ＭＳ Ｐゴシック" panose="020B0600070205080204" pitchFamily="34" charset="-128"/>
                <a:cs typeface="Arial" panose="020B0604020202020204" pitchFamily="34" charset="0"/>
              </a:rPr>
              <a:t>Bustoros M, et al. </a:t>
            </a:r>
            <a:r>
              <a:rPr lang="en-US" altLang="en-US" sz="1000" i="1">
                <a:solidFill>
                  <a:prstClr val="black"/>
                </a:solidFill>
                <a:latin typeface="Arial" panose="020B0604020202020204" pitchFamily="34" charset="0"/>
                <a:ea typeface="ＭＳ Ｐゴシック" panose="020B0600070205080204" pitchFamily="34" charset="-128"/>
                <a:cs typeface="Arial" panose="020B0604020202020204" pitchFamily="34" charset="0"/>
              </a:rPr>
              <a:t>J Clin Oncol. </a:t>
            </a:r>
            <a:r>
              <a:rPr lang="en-US" altLang="en-US" sz="1000">
                <a:solidFill>
                  <a:prstClr val="black"/>
                </a:solidFill>
                <a:latin typeface="Arial" panose="020B0604020202020204" pitchFamily="34" charset="0"/>
                <a:ea typeface="ＭＳ Ｐゴシック" panose="020B0600070205080204" pitchFamily="34" charset="-128"/>
                <a:cs typeface="Arial" panose="020B0604020202020204" pitchFamily="34" charset="0"/>
              </a:rPr>
              <a:t>2020;38(21):2380-2389.</a:t>
            </a:r>
          </a:p>
        </p:txBody>
      </p:sp>
      <p:sp>
        <p:nvSpPr>
          <p:cNvPr id="3" name="TextBox 2">
            <a:extLst>
              <a:ext uri="{FF2B5EF4-FFF2-40B4-BE49-F238E27FC236}">
                <a16:creationId xmlns:a16="http://schemas.microsoft.com/office/drawing/2014/main" id="{DA5CD859-1E42-EE46-A896-2CE7C822F53E}"/>
              </a:ext>
            </a:extLst>
          </p:cNvPr>
          <p:cNvSpPr txBox="1"/>
          <p:nvPr/>
        </p:nvSpPr>
        <p:spPr>
          <a:xfrm>
            <a:off x="402140" y="1273949"/>
            <a:ext cx="3696711" cy="1661993"/>
          </a:xfrm>
          <a:prstGeom prst="rect">
            <a:avLst/>
          </a:prstGeom>
          <a:noFill/>
        </p:spPr>
        <p:txBody>
          <a:bodyPr wrap="square">
            <a:spAutoFit/>
          </a:bodyPr>
          <a:lstStyle/>
          <a:p>
            <a:pPr defTabSz="457189" eaLnBrk="0" fontAlgn="base" hangingPunct="0">
              <a:spcBef>
                <a:spcPct val="0"/>
              </a:spcBef>
              <a:spcAft>
                <a:spcPct val="0"/>
              </a:spcAft>
              <a:defRPr/>
            </a:pPr>
            <a:r>
              <a:rPr lang="en-US" sz="1400">
                <a:solidFill>
                  <a:prstClr val="black"/>
                </a:solidFill>
                <a:latin typeface="Arial" panose="020B0604020202020204" pitchFamily="34" charset="0"/>
              </a:rPr>
              <a:t>Median follow-up 6.2 yr [0.8–14.6]</a:t>
            </a:r>
          </a:p>
          <a:p>
            <a:pPr defTabSz="457189" eaLnBrk="0" fontAlgn="base" hangingPunct="0">
              <a:spcBef>
                <a:spcPct val="0"/>
              </a:spcBef>
              <a:spcAft>
                <a:spcPct val="0"/>
              </a:spcAft>
              <a:defRPr/>
            </a:pPr>
            <a:r>
              <a:rPr lang="en-US" sz="1400">
                <a:solidFill>
                  <a:prstClr val="black"/>
                </a:solidFill>
                <a:latin typeface="Arial" panose="020B0604020202020204" pitchFamily="34" charset="0"/>
              </a:rPr>
              <a:t>Median time to progression 4 yr</a:t>
            </a:r>
          </a:p>
          <a:p>
            <a:pPr defTabSz="457189" eaLnBrk="0" fontAlgn="base" hangingPunct="0">
              <a:spcBef>
                <a:spcPct val="0"/>
              </a:spcBef>
              <a:spcAft>
                <a:spcPct val="0"/>
              </a:spcAft>
              <a:defRPr/>
            </a:pPr>
            <a:r>
              <a:rPr lang="en-US" sz="1400">
                <a:solidFill>
                  <a:prstClr val="black"/>
                </a:solidFill>
                <a:latin typeface="Arial" panose="020B0604020202020204" pitchFamily="34" charset="0"/>
              </a:rPr>
              <a:t>61% progress</a:t>
            </a:r>
          </a:p>
          <a:p>
            <a:pPr defTabSz="457189" eaLnBrk="0" fontAlgn="base" hangingPunct="0">
              <a:spcBef>
                <a:spcPct val="0"/>
              </a:spcBef>
              <a:spcAft>
                <a:spcPct val="0"/>
              </a:spcAft>
              <a:defRPr/>
            </a:pPr>
            <a:endParaRPr lang="en-US" sz="1400">
              <a:solidFill>
                <a:prstClr val="black"/>
              </a:solidFill>
              <a:latin typeface="Arial" panose="020B0604020202020204" pitchFamily="34" charset="0"/>
            </a:endParaRPr>
          </a:p>
          <a:p>
            <a:pPr defTabSz="457189" eaLnBrk="0" fontAlgn="base" hangingPunct="0">
              <a:spcBef>
                <a:spcPct val="0"/>
              </a:spcBef>
              <a:spcAft>
                <a:spcPct val="0"/>
              </a:spcAft>
              <a:defRPr/>
            </a:pPr>
            <a:r>
              <a:rPr lang="en-US" b="1">
                <a:solidFill>
                  <a:prstClr val="black"/>
                </a:solidFill>
                <a:latin typeface="Arial" panose="020B0604020202020204" pitchFamily="34" charset="0"/>
              </a:rPr>
              <a:t>Progressors</a:t>
            </a:r>
            <a:r>
              <a:rPr lang="en-US">
                <a:solidFill>
                  <a:prstClr val="black"/>
                </a:solidFill>
                <a:latin typeface="Arial" panose="020B0604020202020204" pitchFamily="34" charset="0"/>
              </a:rPr>
              <a:t> vs </a:t>
            </a:r>
            <a:r>
              <a:rPr lang="en-US">
                <a:ln>
                  <a:solidFill>
                    <a:prstClr val="black">
                      <a:lumMod val="50000"/>
                      <a:lumOff val="50000"/>
                    </a:prstClr>
                  </a:solidFill>
                </a:ln>
                <a:solidFill>
                  <a:prstClr val="white">
                    <a:lumMod val="85000"/>
                  </a:prstClr>
                </a:solidFill>
                <a:latin typeface="Arial" panose="020B0604020202020204" pitchFamily="34" charset="0"/>
              </a:rPr>
              <a:t>Non-progressors</a:t>
            </a:r>
          </a:p>
          <a:p>
            <a:pPr defTabSz="457189" eaLnBrk="0" fontAlgn="base" hangingPunct="0">
              <a:spcBef>
                <a:spcPct val="0"/>
              </a:spcBef>
              <a:spcAft>
                <a:spcPct val="0"/>
              </a:spcAft>
              <a:defRPr/>
            </a:pPr>
            <a:endParaRPr lang="en-US" sz="1400">
              <a:solidFill>
                <a:prstClr val="black"/>
              </a:solidFill>
              <a:latin typeface="Arial" panose="020B0604020202020204" pitchFamily="34" charset="0"/>
            </a:endParaRPr>
          </a:p>
          <a:p>
            <a:pPr defTabSz="457189" eaLnBrk="0" fontAlgn="base" hangingPunct="0">
              <a:spcBef>
                <a:spcPct val="0"/>
              </a:spcBef>
              <a:spcAft>
                <a:spcPct val="0"/>
              </a:spcAft>
              <a:defRPr/>
            </a:pPr>
            <a:endParaRPr lang="en-US" sz="1400">
              <a:solidFill>
                <a:prstClr val="black"/>
              </a:solidFill>
              <a:latin typeface="Arial" panose="020B0604020202020204" pitchFamily="34" charset="0"/>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Title 1">
            <a:extLst>
              <a:ext uri="{FF2B5EF4-FFF2-40B4-BE49-F238E27FC236}">
                <a16:creationId xmlns:a16="http://schemas.microsoft.com/office/drawing/2014/main" id="{1C44529A-877A-CC4D-B16F-2CC4534144D3}"/>
              </a:ext>
            </a:extLst>
          </p:cNvPr>
          <p:cNvSpPr>
            <a:spLocks noGrp="1"/>
          </p:cNvSpPr>
          <p:nvPr>
            <p:ph type="title" idx="4294967295"/>
          </p:nvPr>
        </p:nvSpPr>
        <p:spPr>
          <a:xfrm>
            <a:off x="0" y="12947"/>
            <a:ext cx="9144000" cy="633413"/>
          </a:xfrm>
        </p:spPr>
        <p:txBody>
          <a:bodyPr/>
          <a:lstStyle/>
          <a:p>
            <a:pPr algn="ctr"/>
            <a:r>
              <a:rPr lang="en-US" altLang="en-US" sz="2400" b="1" noProof="0">
                <a:solidFill>
                  <a:srgbClr val="0070C0"/>
                </a:solidFill>
                <a:latin typeface="Arial" panose="020B0604020202020204" pitchFamily="34" charset="0"/>
                <a:ea typeface="Calibri" panose="020F0502020204030204" pitchFamily="34" charset="0"/>
                <a:cs typeface="Arial" panose="020B0604020202020204" pitchFamily="34" charset="0"/>
              </a:rPr>
              <a:t>MAPK, DNA repair, and </a:t>
            </a:r>
            <a:r>
              <a:rPr lang="en-US" altLang="en-US" sz="2400" b="1" i="1" noProof="0">
                <a:solidFill>
                  <a:srgbClr val="0070C0"/>
                </a:solidFill>
                <a:latin typeface="Arial" panose="020B0604020202020204" pitchFamily="34" charset="0"/>
                <a:ea typeface="Calibri" panose="020F0502020204030204" pitchFamily="34" charset="0"/>
                <a:cs typeface="Arial" panose="020B0604020202020204" pitchFamily="34" charset="0"/>
              </a:rPr>
              <a:t>MYC</a:t>
            </a:r>
            <a:r>
              <a:rPr lang="en-US" altLang="en-US" sz="2400" b="1" noProof="0">
                <a:solidFill>
                  <a:srgbClr val="0070C0"/>
                </a:solidFill>
                <a:latin typeface="Arial" panose="020B0604020202020204" pitchFamily="34" charset="0"/>
                <a:ea typeface="Calibri" panose="020F0502020204030204" pitchFamily="34" charset="0"/>
                <a:cs typeface="Arial" panose="020B0604020202020204" pitchFamily="34" charset="0"/>
              </a:rPr>
              <a:t> predict rapid progression</a:t>
            </a:r>
          </a:p>
        </p:txBody>
      </p:sp>
      <p:pic>
        <p:nvPicPr>
          <p:cNvPr id="101378" name="Picture 5" descr="A close up of a logo&#10;&#10;Description automatically generated">
            <a:extLst>
              <a:ext uri="{FF2B5EF4-FFF2-40B4-BE49-F238E27FC236}">
                <a16:creationId xmlns:a16="http://schemas.microsoft.com/office/drawing/2014/main" id="{EF9A9DC3-D1D2-594A-9300-D4F96B77614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262462" y="915987"/>
            <a:ext cx="2510028" cy="3404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379" name="Picture 9" descr="A close up of a map&#10;&#10;Description automatically generated">
            <a:extLst>
              <a:ext uri="{FF2B5EF4-FFF2-40B4-BE49-F238E27FC236}">
                <a16:creationId xmlns:a16="http://schemas.microsoft.com/office/drawing/2014/main" id="{1463C834-1354-3840-BEA9-F589D7A9433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305773" y="942975"/>
            <a:ext cx="2510028" cy="3387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380" name="Picture 11" descr="A close up of a logo&#10;&#10;Description automatically generated">
            <a:extLst>
              <a:ext uri="{FF2B5EF4-FFF2-40B4-BE49-F238E27FC236}">
                <a16:creationId xmlns:a16="http://schemas.microsoft.com/office/drawing/2014/main" id="{0ADA7585-C488-264C-A3AD-E30DF8D01A2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38113" y="915989"/>
            <a:ext cx="2510028" cy="3404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382" name="TextBox 1">
            <a:extLst>
              <a:ext uri="{FF2B5EF4-FFF2-40B4-BE49-F238E27FC236}">
                <a16:creationId xmlns:a16="http://schemas.microsoft.com/office/drawing/2014/main" id="{D791BB45-5CDF-2B44-AD0B-7D78485AACAC}"/>
              </a:ext>
            </a:extLst>
          </p:cNvPr>
          <p:cNvSpPr txBox="1">
            <a:spLocks noChangeArrowheads="1"/>
          </p:cNvSpPr>
          <p:nvPr/>
        </p:nvSpPr>
        <p:spPr bwMode="auto">
          <a:xfrm>
            <a:off x="4221312" y="1547924"/>
            <a:ext cx="43473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eaLnBrk="0" fontAlgn="base" hangingPunct="0">
              <a:spcBef>
                <a:spcPct val="0"/>
              </a:spcBef>
              <a:spcAft>
                <a:spcPct val="0"/>
              </a:spcAft>
              <a:defRPr/>
            </a:pPr>
            <a:r>
              <a:rPr lang="en-US" altLang="en-US" sz="1100" b="1">
                <a:solidFill>
                  <a:srgbClr val="FF0000"/>
                </a:solidFill>
              </a:rPr>
              <a:t>Mut</a:t>
            </a:r>
          </a:p>
        </p:txBody>
      </p:sp>
      <p:sp>
        <p:nvSpPr>
          <p:cNvPr id="101383" name="TextBox 7">
            <a:extLst>
              <a:ext uri="{FF2B5EF4-FFF2-40B4-BE49-F238E27FC236}">
                <a16:creationId xmlns:a16="http://schemas.microsoft.com/office/drawing/2014/main" id="{7B9AA098-FDC8-B345-B656-98333ACC20C4}"/>
              </a:ext>
            </a:extLst>
          </p:cNvPr>
          <p:cNvSpPr txBox="1">
            <a:spLocks noChangeArrowheads="1"/>
          </p:cNvSpPr>
          <p:nvPr/>
        </p:nvSpPr>
        <p:spPr bwMode="auto">
          <a:xfrm>
            <a:off x="4962674" y="2163949"/>
            <a:ext cx="4251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eaLnBrk="0" fontAlgn="base" hangingPunct="0">
              <a:spcBef>
                <a:spcPct val="0"/>
              </a:spcBef>
              <a:spcAft>
                <a:spcPct val="0"/>
              </a:spcAft>
              <a:defRPr/>
            </a:pPr>
            <a:r>
              <a:rPr lang="en-US" altLang="en-US" sz="1200" b="1">
                <a:solidFill>
                  <a:srgbClr val="002060"/>
                </a:solidFill>
              </a:rPr>
              <a:t>WT</a:t>
            </a:r>
          </a:p>
        </p:txBody>
      </p:sp>
      <p:sp>
        <p:nvSpPr>
          <p:cNvPr id="10" name="TextBox 2">
            <a:extLst>
              <a:ext uri="{FF2B5EF4-FFF2-40B4-BE49-F238E27FC236}">
                <a16:creationId xmlns:a16="http://schemas.microsoft.com/office/drawing/2014/main" id="{D90CEA24-7808-486E-91D5-8B5C4453B59F}"/>
              </a:ext>
            </a:extLst>
          </p:cNvPr>
          <p:cNvSpPr txBox="1">
            <a:spLocks noChangeArrowheads="1"/>
          </p:cNvSpPr>
          <p:nvPr/>
        </p:nvSpPr>
        <p:spPr bwMode="auto">
          <a:xfrm>
            <a:off x="1" y="4613475"/>
            <a:ext cx="37912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defTabSz="685783" eaLnBrk="0" fontAlgn="base" hangingPunct="0">
              <a:lnSpc>
                <a:spcPct val="100000"/>
              </a:lnSpc>
              <a:spcBef>
                <a:spcPct val="0"/>
              </a:spcBef>
              <a:spcAft>
                <a:spcPct val="0"/>
              </a:spcAft>
              <a:buNone/>
              <a:defRPr/>
            </a:pPr>
            <a:r>
              <a:rPr lang="en-US" altLang="en-US" sz="1000">
                <a:solidFill>
                  <a:prstClr val="black"/>
                </a:solidFill>
                <a:latin typeface="Arial" panose="020B0604020202020204" pitchFamily="34" charset="0"/>
                <a:ea typeface="ＭＳ Ｐゴシック" panose="020B0600070205080204" pitchFamily="34" charset="-128"/>
                <a:cs typeface="Arial" panose="020B0604020202020204" pitchFamily="34" charset="0"/>
              </a:rPr>
              <a:t>Bustoros M, et al. </a:t>
            </a:r>
            <a:r>
              <a:rPr lang="en-US" altLang="en-US" sz="1000" i="1">
                <a:solidFill>
                  <a:prstClr val="black"/>
                </a:solidFill>
                <a:latin typeface="Arial" panose="020B0604020202020204" pitchFamily="34" charset="0"/>
                <a:ea typeface="ＭＳ Ｐゴシック" panose="020B0600070205080204" pitchFamily="34" charset="-128"/>
                <a:cs typeface="Arial" panose="020B0604020202020204" pitchFamily="34" charset="0"/>
              </a:rPr>
              <a:t>J Clin Oncol. </a:t>
            </a:r>
            <a:r>
              <a:rPr lang="en-US" altLang="en-US" sz="1000">
                <a:solidFill>
                  <a:prstClr val="black"/>
                </a:solidFill>
                <a:latin typeface="Arial" panose="020B0604020202020204" pitchFamily="34" charset="0"/>
                <a:ea typeface="ＭＳ Ｐゴシック" panose="020B0600070205080204" pitchFamily="34" charset="-128"/>
                <a:cs typeface="Arial" panose="020B0604020202020204" pitchFamily="34" charset="0"/>
              </a:rPr>
              <a:t>2020;38(21):2380-2389.</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a:extLst>
              <a:ext uri="{FF2B5EF4-FFF2-40B4-BE49-F238E27FC236}">
                <a16:creationId xmlns:a16="http://schemas.microsoft.com/office/drawing/2014/main" id="{089C9797-F9B0-0E46-ADBC-A3C669520841}"/>
              </a:ext>
            </a:extLst>
          </p:cNvPr>
          <p:cNvSpPr>
            <a:spLocks noGrp="1"/>
          </p:cNvSpPr>
          <p:nvPr>
            <p:ph type="title" idx="4294967295"/>
          </p:nvPr>
        </p:nvSpPr>
        <p:spPr>
          <a:xfrm>
            <a:off x="0" y="105315"/>
            <a:ext cx="9144000" cy="555678"/>
          </a:xfrm>
        </p:spPr>
        <p:txBody>
          <a:bodyPr anchor="t">
            <a:normAutofit/>
          </a:bodyPr>
          <a:lstStyle/>
          <a:p>
            <a:pPr algn="ctr"/>
            <a:r>
              <a:rPr lang="en-US" altLang="en-US" sz="2400" b="1" noProof="0">
                <a:solidFill>
                  <a:srgbClr val="0070C0"/>
                </a:solidFill>
                <a:latin typeface="Arial" panose="020B0604020202020204" pitchFamily="34" charset="0"/>
                <a:ea typeface="Calibri" panose="020F0502020204030204" pitchFamily="34" charset="0"/>
                <a:cs typeface="Arial" panose="020B0604020202020204" pitchFamily="34" charset="0"/>
              </a:rPr>
              <a:t>20/2/20 high-risk + high-risk genomics progress faster</a:t>
            </a:r>
          </a:p>
        </p:txBody>
      </p:sp>
      <p:sp>
        <p:nvSpPr>
          <p:cNvPr id="7" name="AutoShape 2" descr="Rplot56.pdf">
            <a:extLst>
              <a:ext uri="{FF2B5EF4-FFF2-40B4-BE49-F238E27FC236}">
                <a16:creationId xmlns:a16="http://schemas.microsoft.com/office/drawing/2014/main" id="{6573F2EE-83A7-FF45-8010-FE583DBF42D3}"/>
              </a:ext>
            </a:extLst>
          </p:cNvPr>
          <p:cNvSpPr>
            <a:spLocks noChangeAspect="1" noChangeArrowheads="1"/>
          </p:cNvSpPr>
          <p:nvPr/>
        </p:nvSpPr>
        <p:spPr bwMode="auto">
          <a:xfrm>
            <a:off x="4457700" y="2457450"/>
            <a:ext cx="228600" cy="228600"/>
          </a:xfrm>
          <a:prstGeom prst="rect">
            <a:avLst/>
          </a:prstGeom>
          <a:noFill/>
        </p:spPr>
        <p:txBody>
          <a:bodyPr lIns="68580" tIns="34290" rIns="68580" bIns="34290"/>
          <a:lstStyle/>
          <a:p>
            <a:pPr defTabSz="457189" eaLnBrk="0" fontAlgn="base" hangingPunct="0">
              <a:spcBef>
                <a:spcPct val="0"/>
              </a:spcBef>
              <a:spcAft>
                <a:spcPct val="0"/>
              </a:spcAft>
              <a:defRPr/>
            </a:pPr>
            <a:endParaRPr lang="en-US" sz="1350">
              <a:solidFill>
                <a:prstClr val="black"/>
              </a:solidFill>
              <a:latin typeface="Calibri" panose="020F0502020204030204" pitchFamily="34" charset="0"/>
              <a:cs typeface="Calibri" panose="020F0502020204030204" pitchFamily="34" charset="0"/>
            </a:endParaRPr>
          </a:p>
        </p:txBody>
      </p:sp>
      <p:sp>
        <p:nvSpPr>
          <p:cNvPr id="9" name="AutoShape 4" descr="Rplot56.pdf">
            <a:extLst>
              <a:ext uri="{FF2B5EF4-FFF2-40B4-BE49-F238E27FC236}">
                <a16:creationId xmlns:a16="http://schemas.microsoft.com/office/drawing/2014/main" id="{100A68D7-D39D-AB4C-A03A-1CFC4AD6E3B2}"/>
              </a:ext>
            </a:extLst>
          </p:cNvPr>
          <p:cNvSpPr>
            <a:spLocks noChangeAspect="1" noChangeArrowheads="1"/>
          </p:cNvSpPr>
          <p:nvPr/>
        </p:nvSpPr>
        <p:spPr bwMode="auto">
          <a:xfrm>
            <a:off x="4572000" y="2571750"/>
            <a:ext cx="228600" cy="228600"/>
          </a:xfrm>
          <a:prstGeom prst="rect">
            <a:avLst/>
          </a:prstGeom>
          <a:noFill/>
        </p:spPr>
        <p:txBody>
          <a:bodyPr lIns="68580" tIns="34290" rIns="68580" bIns="34290"/>
          <a:lstStyle/>
          <a:p>
            <a:pPr defTabSz="457189" eaLnBrk="0" fontAlgn="base" hangingPunct="0">
              <a:spcBef>
                <a:spcPct val="0"/>
              </a:spcBef>
              <a:spcAft>
                <a:spcPct val="0"/>
              </a:spcAft>
              <a:defRPr/>
            </a:pPr>
            <a:endParaRPr lang="en-US" sz="1350">
              <a:solidFill>
                <a:prstClr val="black"/>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017305E2-7B31-6C4F-B28A-EF6A5CFD2B7F}"/>
              </a:ext>
            </a:extLst>
          </p:cNvPr>
          <p:cNvSpPr txBox="1"/>
          <p:nvPr/>
        </p:nvSpPr>
        <p:spPr>
          <a:xfrm>
            <a:off x="6937376" y="2084388"/>
            <a:ext cx="184731" cy="300082"/>
          </a:xfrm>
          <a:prstGeom prst="rect">
            <a:avLst/>
          </a:prstGeom>
          <a:noFill/>
        </p:spPr>
        <p:txBody>
          <a:bodyPr wrap="none">
            <a:spAutoFit/>
          </a:bodyPr>
          <a:lstStyle/>
          <a:p>
            <a:pPr defTabSz="457189" eaLnBrk="0" fontAlgn="base" hangingPunct="0">
              <a:spcBef>
                <a:spcPct val="0"/>
              </a:spcBef>
              <a:spcAft>
                <a:spcPct val="0"/>
              </a:spcAft>
              <a:defRPr/>
            </a:pPr>
            <a:endParaRPr lang="en-US" sz="1350">
              <a:solidFill>
                <a:prstClr val="black"/>
              </a:solidFill>
              <a:latin typeface="Calibri" panose="020F0502020204030204" pitchFamily="34" charset="0"/>
              <a:cs typeface="Calibri" panose="020F0502020204030204" pitchFamily="34" charset="0"/>
            </a:endParaRPr>
          </a:p>
        </p:txBody>
      </p:sp>
      <p:grpSp>
        <p:nvGrpSpPr>
          <p:cNvPr id="105477" name="Group 7">
            <a:extLst>
              <a:ext uri="{FF2B5EF4-FFF2-40B4-BE49-F238E27FC236}">
                <a16:creationId xmlns:a16="http://schemas.microsoft.com/office/drawing/2014/main" id="{A4DAFE8F-EDA8-2342-9340-B6B4BC7F22A7}"/>
              </a:ext>
            </a:extLst>
          </p:cNvPr>
          <p:cNvGrpSpPr>
            <a:grpSpLocks/>
          </p:cNvGrpSpPr>
          <p:nvPr/>
        </p:nvGrpSpPr>
        <p:grpSpPr bwMode="auto">
          <a:xfrm>
            <a:off x="1336676" y="612378"/>
            <a:ext cx="6242050" cy="4060825"/>
            <a:chOff x="1782087" y="646110"/>
            <a:chExt cx="8323025" cy="5648720"/>
          </a:xfrm>
        </p:grpSpPr>
        <p:pic>
          <p:nvPicPr>
            <p:cNvPr id="105490" name="Picture 11">
              <a:extLst>
                <a:ext uri="{FF2B5EF4-FFF2-40B4-BE49-F238E27FC236}">
                  <a16:creationId xmlns:a16="http://schemas.microsoft.com/office/drawing/2014/main" id="{59135A30-07A6-C14A-A2C3-C60501C3DFA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t="9509"/>
            <a:stretch>
              <a:fillRect/>
            </a:stretch>
          </p:blipFill>
          <p:spPr bwMode="auto">
            <a:xfrm>
              <a:off x="1782087" y="646110"/>
              <a:ext cx="8323025" cy="5648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03FC9F46-99DE-D24D-8BB6-2273DD46BF1E}"/>
                </a:ext>
              </a:extLst>
            </p:cNvPr>
            <p:cNvSpPr txBox="1"/>
            <p:nvPr/>
          </p:nvSpPr>
          <p:spPr>
            <a:xfrm>
              <a:off x="5890680" y="2316843"/>
              <a:ext cx="1133257" cy="385313"/>
            </a:xfrm>
            <a:prstGeom prst="rect">
              <a:avLst/>
            </a:prstGeom>
            <a:noFill/>
          </p:spPr>
          <p:txBody>
            <a:bodyPr wrap="none">
              <a:spAutoFit/>
            </a:bodyPr>
            <a:lstStyle/>
            <a:p>
              <a:pPr defTabSz="457189" eaLnBrk="0" fontAlgn="base" hangingPunct="0">
                <a:spcBef>
                  <a:spcPct val="0"/>
                </a:spcBef>
                <a:spcAft>
                  <a:spcPct val="0"/>
                </a:spcAft>
                <a:defRPr/>
              </a:pPr>
              <a:r>
                <a:rPr lang="en-US" sz="1200">
                  <a:solidFill>
                    <a:srgbClr val="000000"/>
                  </a:solidFill>
                  <a:latin typeface="Arial" panose="020B0604020202020204" pitchFamily="34" charset="0"/>
                  <a:cs typeface="Arial" panose="020B0604020202020204" pitchFamily="34" charset="0"/>
                </a:rPr>
                <a:t>HRSMM–</a:t>
              </a:r>
            </a:p>
          </p:txBody>
        </p:sp>
        <p:sp>
          <p:nvSpPr>
            <p:cNvPr id="20" name="TextBox 19">
              <a:extLst>
                <a:ext uri="{FF2B5EF4-FFF2-40B4-BE49-F238E27FC236}">
                  <a16:creationId xmlns:a16="http://schemas.microsoft.com/office/drawing/2014/main" id="{4D3FFF4A-24E7-884B-8BAA-5902CC385190}"/>
                </a:ext>
              </a:extLst>
            </p:cNvPr>
            <p:cNvSpPr txBox="1"/>
            <p:nvPr/>
          </p:nvSpPr>
          <p:spPr>
            <a:xfrm>
              <a:off x="3261688" y="1489320"/>
              <a:ext cx="1139668" cy="385313"/>
            </a:xfrm>
            <a:prstGeom prst="rect">
              <a:avLst/>
            </a:prstGeom>
            <a:noFill/>
          </p:spPr>
          <p:txBody>
            <a:bodyPr wrap="none">
              <a:spAutoFit/>
            </a:bodyPr>
            <a:lstStyle/>
            <a:p>
              <a:pPr defTabSz="457189" eaLnBrk="0" fontAlgn="base" hangingPunct="0">
                <a:spcBef>
                  <a:spcPct val="0"/>
                </a:spcBef>
                <a:spcAft>
                  <a:spcPct val="0"/>
                </a:spcAft>
                <a:defRPr/>
              </a:pPr>
              <a:r>
                <a:rPr lang="en-US" sz="1200">
                  <a:solidFill>
                    <a:srgbClr val="000000"/>
                  </a:solidFill>
                  <a:latin typeface="Arial" panose="020B0604020202020204" pitchFamily="34" charset="0"/>
                  <a:cs typeface="Arial" panose="020B0604020202020204" pitchFamily="34" charset="0"/>
                </a:rPr>
                <a:t>HRSMM+</a:t>
              </a:r>
            </a:p>
          </p:txBody>
        </p:sp>
      </p:grpSp>
      <p:sp>
        <p:nvSpPr>
          <p:cNvPr id="12" name="TextBox 2">
            <a:extLst>
              <a:ext uri="{FF2B5EF4-FFF2-40B4-BE49-F238E27FC236}">
                <a16:creationId xmlns:a16="http://schemas.microsoft.com/office/drawing/2014/main" id="{F58492A6-2BA7-4B84-9170-312A46F1FF0C}"/>
              </a:ext>
            </a:extLst>
          </p:cNvPr>
          <p:cNvSpPr txBox="1">
            <a:spLocks noChangeArrowheads="1"/>
          </p:cNvSpPr>
          <p:nvPr/>
        </p:nvSpPr>
        <p:spPr bwMode="auto">
          <a:xfrm>
            <a:off x="1" y="4613475"/>
            <a:ext cx="37912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defTabSz="685783" eaLnBrk="0" fontAlgn="base" hangingPunct="0">
              <a:lnSpc>
                <a:spcPct val="100000"/>
              </a:lnSpc>
              <a:spcBef>
                <a:spcPct val="0"/>
              </a:spcBef>
              <a:spcAft>
                <a:spcPct val="0"/>
              </a:spcAft>
              <a:buNone/>
              <a:defRPr/>
            </a:pPr>
            <a:r>
              <a:rPr lang="en-US" altLang="en-US" sz="1000">
                <a:solidFill>
                  <a:prstClr val="black"/>
                </a:solidFill>
                <a:latin typeface="Arial" panose="020B0604020202020204" pitchFamily="34" charset="0"/>
                <a:ea typeface="ＭＳ Ｐゴシック" panose="020B0600070205080204" pitchFamily="34" charset="-128"/>
                <a:cs typeface="Arial" panose="020B0604020202020204" pitchFamily="34" charset="0"/>
              </a:rPr>
              <a:t>Bustoros M, et al. </a:t>
            </a:r>
            <a:r>
              <a:rPr lang="en-US" altLang="en-US" sz="1000" i="1">
                <a:solidFill>
                  <a:prstClr val="black"/>
                </a:solidFill>
                <a:latin typeface="Arial" panose="020B0604020202020204" pitchFamily="34" charset="0"/>
                <a:ea typeface="ＭＳ Ｐゴシック" panose="020B0600070205080204" pitchFamily="34" charset="-128"/>
                <a:cs typeface="Arial" panose="020B0604020202020204" pitchFamily="34" charset="0"/>
              </a:rPr>
              <a:t>J Clin Oncol. </a:t>
            </a:r>
            <a:r>
              <a:rPr lang="en-US" altLang="en-US" sz="1000">
                <a:solidFill>
                  <a:prstClr val="black"/>
                </a:solidFill>
                <a:latin typeface="Arial" panose="020B0604020202020204" pitchFamily="34" charset="0"/>
                <a:ea typeface="ＭＳ Ｐゴシック" panose="020B0600070205080204" pitchFamily="34" charset="-128"/>
                <a:cs typeface="Arial" panose="020B0604020202020204" pitchFamily="34" charset="0"/>
              </a:rPr>
              <a:t>2020;38(21):2380-2389.</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A0341B2-22EE-457B-9850-744B127F9F08}"/>
              </a:ext>
            </a:extLst>
          </p:cNvPr>
          <p:cNvSpPr>
            <a:spLocks noGrp="1"/>
          </p:cNvSpPr>
          <p:nvPr>
            <p:ph type="title"/>
          </p:nvPr>
        </p:nvSpPr>
        <p:spPr>
          <a:xfrm>
            <a:off x="174022" y="183927"/>
            <a:ext cx="8766928" cy="509104"/>
          </a:xfrm>
        </p:spPr>
        <p:txBody>
          <a:bodyPr>
            <a:normAutofit/>
          </a:bodyPr>
          <a:lstStyle/>
          <a:p>
            <a:r>
              <a:rPr lang="en-US" noProof="0"/>
              <a:t>Objectives of the Program</a:t>
            </a:r>
          </a:p>
        </p:txBody>
      </p:sp>
      <p:sp>
        <p:nvSpPr>
          <p:cNvPr id="7" name="Round Diagonal Corner Rectangle 12">
            <a:extLst>
              <a:ext uri="{FF2B5EF4-FFF2-40B4-BE49-F238E27FC236}">
                <a16:creationId xmlns:a16="http://schemas.microsoft.com/office/drawing/2014/main" id="{3CEE4B82-B400-4F5E-972C-2BB7FD5E0710}"/>
              </a:ext>
            </a:extLst>
          </p:cNvPr>
          <p:cNvSpPr/>
          <p:nvPr/>
        </p:nvSpPr>
        <p:spPr>
          <a:xfrm>
            <a:off x="87414" y="826878"/>
            <a:ext cx="4196604" cy="1188720"/>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spcAft>
                <a:spcPts val="600"/>
              </a:spcAft>
            </a:pPr>
            <a:r>
              <a:rPr lang="en-US" sz="1600" noProof="0">
                <a:latin typeface="Arial" panose="020B0604020202020204" pitchFamily="34" charset="0"/>
                <a:cs typeface="Arial" panose="020B0604020202020204" pitchFamily="34" charset="0"/>
              </a:rPr>
              <a:t>Share key data from recent conferences that could lead to improved treatment and management for patients with myeloma</a:t>
            </a:r>
          </a:p>
        </p:txBody>
      </p:sp>
      <p:sp>
        <p:nvSpPr>
          <p:cNvPr id="8" name="Round Diagonal Corner Rectangle 13">
            <a:extLst>
              <a:ext uri="{FF2B5EF4-FFF2-40B4-BE49-F238E27FC236}">
                <a16:creationId xmlns:a16="http://schemas.microsoft.com/office/drawing/2014/main" id="{09861488-66D1-4874-BA28-4E5987A9ABCC}"/>
              </a:ext>
            </a:extLst>
          </p:cNvPr>
          <p:cNvSpPr/>
          <p:nvPr/>
        </p:nvSpPr>
        <p:spPr>
          <a:xfrm>
            <a:off x="4581341" y="826878"/>
            <a:ext cx="4443429" cy="1188720"/>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spcAft>
                <a:spcPts val="600"/>
              </a:spcAft>
            </a:pPr>
            <a:r>
              <a:rPr lang="en-US" sz="1600" noProof="0">
                <a:latin typeface="Arial" panose="020B0604020202020204" pitchFamily="34" charset="0"/>
                <a:cs typeface="Arial" panose="020B0604020202020204" pitchFamily="34" charset="0"/>
              </a:rPr>
              <a:t>Discuss early treatment strategies for smoldering myeloma and initial therapies for multiple myeloma</a:t>
            </a:r>
          </a:p>
        </p:txBody>
      </p:sp>
      <p:sp>
        <p:nvSpPr>
          <p:cNvPr id="9" name="Round Diagonal Corner Rectangle 14">
            <a:extLst>
              <a:ext uri="{FF2B5EF4-FFF2-40B4-BE49-F238E27FC236}">
                <a16:creationId xmlns:a16="http://schemas.microsoft.com/office/drawing/2014/main" id="{06F3A3FB-C506-40E9-9A30-F1DEBC155751}"/>
              </a:ext>
            </a:extLst>
          </p:cNvPr>
          <p:cNvSpPr/>
          <p:nvPr/>
        </p:nvSpPr>
        <p:spPr>
          <a:xfrm>
            <a:off x="87414" y="2160229"/>
            <a:ext cx="2724797" cy="1737360"/>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600" noProof="0">
                <a:latin typeface="Arial" panose="020B0604020202020204" pitchFamily="34" charset="0"/>
                <a:cs typeface="Arial" panose="020B0604020202020204" pitchFamily="34" charset="0"/>
              </a:rPr>
              <a:t>Provide insights into the evolving role of minimal residual disease (MRD) monitoring in the management of patients with multiple myeloma</a:t>
            </a:r>
          </a:p>
        </p:txBody>
      </p:sp>
      <p:sp>
        <p:nvSpPr>
          <p:cNvPr id="10" name="Round Diagonal Corner Rectangle 15">
            <a:extLst>
              <a:ext uri="{FF2B5EF4-FFF2-40B4-BE49-F238E27FC236}">
                <a16:creationId xmlns:a16="http://schemas.microsoft.com/office/drawing/2014/main" id="{5127361C-0100-4367-9AFC-38B4EFC0D770}"/>
              </a:ext>
            </a:extLst>
          </p:cNvPr>
          <p:cNvSpPr/>
          <p:nvPr/>
        </p:nvSpPr>
        <p:spPr>
          <a:xfrm>
            <a:off x="3046764" y="2160229"/>
            <a:ext cx="2800307" cy="1737360"/>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spcBef>
                <a:spcPts val="600"/>
              </a:spcBef>
            </a:pPr>
            <a:r>
              <a:rPr lang="en-US" sz="1600" noProof="0">
                <a:latin typeface="Arial" panose="020B0604020202020204" pitchFamily="34" charset="0"/>
                <a:cs typeface="Arial" panose="020B0604020202020204" pitchFamily="34" charset="0"/>
              </a:rPr>
              <a:t>Present the latest research on identifying multiple myeloma patients at high risk for early relapse, and management strategies for early relapse</a:t>
            </a:r>
          </a:p>
        </p:txBody>
      </p:sp>
      <p:sp>
        <p:nvSpPr>
          <p:cNvPr id="11" name="Round Diagonal Corner Rectangle 16">
            <a:extLst>
              <a:ext uri="{FF2B5EF4-FFF2-40B4-BE49-F238E27FC236}">
                <a16:creationId xmlns:a16="http://schemas.microsoft.com/office/drawing/2014/main" id="{F433A6E2-DF0F-4769-AEC0-FA9A09AFF5BE}"/>
              </a:ext>
            </a:extLst>
          </p:cNvPr>
          <p:cNvSpPr/>
          <p:nvPr/>
        </p:nvSpPr>
        <p:spPr>
          <a:xfrm>
            <a:off x="6081623" y="2160229"/>
            <a:ext cx="2943147" cy="1737360"/>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spcBef>
                <a:spcPts val="600"/>
              </a:spcBef>
            </a:pPr>
            <a:r>
              <a:rPr lang="en-US" sz="1600" noProof="0">
                <a:latin typeface="Arial" panose="020B0604020202020204" pitchFamily="34" charset="0"/>
                <a:cs typeface="Arial" panose="020B0604020202020204" pitchFamily="34" charset="0"/>
              </a:rPr>
              <a:t>Discuss the benefits and limitations of current options for treating patients with multiple myeloma refractory to multiple therapeutic modalities</a:t>
            </a:r>
          </a:p>
        </p:txBody>
      </p:sp>
      <p:sp>
        <p:nvSpPr>
          <p:cNvPr id="12" name="Round Diagonal Corner Rectangle 12">
            <a:extLst>
              <a:ext uri="{FF2B5EF4-FFF2-40B4-BE49-F238E27FC236}">
                <a16:creationId xmlns:a16="http://schemas.microsoft.com/office/drawing/2014/main" id="{0AFFC26E-E811-4358-964D-D66435F4D480}"/>
              </a:ext>
            </a:extLst>
          </p:cNvPr>
          <p:cNvSpPr/>
          <p:nvPr/>
        </p:nvSpPr>
        <p:spPr>
          <a:xfrm>
            <a:off x="87414" y="4073973"/>
            <a:ext cx="8937356" cy="541159"/>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US" sz="1600" noProof="0">
                <a:latin typeface="Arial" panose="020B0604020202020204" pitchFamily="34" charset="0"/>
                <a:cs typeface="Arial" panose="020B0604020202020204" pitchFamily="34" charset="0"/>
              </a:rPr>
              <a:t>Explore regional challenges in the treatment of multiple myeloma across Europe</a:t>
            </a:r>
          </a:p>
        </p:txBody>
      </p:sp>
    </p:spTree>
    <p:extLst>
      <p:ext uri="{BB962C8B-B14F-4D97-AF65-F5344CB8AC3E}">
        <p14:creationId xmlns:p14="http://schemas.microsoft.com/office/powerpoint/2010/main" val="20959521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Rectangle 7">
            <a:extLst>
              <a:ext uri="{FF2B5EF4-FFF2-40B4-BE49-F238E27FC236}">
                <a16:creationId xmlns:a16="http://schemas.microsoft.com/office/drawing/2014/main" id="{E47AE4DB-06C6-F443-AA6A-42E477C294FD}"/>
              </a:ext>
            </a:extLst>
          </p:cNvPr>
          <p:cNvSpPr>
            <a:spLocks noChangeArrowheads="1"/>
          </p:cNvSpPr>
          <p:nvPr/>
        </p:nvSpPr>
        <p:spPr bwMode="auto">
          <a:xfrm>
            <a:off x="1208088" y="581523"/>
            <a:ext cx="696912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eaLnBrk="0" fontAlgn="base" hangingPunct="0">
              <a:spcBef>
                <a:spcPct val="0"/>
              </a:spcBef>
              <a:spcAft>
                <a:spcPct val="0"/>
              </a:spcAft>
              <a:defRPr/>
            </a:pPr>
            <a:r>
              <a:rPr lang="en-US" altLang="en-US" sz="1500">
                <a:solidFill>
                  <a:prstClr val="black"/>
                </a:solidFill>
              </a:rPr>
              <a:t>Defining the permissive tumor microenvironment in MGUS/SMM </a:t>
            </a:r>
            <a:endParaRPr lang="en-US" altLang="en-US">
              <a:solidFill>
                <a:prstClr val="black"/>
              </a:solidFill>
            </a:endParaRPr>
          </a:p>
        </p:txBody>
      </p:sp>
      <p:pic>
        <p:nvPicPr>
          <p:cNvPr id="106498" name="Picture 10">
            <a:extLst>
              <a:ext uri="{FF2B5EF4-FFF2-40B4-BE49-F238E27FC236}">
                <a16:creationId xmlns:a16="http://schemas.microsoft.com/office/drawing/2014/main" id="{8DEF69FD-92AA-D24A-B45A-375CF108C8AC}"/>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t="58487" r="45695" b="2"/>
          <a:stretch>
            <a:fillRect/>
          </a:stretch>
        </p:blipFill>
        <p:spPr bwMode="auto">
          <a:xfrm>
            <a:off x="3943351" y="1428751"/>
            <a:ext cx="5033963" cy="33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500" name="Rectangle 12">
            <a:extLst>
              <a:ext uri="{FF2B5EF4-FFF2-40B4-BE49-F238E27FC236}">
                <a16:creationId xmlns:a16="http://schemas.microsoft.com/office/drawing/2014/main" id="{FE6E4F3A-F9C0-B34C-851E-D727C4373F99}"/>
              </a:ext>
            </a:extLst>
          </p:cNvPr>
          <p:cNvSpPr>
            <a:spLocks noChangeArrowheads="1"/>
          </p:cNvSpPr>
          <p:nvPr/>
        </p:nvSpPr>
        <p:spPr bwMode="auto">
          <a:xfrm>
            <a:off x="2171701" y="3143251"/>
            <a:ext cx="377825" cy="327025"/>
          </a:xfrm>
          <a:prstGeom prst="rect">
            <a:avLst/>
          </a:prstGeom>
          <a:solidFill>
            <a:schemeClr val="bg1"/>
          </a:solidFill>
          <a:ln w="9525" algn="ctr">
            <a:solidFill>
              <a:schemeClr val="bg1"/>
            </a:solidFill>
            <a:round/>
            <a:headEnd/>
            <a:tailEnd/>
          </a:ln>
        </p:spPr>
        <p:txBody>
          <a:bodyPr lIns="68580" tIns="34290" rIns="68580" bIns="34290"/>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eaLnBrk="0" fontAlgn="base" hangingPunct="0">
              <a:spcBef>
                <a:spcPct val="0"/>
              </a:spcBef>
              <a:spcAft>
                <a:spcPct val="0"/>
              </a:spcAft>
              <a:defRPr/>
            </a:pPr>
            <a:endParaRPr lang="en-US" altLang="en-US">
              <a:solidFill>
                <a:prstClr val="black"/>
              </a:solidFill>
            </a:endParaRPr>
          </a:p>
        </p:txBody>
      </p:sp>
      <p:pic>
        <p:nvPicPr>
          <p:cNvPr id="106502" name="Picture 14">
            <a:extLst>
              <a:ext uri="{FF2B5EF4-FFF2-40B4-BE49-F238E27FC236}">
                <a16:creationId xmlns:a16="http://schemas.microsoft.com/office/drawing/2014/main" id="{637F1721-EFA7-5448-BD0B-D6397A58ECE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l="4526" t="9843" r="57008" b="44917"/>
          <a:stretch>
            <a:fillRect/>
          </a:stretch>
        </p:blipFill>
        <p:spPr bwMode="auto">
          <a:xfrm>
            <a:off x="355601" y="1017835"/>
            <a:ext cx="3375025" cy="347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506" name="TextBox 22">
            <a:extLst>
              <a:ext uri="{FF2B5EF4-FFF2-40B4-BE49-F238E27FC236}">
                <a16:creationId xmlns:a16="http://schemas.microsoft.com/office/drawing/2014/main" id="{52500779-5254-CA45-A5DB-7BC91B15EC9A}"/>
              </a:ext>
            </a:extLst>
          </p:cNvPr>
          <p:cNvSpPr txBox="1">
            <a:spLocks noChangeArrowheads="1"/>
          </p:cNvSpPr>
          <p:nvPr/>
        </p:nvSpPr>
        <p:spPr bwMode="auto">
          <a:xfrm>
            <a:off x="2043114" y="157164"/>
            <a:ext cx="73580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defTabSz="457189" eaLnBrk="0" fontAlgn="base" hangingPunct="0">
              <a:spcBef>
                <a:spcPct val="0"/>
              </a:spcBef>
              <a:spcAft>
                <a:spcPct val="0"/>
              </a:spcAft>
              <a:defRPr/>
            </a:pPr>
            <a:r>
              <a:rPr lang="en-US" altLang="en-US" sz="2400" b="1">
                <a:solidFill>
                  <a:prstClr val="white"/>
                </a:solidFill>
              </a:rPr>
              <a:t>MGUS/SMM Permissive Microenvironment</a:t>
            </a:r>
          </a:p>
        </p:txBody>
      </p:sp>
      <p:sp>
        <p:nvSpPr>
          <p:cNvPr id="14" name="TextBox 17">
            <a:extLst>
              <a:ext uri="{FF2B5EF4-FFF2-40B4-BE49-F238E27FC236}">
                <a16:creationId xmlns:a16="http://schemas.microsoft.com/office/drawing/2014/main" id="{3E7F2668-69BA-4B78-859D-8CCCAD7EC427}"/>
              </a:ext>
            </a:extLst>
          </p:cNvPr>
          <p:cNvSpPr txBox="1">
            <a:spLocks noChangeArrowheads="1"/>
          </p:cNvSpPr>
          <p:nvPr/>
        </p:nvSpPr>
        <p:spPr bwMode="auto">
          <a:xfrm>
            <a:off x="0" y="98989"/>
            <a:ext cx="9144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Geneva" panose="020B0503030404040204" pitchFamily="34" charset="0"/>
                <a:cs typeface="Geneva" panose="020B0503030404040204" pitchFamily="34" charset="0"/>
              </a:defRPr>
            </a:lvl1pPr>
            <a:lvl2pPr marL="742950" indent="-285750">
              <a:defRPr>
                <a:solidFill>
                  <a:schemeClr val="tx1"/>
                </a:solidFill>
                <a:latin typeface="Arial" panose="020B0604020202020204" pitchFamily="34" charset="0"/>
                <a:ea typeface="Geneva" panose="020B0503030404040204" pitchFamily="34" charset="0"/>
                <a:cs typeface="Geneva" panose="020B0503030404040204" pitchFamily="34" charset="0"/>
              </a:defRPr>
            </a:lvl2pPr>
            <a:lvl3pPr marL="11430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3pPr>
            <a:lvl4pPr marL="16002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4pPr>
            <a:lvl5pPr marL="2057400" indent="-228600">
              <a:defRPr>
                <a:solidFill>
                  <a:schemeClr val="tx1"/>
                </a:solidFill>
                <a:latin typeface="Arial" panose="020B0604020202020204" pitchFamily="34" charset="0"/>
                <a:ea typeface="Geneva" panose="020B0503030404040204" pitchFamily="34" charset="0"/>
                <a:cs typeface="Geneva" panose="020B050303040404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Geneva" panose="020B0503030404040204" pitchFamily="34" charset="0"/>
                <a:cs typeface="Geneva" panose="020B0503030404040204" pitchFamily="34" charset="0"/>
              </a:defRPr>
            </a:lvl9pPr>
          </a:lstStyle>
          <a:p>
            <a:pPr algn="ctr" defTabSz="457189" eaLnBrk="0" fontAlgn="base" hangingPunct="0">
              <a:spcBef>
                <a:spcPct val="0"/>
              </a:spcBef>
              <a:spcAft>
                <a:spcPct val="0"/>
              </a:spcAft>
              <a:defRPr/>
            </a:pPr>
            <a:r>
              <a:rPr lang="en-US" altLang="en-US" sz="2400" b="1">
                <a:solidFill>
                  <a:srgbClr val="0070C0"/>
                </a:solidFill>
              </a:rPr>
              <a:t>Single-cell RNA sequencing of the immune cells </a:t>
            </a:r>
          </a:p>
        </p:txBody>
      </p:sp>
      <p:sp>
        <p:nvSpPr>
          <p:cNvPr id="9" name="TextBox 5">
            <a:extLst>
              <a:ext uri="{FF2B5EF4-FFF2-40B4-BE49-F238E27FC236}">
                <a16:creationId xmlns:a16="http://schemas.microsoft.com/office/drawing/2014/main" id="{2F860C10-7CE4-4E43-B3FE-52EF54583FB3}"/>
              </a:ext>
            </a:extLst>
          </p:cNvPr>
          <p:cNvSpPr txBox="1"/>
          <p:nvPr/>
        </p:nvSpPr>
        <p:spPr>
          <a:xfrm>
            <a:off x="6308236" y="4897619"/>
            <a:ext cx="2835765"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rIns="68580" anchor="b">
            <a:spAutoFit/>
          </a:bodyPr>
          <a:lstStyle/>
          <a:p>
            <a:pPr algn="r" defTabSz="457189" eaLnBrk="0" fontAlgn="base" hangingPunct="0">
              <a:spcBef>
                <a:spcPct val="0"/>
              </a:spcBef>
              <a:spcAft>
                <a:spcPct val="0"/>
              </a:spcAft>
              <a:defRPr/>
            </a:pPr>
            <a:r>
              <a:rPr sz="1000">
                <a:solidFill>
                  <a:prstClr val="black"/>
                </a:solidFill>
                <a:latin typeface="Arial" panose="020B0604020202020204" pitchFamily="34" charset="0"/>
              </a:rPr>
              <a:t>Zavidij</a:t>
            </a:r>
            <a:r>
              <a:rPr lang="en-US" sz="1000">
                <a:solidFill>
                  <a:prstClr val="black"/>
                </a:solidFill>
                <a:latin typeface="Arial" panose="020B0604020202020204" pitchFamily="34" charset="0"/>
              </a:rPr>
              <a:t> O,</a:t>
            </a:r>
            <a:r>
              <a:rPr sz="1000">
                <a:solidFill>
                  <a:prstClr val="black"/>
                </a:solidFill>
                <a:latin typeface="Arial" panose="020B0604020202020204" pitchFamily="34" charset="0"/>
              </a:rPr>
              <a:t> et al</a:t>
            </a:r>
            <a:r>
              <a:rPr lang="en-US" sz="1000">
                <a:solidFill>
                  <a:prstClr val="black"/>
                </a:solidFill>
                <a:latin typeface="Arial" panose="020B0604020202020204" pitchFamily="34" charset="0"/>
              </a:rPr>
              <a:t>.</a:t>
            </a:r>
            <a:r>
              <a:rPr sz="1000">
                <a:solidFill>
                  <a:prstClr val="black"/>
                </a:solidFill>
                <a:latin typeface="Arial" panose="020B0604020202020204" pitchFamily="34" charset="0"/>
              </a:rPr>
              <a:t> </a:t>
            </a:r>
            <a:r>
              <a:rPr sz="1000" i="1">
                <a:solidFill>
                  <a:prstClr val="black"/>
                </a:solidFill>
                <a:latin typeface="Arial" panose="020B0604020202020204" pitchFamily="34" charset="0"/>
              </a:rPr>
              <a:t>Nat Cancer</a:t>
            </a:r>
            <a:r>
              <a:rPr lang="en-US" sz="1000" i="1">
                <a:solidFill>
                  <a:prstClr val="black"/>
                </a:solidFill>
                <a:latin typeface="Arial" panose="020B0604020202020204" pitchFamily="34" charset="0"/>
              </a:rPr>
              <a:t>.</a:t>
            </a:r>
            <a:r>
              <a:rPr sz="1000" i="1">
                <a:solidFill>
                  <a:prstClr val="black"/>
                </a:solidFill>
                <a:latin typeface="Arial" panose="020B0604020202020204" pitchFamily="34" charset="0"/>
              </a:rPr>
              <a:t> </a:t>
            </a:r>
            <a:r>
              <a:rPr sz="1000">
                <a:solidFill>
                  <a:prstClr val="black"/>
                </a:solidFill>
                <a:latin typeface="Arial" panose="020B0604020202020204" pitchFamily="34" charset="0"/>
              </a:rPr>
              <a:t>2020</a:t>
            </a:r>
            <a:r>
              <a:rPr lang="en-US" sz="1000">
                <a:solidFill>
                  <a:prstClr val="black"/>
                </a:solidFill>
                <a:latin typeface="Arial" panose="020B0604020202020204" pitchFamily="34" charset="0"/>
              </a:rPr>
              <a:t>;1:493-506.</a:t>
            </a:r>
            <a:endParaRPr sz="1000">
              <a:solidFill>
                <a:prstClr val="black"/>
              </a:solidFill>
              <a:latin typeface="Arial" panose="020B0604020202020204" pitchFamily="34" charset="0"/>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5" name="Rectangle 1"/>
          <p:cNvSpPr/>
          <p:nvPr/>
        </p:nvSpPr>
        <p:spPr>
          <a:xfrm>
            <a:off x="1959768" y="1674758"/>
            <a:ext cx="989135" cy="243987"/>
          </a:xfrm>
          <a:prstGeom prst="rect">
            <a:avLst/>
          </a:prstGeom>
          <a:solidFill>
            <a:srgbClr val="FFFFFF"/>
          </a:solidFill>
          <a:ln w="12700">
            <a:miter lim="400000"/>
          </a:ln>
        </p:spPr>
        <p:txBody>
          <a:bodyPr lIns="25717" rIns="25717" anchor="ctr"/>
          <a:lstStyle/>
          <a:p>
            <a:pPr algn="ctr" defTabSz="685800">
              <a:defRPr>
                <a:solidFill>
                  <a:srgbClr val="FFFFFF"/>
                </a:solidFill>
              </a:defRPr>
            </a:pPr>
            <a:endParaRPr sz="788">
              <a:solidFill>
                <a:srgbClr val="FFFFFF"/>
              </a:solidFill>
              <a:latin typeface="Calibri"/>
            </a:endParaRPr>
          </a:p>
        </p:txBody>
      </p:sp>
      <p:sp>
        <p:nvSpPr>
          <p:cNvPr id="2927" name="Rectangle 6"/>
          <p:cNvSpPr/>
          <p:nvPr/>
        </p:nvSpPr>
        <p:spPr>
          <a:xfrm>
            <a:off x="6800107" y="837960"/>
            <a:ext cx="1124381" cy="542443"/>
          </a:xfrm>
          <a:prstGeom prst="rect">
            <a:avLst/>
          </a:prstGeom>
          <a:solidFill>
            <a:srgbClr val="FFFFFF"/>
          </a:solidFill>
          <a:ln w="12700">
            <a:miter lim="400000"/>
          </a:ln>
        </p:spPr>
        <p:txBody>
          <a:bodyPr lIns="25717" rIns="25717" anchor="ctr"/>
          <a:lstStyle/>
          <a:p>
            <a:pPr algn="ctr" defTabSz="685800">
              <a:defRPr>
                <a:solidFill>
                  <a:srgbClr val="FFFFFF"/>
                </a:solidFill>
              </a:defRPr>
            </a:pPr>
            <a:endParaRPr sz="788">
              <a:solidFill>
                <a:srgbClr val="FFFFFF"/>
              </a:solidFill>
              <a:latin typeface="Calibri"/>
            </a:endParaRPr>
          </a:p>
        </p:txBody>
      </p:sp>
      <p:sp>
        <p:nvSpPr>
          <p:cNvPr id="2928" name="Rectangle 8"/>
          <p:cNvSpPr/>
          <p:nvPr/>
        </p:nvSpPr>
        <p:spPr>
          <a:xfrm>
            <a:off x="1142999" y="645639"/>
            <a:ext cx="915998" cy="981649"/>
          </a:xfrm>
          <a:prstGeom prst="rect">
            <a:avLst/>
          </a:prstGeom>
          <a:solidFill>
            <a:srgbClr val="FFFFFF"/>
          </a:solidFill>
          <a:ln w="12700">
            <a:miter lim="400000"/>
          </a:ln>
        </p:spPr>
        <p:txBody>
          <a:bodyPr lIns="25717" rIns="25717" anchor="ctr"/>
          <a:lstStyle/>
          <a:p>
            <a:pPr algn="ctr" defTabSz="685800">
              <a:defRPr>
                <a:solidFill>
                  <a:srgbClr val="FFFFFF"/>
                </a:solidFill>
              </a:defRPr>
            </a:pPr>
            <a:endParaRPr sz="788">
              <a:solidFill>
                <a:srgbClr val="FFFFFF"/>
              </a:solidFill>
              <a:latin typeface="Calibri"/>
            </a:endParaRPr>
          </a:p>
        </p:txBody>
      </p:sp>
      <p:sp>
        <p:nvSpPr>
          <p:cNvPr id="2929" name="TextBox 23"/>
          <p:cNvSpPr txBox="1"/>
          <p:nvPr/>
        </p:nvSpPr>
        <p:spPr>
          <a:xfrm>
            <a:off x="3008807" y="726312"/>
            <a:ext cx="5466894" cy="3693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5717" rIns="25717">
            <a:spAutoFit/>
          </a:bodyPr>
          <a:lstStyle>
            <a:lvl1pPr>
              <a:defRPr sz="3200" b="1">
                <a:solidFill>
                  <a:srgbClr val="FFFFFF"/>
                </a:solidFill>
              </a:defRPr>
            </a:lvl1pPr>
          </a:lstStyle>
          <a:p>
            <a:pPr defTabSz="685800"/>
            <a:r>
              <a:rPr sz="1800">
                <a:latin typeface="Calibri"/>
              </a:rPr>
              <a:t>MGUS/SMM Permissive Microenvironment</a:t>
            </a:r>
          </a:p>
        </p:txBody>
      </p:sp>
      <p:sp>
        <p:nvSpPr>
          <p:cNvPr id="2935" name="TextBox 17"/>
          <p:cNvSpPr txBox="1"/>
          <p:nvPr/>
        </p:nvSpPr>
        <p:spPr>
          <a:xfrm>
            <a:off x="0" y="103548"/>
            <a:ext cx="9144000"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717" rIns="25717">
            <a:spAutoFit/>
          </a:bodyPr>
          <a:lstStyle>
            <a:lvl1pPr algn="ctr">
              <a:defRPr sz="3200" b="1">
                <a:solidFill>
                  <a:srgbClr val="FFFFFF"/>
                </a:solidFill>
              </a:defRPr>
            </a:lvl1pPr>
          </a:lstStyle>
          <a:p>
            <a:pPr defTabSz="685800"/>
            <a:r>
              <a:rPr lang="en-US" sz="2400">
                <a:solidFill>
                  <a:srgbClr val="0070C0"/>
                </a:solidFill>
                <a:latin typeface="Arial" panose="020B0604020202020204" pitchFamily="34" charset="0"/>
                <a:cs typeface="Arial" panose="020B0604020202020204" pitchFamily="34" charset="0"/>
              </a:rPr>
              <a:t>Looking at the immune microenvironment </a:t>
            </a:r>
            <a:endParaRPr sz="2400">
              <a:solidFill>
                <a:srgbClr val="0070C0"/>
              </a:solidFill>
              <a:latin typeface="Arial" panose="020B0604020202020204" pitchFamily="34" charset="0"/>
              <a:cs typeface="Arial" panose="020B0604020202020204" pitchFamily="34" charset="0"/>
            </a:endParaRPr>
          </a:p>
        </p:txBody>
      </p:sp>
      <p:sp>
        <p:nvSpPr>
          <p:cNvPr id="2936" name="Rectangle 16"/>
          <p:cNvSpPr/>
          <p:nvPr/>
        </p:nvSpPr>
        <p:spPr>
          <a:xfrm>
            <a:off x="7713974" y="3690944"/>
            <a:ext cx="188993" cy="717987"/>
          </a:xfrm>
          <a:prstGeom prst="rect">
            <a:avLst/>
          </a:prstGeom>
          <a:solidFill>
            <a:srgbClr val="FFFFFF"/>
          </a:solidFill>
          <a:ln w="12700">
            <a:miter lim="400000"/>
          </a:ln>
        </p:spPr>
        <p:txBody>
          <a:bodyPr lIns="25717" rIns="25717" anchor="ctr"/>
          <a:lstStyle/>
          <a:p>
            <a:pPr algn="ctr" defTabSz="685800">
              <a:defRPr>
                <a:solidFill>
                  <a:srgbClr val="FFFFFF"/>
                </a:solidFill>
              </a:defRPr>
            </a:pPr>
            <a:endParaRPr sz="788">
              <a:solidFill>
                <a:srgbClr val="FFFFFF"/>
              </a:solidFill>
              <a:latin typeface="Calibri"/>
            </a:endParaRPr>
          </a:p>
        </p:txBody>
      </p:sp>
      <p:pic>
        <p:nvPicPr>
          <p:cNvPr id="2937" name="Picture 18" descr="Picture 18"/>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373577" y="726313"/>
            <a:ext cx="8188208" cy="3976085"/>
          </a:xfrm>
          <a:prstGeom prst="rect">
            <a:avLst/>
          </a:prstGeom>
          <a:ln w="12700">
            <a:miter lim="400000"/>
          </a:ln>
        </p:spPr>
      </p:pic>
      <p:sp>
        <p:nvSpPr>
          <p:cNvPr id="10" name="TextBox 5">
            <a:extLst>
              <a:ext uri="{FF2B5EF4-FFF2-40B4-BE49-F238E27FC236}">
                <a16:creationId xmlns:a16="http://schemas.microsoft.com/office/drawing/2014/main" id="{CC306C24-8D3E-424F-A5B6-25D60725D4ED}"/>
              </a:ext>
            </a:extLst>
          </p:cNvPr>
          <p:cNvSpPr txBox="1"/>
          <p:nvPr/>
        </p:nvSpPr>
        <p:spPr>
          <a:xfrm>
            <a:off x="5422392" y="4897619"/>
            <a:ext cx="3721609"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rIns="68580" anchor="b">
            <a:spAutoFit/>
          </a:bodyPr>
          <a:lstStyle/>
          <a:p>
            <a:pPr algn="r" defTabSz="457189" eaLnBrk="0" fontAlgn="base" hangingPunct="0">
              <a:spcBef>
                <a:spcPct val="0"/>
              </a:spcBef>
              <a:spcAft>
                <a:spcPct val="0"/>
              </a:spcAft>
              <a:defRPr/>
            </a:pPr>
            <a:r>
              <a:rPr lang="en-US" sz="1000">
                <a:solidFill>
                  <a:prstClr val="black"/>
                </a:solidFill>
                <a:latin typeface="Arial" panose="020B0604020202020204" pitchFamily="34" charset="0"/>
              </a:rPr>
              <a:t>Adapted from </a:t>
            </a:r>
            <a:r>
              <a:rPr sz="1000">
                <a:solidFill>
                  <a:prstClr val="black"/>
                </a:solidFill>
                <a:latin typeface="Arial" panose="020B0604020202020204" pitchFamily="34" charset="0"/>
              </a:rPr>
              <a:t>Zavidij</a:t>
            </a:r>
            <a:r>
              <a:rPr lang="en-US" sz="1000">
                <a:solidFill>
                  <a:prstClr val="black"/>
                </a:solidFill>
                <a:latin typeface="Arial" panose="020B0604020202020204" pitchFamily="34" charset="0"/>
              </a:rPr>
              <a:t> O,</a:t>
            </a:r>
            <a:r>
              <a:rPr sz="1000">
                <a:solidFill>
                  <a:prstClr val="black"/>
                </a:solidFill>
                <a:latin typeface="Arial" panose="020B0604020202020204" pitchFamily="34" charset="0"/>
              </a:rPr>
              <a:t> et al</a:t>
            </a:r>
            <a:r>
              <a:rPr lang="en-US" sz="1000">
                <a:solidFill>
                  <a:prstClr val="black"/>
                </a:solidFill>
                <a:latin typeface="Arial" panose="020B0604020202020204" pitchFamily="34" charset="0"/>
              </a:rPr>
              <a:t>.</a:t>
            </a:r>
            <a:r>
              <a:rPr sz="1000">
                <a:solidFill>
                  <a:prstClr val="black"/>
                </a:solidFill>
                <a:latin typeface="Arial" panose="020B0604020202020204" pitchFamily="34" charset="0"/>
              </a:rPr>
              <a:t> </a:t>
            </a:r>
            <a:r>
              <a:rPr sz="1000" i="1">
                <a:solidFill>
                  <a:prstClr val="black"/>
                </a:solidFill>
                <a:latin typeface="Arial" panose="020B0604020202020204" pitchFamily="34" charset="0"/>
              </a:rPr>
              <a:t>Nat Cancer</a:t>
            </a:r>
            <a:r>
              <a:rPr lang="en-US" sz="1000" i="1">
                <a:solidFill>
                  <a:prstClr val="black"/>
                </a:solidFill>
                <a:latin typeface="Arial" panose="020B0604020202020204" pitchFamily="34" charset="0"/>
              </a:rPr>
              <a:t>.</a:t>
            </a:r>
            <a:r>
              <a:rPr sz="1000" i="1">
                <a:solidFill>
                  <a:prstClr val="black"/>
                </a:solidFill>
                <a:latin typeface="Arial" panose="020B0604020202020204" pitchFamily="34" charset="0"/>
              </a:rPr>
              <a:t> </a:t>
            </a:r>
            <a:r>
              <a:rPr sz="1000">
                <a:solidFill>
                  <a:prstClr val="black"/>
                </a:solidFill>
                <a:latin typeface="Arial" panose="020B0604020202020204" pitchFamily="34" charset="0"/>
              </a:rPr>
              <a:t>2020</a:t>
            </a:r>
            <a:r>
              <a:rPr lang="en-US" sz="1000">
                <a:solidFill>
                  <a:prstClr val="black"/>
                </a:solidFill>
                <a:latin typeface="Arial" panose="020B0604020202020204" pitchFamily="34" charset="0"/>
              </a:rPr>
              <a:t>;1:493-506.</a:t>
            </a:r>
            <a:endParaRPr sz="1000">
              <a:solidFill>
                <a:prstClr val="black"/>
              </a:solidFill>
              <a:latin typeface="Arial" panose="020B0604020202020204" pitchFamily="34" charset="0"/>
            </a:endParaRPr>
          </a:p>
        </p:txBody>
      </p:sp>
    </p:spTree>
    <p:extLst>
      <p:ext uri="{BB962C8B-B14F-4D97-AF65-F5344CB8AC3E}">
        <p14:creationId xmlns:p14="http://schemas.microsoft.com/office/powerpoint/2010/main" val="20929269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55618DD-3E46-3148-80AC-75B18ACD5334}"/>
              </a:ext>
            </a:extLst>
          </p:cNvPr>
          <p:cNvSpPr txBox="1"/>
          <p:nvPr/>
        </p:nvSpPr>
        <p:spPr>
          <a:xfrm>
            <a:off x="5995434" y="4945735"/>
            <a:ext cx="3148566" cy="1881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68580" bIns="34290" anchor="b">
            <a:spAutoFit/>
          </a:bodyPr>
          <a:lstStyle>
            <a:lvl1pPr>
              <a:tabLst>
                <a:tab pos="647700" algn="l"/>
                <a:tab pos="1295400" algn="l"/>
                <a:tab pos="1943100" algn="l"/>
                <a:tab pos="2590800" algn="l"/>
              </a:tabLst>
              <a:defRPr sz="1100">
                <a:latin typeface="Arial"/>
                <a:ea typeface="Arial"/>
                <a:cs typeface="Arial"/>
                <a:sym typeface="Arial"/>
              </a:defRPr>
            </a:lvl1pPr>
          </a:lstStyle>
          <a:p>
            <a:pPr algn="r" defTabSz="685800">
              <a:tabLst>
                <a:tab pos="485775" algn="l"/>
                <a:tab pos="971550" algn="l"/>
                <a:tab pos="1457325" algn="l"/>
                <a:tab pos="1943100" algn="l"/>
              </a:tabLst>
            </a:pPr>
            <a:r>
              <a:rPr sz="998">
                <a:solidFill>
                  <a:prstClr val="black"/>
                </a:solidFill>
              </a:rPr>
              <a:t>Mateos M</a:t>
            </a:r>
            <a:r>
              <a:rPr lang="en-US" sz="998">
                <a:solidFill>
                  <a:prstClr val="black"/>
                </a:solidFill>
              </a:rPr>
              <a:t>,</a:t>
            </a:r>
            <a:r>
              <a:rPr sz="998">
                <a:solidFill>
                  <a:prstClr val="black"/>
                </a:solidFill>
              </a:rPr>
              <a:t> et al. </a:t>
            </a:r>
            <a:r>
              <a:rPr sz="998" i="1">
                <a:solidFill>
                  <a:prstClr val="black"/>
                </a:solidFill>
              </a:rPr>
              <a:t>N Engl J Med</a:t>
            </a:r>
            <a:r>
              <a:rPr lang="en-US" sz="998" i="1">
                <a:solidFill>
                  <a:prstClr val="black"/>
                </a:solidFill>
              </a:rPr>
              <a:t>.</a:t>
            </a:r>
            <a:r>
              <a:rPr sz="998" i="1">
                <a:solidFill>
                  <a:prstClr val="black"/>
                </a:solidFill>
              </a:rPr>
              <a:t> </a:t>
            </a:r>
            <a:r>
              <a:rPr sz="998">
                <a:solidFill>
                  <a:prstClr val="black"/>
                </a:solidFill>
              </a:rPr>
              <a:t>2013;369:438-447.</a:t>
            </a:r>
          </a:p>
        </p:txBody>
      </p:sp>
      <p:pic>
        <p:nvPicPr>
          <p:cNvPr id="6" name="Picture 9" descr="Picture 9">
            <a:extLst>
              <a:ext uri="{FF2B5EF4-FFF2-40B4-BE49-F238E27FC236}">
                <a16:creationId xmlns:a16="http://schemas.microsoft.com/office/drawing/2014/main" id="{FC7B96A3-1B54-B141-B91F-9EA69A7481A8}"/>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1047867" y="686778"/>
            <a:ext cx="2893973" cy="955842"/>
          </a:xfrm>
          <a:prstGeom prst="rect">
            <a:avLst/>
          </a:prstGeom>
          <a:ln w="12700">
            <a:miter lim="400000"/>
          </a:ln>
        </p:spPr>
      </p:pic>
      <p:pic>
        <p:nvPicPr>
          <p:cNvPr id="7" name="Picture 8" descr="Picture 8">
            <a:extLst>
              <a:ext uri="{FF2B5EF4-FFF2-40B4-BE49-F238E27FC236}">
                <a16:creationId xmlns:a16="http://schemas.microsoft.com/office/drawing/2014/main" id="{905E41E0-6F6D-8B48-B072-86661E3F56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39727" y="551046"/>
            <a:ext cx="3843693" cy="1091575"/>
          </a:xfrm>
          <a:prstGeom prst="rect">
            <a:avLst/>
          </a:prstGeom>
          <a:ln w="12700">
            <a:miter lim="400000"/>
          </a:ln>
        </p:spPr>
      </p:pic>
      <p:sp>
        <p:nvSpPr>
          <p:cNvPr id="8" name="TextBox 16">
            <a:extLst>
              <a:ext uri="{FF2B5EF4-FFF2-40B4-BE49-F238E27FC236}">
                <a16:creationId xmlns:a16="http://schemas.microsoft.com/office/drawing/2014/main" id="{787494C6-47F5-4748-B2D8-90437D4B2A2C}"/>
              </a:ext>
            </a:extLst>
          </p:cNvPr>
          <p:cNvSpPr txBox="1"/>
          <p:nvPr/>
        </p:nvSpPr>
        <p:spPr>
          <a:xfrm>
            <a:off x="0" y="102935"/>
            <a:ext cx="9144000" cy="4616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rIns="34289">
            <a:spAutoFit/>
          </a:bodyPr>
          <a:lstStyle>
            <a:lvl1pPr algn="ctr">
              <a:defRPr sz="3200" b="1">
                <a:solidFill>
                  <a:srgbClr val="FFFFFF"/>
                </a:solidFill>
              </a:defRPr>
            </a:lvl1pPr>
          </a:lstStyle>
          <a:p>
            <a:pPr defTabSz="685800"/>
            <a:r>
              <a:rPr lang="en-US" sz="2400">
                <a:solidFill>
                  <a:srgbClr val="4F81BD"/>
                </a:solidFill>
                <a:latin typeface="Arial" panose="020B0604020202020204" pitchFamily="34" charset="0"/>
                <a:cs typeface="Arial" panose="020B0604020202020204" pitchFamily="34" charset="0"/>
              </a:rPr>
              <a:t>Early therapies in SMM</a:t>
            </a:r>
            <a:endParaRPr sz="2400">
              <a:solidFill>
                <a:srgbClr val="4F81BD"/>
              </a:solidFill>
              <a:latin typeface="Arial" panose="020B0604020202020204" pitchFamily="34" charset="0"/>
              <a:cs typeface="Arial" panose="020B0604020202020204" pitchFamily="34" charset="0"/>
            </a:endParaRPr>
          </a:p>
        </p:txBody>
      </p:sp>
      <p:pic>
        <p:nvPicPr>
          <p:cNvPr id="9" name="Picture 6" descr="Picture 6">
            <a:extLst>
              <a:ext uri="{FF2B5EF4-FFF2-40B4-BE49-F238E27FC236}">
                <a16:creationId xmlns:a16="http://schemas.microsoft.com/office/drawing/2014/main" id="{A3263662-BCE1-8141-AE51-F2A1A72B349A}"/>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495829" y="1733307"/>
            <a:ext cx="3584667" cy="2660598"/>
          </a:xfrm>
          <a:prstGeom prst="rect">
            <a:avLst/>
          </a:prstGeom>
          <a:ln w="12700">
            <a:miter lim="400000"/>
          </a:ln>
        </p:spPr>
      </p:pic>
      <p:sp>
        <p:nvSpPr>
          <p:cNvPr id="11" name="Rectangle 18">
            <a:extLst>
              <a:ext uri="{FF2B5EF4-FFF2-40B4-BE49-F238E27FC236}">
                <a16:creationId xmlns:a16="http://schemas.microsoft.com/office/drawing/2014/main" id="{B01E3867-2B89-184F-B13B-12F6B5ECE808}"/>
              </a:ext>
            </a:extLst>
          </p:cNvPr>
          <p:cNvSpPr/>
          <p:nvPr/>
        </p:nvSpPr>
        <p:spPr>
          <a:xfrm>
            <a:off x="1315134" y="1368033"/>
            <a:ext cx="251990" cy="957315"/>
          </a:xfrm>
          <a:prstGeom prst="rect">
            <a:avLst/>
          </a:prstGeom>
          <a:solidFill>
            <a:srgbClr val="FFFFFF"/>
          </a:solidFill>
          <a:ln w="12700">
            <a:miter lim="400000"/>
          </a:ln>
        </p:spPr>
        <p:txBody>
          <a:bodyPr lIns="34289" rIns="34289" anchor="ctr"/>
          <a:lstStyle/>
          <a:p>
            <a:pPr algn="ctr" defTabSz="685800">
              <a:defRPr>
                <a:solidFill>
                  <a:srgbClr val="FFFFFF"/>
                </a:solidFill>
              </a:defRPr>
            </a:pPr>
            <a:endParaRPr sz="1350">
              <a:solidFill>
                <a:srgbClr val="FFFFFF"/>
              </a:solidFill>
              <a:latin typeface="Calibri"/>
            </a:endParaRPr>
          </a:p>
        </p:txBody>
      </p:sp>
      <p:pic>
        <p:nvPicPr>
          <p:cNvPr id="12" name="Picture 8" descr="Picture 8">
            <a:extLst>
              <a:ext uri="{FF2B5EF4-FFF2-40B4-BE49-F238E27FC236}">
                <a16:creationId xmlns:a16="http://schemas.microsoft.com/office/drawing/2014/main" id="{737488A3-9ED1-B545-AD3E-34FF7B373C3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05349" y="1747367"/>
            <a:ext cx="3584667" cy="2660598"/>
          </a:xfrm>
          <a:prstGeom prst="rect">
            <a:avLst/>
          </a:prstGeom>
          <a:ln w="12700">
            <a:miter lim="400000"/>
          </a:ln>
        </p:spPr>
      </p:pic>
    </p:spTree>
    <p:extLst>
      <p:ext uri="{BB962C8B-B14F-4D97-AF65-F5344CB8AC3E}">
        <p14:creationId xmlns:p14="http://schemas.microsoft.com/office/powerpoint/2010/main" val="10195636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6" name="Title 1"/>
          <p:cNvSpPr txBox="1">
            <a:spLocks noGrp="1"/>
          </p:cNvSpPr>
          <p:nvPr>
            <p:ph type="title"/>
          </p:nvPr>
        </p:nvSpPr>
        <p:spPr>
          <a:xfrm>
            <a:off x="210760" y="574794"/>
            <a:ext cx="8320205" cy="994172"/>
          </a:xfrm>
          <a:prstGeom prst="rect">
            <a:avLst/>
          </a:prstGeom>
        </p:spPr>
        <p:txBody>
          <a:bodyPr>
            <a:normAutofit/>
          </a:bodyPr>
          <a:lstStyle>
            <a:lvl1pPr>
              <a:defRPr>
                <a:solidFill>
                  <a:srgbClr val="0070C0"/>
                </a:solidFill>
              </a:defRPr>
            </a:lvl1pPr>
          </a:lstStyle>
          <a:p>
            <a:r>
              <a:rPr lang="en-US" sz="2700" noProof="0">
                <a:latin typeface="Arial" panose="020B0604020202020204" pitchFamily="34" charset="0"/>
                <a:cs typeface="Arial" panose="020B0604020202020204" pitchFamily="34" charset="0"/>
              </a:rPr>
              <a:t>Our first attempts                     We need to get here</a:t>
            </a:r>
          </a:p>
        </p:txBody>
      </p:sp>
      <p:pic>
        <p:nvPicPr>
          <p:cNvPr id="3027" name="Content Placeholder 4" descr="Content Placeholder 4"/>
          <p:cNvPicPr>
            <a:picLocks noChangeAspect="1"/>
          </p:cNvPicPr>
          <p:nvPr/>
        </p:nvPicPr>
        <p:blipFill>
          <a:blip r:embed="rId2"/>
          <a:stretch>
            <a:fillRect/>
          </a:stretch>
        </p:blipFill>
        <p:spPr>
          <a:xfrm>
            <a:off x="695325" y="1568966"/>
            <a:ext cx="2219325" cy="1307274"/>
          </a:xfrm>
          <a:prstGeom prst="rect">
            <a:avLst/>
          </a:prstGeom>
          <a:ln w="12700">
            <a:miter lim="400000"/>
          </a:ln>
        </p:spPr>
      </p:pic>
      <p:sp>
        <p:nvSpPr>
          <p:cNvPr id="3028" name="TextBox 2"/>
          <p:cNvSpPr txBox="1"/>
          <p:nvPr/>
        </p:nvSpPr>
        <p:spPr>
          <a:xfrm>
            <a:off x="205817" y="2966132"/>
            <a:ext cx="4281604" cy="1387902"/>
          </a:xfrm>
          <a:prstGeom prst="rect">
            <a:avLst/>
          </a:prstGeom>
          <a:ln>
            <a:solidFill>
              <a:srgbClr val="92D050"/>
            </a:solid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68580" rIns="34289" anchor="ctr">
            <a:noAutofit/>
          </a:bodyPr>
          <a:lstStyle/>
          <a:p>
            <a:pPr marL="214313" indent="-214313" defTabSz="685800">
              <a:buSzPct val="100000"/>
              <a:buFont typeface="Arial"/>
              <a:buChar char="•"/>
              <a:defRPr sz="2000"/>
            </a:pPr>
            <a:r>
              <a:rPr sz="1200">
                <a:solidFill>
                  <a:prstClr val="black"/>
                </a:solidFill>
                <a:latin typeface="Arial" panose="020B0604020202020204" pitchFamily="34" charset="0"/>
                <a:cs typeface="Arial" panose="020B0604020202020204" pitchFamily="34" charset="0"/>
              </a:rPr>
              <a:t>Lenalidomide was the first proof of principle that early therapeutic intervention works in high</a:t>
            </a:r>
            <a:r>
              <a:rPr lang="en-US" sz="1200">
                <a:solidFill>
                  <a:prstClr val="black"/>
                </a:solidFill>
                <a:latin typeface="Arial" panose="020B0604020202020204" pitchFamily="34" charset="0"/>
                <a:cs typeface="Arial" panose="020B0604020202020204" pitchFamily="34" charset="0"/>
              </a:rPr>
              <a:t>-</a:t>
            </a:r>
            <a:r>
              <a:rPr sz="1200">
                <a:solidFill>
                  <a:prstClr val="black"/>
                </a:solidFill>
                <a:latin typeface="Arial" panose="020B0604020202020204" pitchFamily="34" charset="0"/>
                <a:cs typeface="Arial" panose="020B0604020202020204" pitchFamily="34" charset="0"/>
              </a:rPr>
              <a:t>risk SMM</a:t>
            </a:r>
          </a:p>
          <a:p>
            <a:pPr marL="214313" indent="-214313" defTabSz="685800">
              <a:buSzPct val="100000"/>
              <a:buFont typeface="Arial"/>
              <a:buChar char="•"/>
              <a:defRPr sz="2000"/>
            </a:pPr>
            <a:r>
              <a:rPr sz="1200">
                <a:solidFill>
                  <a:prstClr val="black"/>
                </a:solidFill>
                <a:latin typeface="Arial" panose="020B0604020202020204" pitchFamily="34" charset="0"/>
                <a:cs typeface="Arial" panose="020B0604020202020204" pitchFamily="34" charset="0"/>
              </a:rPr>
              <a:t>Possible immune regulation</a:t>
            </a:r>
          </a:p>
          <a:p>
            <a:pPr marL="214313" indent="-214313" defTabSz="685800">
              <a:buSzPct val="100000"/>
              <a:buFont typeface="Arial"/>
              <a:buChar char="•"/>
              <a:defRPr sz="2000"/>
            </a:pPr>
            <a:r>
              <a:rPr sz="1200">
                <a:solidFill>
                  <a:prstClr val="black"/>
                </a:solidFill>
                <a:latin typeface="Arial" panose="020B0604020202020204" pitchFamily="34" charset="0"/>
                <a:cs typeface="Arial" panose="020B0604020202020204" pitchFamily="34" charset="0"/>
              </a:rPr>
              <a:t>No overall survival benefit yet</a:t>
            </a:r>
          </a:p>
          <a:p>
            <a:pPr marL="214313" indent="-214313" defTabSz="685800">
              <a:buSzPct val="100000"/>
              <a:buFont typeface="Arial"/>
              <a:buChar char="•"/>
              <a:defRPr sz="2000"/>
            </a:pPr>
            <a:r>
              <a:rPr sz="1200">
                <a:solidFill>
                  <a:prstClr val="black"/>
                </a:solidFill>
                <a:latin typeface="Arial" panose="020B0604020202020204" pitchFamily="34" charset="0"/>
                <a:cs typeface="Arial" panose="020B0604020202020204" pitchFamily="34" charset="0"/>
              </a:rPr>
              <a:t>Cannot truly predict who had benefit and who had clonal selection and tumor resistance</a:t>
            </a:r>
          </a:p>
        </p:txBody>
      </p:sp>
      <p:sp>
        <p:nvSpPr>
          <p:cNvPr id="3029" name="TextBox 5"/>
          <p:cNvSpPr txBox="1"/>
          <p:nvPr/>
        </p:nvSpPr>
        <p:spPr>
          <a:xfrm>
            <a:off x="4714875" y="2966131"/>
            <a:ext cx="4281603" cy="1387903"/>
          </a:xfrm>
          <a:prstGeom prst="rect">
            <a:avLst/>
          </a:prstGeom>
          <a:ln>
            <a:solidFill>
              <a:srgbClr val="D71B2D"/>
            </a:solid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68580" rIns="34289" anchor="ctr">
            <a:noAutofit/>
          </a:bodyPr>
          <a:lstStyle/>
          <a:p>
            <a:pPr marL="214313" indent="-214313" defTabSz="685800">
              <a:buSzPct val="100000"/>
              <a:buFont typeface="Arial"/>
              <a:buChar char="•"/>
              <a:defRPr sz="2000"/>
            </a:pPr>
            <a:r>
              <a:rPr lang="en-US" sz="1200">
                <a:solidFill>
                  <a:prstClr val="black"/>
                </a:solidFill>
                <a:latin typeface="Arial" panose="020B0604020202020204" pitchFamily="34" charset="0"/>
                <a:cs typeface="Arial" panose="020B0604020202020204" pitchFamily="34" charset="0"/>
              </a:rPr>
              <a:t>Develop precision interception on the basis of genomic/immune profile </a:t>
            </a:r>
          </a:p>
          <a:p>
            <a:pPr marL="214313" indent="-214313" defTabSz="685800">
              <a:buSzPct val="100000"/>
              <a:buFont typeface="Arial"/>
              <a:buChar char="•"/>
              <a:defRPr sz="2000"/>
            </a:pPr>
            <a:r>
              <a:rPr lang="en-US" sz="1200">
                <a:solidFill>
                  <a:prstClr val="black"/>
                </a:solidFill>
                <a:latin typeface="Arial" panose="020B0604020202020204" pitchFamily="34" charset="0"/>
                <a:cs typeface="Arial" panose="020B0604020202020204" pitchFamily="34" charset="0"/>
              </a:rPr>
              <a:t>Venetoclax for t11;14</a:t>
            </a:r>
            <a:endParaRPr sz="1200">
              <a:solidFill>
                <a:prstClr val="black"/>
              </a:solidFill>
              <a:latin typeface="Arial" panose="020B0604020202020204" pitchFamily="34" charset="0"/>
              <a:cs typeface="Arial" panose="020B0604020202020204" pitchFamily="34" charset="0"/>
            </a:endParaRPr>
          </a:p>
          <a:p>
            <a:pPr marL="214313" indent="-214313" defTabSz="685800">
              <a:buSzPct val="100000"/>
              <a:buFont typeface="Arial"/>
              <a:buChar char="•"/>
              <a:defRPr sz="2000"/>
            </a:pPr>
            <a:r>
              <a:rPr sz="1200">
                <a:solidFill>
                  <a:prstClr val="black"/>
                </a:solidFill>
                <a:latin typeface="Arial" panose="020B0604020202020204" pitchFamily="34" charset="0"/>
                <a:cs typeface="Arial" panose="020B0604020202020204" pitchFamily="34" charset="0"/>
              </a:rPr>
              <a:t>Use immunotherapy early to control the clone without the need </a:t>
            </a:r>
            <a:r>
              <a:rPr lang="en-US" sz="1200">
                <a:solidFill>
                  <a:prstClr val="black"/>
                </a:solidFill>
                <a:latin typeface="Arial" panose="020B0604020202020204" pitchFamily="34" charset="0"/>
                <a:cs typeface="Arial" panose="020B0604020202020204" pitchFamily="34" charset="0"/>
              </a:rPr>
              <a:t>for</a:t>
            </a:r>
            <a:r>
              <a:rPr sz="1200">
                <a:solidFill>
                  <a:prstClr val="black"/>
                </a:solidFill>
                <a:latin typeface="Arial" panose="020B0604020202020204" pitchFamily="34" charset="0"/>
                <a:cs typeface="Arial" panose="020B0604020202020204" pitchFamily="34" charset="0"/>
              </a:rPr>
              <a:t> traditional myeloma therapy</a:t>
            </a:r>
          </a:p>
          <a:p>
            <a:pPr marL="214313" indent="-214313" defTabSz="685800">
              <a:buSzPct val="100000"/>
              <a:buFont typeface="Arial"/>
              <a:buChar char="•"/>
              <a:defRPr sz="2000"/>
            </a:pPr>
            <a:r>
              <a:rPr sz="1200">
                <a:solidFill>
                  <a:prstClr val="black"/>
                </a:solidFill>
                <a:latin typeface="Arial" panose="020B0604020202020204" pitchFamily="34" charset="0"/>
                <a:cs typeface="Arial" panose="020B0604020202020204" pitchFamily="34" charset="0"/>
              </a:rPr>
              <a:t>Identify markers of response or resistance </a:t>
            </a:r>
          </a:p>
        </p:txBody>
      </p:sp>
      <p:pic>
        <p:nvPicPr>
          <p:cNvPr id="3033" name="Picture 79" descr="Picture 7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8435" y="41231"/>
            <a:ext cx="1726465" cy="414504"/>
          </a:xfrm>
          <a:prstGeom prst="rect">
            <a:avLst/>
          </a:prstGeom>
          <a:ln w="12700" cap="flat">
            <a:noFill/>
            <a:miter lim="400000"/>
          </a:ln>
          <a:effectLst/>
        </p:spPr>
      </p:pic>
      <p:sp>
        <p:nvSpPr>
          <p:cNvPr id="3035" name="TextBox 12"/>
          <p:cNvSpPr txBox="1"/>
          <p:nvPr/>
        </p:nvSpPr>
        <p:spPr>
          <a:xfrm>
            <a:off x="2305028" y="104386"/>
            <a:ext cx="4431396"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4289" rIns="34289">
            <a:spAutoFit/>
          </a:bodyPr>
          <a:lstStyle>
            <a:lvl1pPr algn="ctr">
              <a:defRPr sz="3200" b="1">
                <a:solidFill>
                  <a:srgbClr val="FFFFFF"/>
                </a:solidFill>
              </a:defRPr>
            </a:lvl1pPr>
          </a:lstStyle>
          <a:p>
            <a:pPr defTabSz="685800"/>
            <a:r>
              <a:rPr lang="en-US" sz="2400" dirty="0">
                <a:solidFill>
                  <a:srgbClr val="0070C0"/>
                </a:solidFill>
                <a:latin typeface="Arial" panose="020B0604020202020204" pitchFamily="34" charset="0"/>
                <a:cs typeface="Arial" panose="020B0604020202020204" pitchFamily="34" charset="0"/>
              </a:rPr>
              <a:t>New therapeutic approaches</a:t>
            </a:r>
            <a:endParaRPr sz="2400" dirty="0">
              <a:solidFill>
                <a:srgbClr val="0070C0"/>
              </a:solidFill>
              <a:latin typeface="Arial" panose="020B0604020202020204" pitchFamily="34" charset="0"/>
              <a:cs typeface="Arial" panose="020B0604020202020204" pitchFamily="34" charset="0"/>
            </a:endParaRPr>
          </a:p>
        </p:txBody>
      </p:sp>
      <p:pic>
        <p:nvPicPr>
          <p:cNvPr id="3036" name="Picture 3" descr="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96413" y="1509068"/>
            <a:ext cx="2548603" cy="1336601"/>
          </a:xfrm>
          <a:prstGeom prst="rect">
            <a:avLst/>
          </a:prstGeom>
          <a:ln w="12700">
            <a:miter lim="400000"/>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3508"/>
            <a:ext cx="8229600" cy="409944"/>
          </a:xfrm>
        </p:spPr>
        <p:txBody>
          <a:bodyPr anchor="t">
            <a:noAutofit/>
          </a:bodyPr>
          <a:lstStyle/>
          <a:p>
            <a:r>
              <a:rPr lang="en-US" altLang="en-US" sz="2400" b="1" noProof="0">
                <a:solidFill>
                  <a:srgbClr val="0070C0"/>
                </a:solidFill>
                <a:latin typeface="Arial" panose="020B0604020202020204" pitchFamily="34" charset="0"/>
                <a:cs typeface="Arial" panose="020B0604020202020204" pitchFamily="34" charset="0"/>
              </a:rPr>
              <a:t>Overview of treatment approach</a:t>
            </a:r>
            <a:endParaRPr lang="en-US" sz="2400" b="1" noProof="0">
              <a:solidFill>
                <a:srgbClr val="0070C0"/>
              </a:solidFill>
              <a:latin typeface="Arial" panose="020B0604020202020204" pitchFamily="34" charset="0"/>
              <a:cs typeface="Arial" panose="020B0604020202020204" pitchFamily="34" charset="0"/>
            </a:endParaRPr>
          </a:p>
        </p:txBody>
      </p:sp>
      <p:sp>
        <p:nvSpPr>
          <p:cNvPr id="17" name="Down Arrow 16"/>
          <p:cNvSpPr/>
          <p:nvPr/>
        </p:nvSpPr>
        <p:spPr>
          <a:xfrm>
            <a:off x="2942732" y="1356077"/>
            <a:ext cx="457782" cy="285750"/>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endParaRPr lang="en-US">
              <a:solidFill>
                <a:prstClr val="white"/>
              </a:solidFill>
              <a:latin typeface="Arial" panose="020B0604020202020204" pitchFamily="34" charset="0"/>
              <a:cs typeface="Arial" panose="020B0604020202020204" pitchFamily="34" charset="0"/>
            </a:endParaRPr>
          </a:p>
        </p:txBody>
      </p:sp>
      <p:sp>
        <p:nvSpPr>
          <p:cNvPr id="18" name="Down Arrow 17"/>
          <p:cNvSpPr/>
          <p:nvPr/>
        </p:nvSpPr>
        <p:spPr>
          <a:xfrm>
            <a:off x="5746699" y="1356077"/>
            <a:ext cx="457782" cy="285750"/>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endParaRPr lang="en-US">
              <a:solidFill>
                <a:prstClr val="white"/>
              </a:solidFill>
              <a:latin typeface="Arial" panose="020B0604020202020204" pitchFamily="34" charset="0"/>
              <a:cs typeface="Arial" panose="020B0604020202020204" pitchFamily="34" charset="0"/>
            </a:endParaRPr>
          </a:p>
        </p:txBody>
      </p:sp>
      <p:sp>
        <p:nvSpPr>
          <p:cNvPr id="22" name="Rounded Rectangle 21"/>
          <p:cNvSpPr/>
          <p:nvPr/>
        </p:nvSpPr>
        <p:spPr>
          <a:xfrm>
            <a:off x="1836599" y="996015"/>
            <a:ext cx="2670048" cy="43011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28575">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r>
              <a:rPr lang="en-US" b="1">
                <a:solidFill>
                  <a:prstClr val="white"/>
                </a:solidFill>
                <a:latin typeface="Arial" panose="020B0604020202020204" pitchFamily="34" charset="0"/>
                <a:cs typeface="Arial" panose="020B0604020202020204" pitchFamily="34" charset="0"/>
              </a:rPr>
              <a:t>MGUS</a:t>
            </a:r>
          </a:p>
        </p:txBody>
      </p:sp>
      <p:sp>
        <p:nvSpPr>
          <p:cNvPr id="23" name="Rounded Rectangle 22"/>
          <p:cNvSpPr/>
          <p:nvPr/>
        </p:nvSpPr>
        <p:spPr>
          <a:xfrm>
            <a:off x="1836599" y="1648502"/>
            <a:ext cx="2670048" cy="1432109"/>
          </a:xfrm>
          <a:prstGeom prst="roundRect">
            <a:avLst>
              <a:gd name="adj" fmla="val 7285"/>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28575">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r>
              <a:rPr lang="en-US" sz="1400" b="1">
                <a:solidFill>
                  <a:prstClr val="white"/>
                </a:solidFill>
                <a:latin typeface="Arial" panose="020B0604020202020204" pitchFamily="34" charset="0"/>
                <a:cs typeface="Arial" panose="020B0604020202020204" pitchFamily="34" charset="0"/>
              </a:rPr>
              <a:t>Close monitoring </a:t>
            </a:r>
          </a:p>
          <a:p>
            <a:pPr algn="ctr" defTabSz="685800">
              <a:lnSpc>
                <a:spcPct val="90000"/>
              </a:lnSpc>
            </a:pPr>
            <a:r>
              <a:rPr lang="en-US" sz="1400" b="1">
                <a:solidFill>
                  <a:prstClr val="white"/>
                </a:solidFill>
                <a:latin typeface="Arial" panose="020B0604020202020204" pitchFamily="34" charset="0"/>
                <a:cs typeface="Arial" panose="020B0604020202020204" pitchFamily="34" charset="0"/>
              </a:rPr>
              <a:t>(observation)</a:t>
            </a:r>
          </a:p>
        </p:txBody>
      </p:sp>
      <p:sp>
        <p:nvSpPr>
          <p:cNvPr id="24" name="Rounded Rectangle 23"/>
          <p:cNvSpPr/>
          <p:nvPr/>
        </p:nvSpPr>
        <p:spPr>
          <a:xfrm>
            <a:off x="4642090" y="996015"/>
            <a:ext cx="2667000" cy="43011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n w="28575">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r>
              <a:rPr lang="en-US" b="1">
                <a:solidFill>
                  <a:prstClr val="white"/>
                </a:solidFill>
                <a:latin typeface="Arial" panose="020B0604020202020204" pitchFamily="34" charset="0"/>
                <a:cs typeface="Arial" panose="020B0604020202020204" pitchFamily="34" charset="0"/>
              </a:rPr>
              <a:t>SMM</a:t>
            </a:r>
          </a:p>
        </p:txBody>
      </p:sp>
      <p:sp>
        <p:nvSpPr>
          <p:cNvPr id="25" name="Rounded Rectangle 24"/>
          <p:cNvSpPr/>
          <p:nvPr/>
        </p:nvSpPr>
        <p:spPr>
          <a:xfrm>
            <a:off x="4642090" y="1647714"/>
            <a:ext cx="2667000" cy="1442194"/>
          </a:xfrm>
          <a:prstGeom prst="roundRect">
            <a:avLst>
              <a:gd name="adj" fmla="val 7351"/>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n w="28575">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r>
              <a:rPr lang="en-US" sz="1400" b="1">
                <a:solidFill>
                  <a:prstClr val="white"/>
                </a:solidFill>
                <a:latin typeface="Arial" panose="020B0604020202020204" pitchFamily="34" charset="0"/>
                <a:cs typeface="Arial" panose="020B0604020202020204" pitchFamily="34" charset="0"/>
              </a:rPr>
              <a:t>Close monitoring (observation)</a:t>
            </a:r>
            <a:br>
              <a:rPr lang="en-US" sz="1400" b="1">
                <a:solidFill>
                  <a:prstClr val="white"/>
                </a:solidFill>
                <a:latin typeface="Arial" panose="020B0604020202020204" pitchFamily="34" charset="0"/>
                <a:cs typeface="Arial" panose="020B0604020202020204" pitchFamily="34" charset="0"/>
              </a:rPr>
            </a:br>
            <a:endParaRPr lang="en-US" sz="1400" b="1">
              <a:solidFill>
                <a:prstClr val="white"/>
              </a:solidFill>
              <a:latin typeface="Arial" panose="020B0604020202020204" pitchFamily="34" charset="0"/>
              <a:cs typeface="Arial" panose="020B0604020202020204" pitchFamily="34" charset="0"/>
            </a:endParaRPr>
          </a:p>
          <a:p>
            <a:pPr algn="ctr" defTabSz="685800">
              <a:lnSpc>
                <a:spcPct val="90000"/>
              </a:lnSpc>
            </a:pPr>
            <a:r>
              <a:rPr lang="en-US" sz="1400" b="1">
                <a:solidFill>
                  <a:prstClr val="white"/>
                </a:solidFill>
                <a:latin typeface="Arial" panose="020B0604020202020204" pitchFamily="34" charset="0"/>
                <a:cs typeface="Arial" panose="020B0604020202020204" pitchFamily="34" charset="0"/>
              </a:rPr>
              <a:t>If high-risk: </a:t>
            </a:r>
          </a:p>
          <a:p>
            <a:pPr algn="ctr" defTabSz="685800">
              <a:lnSpc>
                <a:spcPct val="90000"/>
              </a:lnSpc>
            </a:pPr>
            <a:r>
              <a:rPr lang="en-US" sz="1400" b="1" i="1">
                <a:solidFill>
                  <a:prstClr val="white"/>
                </a:solidFill>
                <a:latin typeface="Arial" panose="020B0604020202020204" pitchFamily="34" charset="0"/>
                <a:cs typeface="Arial" panose="020B0604020202020204" pitchFamily="34" charset="0"/>
              </a:rPr>
              <a:t>possible</a:t>
            </a:r>
            <a:r>
              <a:rPr lang="en-US" sz="1400" b="1">
                <a:solidFill>
                  <a:prstClr val="white"/>
                </a:solidFill>
                <a:latin typeface="Arial" panose="020B0604020202020204" pitchFamily="34" charset="0"/>
                <a:cs typeface="Arial" panose="020B0604020202020204" pitchFamily="34" charset="0"/>
              </a:rPr>
              <a:t> myeloma drugs?*</a:t>
            </a:r>
          </a:p>
        </p:txBody>
      </p:sp>
      <p:sp>
        <p:nvSpPr>
          <p:cNvPr id="28" name="Rounded Rectangle 27"/>
          <p:cNvSpPr/>
          <p:nvPr/>
        </p:nvSpPr>
        <p:spPr>
          <a:xfrm>
            <a:off x="4642090" y="3339849"/>
            <a:ext cx="2667000" cy="57150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n w="28575">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r>
              <a:rPr lang="en-US" sz="1400" b="1">
                <a:solidFill>
                  <a:prstClr val="white"/>
                </a:solidFill>
                <a:latin typeface="Arial" panose="020B0604020202020204" pitchFamily="34" charset="0"/>
                <a:cs typeface="Arial" panose="020B0604020202020204" pitchFamily="34" charset="0"/>
              </a:rPr>
              <a:t>If bone loss: </a:t>
            </a:r>
          </a:p>
          <a:p>
            <a:pPr algn="ctr" defTabSz="685800">
              <a:lnSpc>
                <a:spcPct val="90000"/>
              </a:lnSpc>
            </a:pPr>
            <a:r>
              <a:rPr lang="en-US" sz="1400" b="1">
                <a:solidFill>
                  <a:prstClr val="white"/>
                </a:solidFill>
                <a:latin typeface="Arial" panose="020B0604020202020204" pitchFamily="34" charset="0"/>
                <a:cs typeface="Arial" panose="020B0604020202020204" pitchFamily="34" charset="0"/>
              </a:rPr>
              <a:t>bone-targeting agents</a:t>
            </a:r>
          </a:p>
        </p:txBody>
      </p:sp>
      <p:sp>
        <p:nvSpPr>
          <p:cNvPr id="30" name="Rounded Rectangle 29"/>
          <p:cNvSpPr/>
          <p:nvPr/>
        </p:nvSpPr>
        <p:spPr>
          <a:xfrm>
            <a:off x="1836600" y="3990419"/>
            <a:ext cx="5472490" cy="409944"/>
          </a:xfrm>
          <a:prstGeom prst="round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a:ln>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r>
              <a:rPr lang="en-US" sz="1400" b="1">
                <a:solidFill>
                  <a:prstClr val="white"/>
                </a:solidFill>
                <a:latin typeface="Arial" panose="020B0604020202020204" pitchFamily="34" charset="0"/>
                <a:cs typeface="Arial" panose="020B0604020202020204" pitchFamily="34" charset="0"/>
              </a:rPr>
              <a:t>Clinical trial participation should be considered</a:t>
            </a:r>
          </a:p>
        </p:txBody>
      </p:sp>
      <p:sp>
        <p:nvSpPr>
          <p:cNvPr id="32" name="Cross 31"/>
          <p:cNvSpPr/>
          <p:nvPr/>
        </p:nvSpPr>
        <p:spPr>
          <a:xfrm>
            <a:off x="5856121" y="3117306"/>
            <a:ext cx="238938" cy="201395"/>
          </a:xfrm>
          <a:prstGeom prst="plus">
            <a:avLst>
              <a:gd name="adj" fmla="val 3209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400">
              <a:solidFill>
                <a:prstClr val="white"/>
              </a:solidFill>
              <a:latin typeface="Calibri"/>
            </a:endParaRPr>
          </a:p>
        </p:txBody>
      </p:sp>
      <p:sp>
        <p:nvSpPr>
          <p:cNvPr id="3" name="Rectangle 2"/>
          <p:cNvSpPr/>
          <p:nvPr/>
        </p:nvSpPr>
        <p:spPr>
          <a:xfrm>
            <a:off x="4377022" y="4485163"/>
            <a:ext cx="3063659" cy="244682"/>
          </a:xfrm>
          <a:prstGeom prst="rect">
            <a:avLst/>
          </a:prstGeom>
        </p:spPr>
        <p:txBody>
          <a:bodyPr wrap="none">
            <a:spAutoFit/>
          </a:bodyPr>
          <a:lstStyle/>
          <a:p>
            <a:pPr algn="ctr" defTabSz="685800">
              <a:lnSpc>
                <a:spcPct val="90000"/>
              </a:lnSpc>
              <a:spcAft>
                <a:spcPts val="600"/>
              </a:spcAft>
            </a:pPr>
            <a:r>
              <a:rPr lang="en-US" sz="1100">
                <a:solidFill>
                  <a:prstClr val="black">
                    <a:lumMod val="75000"/>
                    <a:lumOff val="25000"/>
                  </a:prstClr>
                </a:solidFill>
                <a:latin typeface="Arial" panose="020B0604020202020204" pitchFamily="34" charset="0"/>
                <a:cs typeface="Arial" panose="020B0604020202020204" pitchFamily="34" charset="0"/>
              </a:rPr>
              <a:t>*Promising, but only available as clinical trials.</a:t>
            </a:r>
          </a:p>
        </p:txBody>
      </p:sp>
    </p:spTree>
    <p:extLst>
      <p:ext uri="{BB962C8B-B14F-4D97-AF65-F5344CB8AC3E}">
        <p14:creationId xmlns:p14="http://schemas.microsoft.com/office/powerpoint/2010/main" val="12708707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55063"/>
            <a:ext cx="9144000" cy="549332"/>
          </a:xfrm>
        </p:spPr>
        <p:txBody>
          <a:bodyPr>
            <a:normAutofit/>
          </a:bodyPr>
          <a:lstStyle/>
          <a:p>
            <a:r>
              <a:rPr lang="en-US" altLang="en-US" sz="2400" b="1" noProof="0">
                <a:solidFill>
                  <a:srgbClr val="0070C0"/>
                </a:solidFill>
                <a:latin typeface="Arial" panose="020B0604020202020204" pitchFamily="34" charset="0"/>
                <a:cs typeface="Arial" panose="020B0604020202020204" pitchFamily="34" charset="0"/>
              </a:rPr>
              <a:t>Ongoing clinical studies for SMM patients</a:t>
            </a:r>
            <a:endParaRPr lang="en-US" sz="2400" b="1" noProof="0">
              <a:solidFill>
                <a:srgbClr val="0070C0"/>
              </a:solidFill>
              <a:latin typeface="Arial" panose="020B0604020202020204" pitchFamily="34" charset="0"/>
              <a:cs typeface="Arial" panose="020B0604020202020204" pitchFamily="34" charset="0"/>
            </a:endParaRPr>
          </a:p>
        </p:txBody>
      </p:sp>
      <p:sp>
        <p:nvSpPr>
          <p:cNvPr id="8" name="Rectangle 7"/>
          <p:cNvSpPr/>
          <p:nvPr/>
        </p:nvSpPr>
        <p:spPr>
          <a:xfrm>
            <a:off x="6640021" y="4889625"/>
            <a:ext cx="2503979" cy="245901"/>
          </a:xfrm>
          <a:prstGeom prst="rect">
            <a:avLst/>
          </a:prstGeom>
        </p:spPr>
        <p:txBody>
          <a:bodyPr wrap="square" anchor="b">
            <a:spAutoFit/>
          </a:bodyPr>
          <a:lstStyle/>
          <a:p>
            <a:pPr algn="r" defTabSz="685800"/>
            <a:r>
              <a:rPr lang="en-US" sz="998">
                <a:solidFill>
                  <a:prstClr val="black">
                    <a:lumMod val="75000"/>
                    <a:lumOff val="25000"/>
                  </a:prstClr>
                </a:solidFill>
                <a:latin typeface="Arial" panose="020B0604020202020204" pitchFamily="34" charset="0"/>
                <a:cs typeface="Arial" panose="020B0604020202020204" pitchFamily="34" charset="0"/>
              </a:rPr>
              <a:t>Trials found at www.clinicaltrials.gov.</a:t>
            </a:r>
          </a:p>
        </p:txBody>
      </p:sp>
      <p:sp>
        <p:nvSpPr>
          <p:cNvPr id="9" name="TextBox 8"/>
          <p:cNvSpPr txBox="1"/>
          <p:nvPr/>
        </p:nvSpPr>
        <p:spPr>
          <a:xfrm>
            <a:off x="2518112" y="735393"/>
            <a:ext cx="4121909" cy="327782"/>
          </a:xfrm>
          <a:prstGeom prst="rect">
            <a:avLst/>
          </a:prstGeom>
          <a:noFill/>
        </p:spPr>
        <p:txBody>
          <a:bodyPr wrap="square" rtlCol="0" anchor="b">
            <a:spAutoFit/>
          </a:bodyPr>
          <a:lstStyle/>
          <a:p>
            <a:pPr algn="ctr" defTabSz="685800">
              <a:lnSpc>
                <a:spcPct val="85000"/>
              </a:lnSpc>
            </a:pPr>
            <a:r>
              <a:rPr lang="en-US" b="1">
                <a:solidFill>
                  <a:prstClr val="black">
                    <a:lumMod val="75000"/>
                    <a:lumOff val="25000"/>
                  </a:prstClr>
                </a:solidFill>
                <a:latin typeface="Arial" panose="020B0604020202020204" pitchFamily="34" charset="0"/>
                <a:cs typeface="Arial" panose="020B0604020202020204" pitchFamily="34" charset="0"/>
              </a:rPr>
              <a:t>Phases I</a:t>
            </a:r>
            <a:r>
              <a:rPr lang="en-US" b="1">
                <a:solidFill>
                  <a:prstClr val="black">
                    <a:lumMod val="75000"/>
                    <a:lumOff val="25000"/>
                  </a:prstClr>
                </a:solidFill>
                <a:latin typeface="Arial"/>
                <a:cs typeface="Arial"/>
              </a:rPr>
              <a:t>–</a:t>
            </a:r>
            <a:r>
              <a:rPr lang="en-US" b="1">
                <a:solidFill>
                  <a:prstClr val="black">
                    <a:lumMod val="75000"/>
                    <a:lumOff val="25000"/>
                  </a:prstClr>
                </a:solidFill>
                <a:latin typeface="Arial" panose="020B0604020202020204" pitchFamily="34" charset="0"/>
                <a:cs typeface="Arial" panose="020B0604020202020204" pitchFamily="34" charset="0"/>
              </a:rPr>
              <a:t>III or observational</a:t>
            </a:r>
          </a:p>
        </p:txBody>
      </p:sp>
      <p:sp>
        <p:nvSpPr>
          <p:cNvPr id="11" name="Rounded Rectangle 10"/>
          <p:cNvSpPr/>
          <p:nvPr/>
        </p:nvSpPr>
        <p:spPr>
          <a:xfrm>
            <a:off x="574159" y="1938145"/>
            <a:ext cx="3913649" cy="2446880"/>
          </a:xfrm>
          <a:prstGeom prst="roundRect">
            <a:avLst>
              <a:gd name="adj" fmla="val 2279"/>
            </a:avLst>
          </a:prstGeom>
          <a:gradFill>
            <a:gsLst>
              <a:gs pos="75000">
                <a:schemeClr val="accent1">
                  <a:lumMod val="20000"/>
                  <a:lumOff val="80000"/>
                </a:schemeClr>
              </a:gs>
              <a:gs pos="100000">
                <a:schemeClr val="accent1">
                  <a:lumMod val="20000"/>
                  <a:lumOff val="80000"/>
                  <a:alpha val="0"/>
                </a:schemeClr>
              </a:gs>
            </a:gsLst>
            <a:lin ang="5400000" scaled="0"/>
          </a:gradFill>
          <a:ln>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5" indent="-115885" defTabSz="685800">
              <a:lnSpc>
                <a:spcPct val="90000"/>
              </a:lnSpc>
              <a:spcAft>
                <a:spcPts val="300"/>
              </a:spcAft>
              <a:buFont typeface="Arial" panose="020B0604020202020204" pitchFamily="34" charset="0"/>
              <a:buChar char="•"/>
            </a:pPr>
            <a:r>
              <a:rPr lang="en-US" sz="1200">
                <a:solidFill>
                  <a:prstClr val="black">
                    <a:lumMod val="75000"/>
                    <a:lumOff val="25000"/>
                  </a:prstClr>
                </a:solidFill>
                <a:latin typeface="Calibri"/>
                <a:cs typeface="Arial"/>
              </a:rPr>
              <a:t>Denosumab</a:t>
            </a:r>
          </a:p>
          <a:p>
            <a:pPr marL="115885" indent="-115885" defTabSz="685800">
              <a:lnSpc>
                <a:spcPct val="90000"/>
              </a:lnSpc>
              <a:spcAft>
                <a:spcPts val="300"/>
              </a:spcAft>
              <a:buFont typeface="Arial" panose="020B0604020202020204" pitchFamily="34" charset="0"/>
              <a:buChar char="•"/>
            </a:pPr>
            <a:r>
              <a:rPr lang="en-US" sz="1200">
                <a:solidFill>
                  <a:prstClr val="black">
                    <a:lumMod val="75000"/>
                    <a:lumOff val="25000"/>
                  </a:prstClr>
                </a:solidFill>
                <a:latin typeface="Calibri"/>
                <a:cs typeface="Arial"/>
              </a:rPr>
              <a:t>Ixazomib + lenalidomide + dex</a:t>
            </a:r>
          </a:p>
          <a:p>
            <a:pPr marL="115885" indent="-115885" defTabSz="685800">
              <a:lnSpc>
                <a:spcPct val="90000"/>
              </a:lnSpc>
              <a:spcAft>
                <a:spcPts val="300"/>
              </a:spcAft>
              <a:buFont typeface="Arial" panose="020B0604020202020204" pitchFamily="34" charset="0"/>
              <a:buChar char="•"/>
            </a:pPr>
            <a:r>
              <a:rPr lang="en-US" sz="1200" b="1">
                <a:solidFill>
                  <a:prstClr val="black">
                    <a:lumMod val="75000"/>
                    <a:lumOff val="25000"/>
                  </a:prstClr>
                </a:solidFill>
                <a:latin typeface="Arial" panose="020B0604020202020204" pitchFamily="34" charset="0"/>
                <a:cs typeface="Arial"/>
              </a:rPr>
              <a:t>Daratumumab (SC) phase III study</a:t>
            </a:r>
          </a:p>
          <a:p>
            <a:pPr marL="115885" indent="-115885" defTabSz="685800">
              <a:lnSpc>
                <a:spcPct val="90000"/>
              </a:lnSpc>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a:rPr>
              <a:t>Carfilzomib + lenalidomide + dex </a:t>
            </a:r>
          </a:p>
          <a:p>
            <a:pPr marL="115885" indent="-115885" defTabSz="685800">
              <a:lnSpc>
                <a:spcPct val="90000"/>
              </a:lnSpc>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a:rPr>
              <a:t>Lenalidomide + dex ± carfilzomib</a:t>
            </a:r>
          </a:p>
          <a:p>
            <a:pPr marL="115885" indent="-115885" defTabSz="685800">
              <a:lnSpc>
                <a:spcPct val="90000"/>
              </a:lnSpc>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a:rPr>
              <a:t>Carfilzomib + lenalidomide + daratumumab + dex (ASCENT trial)</a:t>
            </a:r>
          </a:p>
          <a:p>
            <a:pPr marL="115885" indent="-115885" defTabSz="685800">
              <a:lnSpc>
                <a:spcPct val="90000"/>
              </a:lnSpc>
              <a:spcAft>
                <a:spcPts val="300"/>
              </a:spcAft>
              <a:buFont typeface="Arial" panose="020B0604020202020204" pitchFamily="34" charset="0"/>
              <a:buChar char="•"/>
            </a:pPr>
            <a:r>
              <a:rPr lang="en-US" sz="1200" b="1">
                <a:solidFill>
                  <a:prstClr val="black">
                    <a:lumMod val="75000"/>
                    <a:lumOff val="25000"/>
                  </a:prstClr>
                </a:solidFill>
                <a:latin typeface="Arial" panose="020B0604020202020204" pitchFamily="34" charset="0"/>
                <a:cs typeface="Arial"/>
              </a:rPr>
              <a:t>Lenalidomide + dex ± daratumumab phase III</a:t>
            </a:r>
          </a:p>
          <a:p>
            <a:pPr marL="115885" indent="-115885" defTabSz="685800">
              <a:lnSpc>
                <a:spcPct val="90000"/>
              </a:lnSpc>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a:rPr>
              <a:t>Elotuzumab + lenalidomide + dex (E-PRISM trial)</a:t>
            </a:r>
          </a:p>
          <a:p>
            <a:pPr marL="115885" indent="-115885" defTabSz="685800">
              <a:lnSpc>
                <a:spcPct val="90000"/>
              </a:lnSpc>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a:rPr>
              <a:t>Vaccines</a:t>
            </a:r>
            <a:r>
              <a:rPr lang="en-US" sz="1200" baseline="30000">
                <a:solidFill>
                  <a:prstClr val="black">
                    <a:lumMod val="75000"/>
                    <a:lumOff val="25000"/>
                  </a:prstClr>
                </a:solidFill>
                <a:latin typeface="Calibri"/>
                <a:cs typeface="Arial"/>
              </a:rPr>
              <a:t> </a:t>
            </a:r>
            <a:r>
              <a:rPr lang="en-US" sz="1200">
                <a:solidFill>
                  <a:prstClr val="black">
                    <a:lumMod val="75000"/>
                    <a:lumOff val="25000"/>
                  </a:prstClr>
                </a:solidFill>
                <a:latin typeface="Arial" panose="020B0604020202020204" pitchFamily="34" charset="0"/>
                <a:cs typeface="Arial"/>
              </a:rPr>
              <a:t>: PVX-410, DKK1, custom-made</a:t>
            </a:r>
          </a:p>
          <a:p>
            <a:pPr marL="115885" indent="-115885" defTabSz="685800">
              <a:lnSpc>
                <a:spcPct val="90000"/>
              </a:lnSpc>
              <a:spcAft>
                <a:spcPts val="300"/>
              </a:spcAft>
              <a:buFont typeface="Arial" panose="020B0604020202020204" pitchFamily="34" charset="0"/>
              <a:buChar char="•"/>
            </a:pPr>
            <a:r>
              <a:rPr lang="en-US" sz="1200" b="1">
                <a:solidFill>
                  <a:prstClr val="black">
                    <a:lumMod val="75000"/>
                    <a:lumOff val="25000"/>
                  </a:prstClr>
                </a:solidFill>
                <a:latin typeface="Arial" panose="020B0604020202020204" pitchFamily="34" charset="0"/>
                <a:cs typeface="Arial"/>
              </a:rPr>
              <a:t>ITHACA phase III study</a:t>
            </a:r>
          </a:p>
          <a:p>
            <a:pPr marL="115885" indent="-115885" defTabSz="685800">
              <a:lnSpc>
                <a:spcPct val="90000"/>
              </a:lnSpc>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a:rPr>
              <a:t>Isatuximab</a:t>
            </a:r>
            <a:endParaRPr lang="en-US" sz="1200" baseline="30000">
              <a:solidFill>
                <a:prstClr val="black">
                  <a:lumMod val="75000"/>
                  <a:lumOff val="25000"/>
                </a:prstClr>
              </a:solidFill>
              <a:latin typeface="Calibri"/>
              <a:cs typeface="Arial"/>
            </a:endParaRPr>
          </a:p>
        </p:txBody>
      </p:sp>
      <p:sp>
        <p:nvSpPr>
          <p:cNvPr id="13" name="Rounded Rectangle 12"/>
          <p:cNvSpPr/>
          <p:nvPr/>
        </p:nvSpPr>
        <p:spPr>
          <a:xfrm>
            <a:off x="574159" y="1380838"/>
            <a:ext cx="3913649" cy="549332"/>
          </a:xfrm>
          <a:prstGeom prst="roundRect">
            <a:avLst>
              <a:gd name="adj" fmla="val 5719"/>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a:lnSpc>
                <a:spcPct val="90000"/>
              </a:lnSpc>
            </a:pPr>
            <a:r>
              <a:rPr lang="en-US" sz="1600" b="1">
                <a:solidFill>
                  <a:prstClr val="white"/>
                </a:solidFill>
                <a:latin typeface="Arial" panose="020B0604020202020204" pitchFamily="34" charset="0"/>
                <a:cs typeface="Arial" panose="020B0604020202020204" pitchFamily="34" charset="0"/>
              </a:rPr>
              <a:t>SMM patients at high risk </a:t>
            </a:r>
            <a:br>
              <a:rPr lang="en-US" sz="1600" b="1">
                <a:solidFill>
                  <a:prstClr val="white"/>
                </a:solidFill>
                <a:latin typeface="Arial" panose="020B0604020202020204" pitchFamily="34" charset="0"/>
                <a:cs typeface="Arial" panose="020B0604020202020204" pitchFamily="34" charset="0"/>
              </a:rPr>
            </a:br>
            <a:r>
              <a:rPr lang="en-US" sz="1600" b="1">
                <a:solidFill>
                  <a:prstClr val="white"/>
                </a:solidFill>
                <a:latin typeface="Arial" panose="020B0604020202020204" pitchFamily="34" charset="0"/>
                <a:cs typeface="Arial" panose="020B0604020202020204" pitchFamily="34" charset="0"/>
              </a:rPr>
              <a:t>of disease progression</a:t>
            </a:r>
          </a:p>
        </p:txBody>
      </p:sp>
      <p:sp>
        <p:nvSpPr>
          <p:cNvPr id="14" name="Rounded Rectangle 13"/>
          <p:cNvSpPr/>
          <p:nvPr/>
        </p:nvSpPr>
        <p:spPr>
          <a:xfrm>
            <a:off x="4783785" y="1932872"/>
            <a:ext cx="3913647" cy="2275610"/>
          </a:xfrm>
          <a:prstGeom prst="roundRect">
            <a:avLst>
              <a:gd name="adj" fmla="val 2279"/>
            </a:avLst>
          </a:prstGeom>
          <a:gradFill>
            <a:gsLst>
              <a:gs pos="75000">
                <a:schemeClr val="accent2">
                  <a:lumMod val="20000"/>
                  <a:lumOff val="80000"/>
                </a:schemeClr>
              </a:gs>
              <a:gs pos="100000">
                <a:schemeClr val="accent2">
                  <a:lumMod val="20000"/>
                  <a:lumOff val="80000"/>
                  <a:alpha val="0"/>
                </a:schemeClr>
              </a:gs>
            </a:gsLst>
            <a:lin ang="5400000" scaled="0"/>
          </a:gradFill>
          <a:ln>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Ins="45720" rtlCol="0" anchor="t"/>
          <a:lstStyle/>
          <a:p>
            <a:pPr marL="115885" indent="-115885" defTabSz="888978">
              <a:lnSpc>
                <a:spcPct val="90000"/>
              </a:lnSpc>
              <a:spcBef>
                <a:spcPct val="0"/>
              </a:spcBef>
              <a:spcAft>
                <a:spcPts val="300"/>
              </a:spcAft>
              <a:buFont typeface="Arial" panose="020B0604020202020204" pitchFamily="34" charset="0"/>
              <a:buChar char="•"/>
            </a:pPr>
            <a:r>
              <a:rPr lang="en-US" sz="1200" b="1">
                <a:solidFill>
                  <a:prstClr val="black">
                    <a:lumMod val="75000"/>
                    <a:lumOff val="25000"/>
                  </a:prstClr>
                </a:solidFill>
                <a:latin typeface="Arial" panose="020B0604020202020204" pitchFamily="34" charset="0"/>
                <a:cs typeface="Arial" panose="020B0604020202020204" pitchFamily="34" charset="0"/>
              </a:rPr>
              <a:t>Predictors of progression (PROMISE study)</a:t>
            </a:r>
          </a:p>
          <a:p>
            <a:pPr marL="115885" indent="-115885" defTabSz="888978">
              <a:lnSpc>
                <a:spcPct val="90000"/>
              </a:lnSpc>
              <a:spcBef>
                <a:spcPct val="0"/>
              </a:spcBef>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panose="020B0604020202020204" pitchFamily="34" charset="0"/>
              </a:rPr>
              <a:t>Genomic and molecular predictors of progression (MD Anderson study)</a:t>
            </a:r>
          </a:p>
          <a:p>
            <a:pPr marL="115885" indent="-115885" defTabSz="888978">
              <a:lnSpc>
                <a:spcPct val="90000"/>
              </a:lnSpc>
              <a:spcBef>
                <a:spcPct val="0"/>
              </a:spcBef>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panose="020B0604020202020204" pitchFamily="34" charset="0"/>
              </a:rPr>
              <a:t>Daratumumab</a:t>
            </a:r>
          </a:p>
          <a:p>
            <a:pPr marL="115885" indent="-115885" defTabSz="888978">
              <a:lnSpc>
                <a:spcPct val="90000"/>
              </a:lnSpc>
              <a:spcBef>
                <a:spcPct val="0"/>
              </a:spcBef>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panose="020B0604020202020204" pitchFamily="34" charset="0"/>
              </a:rPr>
              <a:t>Rifaximin</a:t>
            </a:r>
          </a:p>
          <a:p>
            <a:pPr marL="115885" indent="-115885" defTabSz="888978">
              <a:lnSpc>
                <a:spcPct val="90000"/>
              </a:lnSpc>
              <a:spcBef>
                <a:spcPct val="0"/>
              </a:spcBef>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panose="020B0604020202020204" pitchFamily="34" charset="0"/>
              </a:rPr>
              <a:t>DKK1 (dendritic cell) vaccine</a:t>
            </a:r>
          </a:p>
          <a:p>
            <a:pPr marL="115885" indent="-115885" defTabSz="888978">
              <a:lnSpc>
                <a:spcPct val="90000"/>
              </a:lnSpc>
              <a:spcBef>
                <a:spcPct val="0"/>
              </a:spcBef>
              <a:spcAft>
                <a:spcPts val="300"/>
              </a:spcAft>
              <a:buFont typeface="Arial" panose="020B0604020202020204" pitchFamily="34" charset="0"/>
              <a:buChar char="•"/>
            </a:pPr>
            <a:r>
              <a:rPr lang="en-US" sz="1200">
                <a:solidFill>
                  <a:prstClr val="black">
                    <a:lumMod val="75000"/>
                    <a:lumOff val="25000"/>
                  </a:prstClr>
                </a:solidFill>
                <a:latin typeface="Arial" panose="020B0604020202020204" pitchFamily="34" charset="0"/>
                <a:cs typeface="Arial" panose="020B0604020202020204" pitchFamily="34" charset="0"/>
              </a:rPr>
              <a:t>Neoantigen personalized vaccine</a:t>
            </a:r>
          </a:p>
        </p:txBody>
      </p:sp>
      <p:sp>
        <p:nvSpPr>
          <p:cNvPr id="16" name="Rounded Rectangle 15"/>
          <p:cNvSpPr/>
          <p:nvPr/>
        </p:nvSpPr>
        <p:spPr>
          <a:xfrm>
            <a:off x="4783784" y="1370368"/>
            <a:ext cx="3915918" cy="549332"/>
          </a:xfrm>
          <a:prstGeom prst="roundRect">
            <a:avLst>
              <a:gd name="adj" fmla="val 5719"/>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n>
            <a:noFill/>
          </a:ln>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pPr>
            <a:r>
              <a:rPr lang="en-US" sz="1600" b="1">
                <a:solidFill>
                  <a:prstClr val="white"/>
                </a:solidFill>
                <a:latin typeface="Arial" panose="020B0604020202020204" pitchFamily="34" charset="0"/>
                <a:cs typeface="Arial" panose="020B0604020202020204" pitchFamily="34" charset="0"/>
              </a:rPr>
              <a:t>SMM/MGUS</a:t>
            </a:r>
          </a:p>
        </p:txBody>
      </p:sp>
    </p:spTree>
    <p:extLst>
      <p:ext uri="{BB962C8B-B14F-4D97-AF65-F5344CB8AC3E}">
        <p14:creationId xmlns:p14="http://schemas.microsoft.com/office/powerpoint/2010/main" val="9130101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F197F-73F4-4E7A-BF10-03AF4AC1AC86}"/>
              </a:ext>
            </a:extLst>
          </p:cNvPr>
          <p:cNvSpPr>
            <a:spLocks noGrp="1"/>
          </p:cNvSpPr>
          <p:nvPr>
            <p:ph type="title"/>
          </p:nvPr>
        </p:nvSpPr>
        <p:spPr>
          <a:xfrm>
            <a:off x="0" y="86357"/>
            <a:ext cx="9144000" cy="857250"/>
          </a:xfrm>
        </p:spPr>
        <p:txBody>
          <a:bodyPr>
            <a:noAutofit/>
          </a:bodyPr>
          <a:lstStyle/>
          <a:p>
            <a:r>
              <a:rPr lang="en-US" altLang="en-US" sz="2400" b="1" noProof="0">
                <a:solidFill>
                  <a:srgbClr val="0070C0"/>
                </a:solidFill>
                <a:latin typeface="Arial" panose="020B0604020202020204" pitchFamily="34" charset="0"/>
                <a:cs typeface="Arial" panose="020B0604020202020204" pitchFamily="34" charset="0"/>
              </a:rPr>
              <a:t>Precision intervention with elotuzumab in </a:t>
            </a:r>
            <a:br>
              <a:rPr lang="en-US" altLang="en-US" sz="2400" b="1" noProof="0">
                <a:solidFill>
                  <a:srgbClr val="0070C0"/>
                </a:solidFill>
                <a:latin typeface="Arial" panose="020B0604020202020204" pitchFamily="34" charset="0"/>
                <a:cs typeface="Arial" panose="020B0604020202020204" pitchFamily="34" charset="0"/>
              </a:rPr>
            </a:br>
            <a:r>
              <a:rPr lang="en-US" altLang="en-US" sz="2400" b="1" noProof="0">
                <a:solidFill>
                  <a:srgbClr val="0070C0"/>
                </a:solidFill>
                <a:latin typeface="Arial" panose="020B0604020202020204" pitchFamily="34" charset="0"/>
                <a:cs typeface="Arial" panose="020B0604020202020204" pitchFamily="34" charset="0"/>
              </a:rPr>
              <a:t>smoldering myeloma</a:t>
            </a:r>
            <a:endParaRPr lang="en-US" sz="2400" b="1" noProof="0">
              <a:solidFill>
                <a:srgbClr val="0070C0"/>
              </a:solidFill>
              <a:latin typeface="Arial" panose="020B0604020202020204" pitchFamily="34" charset="0"/>
              <a:cs typeface="Arial" panose="020B0604020202020204" pitchFamily="34" charset="0"/>
            </a:endParaRPr>
          </a:p>
        </p:txBody>
      </p:sp>
      <p:sp>
        <p:nvSpPr>
          <p:cNvPr id="8" name="TextBox 68">
            <a:extLst>
              <a:ext uri="{FF2B5EF4-FFF2-40B4-BE49-F238E27FC236}">
                <a16:creationId xmlns:a16="http://schemas.microsoft.com/office/drawing/2014/main" id="{341611FC-6A21-4267-AF3F-5732360701E5}"/>
              </a:ext>
            </a:extLst>
          </p:cNvPr>
          <p:cNvSpPr txBox="1">
            <a:spLocks noChangeArrowheads="1"/>
          </p:cNvSpPr>
          <p:nvPr/>
        </p:nvSpPr>
        <p:spPr bwMode="auto">
          <a:xfrm>
            <a:off x="5664144" y="4889625"/>
            <a:ext cx="3479857" cy="245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spcAft>
                <a:spcPts val="200"/>
              </a:spcAft>
              <a:buClr>
                <a:schemeClr val="accent1"/>
              </a:buClr>
              <a:buFont typeface="Arial" charset="0"/>
              <a:buChar char="•"/>
              <a:defRPr sz="2800" b="1">
                <a:solidFill>
                  <a:schemeClr val="tx1"/>
                </a:solidFill>
                <a:latin typeface="Arial" charset="0"/>
              </a:defRPr>
            </a:lvl1pPr>
            <a:lvl2pPr marL="742950" indent="-285750" eaLnBrk="0" hangingPunct="0">
              <a:spcAft>
                <a:spcPts val="200"/>
              </a:spcAft>
              <a:buClr>
                <a:schemeClr val="accent1"/>
              </a:buClr>
              <a:buFont typeface="Arial" charset="0"/>
              <a:buChar char="–"/>
              <a:defRPr sz="2400" b="1">
                <a:solidFill>
                  <a:schemeClr val="tx1"/>
                </a:solidFill>
                <a:latin typeface="Arial" charset="0"/>
              </a:defRPr>
            </a:lvl2pPr>
            <a:lvl3pPr marL="1143000" indent="-228600" eaLnBrk="0" hangingPunct="0">
              <a:spcAft>
                <a:spcPts val="200"/>
              </a:spcAft>
              <a:buClr>
                <a:schemeClr val="accent1"/>
              </a:buClr>
              <a:buFont typeface="Arial" charset="0"/>
              <a:buChar char="•"/>
              <a:defRPr sz="2200" b="1">
                <a:solidFill>
                  <a:schemeClr val="tx1"/>
                </a:solidFill>
                <a:latin typeface="Arial" charset="0"/>
              </a:defRPr>
            </a:lvl3pPr>
            <a:lvl4pPr marL="1600200" indent="-228600" eaLnBrk="0" hangingPunct="0">
              <a:spcAft>
                <a:spcPts val="200"/>
              </a:spcAft>
              <a:buClr>
                <a:schemeClr val="accent1"/>
              </a:buClr>
              <a:buFont typeface="Arial" charset="0"/>
              <a:buChar char="–"/>
              <a:defRPr sz="2000" b="1">
                <a:solidFill>
                  <a:schemeClr val="tx1"/>
                </a:solidFill>
                <a:latin typeface="Arial" charset="0"/>
              </a:defRPr>
            </a:lvl4pPr>
            <a:lvl5pPr marL="2057400" indent="-228600" eaLnBrk="0" hangingPunct="0">
              <a:spcAft>
                <a:spcPts val="200"/>
              </a:spcAft>
              <a:buClr>
                <a:schemeClr val="accent1"/>
              </a:buClr>
              <a:buFont typeface="Arial" charset="0"/>
              <a:buChar char="»"/>
              <a:defRPr sz="2000" b="1">
                <a:solidFill>
                  <a:schemeClr val="tx1"/>
                </a:solidFill>
                <a:latin typeface="Arial" charset="0"/>
              </a:defRPr>
            </a:lvl5pPr>
            <a:lvl6pPr marL="25146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6pPr>
            <a:lvl7pPr marL="29718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7pPr>
            <a:lvl8pPr marL="34290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8pPr>
            <a:lvl9pPr marL="3886200" indent="-228600" eaLnBrk="0" fontAlgn="base" hangingPunct="0">
              <a:spcBef>
                <a:spcPct val="0"/>
              </a:spcBef>
              <a:spcAft>
                <a:spcPts val="200"/>
              </a:spcAft>
              <a:buClr>
                <a:schemeClr val="accent1"/>
              </a:buClr>
              <a:buFont typeface="Arial" charset="0"/>
              <a:buChar char="»"/>
              <a:defRPr sz="2000" b="1">
                <a:solidFill>
                  <a:schemeClr val="tx1"/>
                </a:solidFill>
                <a:latin typeface="Arial" charset="0"/>
              </a:defRPr>
            </a:lvl9pPr>
          </a:lstStyle>
          <a:p>
            <a:pPr algn="r" defTabSz="685800" eaLnBrk="1" hangingPunct="1">
              <a:spcAft>
                <a:spcPct val="0"/>
              </a:spcAft>
              <a:buClrTx/>
              <a:buNone/>
            </a:pPr>
            <a:r>
              <a:rPr lang="en-US" altLang="en-US" sz="998" b="0">
                <a:solidFill>
                  <a:prstClr val="black"/>
                </a:solidFill>
                <a:latin typeface="Arial" panose="020B0604020202020204" pitchFamily="34" charset="0"/>
                <a:ea typeface="ＭＳ Ｐゴシック" pitchFamily="34" charset="-128"/>
                <a:cs typeface="Arial" panose="020B0604020202020204" pitchFamily="34" charset="0"/>
              </a:rPr>
              <a:t>E-PRISM trial. Liu CJ, et al. </a:t>
            </a:r>
            <a:r>
              <a:rPr lang="en-US" altLang="en-US" sz="998" b="0" i="1">
                <a:solidFill>
                  <a:prstClr val="black"/>
                </a:solidFill>
                <a:latin typeface="Arial" panose="020B0604020202020204" pitchFamily="34" charset="0"/>
                <a:ea typeface="ＭＳ Ｐゴシック" pitchFamily="34" charset="-128"/>
                <a:cs typeface="Arial" panose="020B0604020202020204" pitchFamily="34" charset="0"/>
              </a:rPr>
              <a:t>Blood.</a:t>
            </a:r>
            <a:r>
              <a:rPr lang="en-US" altLang="en-US" sz="998" b="0">
                <a:solidFill>
                  <a:prstClr val="black"/>
                </a:solidFill>
                <a:latin typeface="Arial" panose="020B0604020202020204" pitchFamily="34" charset="0"/>
                <a:ea typeface="ＭＳ Ｐゴシック" pitchFamily="34" charset="-128"/>
                <a:cs typeface="Arial" panose="020B0604020202020204" pitchFamily="34" charset="0"/>
              </a:rPr>
              <a:t> 2018;132: abstract 154</a:t>
            </a:r>
            <a:r>
              <a:rPr lang="en-US" altLang="en-US" sz="998" b="0">
                <a:solidFill>
                  <a:prstClr val="black">
                    <a:lumMod val="75000"/>
                    <a:lumOff val="25000"/>
                  </a:prstClr>
                </a:solidFill>
                <a:latin typeface="Arial" panose="020B0604020202020204" pitchFamily="34" charset="0"/>
                <a:ea typeface="ＭＳ Ｐゴシック" pitchFamily="34" charset="-128"/>
                <a:cs typeface="Arial" panose="020B0604020202020204" pitchFamily="34" charset="0"/>
              </a:rPr>
              <a:t>.</a:t>
            </a:r>
          </a:p>
        </p:txBody>
      </p:sp>
      <p:sp>
        <p:nvSpPr>
          <p:cNvPr id="7" name="Rectangle 6">
            <a:extLst>
              <a:ext uri="{FF2B5EF4-FFF2-40B4-BE49-F238E27FC236}">
                <a16:creationId xmlns:a16="http://schemas.microsoft.com/office/drawing/2014/main" id="{4F47193E-6D4F-4369-BE49-63F711ED9F5E}"/>
              </a:ext>
            </a:extLst>
          </p:cNvPr>
          <p:cNvSpPr/>
          <p:nvPr/>
        </p:nvSpPr>
        <p:spPr>
          <a:xfrm>
            <a:off x="103891" y="1142578"/>
            <a:ext cx="8938011" cy="507831"/>
          </a:xfrm>
          <a:prstGeom prst="rect">
            <a:avLst/>
          </a:prstGeom>
        </p:spPr>
        <p:txBody>
          <a:bodyPr wrap="square">
            <a:spAutoFit/>
          </a:bodyPr>
          <a:lstStyle/>
          <a:p>
            <a:pPr algn="ctr" defTabSz="685800">
              <a:lnSpc>
                <a:spcPct val="90000"/>
              </a:lnSpc>
            </a:pPr>
            <a:r>
              <a:rPr lang="en-US" sz="1500" b="1">
                <a:solidFill>
                  <a:prstClr val="black">
                    <a:lumMod val="75000"/>
                    <a:lumOff val="25000"/>
                  </a:prstClr>
                </a:solidFill>
                <a:latin typeface="Arial" panose="020B0604020202020204" pitchFamily="34" charset="0"/>
                <a:cs typeface="Arial" panose="020B0604020202020204" pitchFamily="34" charset="0"/>
              </a:rPr>
              <a:t>Phase II trial of combination of elotuzumab, lenalidomide, and dexamethasone in high-risk smoldering multiple myeloma (with </a:t>
            </a:r>
            <a:r>
              <a:rPr lang="en-US" altLang="en-US" sz="1500" b="1">
                <a:solidFill>
                  <a:prstClr val="black">
                    <a:lumMod val="75000"/>
                    <a:lumOff val="25000"/>
                  </a:prstClr>
                </a:solidFill>
                <a:latin typeface="Arial" panose="020B0604020202020204" pitchFamily="34" charset="0"/>
                <a:cs typeface="Arial" panose="020B0604020202020204" pitchFamily="34" charset="0"/>
              </a:rPr>
              <a:t>whole-genome sequencing of patient samples)</a:t>
            </a:r>
          </a:p>
        </p:txBody>
      </p:sp>
      <p:grpSp>
        <p:nvGrpSpPr>
          <p:cNvPr id="150" name="Group 149">
            <a:extLst>
              <a:ext uri="{FF2B5EF4-FFF2-40B4-BE49-F238E27FC236}">
                <a16:creationId xmlns:a16="http://schemas.microsoft.com/office/drawing/2014/main" id="{2241313E-CB2B-4B12-AC19-BB3CF255C347}"/>
              </a:ext>
            </a:extLst>
          </p:cNvPr>
          <p:cNvGrpSpPr/>
          <p:nvPr/>
        </p:nvGrpSpPr>
        <p:grpSpPr>
          <a:xfrm>
            <a:off x="5275077" y="2384780"/>
            <a:ext cx="2435225" cy="1754089"/>
            <a:chOff x="5186363" y="2330450"/>
            <a:chExt cx="2435225" cy="2101850"/>
          </a:xfrm>
        </p:grpSpPr>
        <p:sp>
          <p:nvSpPr>
            <p:cNvPr id="102" name="Line 94">
              <a:extLst>
                <a:ext uri="{FF2B5EF4-FFF2-40B4-BE49-F238E27FC236}">
                  <a16:creationId xmlns:a16="http://schemas.microsoft.com/office/drawing/2014/main" id="{D1BD3681-7275-4482-883E-0D615C676DEA}"/>
                </a:ext>
              </a:extLst>
            </p:cNvPr>
            <p:cNvSpPr>
              <a:spLocks noChangeShapeType="1"/>
            </p:cNvSpPr>
            <p:nvPr/>
          </p:nvSpPr>
          <p:spPr bwMode="auto">
            <a:xfrm>
              <a:off x="6935788" y="3340100"/>
              <a:ext cx="0" cy="8255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03" name="Line 95">
              <a:extLst>
                <a:ext uri="{FF2B5EF4-FFF2-40B4-BE49-F238E27FC236}">
                  <a16:creationId xmlns:a16="http://schemas.microsoft.com/office/drawing/2014/main" id="{8786945E-7BD9-42AD-838D-93C29220F075}"/>
                </a:ext>
              </a:extLst>
            </p:cNvPr>
            <p:cNvSpPr>
              <a:spLocks noChangeShapeType="1"/>
            </p:cNvSpPr>
            <p:nvPr/>
          </p:nvSpPr>
          <p:spPr bwMode="auto">
            <a:xfrm>
              <a:off x="6894513" y="3381375"/>
              <a:ext cx="82550" cy="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04" name="Line 96">
              <a:extLst>
                <a:ext uri="{FF2B5EF4-FFF2-40B4-BE49-F238E27FC236}">
                  <a16:creationId xmlns:a16="http://schemas.microsoft.com/office/drawing/2014/main" id="{E308CC3E-6AA7-4081-9F65-A1B7E95B4F65}"/>
                </a:ext>
              </a:extLst>
            </p:cNvPr>
            <p:cNvSpPr>
              <a:spLocks noChangeShapeType="1"/>
            </p:cNvSpPr>
            <p:nvPr/>
          </p:nvSpPr>
          <p:spPr bwMode="auto">
            <a:xfrm>
              <a:off x="7080251" y="3340100"/>
              <a:ext cx="0" cy="8255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05" name="Line 97">
              <a:extLst>
                <a:ext uri="{FF2B5EF4-FFF2-40B4-BE49-F238E27FC236}">
                  <a16:creationId xmlns:a16="http://schemas.microsoft.com/office/drawing/2014/main" id="{1FE1CB94-EEB1-4BED-92DA-5C06D6BE5F18}"/>
                </a:ext>
              </a:extLst>
            </p:cNvPr>
            <p:cNvSpPr>
              <a:spLocks noChangeShapeType="1"/>
            </p:cNvSpPr>
            <p:nvPr/>
          </p:nvSpPr>
          <p:spPr bwMode="auto">
            <a:xfrm>
              <a:off x="7038976" y="3381375"/>
              <a:ext cx="82550" cy="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06" name="Line 98">
              <a:extLst>
                <a:ext uri="{FF2B5EF4-FFF2-40B4-BE49-F238E27FC236}">
                  <a16:creationId xmlns:a16="http://schemas.microsoft.com/office/drawing/2014/main" id="{5653A012-B906-4FCC-B2D7-D4A3BF66AEB2}"/>
                </a:ext>
              </a:extLst>
            </p:cNvPr>
            <p:cNvSpPr>
              <a:spLocks noChangeShapeType="1"/>
            </p:cNvSpPr>
            <p:nvPr/>
          </p:nvSpPr>
          <p:spPr bwMode="auto">
            <a:xfrm>
              <a:off x="7207251" y="3340100"/>
              <a:ext cx="0" cy="8255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07" name="Line 99">
              <a:extLst>
                <a:ext uri="{FF2B5EF4-FFF2-40B4-BE49-F238E27FC236}">
                  <a16:creationId xmlns:a16="http://schemas.microsoft.com/office/drawing/2014/main" id="{9AA93803-E08A-4DEB-A64E-9AA64533CFE3}"/>
                </a:ext>
              </a:extLst>
            </p:cNvPr>
            <p:cNvSpPr>
              <a:spLocks noChangeShapeType="1"/>
            </p:cNvSpPr>
            <p:nvPr/>
          </p:nvSpPr>
          <p:spPr bwMode="auto">
            <a:xfrm>
              <a:off x="7165976" y="3381375"/>
              <a:ext cx="82550" cy="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08" name="Freeform 100">
              <a:extLst>
                <a:ext uri="{FF2B5EF4-FFF2-40B4-BE49-F238E27FC236}">
                  <a16:creationId xmlns:a16="http://schemas.microsoft.com/office/drawing/2014/main" id="{66AF24CD-9195-45BF-BFA5-875964D9B61F}"/>
                </a:ext>
              </a:extLst>
            </p:cNvPr>
            <p:cNvSpPr>
              <a:spLocks/>
            </p:cNvSpPr>
            <p:nvPr/>
          </p:nvSpPr>
          <p:spPr bwMode="auto">
            <a:xfrm>
              <a:off x="5186363" y="2330450"/>
              <a:ext cx="2435225" cy="2101850"/>
            </a:xfrm>
            <a:custGeom>
              <a:avLst/>
              <a:gdLst>
                <a:gd name="T0" fmla="*/ 0 w 1534"/>
                <a:gd name="T1" fmla="*/ 0 h 1324"/>
                <a:gd name="T2" fmla="*/ 227 w 1534"/>
                <a:gd name="T3" fmla="*/ 0 h 1324"/>
                <a:gd name="T4" fmla="*/ 227 w 1534"/>
                <a:gd name="T5" fmla="*/ 221 h 1324"/>
                <a:gd name="T6" fmla="*/ 693 w 1534"/>
                <a:gd name="T7" fmla="*/ 221 h 1324"/>
                <a:gd name="T8" fmla="*/ 693 w 1534"/>
                <a:gd name="T9" fmla="*/ 333 h 1324"/>
                <a:gd name="T10" fmla="*/ 799 w 1534"/>
                <a:gd name="T11" fmla="*/ 333 h 1324"/>
                <a:gd name="T12" fmla="*/ 799 w 1534"/>
                <a:gd name="T13" fmla="*/ 443 h 1324"/>
                <a:gd name="T14" fmla="*/ 809 w 1534"/>
                <a:gd name="T15" fmla="*/ 443 h 1324"/>
                <a:gd name="T16" fmla="*/ 809 w 1534"/>
                <a:gd name="T17" fmla="*/ 550 h 1324"/>
                <a:gd name="T18" fmla="*/ 871 w 1534"/>
                <a:gd name="T19" fmla="*/ 550 h 1324"/>
                <a:gd name="T20" fmla="*/ 871 w 1534"/>
                <a:gd name="T21" fmla="*/ 662 h 1324"/>
                <a:gd name="T22" fmla="*/ 1534 w 1534"/>
                <a:gd name="T23" fmla="*/ 662 h 1324"/>
                <a:gd name="T24" fmla="*/ 1534 w 1534"/>
                <a:gd name="T25" fmla="*/ 1324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34" h="1324">
                  <a:moveTo>
                    <a:pt x="0" y="0"/>
                  </a:moveTo>
                  <a:lnTo>
                    <a:pt x="227" y="0"/>
                  </a:lnTo>
                  <a:lnTo>
                    <a:pt x="227" y="221"/>
                  </a:lnTo>
                  <a:lnTo>
                    <a:pt x="693" y="221"/>
                  </a:lnTo>
                  <a:lnTo>
                    <a:pt x="693" y="333"/>
                  </a:lnTo>
                  <a:lnTo>
                    <a:pt x="799" y="333"/>
                  </a:lnTo>
                  <a:lnTo>
                    <a:pt x="799" y="443"/>
                  </a:lnTo>
                  <a:lnTo>
                    <a:pt x="809" y="443"/>
                  </a:lnTo>
                  <a:lnTo>
                    <a:pt x="809" y="550"/>
                  </a:lnTo>
                  <a:lnTo>
                    <a:pt x="871" y="550"/>
                  </a:lnTo>
                  <a:lnTo>
                    <a:pt x="871" y="662"/>
                  </a:lnTo>
                  <a:lnTo>
                    <a:pt x="1534" y="662"/>
                  </a:lnTo>
                  <a:lnTo>
                    <a:pt x="1534" y="1324"/>
                  </a:lnTo>
                </a:path>
              </a:pathLst>
            </a:custGeom>
            <a:noFill/>
            <a:ln w="28575">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09" name="Line 101">
              <a:extLst>
                <a:ext uri="{FF2B5EF4-FFF2-40B4-BE49-F238E27FC236}">
                  <a16:creationId xmlns:a16="http://schemas.microsoft.com/office/drawing/2014/main" id="{800B46F7-1CDE-4063-8A11-ED37B8F19F8E}"/>
                </a:ext>
              </a:extLst>
            </p:cNvPr>
            <p:cNvSpPr>
              <a:spLocks noChangeShapeType="1"/>
            </p:cNvSpPr>
            <p:nvPr/>
          </p:nvSpPr>
          <p:spPr bwMode="auto">
            <a:xfrm>
              <a:off x="7356476" y="3340100"/>
              <a:ext cx="0" cy="8255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10" name="Line 102">
              <a:extLst>
                <a:ext uri="{FF2B5EF4-FFF2-40B4-BE49-F238E27FC236}">
                  <a16:creationId xmlns:a16="http://schemas.microsoft.com/office/drawing/2014/main" id="{5ABE0523-05A0-4028-A115-8F842375F8E7}"/>
                </a:ext>
              </a:extLst>
            </p:cNvPr>
            <p:cNvSpPr>
              <a:spLocks noChangeShapeType="1"/>
            </p:cNvSpPr>
            <p:nvPr/>
          </p:nvSpPr>
          <p:spPr bwMode="auto">
            <a:xfrm>
              <a:off x="7315201" y="3381375"/>
              <a:ext cx="80963" cy="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11" name="Line 103">
              <a:extLst>
                <a:ext uri="{FF2B5EF4-FFF2-40B4-BE49-F238E27FC236}">
                  <a16:creationId xmlns:a16="http://schemas.microsoft.com/office/drawing/2014/main" id="{9CA15FD5-B8A8-414F-BB70-1C7231360717}"/>
                </a:ext>
              </a:extLst>
            </p:cNvPr>
            <p:cNvSpPr>
              <a:spLocks noChangeShapeType="1"/>
            </p:cNvSpPr>
            <p:nvPr/>
          </p:nvSpPr>
          <p:spPr bwMode="auto">
            <a:xfrm>
              <a:off x="7366001" y="3340100"/>
              <a:ext cx="0" cy="8255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12" name="Line 104">
              <a:extLst>
                <a:ext uri="{FF2B5EF4-FFF2-40B4-BE49-F238E27FC236}">
                  <a16:creationId xmlns:a16="http://schemas.microsoft.com/office/drawing/2014/main" id="{B4FB06D3-B0B1-435A-9072-969FECA0E05B}"/>
                </a:ext>
              </a:extLst>
            </p:cNvPr>
            <p:cNvSpPr>
              <a:spLocks noChangeShapeType="1"/>
            </p:cNvSpPr>
            <p:nvPr/>
          </p:nvSpPr>
          <p:spPr bwMode="auto">
            <a:xfrm>
              <a:off x="7324726" y="3381375"/>
              <a:ext cx="80963" cy="0"/>
            </a:xfrm>
            <a:prstGeom prst="line">
              <a:avLst/>
            </a:prstGeom>
            <a:noFill/>
            <a:ln w="12700">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grpSp>
      <p:grpSp>
        <p:nvGrpSpPr>
          <p:cNvPr id="149" name="Group 148">
            <a:extLst>
              <a:ext uri="{FF2B5EF4-FFF2-40B4-BE49-F238E27FC236}">
                <a16:creationId xmlns:a16="http://schemas.microsoft.com/office/drawing/2014/main" id="{48ACA3D8-CD72-4781-B223-C92A037E529A}"/>
              </a:ext>
            </a:extLst>
          </p:cNvPr>
          <p:cNvGrpSpPr/>
          <p:nvPr/>
        </p:nvGrpSpPr>
        <p:grpSpPr>
          <a:xfrm>
            <a:off x="5271902" y="2350335"/>
            <a:ext cx="2868613" cy="571007"/>
            <a:chOff x="5183188" y="2289175"/>
            <a:chExt cx="2868613" cy="684213"/>
          </a:xfrm>
        </p:grpSpPr>
        <p:sp>
          <p:nvSpPr>
            <p:cNvPr id="113" name="Freeform 105">
              <a:extLst>
                <a:ext uri="{FF2B5EF4-FFF2-40B4-BE49-F238E27FC236}">
                  <a16:creationId xmlns:a16="http://schemas.microsoft.com/office/drawing/2014/main" id="{D23FE9FC-FCDF-48D6-AB73-BEFD58D5F83C}"/>
                </a:ext>
              </a:extLst>
            </p:cNvPr>
            <p:cNvSpPr>
              <a:spLocks/>
            </p:cNvSpPr>
            <p:nvPr/>
          </p:nvSpPr>
          <p:spPr bwMode="auto">
            <a:xfrm>
              <a:off x="5183188" y="2330450"/>
              <a:ext cx="2830513" cy="601663"/>
            </a:xfrm>
            <a:custGeom>
              <a:avLst/>
              <a:gdLst>
                <a:gd name="T0" fmla="*/ 0 w 1783"/>
                <a:gd name="T1" fmla="*/ 0 h 379"/>
                <a:gd name="T2" fmla="*/ 389 w 1783"/>
                <a:gd name="T3" fmla="*/ 0 h 379"/>
                <a:gd name="T4" fmla="*/ 389 w 1783"/>
                <a:gd name="T5" fmla="*/ 64 h 379"/>
                <a:gd name="T6" fmla="*/ 841 w 1783"/>
                <a:gd name="T7" fmla="*/ 64 h 379"/>
                <a:gd name="T8" fmla="*/ 841 w 1783"/>
                <a:gd name="T9" fmla="*/ 128 h 379"/>
                <a:gd name="T10" fmla="*/ 972 w 1783"/>
                <a:gd name="T11" fmla="*/ 128 h 379"/>
                <a:gd name="T12" fmla="*/ 972 w 1783"/>
                <a:gd name="T13" fmla="*/ 187 h 379"/>
                <a:gd name="T14" fmla="*/ 1488 w 1783"/>
                <a:gd name="T15" fmla="*/ 187 h 379"/>
                <a:gd name="T16" fmla="*/ 1488 w 1783"/>
                <a:gd name="T17" fmla="*/ 379 h 379"/>
                <a:gd name="T18" fmla="*/ 1783 w 1783"/>
                <a:gd name="T19"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379">
                  <a:moveTo>
                    <a:pt x="0" y="0"/>
                  </a:moveTo>
                  <a:lnTo>
                    <a:pt x="389" y="0"/>
                  </a:lnTo>
                  <a:lnTo>
                    <a:pt x="389" y="64"/>
                  </a:lnTo>
                  <a:lnTo>
                    <a:pt x="841" y="64"/>
                  </a:lnTo>
                  <a:lnTo>
                    <a:pt x="841" y="128"/>
                  </a:lnTo>
                  <a:lnTo>
                    <a:pt x="972" y="128"/>
                  </a:lnTo>
                  <a:lnTo>
                    <a:pt x="972" y="187"/>
                  </a:lnTo>
                  <a:lnTo>
                    <a:pt x="1488" y="187"/>
                  </a:lnTo>
                  <a:lnTo>
                    <a:pt x="1488" y="379"/>
                  </a:lnTo>
                  <a:lnTo>
                    <a:pt x="1783" y="379"/>
                  </a:lnTo>
                </a:path>
              </a:pathLst>
            </a:custGeom>
            <a:noFill/>
            <a:ln w="28575">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14" name="Line 106">
              <a:extLst>
                <a:ext uri="{FF2B5EF4-FFF2-40B4-BE49-F238E27FC236}">
                  <a16:creationId xmlns:a16="http://schemas.microsoft.com/office/drawing/2014/main" id="{8A9ECECC-4EF3-4EE4-B06A-054A21C5A3D6}"/>
                </a:ext>
              </a:extLst>
            </p:cNvPr>
            <p:cNvSpPr>
              <a:spLocks noChangeShapeType="1"/>
            </p:cNvSpPr>
            <p:nvPr/>
          </p:nvSpPr>
          <p:spPr bwMode="auto">
            <a:xfrm>
              <a:off x="5284788" y="2289175"/>
              <a:ext cx="0" cy="8255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15" name="Line 107">
              <a:extLst>
                <a:ext uri="{FF2B5EF4-FFF2-40B4-BE49-F238E27FC236}">
                  <a16:creationId xmlns:a16="http://schemas.microsoft.com/office/drawing/2014/main" id="{6D8DCB1B-10A3-494C-88B2-66B2BAAE89B1}"/>
                </a:ext>
              </a:extLst>
            </p:cNvPr>
            <p:cNvSpPr>
              <a:spLocks noChangeShapeType="1"/>
            </p:cNvSpPr>
            <p:nvPr/>
          </p:nvSpPr>
          <p:spPr bwMode="auto">
            <a:xfrm>
              <a:off x="5243513" y="2330450"/>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16" name="Line 108">
              <a:extLst>
                <a:ext uri="{FF2B5EF4-FFF2-40B4-BE49-F238E27FC236}">
                  <a16:creationId xmlns:a16="http://schemas.microsoft.com/office/drawing/2014/main" id="{3055349D-358C-4E90-84E6-E0A7E8AF7C21}"/>
                </a:ext>
              </a:extLst>
            </p:cNvPr>
            <p:cNvSpPr>
              <a:spLocks noChangeShapeType="1"/>
            </p:cNvSpPr>
            <p:nvPr/>
          </p:nvSpPr>
          <p:spPr bwMode="auto">
            <a:xfrm>
              <a:off x="6888163"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17" name="Line 109">
              <a:extLst>
                <a:ext uri="{FF2B5EF4-FFF2-40B4-BE49-F238E27FC236}">
                  <a16:creationId xmlns:a16="http://schemas.microsoft.com/office/drawing/2014/main" id="{C8654245-B617-4F89-9CE1-F3E58780D196}"/>
                </a:ext>
              </a:extLst>
            </p:cNvPr>
            <p:cNvSpPr>
              <a:spLocks noChangeShapeType="1"/>
            </p:cNvSpPr>
            <p:nvPr/>
          </p:nvSpPr>
          <p:spPr bwMode="auto">
            <a:xfrm>
              <a:off x="6846888" y="26273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18" name="Line 110">
              <a:extLst>
                <a:ext uri="{FF2B5EF4-FFF2-40B4-BE49-F238E27FC236}">
                  <a16:creationId xmlns:a16="http://schemas.microsoft.com/office/drawing/2014/main" id="{77F76E39-9EDF-433E-BFCD-BB7FB8E29873}"/>
                </a:ext>
              </a:extLst>
            </p:cNvPr>
            <p:cNvSpPr>
              <a:spLocks noChangeShapeType="1"/>
            </p:cNvSpPr>
            <p:nvPr/>
          </p:nvSpPr>
          <p:spPr bwMode="auto">
            <a:xfrm>
              <a:off x="6910388"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19" name="Line 111">
              <a:extLst>
                <a:ext uri="{FF2B5EF4-FFF2-40B4-BE49-F238E27FC236}">
                  <a16:creationId xmlns:a16="http://schemas.microsoft.com/office/drawing/2014/main" id="{75E462B9-35C2-4745-B81E-6930335B9886}"/>
                </a:ext>
              </a:extLst>
            </p:cNvPr>
            <p:cNvSpPr>
              <a:spLocks noChangeShapeType="1"/>
            </p:cNvSpPr>
            <p:nvPr/>
          </p:nvSpPr>
          <p:spPr bwMode="auto">
            <a:xfrm>
              <a:off x="6869113" y="26273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0" name="Line 112">
              <a:extLst>
                <a:ext uri="{FF2B5EF4-FFF2-40B4-BE49-F238E27FC236}">
                  <a16:creationId xmlns:a16="http://schemas.microsoft.com/office/drawing/2014/main" id="{5DFC25E4-C120-46EB-8DA4-238E3B82518A}"/>
                </a:ext>
              </a:extLst>
            </p:cNvPr>
            <p:cNvSpPr>
              <a:spLocks noChangeShapeType="1"/>
            </p:cNvSpPr>
            <p:nvPr/>
          </p:nvSpPr>
          <p:spPr bwMode="auto">
            <a:xfrm>
              <a:off x="6951663"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1" name="Line 113">
              <a:extLst>
                <a:ext uri="{FF2B5EF4-FFF2-40B4-BE49-F238E27FC236}">
                  <a16:creationId xmlns:a16="http://schemas.microsoft.com/office/drawing/2014/main" id="{CC8FDE30-08D0-4E17-A51B-5A5CC9BEB4C8}"/>
                </a:ext>
              </a:extLst>
            </p:cNvPr>
            <p:cNvSpPr>
              <a:spLocks noChangeShapeType="1"/>
            </p:cNvSpPr>
            <p:nvPr/>
          </p:nvSpPr>
          <p:spPr bwMode="auto">
            <a:xfrm>
              <a:off x="6910388" y="26273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2" name="Line 114">
              <a:extLst>
                <a:ext uri="{FF2B5EF4-FFF2-40B4-BE49-F238E27FC236}">
                  <a16:creationId xmlns:a16="http://schemas.microsoft.com/office/drawing/2014/main" id="{91928921-BD83-42B2-A286-9D0485DE3515}"/>
                </a:ext>
              </a:extLst>
            </p:cNvPr>
            <p:cNvSpPr>
              <a:spLocks noChangeShapeType="1"/>
            </p:cNvSpPr>
            <p:nvPr/>
          </p:nvSpPr>
          <p:spPr bwMode="auto">
            <a:xfrm>
              <a:off x="6970713"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3" name="Line 115">
              <a:extLst>
                <a:ext uri="{FF2B5EF4-FFF2-40B4-BE49-F238E27FC236}">
                  <a16:creationId xmlns:a16="http://schemas.microsoft.com/office/drawing/2014/main" id="{16C40D46-275D-48BD-B9DA-F9DA04A90D2A}"/>
                </a:ext>
              </a:extLst>
            </p:cNvPr>
            <p:cNvSpPr>
              <a:spLocks noChangeShapeType="1"/>
            </p:cNvSpPr>
            <p:nvPr/>
          </p:nvSpPr>
          <p:spPr bwMode="auto">
            <a:xfrm>
              <a:off x="6929438" y="26273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4" name="Line 116">
              <a:extLst>
                <a:ext uri="{FF2B5EF4-FFF2-40B4-BE49-F238E27FC236}">
                  <a16:creationId xmlns:a16="http://schemas.microsoft.com/office/drawing/2014/main" id="{55394831-B4C3-473E-9BB6-4EE4471633E3}"/>
                </a:ext>
              </a:extLst>
            </p:cNvPr>
            <p:cNvSpPr>
              <a:spLocks noChangeShapeType="1"/>
            </p:cNvSpPr>
            <p:nvPr/>
          </p:nvSpPr>
          <p:spPr bwMode="auto">
            <a:xfrm>
              <a:off x="7137401"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5" name="Line 117">
              <a:extLst>
                <a:ext uri="{FF2B5EF4-FFF2-40B4-BE49-F238E27FC236}">
                  <a16:creationId xmlns:a16="http://schemas.microsoft.com/office/drawing/2014/main" id="{9F6FA03F-1646-4502-BAB6-91DCF66D8540}"/>
                </a:ext>
              </a:extLst>
            </p:cNvPr>
            <p:cNvSpPr>
              <a:spLocks noChangeShapeType="1"/>
            </p:cNvSpPr>
            <p:nvPr/>
          </p:nvSpPr>
          <p:spPr bwMode="auto">
            <a:xfrm>
              <a:off x="7096126" y="26273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6" name="Line 118">
              <a:extLst>
                <a:ext uri="{FF2B5EF4-FFF2-40B4-BE49-F238E27FC236}">
                  <a16:creationId xmlns:a16="http://schemas.microsoft.com/office/drawing/2014/main" id="{60FB086E-0ECD-4146-9822-46EB4194891F}"/>
                </a:ext>
              </a:extLst>
            </p:cNvPr>
            <p:cNvSpPr>
              <a:spLocks noChangeShapeType="1"/>
            </p:cNvSpPr>
            <p:nvPr/>
          </p:nvSpPr>
          <p:spPr bwMode="auto">
            <a:xfrm>
              <a:off x="7299326"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7" name="Line 119">
              <a:extLst>
                <a:ext uri="{FF2B5EF4-FFF2-40B4-BE49-F238E27FC236}">
                  <a16:creationId xmlns:a16="http://schemas.microsoft.com/office/drawing/2014/main" id="{4057F638-314F-4A21-9703-2C81F66F20C2}"/>
                </a:ext>
              </a:extLst>
            </p:cNvPr>
            <p:cNvSpPr>
              <a:spLocks noChangeShapeType="1"/>
            </p:cNvSpPr>
            <p:nvPr/>
          </p:nvSpPr>
          <p:spPr bwMode="auto">
            <a:xfrm>
              <a:off x="7258051" y="26273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8" name="Line 120">
              <a:extLst>
                <a:ext uri="{FF2B5EF4-FFF2-40B4-BE49-F238E27FC236}">
                  <a16:creationId xmlns:a16="http://schemas.microsoft.com/office/drawing/2014/main" id="{BB09ADC3-4A44-49BA-973E-5E68796EA1B0}"/>
                </a:ext>
              </a:extLst>
            </p:cNvPr>
            <p:cNvSpPr>
              <a:spLocks noChangeShapeType="1"/>
            </p:cNvSpPr>
            <p:nvPr/>
          </p:nvSpPr>
          <p:spPr bwMode="auto">
            <a:xfrm>
              <a:off x="7315201"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29" name="Line 121">
              <a:extLst>
                <a:ext uri="{FF2B5EF4-FFF2-40B4-BE49-F238E27FC236}">
                  <a16:creationId xmlns:a16="http://schemas.microsoft.com/office/drawing/2014/main" id="{9FBA50BC-E633-4AAE-94CE-0909C4D4CFE1}"/>
                </a:ext>
              </a:extLst>
            </p:cNvPr>
            <p:cNvSpPr>
              <a:spLocks noChangeShapeType="1"/>
            </p:cNvSpPr>
            <p:nvPr/>
          </p:nvSpPr>
          <p:spPr bwMode="auto">
            <a:xfrm>
              <a:off x="7273926" y="26273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0" name="Line 122">
              <a:extLst>
                <a:ext uri="{FF2B5EF4-FFF2-40B4-BE49-F238E27FC236}">
                  <a16:creationId xmlns:a16="http://schemas.microsoft.com/office/drawing/2014/main" id="{68BF083E-2444-4101-9A1E-8F4AD1906D36}"/>
                </a:ext>
              </a:extLst>
            </p:cNvPr>
            <p:cNvSpPr>
              <a:spLocks noChangeShapeType="1"/>
            </p:cNvSpPr>
            <p:nvPr/>
          </p:nvSpPr>
          <p:spPr bwMode="auto">
            <a:xfrm>
              <a:off x="7340601"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1" name="Line 123">
              <a:extLst>
                <a:ext uri="{FF2B5EF4-FFF2-40B4-BE49-F238E27FC236}">
                  <a16:creationId xmlns:a16="http://schemas.microsoft.com/office/drawing/2014/main" id="{D2C64631-E921-4E82-A1AE-902C270DA3C2}"/>
                </a:ext>
              </a:extLst>
            </p:cNvPr>
            <p:cNvSpPr>
              <a:spLocks noChangeShapeType="1"/>
            </p:cNvSpPr>
            <p:nvPr/>
          </p:nvSpPr>
          <p:spPr bwMode="auto">
            <a:xfrm>
              <a:off x="7299326" y="26273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2" name="Line 124">
              <a:extLst>
                <a:ext uri="{FF2B5EF4-FFF2-40B4-BE49-F238E27FC236}">
                  <a16:creationId xmlns:a16="http://schemas.microsoft.com/office/drawing/2014/main" id="{2B085782-54B7-4B61-9043-E11AB7BA40B8}"/>
                </a:ext>
              </a:extLst>
            </p:cNvPr>
            <p:cNvSpPr>
              <a:spLocks noChangeShapeType="1"/>
            </p:cNvSpPr>
            <p:nvPr/>
          </p:nvSpPr>
          <p:spPr bwMode="auto">
            <a:xfrm>
              <a:off x="7353301"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3" name="Line 125">
              <a:extLst>
                <a:ext uri="{FF2B5EF4-FFF2-40B4-BE49-F238E27FC236}">
                  <a16:creationId xmlns:a16="http://schemas.microsoft.com/office/drawing/2014/main" id="{387B94DA-3AEF-4B58-9BCC-03EE69E86F28}"/>
                </a:ext>
              </a:extLst>
            </p:cNvPr>
            <p:cNvSpPr>
              <a:spLocks noChangeShapeType="1"/>
            </p:cNvSpPr>
            <p:nvPr/>
          </p:nvSpPr>
          <p:spPr bwMode="auto">
            <a:xfrm>
              <a:off x="7308851" y="2627313"/>
              <a:ext cx="84138"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4" name="Line 126">
              <a:extLst>
                <a:ext uri="{FF2B5EF4-FFF2-40B4-BE49-F238E27FC236}">
                  <a16:creationId xmlns:a16="http://schemas.microsoft.com/office/drawing/2014/main" id="{C373957C-60EF-4AB0-AF18-3EFE4FAFDD42}"/>
                </a:ext>
              </a:extLst>
            </p:cNvPr>
            <p:cNvSpPr>
              <a:spLocks noChangeShapeType="1"/>
            </p:cNvSpPr>
            <p:nvPr/>
          </p:nvSpPr>
          <p:spPr bwMode="auto">
            <a:xfrm>
              <a:off x="7545388" y="2582863"/>
              <a:ext cx="0" cy="85725"/>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5" name="Line 127">
              <a:extLst>
                <a:ext uri="{FF2B5EF4-FFF2-40B4-BE49-F238E27FC236}">
                  <a16:creationId xmlns:a16="http://schemas.microsoft.com/office/drawing/2014/main" id="{835D9470-4967-4ED7-9B69-CC2D0E94F0F0}"/>
                </a:ext>
              </a:extLst>
            </p:cNvPr>
            <p:cNvSpPr>
              <a:spLocks noChangeShapeType="1"/>
            </p:cNvSpPr>
            <p:nvPr/>
          </p:nvSpPr>
          <p:spPr bwMode="auto">
            <a:xfrm>
              <a:off x="7500938" y="2627313"/>
              <a:ext cx="85725"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6" name="Line 128">
              <a:extLst>
                <a:ext uri="{FF2B5EF4-FFF2-40B4-BE49-F238E27FC236}">
                  <a16:creationId xmlns:a16="http://schemas.microsoft.com/office/drawing/2014/main" id="{8F3B0D1E-56D1-4A98-B683-5F62751F041A}"/>
                </a:ext>
              </a:extLst>
            </p:cNvPr>
            <p:cNvSpPr>
              <a:spLocks noChangeShapeType="1"/>
            </p:cNvSpPr>
            <p:nvPr/>
          </p:nvSpPr>
          <p:spPr bwMode="auto">
            <a:xfrm>
              <a:off x="7896226" y="2890838"/>
              <a:ext cx="0" cy="8255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7" name="Line 129">
              <a:extLst>
                <a:ext uri="{FF2B5EF4-FFF2-40B4-BE49-F238E27FC236}">
                  <a16:creationId xmlns:a16="http://schemas.microsoft.com/office/drawing/2014/main" id="{4AB496E7-A27D-4A28-9928-A4FF1F0FA645}"/>
                </a:ext>
              </a:extLst>
            </p:cNvPr>
            <p:cNvSpPr>
              <a:spLocks noChangeShapeType="1"/>
            </p:cNvSpPr>
            <p:nvPr/>
          </p:nvSpPr>
          <p:spPr bwMode="auto">
            <a:xfrm>
              <a:off x="7851776" y="2932113"/>
              <a:ext cx="85725"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8" name="Line 130">
              <a:extLst>
                <a:ext uri="{FF2B5EF4-FFF2-40B4-BE49-F238E27FC236}">
                  <a16:creationId xmlns:a16="http://schemas.microsoft.com/office/drawing/2014/main" id="{DE180CD7-3527-484F-85BD-2103D4288453}"/>
                </a:ext>
              </a:extLst>
            </p:cNvPr>
            <p:cNvSpPr>
              <a:spLocks noChangeShapeType="1"/>
            </p:cNvSpPr>
            <p:nvPr/>
          </p:nvSpPr>
          <p:spPr bwMode="auto">
            <a:xfrm>
              <a:off x="7754938" y="2890838"/>
              <a:ext cx="0" cy="8255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39" name="Line 131">
              <a:extLst>
                <a:ext uri="{FF2B5EF4-FFF2-40B4-BE49-F238E27FC236}">
                  <a16:creationId xmlns:a16="http://schemas.microsoft.com/office/drawing/2014/main" id="{893C0CE1-43C7-4D8E-BA2B-D92E391EB88A}"/>
                </a:ext>
              </a:extLst>
            </p:cNvPr>
            <p:cNvSpPr>
              <a:spLocks noChangeShapeType="1"/>
            </p:cNvSpPr>
            <p:nvPr/>
          </p:nvSpPr>
          <p:spPr bwMode="auto">
            <a:xfrm>
              <a:off x="7713663" y="2932113"/>
              <a:ext cx="80963"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40" name="Line 132">
              <a:extLst>
                <a:ext uri="{FF2B5EF4-FFF2-40B4-BE49-F238E27FC236}">
                  <a16:creationId xmlns:a16="http://schemas.microsoft.com/office/drawing/2014/main" id="{692E9AE6-649A-46FB-A6ED-14278339A352}"/>
                </a:ext>
              </a:extLst>
            </p:cNvPr>
            <p:cNvSpPr>
              <a:spLocks noChangeShapeType="1"/>
            </p:cNvSpPr>
            <p:nvPr/>
          </p:nvSpPr>
          <p:spPr bwMode="auto">
            <a:xfrm>
              <a:off x="7713663" y="2890838"/>
              <a:ext cx="0" cy="8255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41" name="Line 133">
              <a:extLst>
                <a:ext uri="{FF2B5EF4-FFF2-40B4-BE49-F238E27FC236}">
                  <a16:creationId xmlns:a16="http://schemas.microsoft.com/office/drawing/2014/main" id="{6EE05857-12B5-4DB9-A9B2-F1A1E1C04C04}"/>
                </a:ext>
              </a:extLst>
            </p:cNvPr>
            <p:cNvSpPr>
              <a:spLocks noChangeShapeType="1"/>
            </p:cNvSpPr>
            <p:nvPr/>
          </p:nvSpPr>
          <p:spPr bwMode="auto">
            <a:xfrm>
              <a:off x="7672388" y="29321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42" name="Line 134">
              <a:extLst>
                <a:ext uri="{FF2B5EF4-FFF2-40B4-BE49-F238E27FC236}">
                  <a16:creationId xmlns:a16="http://schemas.microsoft.com/office/drawing/2014/main" id="{D452C064-8FBA-41A4-8631-8A8D4100270A}"/>
                </a:ext>
              </a:extLst>
            </p:cNvPr>
            <p:cNvSpPr>
              <a:spLocks noChangeShapeType="1"/>
            </p:cNvSpPr>
            <p:nvPr/>
          </p:nvSpPr>
          <p:spPr bwMode="auto">
            <a:xfrm>
              <a:off x="7943851" y="2890838"/>
              <a:ext cx="0" cy="8255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43" name="Line 135">
              <a:extLst>
                <a:ext uri="{FF2B5EF4-FFF2-40B4-BE49-F238E27FC236}">
                  <a16:creationId xmlns:a16="http://schemas.microsoft.com/office/drawing/2014/main" id="{766DD5E9-E77D-4CB1-B09C-B08293A530CE}"/>
                </a:ext>
              </a:extLst>
            </p:cNvPr>
            <p:cNvSpPr>
              <a:spLocks noChangeShapeType="1"/>
            </p:cNvSpPr>
            <p:nvPr/>
          </p:nvSpPr>
          <p:spPr bwMode="auto">
            <a:xfrm>
              <a:off x="7902576" y="29321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44" name="Line 136">
              <a:extLst>
                <a:ext uri="{FF2B5EF4-FFF2-40B4-BE49-F238E27FC236}">
                  <a16:creationId xmlns:a16="http://schemas.microsoft.com/office/drawing/2014/main" id="{39BD7CC2-3F88-471F-A79F-BF56B38D83C8}"/>
                </a:ext>
              </a:extLst>
            </p:cNvPr>
            <p:cNvSpPr>
              <a:spLocks noChangeShapeType="1"/>
            </p:cNvSpPr>
            <p:nvPr/>
          </p:nvSpPr>
          <p:spPr bwMode="auto">
            <a:xfrm>
              <a:off x="8010526" y="2890838"/>
              <a:ext cx="0" cy="8255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45" name="Line 137">
              <a:extLst>
                <a:ext uri="{FF2B5EF4-FFF2-40B4-BE49-F238E27FC236}">
                  <a16:creationId xmlns:a16="http://schemas.microsoft.com/office/drawing/2014/main" id="{C62A45DB-BF64-4C6A-A4A8-78E6B583B718}"/>
                </a:ext>
              </a:extLst>
            </p:cNvPr>
            <p:cNvSpPr>
              <a:spLocks noChangeShapeType="1"/>
            </p:cNvSpPr>
            <p:nvPr/>
          </p:nvSpPr>
          <p:spPr bwMode="auto">
            <a:xfrm>
              <a:off x="7969251" y="2932113"/>
              <a:ext cx="82550" cy="0"/>
            </a:xfrm>
            <a:prstGeom prst="line">
              <a:avLst/>
            </a:prstGeom>
            <a:noFill/>
            <a:ln w="12700">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grpSp>
      <p:grpSp>
        <p:nvGrpSpPr>
          <p:cNvPr id="148" name="Group 147">
            <a:extLst>
              <a:ext uri="{FF2B5EF4-FFF2-40B4-BE49-F238E27FC236}">
                <a16:creationId xmlns:a16="http://schemas.microsoft.com/office/drawing/2014/main" id="{C29268EA-C1E2-49E9-8125-5C8EF3CD84E0}"/>
              </a:ext>
            </a:extLst>
          </p:cNvPr>
          <p:cNvGrpSpPr/>
          <p:nvPr/>
        </p:nvGrpSpPr>
        <p:grpSpPr>
          <a:xfrm>
            <a:off x="1057956" y="2350334"/>
            <a:ext cx="2873375" cy="260994"/>
            <a:chOff x="890588" y="2289175"/>
            <a:chExt cx="2873375" cy="312738"/>
          </a:xfrm>
        </p:grpSpPr>
        <p:sp>
          <p:nvSpPr>
            <p:cNvPr id="31" name="Freeform 23">
              <a:extLst>
                <a:ext uri="{FF2B5EF4-FFF2-40B4-BE49-F238E27FC236}">
                  <a16:creationId xmlns:a16="http://schemas.microsoft.com/office/drawing/2014/main" id="{0F54316A-444A-46CD-BE4B-737D2475EC31}"/>
                </a:ext>
              </a:extLst>
            </p:cNvPr>
            <p:cNvSpPr>
              <a:spLocks/>
            </p:cNvSpPr>
            <p:nvPr/>
          </p:nvSpPr>
          <p:spPr bwMode="auto">
            <a:xfrm>
              <a:off x="890588" y="2333625"/>
              <a:ext cx="2832100" cy="230188"/>
            </a:xfrm>
            <a:custGeom>
              <a:avLst/>
              <a:gdLst>
                <a:gd name="T0" fmla="*/ 0 w 1784"/>
                <a:gd name="T1" fmla="*/ 0 h 145"/>
                <a:gd name="T2" fmla="*/ 653 w 1784"/>
                <a:gd name="T3" fmla="*/ 0 h 145"/>
                <a:gd name="T4" fmla="*/ 653 w 1784"/>
                <a:gd name="T5" fmla="*/ 24 h 145"/>
                <a:gd name="T6" fmla="*/ 850 w 1784"/>
                <a:gd name="T7" fmla="*/ 24 h 145"/>
                <a:gd name="T8" fmla="*/ 850 w 1784"/>
                <a:gd name="T9" fmla="*/ 54 h 145"/>
                <a:gd name="T10" fmla="*/ 860 w 1784"/>
                <a:gd name="T11" fmla="*/ 54 h 145"/>
                <a:gd name="T12" fmla="*/ 860 w 1784"/>
                <a:gd name="T13" fmla="*/ 82 h 145"/>
                <a:gd name="T14" fmla="*/ 998 w 1784"/>
                <a:gd name="T15" fmla="*/ 82 h 145"/>
                <a:gd name="T16" fmla="*/ 998 w 1784"/>
                <a:gd name="T17" fmla="*/ 112 h 145"/>
                <a:gd name="T18" fmla="*/ 1079 w 1784"/>
                <a:gd name="T19" fmla="*/ 112 h 145"/>
                <a:gd name="T20" fmla="*/ 1079 w 1784"/>
                <a:gd name="T21" fmla="*/ 145 h 145"/>
                <a:gd name="T22" fmla="*/ 1784 w 1784"/>
                <a:gd name="T2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4" h="145">
                  <a:moveTo>
                    <a:pt x="0" y="0"/>
                  </a:moveTo>
                  <a:lnTo>
                    <a:pt x="653" y="0"/>
                  </a:lnTo>
                  <a:lnTo>
                    <a:pt x="653" y="24"/>
                  </a:lnTo>
                  <a:lnTo>
                    <a:pt x="850" y="24"/>
                  </a:lnTo>
                  <a:lnTo>
                    <a:pt x="850" y="54"/>
                  </a:lnTo>
                  <a:lnTo>
                    <a:pt x="860" y="54"/>
                  </a:lnTo>
                  <a:lnTo>
                    <a:pt x="860" y="82"/>
                  </a:lnTo>
                  <a:lnTo>
                    <a:pt x="998" y="82"/>
                  </a:lnTo>
                  <a:lnTo>
                    <a:pt x="998" y="112"/>
                  </a:lnTo>
                  <a:lnTo>
                    <a:pt x="1079" y="112"/>
                  </a:lnTo>
                  <a:lnTo>
                    <a:pt x="1079" y="145"/>
                  </a:lnTo>
                  <a:lnTo>
                    <a:pt x="1784" y="145"/>
                  </a:lnTo>
                </a:path>
              </a:pathLst>
            </a:custGeom>
            <a:noFill/>
            <a:ln w="254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32" name="Line 24">
              <a:extLst>
                <a:ext uri="{FF2B5EF4-FFF2-40B4-BE49-F238E27FC236}">
                  <a16:creationId xmlns:a16="http://schemas.microsoft.com/office/drawing/2014/main" id="{8FEC2AC4-B42F-47F8-8B71-17438591D6C1}"/>
                </a:ext>
              </a:extLst>
            </p:cNvPr>
            <p:cNvSpPr>
              <a:spLocks noChangeShapeType="1"/>
            </p:cNvSpPr>
            <p:nvPr/>
          </p:nvSpPr>
          <p:spPr bwMode="auto">
            <a:xfrm>
              <a:off x="1012826" y="2289175"/>
              <a:ext cx="0" cy="8255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33" name="Line 25">
              <a:extLst>
                <a:ext uri="{FF2B5EF4-FFF2-40B4-BE49-F238E27FC236}">
                  <a16:creationId xmlns:a16="http://schemas.microsoft.com/office/drawing/2014/main" id="{8724CE25-CF1C-4D9D-B400-06014F970B86}"/>
                </a:ext>
              </a:extLst>
            </p:cNvPr>
            <p:cNvSpPr>
              <a:spLocks noChangeShapeType="1"/>
            </p:cNvSpPr>
            <p:nvPr/>
          </p:nvSpPr>
          <p:spPr bwMode="auto">
            <a:xfrm>
              <a:off x="973138" y="2330450"/>
              <a:ext cx="80963"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34" name="Line 26">
              <a:extLst>
                <a:ext uri="{FF2B5EF4-FFF2-40B4-BE49-F238E27FC236}">
                  <a16:creationId xmlns:a16="http://schemas.microsoft.com/office/drawing/2014/main" id="{83BF9084-8A1B-49B0-96EF-8DA8977688D6}"/>
                </a:ext>
              </a:extLst>
            </p:cNvPr>
            <p:cNvSpPr>
              <a:spLocks noChangeShapeType="1"/>
            </p:cNvSpPr>
            <p:nvPr/>
          </p:nvSpPr>
          <p:spPr bwMode="auto">
            <a:xfrm>
              <a:off x="1111251" y="2289175"/>
              <a:ext cx="0" cy="8255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35" name="Line 27">
              <a:extLst>
                <a:ext uri="{FF2B5EF4-FFF2-40B4-BE49-F238E27FC236}">
                  <a16:creationId xmlns:a16="http://schemas.microsoft.com/office/drawing/2014/main" id="{04067344-4A5B-4C97-B1E6-339C28715C4A}"/>
                </a:ext>
              </a:extLst>
            </p:cNvPr>
            <p:cNvSpPr>
              <a:spLocks noChangeShapeType="1"/>
            </p:cNvSpPr>
            <p:nvPr/>
          </p:nvSpPr>
          <p:spPr bwMode="auto">
            <a:xfrm>
              <a:off x="1069976" y="2330450"/>
              <a:ext cx="8572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36" name="Line 28">
              <a:extLst>
                <a:ext uri="{FF2B5EF4-FFF2-40B4-BE49-F238E27FC236}">
                  <a16:creationId xmlns:a16="http://schemas.microsoft.com/office/drawing/2014/main" id="{35EBA448-A23E-42E0-A0A0-D7C45969EFEF}"/>
                </a:ext>
              </a:extLst>
            </p:cNvPr>
            <p:cNvSpPr>
              <a:spLocks noChangeShapeType="1"/>
            </p:cNvSpPr>
            <p:nvPr/>
          </p:nvSpPr>
          <p:spPr bwMode="auto">
            <a:xfrm>
              <a:off x="1519238" y="2289175"/>
              <a:ext cx="0" cy="8255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37" name="Line 29">
              <a:extLst>
                <a:ext uri="{FF2B5EF4-FFF2-40B4-BE49-F238E27FC236}">
                  <a16:creationId xmlns:a16="http://schemas.microsoft.com/office/drawing/2014/main" id="{B4F46093-B70D-44FF-A0EB-8172A122F7A5}"/>
                </a:ext>
              </a:extLst>
            </p:cNvPr>
            <p:cNvSpPr>
              <a:spLocks noChangeShapeType="1"/>
            </p:cNvSpPr>
            <p:nvPr/>
          </p:nvSpPr>
          <p:spPr bwMode="auto">
            <a:xfrm>
              <a:off x="1477963" y="2330450"/>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38" name="Line 30">
              <a:extLst>
                <a:ext uri="{FF2B5EF4-FFF2-40B4-BE49-F238E27FC236}">
                  <a16:creationId xmlns:a16="http://schemas.microsoft.com/office/drawing/2014/main" id="{DDD96AA7-BD6C-41AC-B977-06A214DCB44A}"/>
                </a:ext>
              </a:extLst>
            </p:cNvPr>
            <p:cNvSpPr>
              <a:spLocks noChangeShapeType="1"/>
            </p:cNvSpPr>
            <p:nvPr/>
          </p:nvSpPr>
          <p:spPr bwMode="auto">
            <a:xfrm>
              <a:off x="3065463"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39" name="Line 31">
              <a:extLst>
                <a:ext uri="{FF2B5EF4-FFF2-40B4-BE49-F238E27FC236}">
                  <a16:creationId xmlns:a16="http://schemas.microsoft.com/office/drawing/2014/main" id="{86905E80-2A13-4F7B-BA35-528AA342D473}"/>
                </a:ext>
              </a:extLst>
            </p:cNvPr>
            <p:cNvSpPr>
              <a:spLocks noChangeShapeType="1"/>
            </p:cNvSpPr>
            <p:nvPr/>
          </p:nvSpPr>
          <p:spPr bwMode="auto">
            <a:xfrm>
              <a:off x="3024188"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0" name="Line 32">
              <a:extLst>
                <a:ext uri="{FF2B5EF4-FFF2-40B4-BE49-F238E27FC236}">
                  <a16:creationId xmlns:a16="http://schemas.microsoft.com/office/drawing/2014/main" id="{03501B98-EA64-486C-9197-EB21B6D01E58}"/>
                </a:ext>
              </a:extLst>
            </p:cNvPr>
            <p:cNvSpPr>
              <a:spLocks noChangeShapeType="1"/>
            </p:cNvSpPr>
            <p:nvPr/>
          </p:nvSpPr>
          <p:spPr bwMode="auto">
            <a:xfrm>
              <a:off x="262255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1" name="Line 33">
              <a:extLst>
                <a:ext uri="{FF2B5EF4-FFF2-40B4-BE49-F238E27FC236}">
                  <a16:creationId xmlns:a16="http://schemas.microsoft.com/office/drawing/2014/main" id="{11B796E0-8C18-4C38-8F5E-61D5F1D05CC9}"/>
                </a:ext>
              </a:extLst>
            </p:cNvPr>
            <p:cNvSpPr>
              <a:spLocks noChangeShapeType="1"/>
            </p:cNvSpPr>
            <p:nvPr/>
          </p:nvSpPr>
          <p:spPr bwMode="auto">
            <a:xfrm>
              <a:off x="2581276"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2" name="Line 34">
              <a:extLst>
                <a:ext uri="{FF2B5EF4-FFF2-40B4-BE49-F238E27FC236}">
                  <a16:creationId xmlns:a16="http://schemas.microsoft.com/office/drawing/2014/main" id="{D5AD3478-3E5E-495B-898C-038E454EFD47}"/>
                </a:ext>
              </a:extLst>
            </p:cNvPr>
            <p:cNvSpPr>
              <a:spLocks noChangeShapeType="1"/>
            </p:cNvSpPr>
            <p:nvPr/>
          </p:nvSpPr>
          <p:spPr bwMode="auto">
            <a:xfrm>
              <a:off x="262255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3" name="Line 35">
              <a:extLst>
                <a:ext uri="{FF2B5EF4-FFF2-40B4-BE49-F238E27FC236}">
                  <a16:creationId xmlns:a16="http://schemas.microsoft.com/office/drawing/2014/main" id="{6437E391-4E09-4A57-957D-6306AA59FEFC}"/>
                </a:ext>
              </a:extLst>
            </p:cNvPr>
            <p:cNvSpPr>
              <a:spLocks noChangeShapeType="1"/>
            </p:cNvSpPr>
            <p:nvPr/>
          </p:nvSpPr>
          <p:spPr bwMode="auto">
            <a:xfrm>
              <a:off x="2581276"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4" name="Line 36">
              <a:extLst>
                <a:ext uri="{FF2B5EF4-FFF2-40B4-BE49-F238E27FC236}">
                  <a16:creationId xmlns:a16="http://schemas.microsoft.com/office/drawing/2014/main" id="{94A0BBD8-87ED-411D-9EFB-B027826F7212}"/>
                </a:ext>
              </a:extLst>
            </p:cNvPr>
            <p:cNvSpPr>
              <a:spLocks noChangeShapeType="1"/>
            </p:cNvSpPr>
            <p:nvPr/>
          </p:nvSpPr>
          <p:spPr bwMode="auto">
            <a:xfrm>
              <a:off x="266700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5" name="Line 37">
              <a:extLst>
                <a:ext uri="{FF2B5EF4-FFF2-40B4-BE49-F238E27FC236}">
                  <a16:creationId xmlns:a16="http://schemas.microsoft.com/office/drawing/2014/main" id="{F1658EF7-2B25-428A-B18A-333B610314DB}"/>
                </a:ext>
              </a:extLst>
            </p:cNvPr>
            <p:cNvSpPr>
              <a:spLocks noChangeShapeType="1"/>
            </p:cNvSpPr>
            <p:nvPr/>
          </p:nvSpPr>
          <p:spPr bwMode="auto">
            <a:xfrm>
              <a:off x="2625726"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6" name="Line 38">
              <a:extLst>
                <a:ext uri="{FF2B5EF4-FFF2-40B4-BE49-F238E27FC236}">
                  <a16:creationId xmlns:a16="http://schemas.microsoft.com/office/drawing/2014/main" id="{4209F0DF-6818-4A16-8E02-27F192511927}"/>
                </a:ext>
              </a:extLst>
            </p:cNvPr>
            <p:cNvSpPr>
              <a:spLocks noChangeShapeType="1"/>
            </p:cNvSpPr>
            <p:nvPr/>
          </p:nvSpPr>
          <p:spPr bwMode="auto">
            <a:xfrm>
              <a:off x="267970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7" name="Line 39">
              <a:extLst>
                <a:ext uri="{FF2B5EF4-FFF2-40B4-BE49-F238E27FC236}">
                  <a16:creationId xmlns:a16="http://schemas.microsoft.com/office/drawing/2014/main" id="{2B49A40E-F1D8-463F-BF85-E377203FA2E0}"/>
                </a:ext>
              </a:extLst>
            </p:cNvPr>
            <p:cNvSpPr>
              <a:spLocks noChangeShapeType="1"/>
            </p:cNvSpPr>
            <p:nvPr/>
          </p:nvSpPr>
          <p:spPr bwMode="auto">
            <a:xfrm>
              <a:off x="2638426" y="2560638"/>
              <a:ext cx="8572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8" name="Line 40">
              <a:extLst>
                <a:ext uri="{FF2B5EF4-FFF2-40B4-BE49-F238E27FC236}">
                  <a16:creationId xmlns:a16="http://schemas.microsoft.com/office/drawing/2014/main" id="{1EA2B19D-F40C-4A3F-8FC4-2CD243C0942C}"/>
                </a:ext>
              </a:extLst>
            </p:cNvPr>
            <p:cNvSpPr>
              <a:spLocks noChangeShapeType="1"/>
            </p:cNvSpPr>
            <p:nvPr/>
          </p:nvSpPr>
          <p:spPr bwMode="auto">
            <a:xfrm>
              <a:off x="278765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49" name="Line 41">
              <a:extLst>
                <a:ext uri="{FF2B5EF4-FFF2-40B4-BE49-F238E27FC236}">
                  <a16:creationId xmlns:a16="http://schemas.microsoft.com/office/drawing/2014/main" id="{C7F4FAA8-04FF-45FA-945E-F46E5E364130}"/>
                </a:ext>
              </a:extLst>
            </p:cNvPr>
            <p:cNvSpPr>
              <a:spLocks noChangeShapeType="1"/>
            </p:cNvSpPr>
            <p:nvPr/>
          </p:nvSpPr>
          <p:spPr bwMode="auto">
            <a:xfrm>
              <a:off x="2746376"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0" name="Line 42">
              <a:extLst>
                <a:ext uri="{FF2B5EF4-FFF2-40B4-BE49-F238E27FC236}">
                  <a16:creationId xmlns:a16="http://schemas.microsoft.com/office/drawing/2014/main" id="{E7ED2CB3-0A4F-4772-A73E-3349D19115E5}"/>
                </a:ext>
              </a:extLst>
            </p:cNvPr>
            <p:cNvSpPr>
              <a:spLocks noChangeShapeType="1"/>
            </p:cNvSpPr>
            <p:nvPr/>
          </p:nvSpPr>
          <p:spPr bwMode="auto">
            <a:xfrm>
              <a:off x="282575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1" name="Line 43">
              <a:extLst>
                <a:ext uri="{FF2B5EF4-FFF2-40B4-BE49-F238E27FC236}">
                  <a16:creationId xmlns:a16="http://schemas.microsoft.com/office/drawing/2014/main" id="{855659B0-7AA6-4825-843D-65DD477BBD64}"/>
                </a:ext>
              </a:extLst>
            </p:cNvPr>
            <p:cNvSpPr>
              <a:spLocks noChangeShapeType="1"/>
            </p:cNvSpPr>
            <p:nvPr/>
          </p:nvSpPr>
          <p:spPr bwMode="auto">
            <a:xfrm>
              <a:off x="2784476"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2" name="Line 44">
              <a:extLst>
                <a:ext uri="{FF2B5EF4-FFF2-40B4-BE49-F238E27FC236}">
                  <a16:creationId xmlns:a16="http://schemas.microsoft.com/office/drawing/2014/main" id="{FFA07FF3-305E-467A-B7FF-6AEF39E00640}"/>
                </a:ext>
              </a:extLst>
            </p:cNvPr>
            <p:cNvSpPr>
              <a:spLocks noChangeShapeType="1"/>
            </p:cNvSpPr>
            <p:nvPr/>
          </p:nvSpPr>
          <p:spPr bwMode="auto">
            <a:xfrm>
              <a:off x="286385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3" name="Line 45">
              <a:extLst>
                <a:ext uri="{FF2B5EF4-FFF2-40B4-BE49-F238E27FC236}">
                  <a16:creationId xmlns:a16="http://schemas.microsoft.com/office/drawing/2014/main" id="{2DD081A1-78FB-4E4C-BD12-24E03D64181B}"/>
                </a:ext>
              </a:extLst>
            </p:cNvPr>
            <p:cNvSpPr>
              <a:spLocks noChangeShapeType="1"/>
            </p:cNvSpPr>
            <p:nvPr/>
          </p:nvSpPr>
          <p:spPr bwMode="auto">
            <a:xfrm>
              <a:off x="2819401" y="2560638"/>
              <a:ext cx="84138"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4" name="Line 46">
              <a:extLst>
                <a:ext uri="{FF2B5EF4-FFF2-40B4-BE49-F238E27FC236}">
                  <a16:creationId xmlns:a16="http://schemas.microsoft.com/office/drawing/2014/main" id="{36212F60-3AB0-432A-9B83-449EB2804EF4}"/>
                </a:ext>
              </a:extLst>
            </p:cNvPr>
            <p:cNvSpPr>
              <a:spLocks noChangeShapeType="1"/>
            </p:cNvSpPr>
            <p:nvPr/>
          </p:nvSpPr>
          <p:spPr bwMode="auto">
            <a:xfrm>
              <a:off x="285115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5" name="Line 47">
              <a:extLst>
                <a:ext uri="{FF2B5EF4-FFF2-40B4-BE49-F238E27FC236}">
                  <a16:creationId xmlns:a16="http://schemas.microsoft.com/office/drawing/2014/main" id="{C1CFA1CC-4F89-4AB9-8346-CEE2AEB11F6A}"/>
                </a:ext>
              </a:extLst>
            </p:cNvPr>
            <p:cNvSpPr>
              <a:spLocks noChangeShapeType="1"/>
            </p:cNvSpPr>
            <p:nvPr/>
          </p:nvSpPr>
          <p:spPr bwMode="auto">
            <a:xfrm>
              <a:off x="2806701" y="2560638"/>
              <a:ext cx="84138"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6" name="Line 48">
              <a:extLst>
                <a:ext uri="{FF2B5EF4-FFF2-40B4-BE49-F238E27FC236}">
                  <a16:creationId xmlns:a16="http://schemas.microsoft.com/office/drawing/2014/main" id="{F65F40E0-EE55-4567-A268-B3CC199197B5}"/>
                </a:ext>
              </a:extLst>
            </p:cNvPr>
            <p:cNvSpPr>
              <a:spLocks noChangeShapeType="1"/>
            </p:cNvSpPr>
            <p:nvPr/>
          </p:nvSpPr>
          <p:spPr bwMode="auto">
            <a:xfrm>
              <a:off x="287020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7" name="Line 49">
              <a:extLst>
                <a:ext uri="{FF2B5EF4-FFF2-40B4-BE49-F238E27FC236}">
                  <a16:creationId xmlns:a16="http://schemas.microsoft.com/office/drawing/2014/main" id="{1BA0EBED-607F-4A81-BD49-3B4CF5CAB501}"/>
                </a:ext>
              </a:extLst>
            </p:cNvPr>
            <p:cNvSpPr>
              <a:spLocks noChangeShapeType="1"/>
            </p:cNvSpPr>
            <p:nvPr/>
          </p:nvSpPr>
          <p:spPr bwMode="auto">
            <a:xfrm>
              <a:off x="2825751" y="2560638"/>
              <a:ext cx="84138"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8" name="Line 50">
              <a:extLst>
                <a:ext uri="{FF2B5EF4-FFF2-40B4-BE49-F238E27FC236}">
                  <a16:creationId xmlns:a16="http://schemas.microsoft.com/office/drawing/2014/main" id="{DB8679FB-51C7-4AAB-BEA0-95CAF3BB79C9}"/>
                </a:ext>
              </a:extLst>
            </p:cNvPr>
            <p:cNvSpPr>
              <a:spLocks noChangeShapeType="1"/>
            </p:cNvSpPr>
            <p:nvPr/>
          </p:nvSpPr>
          <p:spPr bwMode="auto">
            <a:xfrm>
              <a:off x="2890838"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59" name="Line 51">
              <a:extLst>
                <a:ext uri="{FF2B5EF4-FFF2-40B4-BE49-F238E27FC236}">
                  <a16:creationId xmlns:a16="http://schemas.microsoft.com/office/drawing/2014/main" id="{28C60EE7-5052-4B46-A0AE-4D8CE131AC92}"/>
                </a:ext>
              </a:extLst>
            </p:cNvPr>
            <p:cNvSpPr>
              <a:spLocks noChangeShapeType="1"/>
            </p:cNvSpPr>
            <p:nvPr/>
          </p:nvSpPr>
          <p:spPr bwMode="auto">
            <a:xfrm>
              <a:off x="2851151" y="2560638"/>
              <a:ext cx="80963"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0" name="Line 52">
              <a:extLst>
                <a:ext uri="{FF2B5EF4-FFF2-40B4-BE49-F238E27FC236}">
                  <a16:creationId xmlns:a16="http://schemas.microsoft.com/office/drawing/2014/main" id="{63D44743-17EA-4472-9C27-D6BFF5CE46F9}"/>
                </a:ext>
              </a:extLst>
            </p:cNvPr>
            <p:cNvSpPr>
              <a:spLocks noChangeShapeType="1"/>
            </p:cNvSpPr>
            <p:nvPr/>
          </p:nvSpPr>
          <p:spPr bwMode="auto">
            <a:xfrm>
              <a:off x="3014663"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1" name="Line 53">
              <a:extLst>
                <a:ext uri="{FF2B5EF4-FFF2-40B4-BE49-F238E27FC236}">
                  <a16:creationId xmlns:a16="http://schemas.microsoft.com/office/drawing/2014/main" id="{90AA29E5-D9D7-4275-9A65-A5B181C61DB5}"/>
                </a:ext>
              </a:extLst>
            </p:cNvPr>
            <p:cNvSpPr>
              <a:spLocks noChangeShapeType="1"/>
            </p:cNvSpPr>
            <p:nvPr/>
          </p:nvSpPr>
          <p:spPr bwMode="auto">
            <a:xfrm>
              <a:off x="2973388"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2" name="Line 54">
              <a:extLst>
                <a:ext uri="{FF2B5EF4-FFF2-40B4-BE49-F238E27FC236}">
                  <a16:creationId xmlns:a16="http://schemas.microsoft.com/office/drawing/2014/main" id="{4F4436F2-1622-4AAF-96D9-970A7EFECFC8}"/>
                </a:ext>
              </a:extLst>
            </p:cNvPr>
            <p:cNvSpPr>
              <a:spLocks noChangeShapeType="1"/>
            </p:cNvSpPr>
            <p:nvPr/>
          </p:nvSpPr>
          <p:spPr bwMode="auto">
            <a:xfrm>
              <a:off x="3001963"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3" name="Line 55">
              <a:extLst>
                <a:ext uri="{FF2B5EF4-FFF2-40B4-BE49-F238E27FC236}">
                  <a16:creationId xmlns:a16="http://schemas.microsoft.com/office/drawing/2014/main" id="{4CE88854-2076-4DD2-A9B8-00FB13793A31}"/>
                </a:ext>
              </a:extLst>
            </p:cNvPr>
            <p:cNvSpPr>
              <a:spLocks noChangeShapeType="1"/>
            </p:cNvSpPr>
            <p:nvPr/>
          </p:nvSpPr>
          <p:spPr bwMode="auto">
            <a:xfrm>
              <a:off x="2957513" y="2560638"/>
              <a:ext cx="8572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4" name="Line 56">
              <a:extLst>
                <a:ext uri="{FF2B5EF4-FFF2-40B4-BE49-F238E27FC236}">
                  <a16:creationId xmlns:a16="http://schemas.microsoft.com/office/drawing/2014/main" id="{A0415E68-D887-4489-9AAE-DE78917C8BC1}"/>
                </a:ext>
              </a:extLst>
            </p:cNvPr>
            <p:cNvSpPr>
              <a:spLocks noChangeShapeType="1"/>
            </p:cNvSpPr>
            <p:nvPr/>
          </p:nvSpPr>
          <p:spPr bwMode="auto">
            <a:xfrm>
              <a:off x="3027363"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5" name="Line 57">
              <a:extLst>
                <a:ext uri="{FF2B5EF4-FFF2-40B4-BE49-F238E27FC236}">
                  <a16:creationId xmlns:a16="http://schemas.microsoft.com/office/drawing/2014/main" id="{99DE6088-F7E0-4BD3-947D-2CA1E9A14515}"/>
                </a:ext>
              </a:extLst>
            </p:cNvPr>
            <p:cNvSpPr>
              <a:spLocks noChangeShapeType="1"/>
            </p:cNvSpPr>
            <p:nvPr/>
          </p:nvSpPr>
          <p:spPr bwMode="auto">
            <a:xfrm>
              <a:off x="2986088"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6" name="Line 58">
              <a:extLst>
                <a:ext uri="{FF2B5EF4-FFF2-40B4-BE49-F238E27FC236}">
                  <a16:creationId xmlns:a16="http://schemas.microsoft.com/office/drawing/2014/main" id="{798D9996-FC57-4B64-8AE5-B05F872D168E}"/>
                </a:ext>
              </a:extLst>
            </p:cNvPr>
            <p:cNvSpPr>
              <a:spLocks noChangeShapeType="1"/>
            </p:cNvSpPr>
            <p:nvPr/>
          </p:nvSpPr>
          <p:spPr bwMode="auto">
            <a:xfrm>
              <a:off x="3052763"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7" name="Line 59">
              <a:extLst>
                <a:ext uri="{FF2B5EF4-FFF2-40B4-BE49-F238E27FC236}">
                  <a16:creationId xmlns:a16="http://schemas.microsoft.com/office/drawing/2014/main" id="{BA8C0860-3285-4503-B016-355D90D35083}"/>
                </a:ext>
              </a:extLst>
            </p:cNvPr>
            <p:cNvSpPr>
              <a:spLocks noChangeShapeType="1"/>
            </p:cNvSpPr>
            <p:nvPr/>
          </p:nvSpPr>
          <p:spPr bwMode="auto">
            <a:xfrm>
              <a:off x="3011488"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8" name="Line 60">
              <a:extLst>
                <a:ext uri="{FF2B5EF4-FFF2-40B4-BE49-F238E27FC236}">
                  <a16:creationId xmlns:a16="http://schemas.microsoft.com/office/drawing/2014/main" id="{4B430727-4F91-4CBB-8DA6-09F2932FBF80}"/>
                </a:ext>
              </a:extLst>
            </p:cNvPr>
            <p:cNvSpPr>
              <a:spLocks noChangeShapeType="1"/>
            </p:cNvSpPr>
            <p:nvPr/>
          </p:nvSpPr>
          <p:spPr bwMode="auto">
            <a:xfrm>
              <a:off x="3074988"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69" name="Line 61">
              <a:extLst>
                <a:ext uri="{FF2B5EF4-FFF2-40B4-BE49-F238E27FC236}">
                  <a16:creationId xmlns:a16="http://schemas.microsoft.com/office/drawing/2014/main" id="{8E8930D8-58FA-4A28-A779-9D304399FBF4}"/>
                </a:ext>
              </a:extLst>
            </p:cNvPr>
            <p:cNvSpPr>
              <a:spLocks noChangeShapeType="1"/>
            </p:cNvSpPr>
            <p:nvPr/>
          </p:nvSpPr>
          <p:spPr bwMode="auto">
            <a:xfrm>
              <a:off x="3033713"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0" name="Line 62">
              <a:extLst>
                <a:ext uri="{FF2B5EF4-FFF2-40B4-BE49-F238E27FC236}">
                  <a16:creationId xmlns:a16="http://schemas.microsoft.com/office/drawing/2014/main" id="{096D689F-B9BD-4DD8-89F5-FA80A8B60F99}"/>
                </a:ext>
              </a:extLst>
            </p:cNvPr>
            <p:cNvSpPr>
              <a:spLocks noChangeShapeType="1"/>
            </p:cNvSpPr>
            <p:nvPr/>
          </p:nvSpPr>
          <p:spPr bwMode="auto">
            <a:xfrm>
              <a:off x="3097213"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1" name="Line 63">
              <a:extLst>
                <a:ext uri="{FF2B5EF4-FFF2-40B4-BE49-F238E27FC236}">
                  <a16:creationId xmlns:a16="http://schemas.microsoft.com/office/drawing/2014/main" id="{92CDB429-B545-4B28-8951-6D98812F4832}"/>
                </a:ext>
              </a:extLst>
            </p:cNvPr>
            <p:cNvSpPr>
              <a:spLocks noChangeShapeType="1"/>
            </p:cNvSpPr>
            <p:nvPr/>
          </p:nvSpPr>
          <p:spPr bwMode="auto">
            <a:xfrm>
              <a:off x="3055938"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2" name="Line 64">
              <a:extLst>
                <a:ext uri="{FF2B5EF4-FFF2-40B4-BE49-F238E27FC236}">
                  <a16:creationId xmlns:a16="http://schemas.microsoft.com/office/drawing/2014/main" id="{5A53453F-7E38-44B3-8F3C-BD7917F9DF61}"/>
                </a:ext>
              </a:extLst>
            </p:cNvPr>
            <p:cNvSpPr>
              <a:spLocks noChangeShapeType="1"/>
            </p:cNvSpPr>
            <p:nvPr/>
          </p:nvSpPr>
          <p:spPr bwMode="auto">
            <a:xfrm>
              <a:off x="3186113"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3" name="Line 65">
              <a:extLst>
                <a:ext uri="{FF2B5EF4-FFF2-40B4-BE49-F238E27FC236}">
                  <a16:creationId xmlns:a16="http://schemas.microsoft.com/office/drawing/2014/main" id="{1AE5B1F0-9E31-4D0F-8E38-08B9143697F3}"/>
                </a:ext>
              </a:extLst>
            </p:cNvPr>
            <p:cNvSpPr>
              <a:spLocks noChangeShapeType="1"/>
            </p:cNvSpPr>
            <p:nvPr/>
          </p:nvSpPr>
          <p:spPr bwMode="auto">
            <a:xfrm>
              <a:off x="3144838"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4" name="Line 66">
              <a:extLst>
                <a:ext uri="{FF2B5EF4-FFF2-40B4-BE49-F238E27FC236}">
                  <a16:creationId xmlns:a16="http://schemas.microsoft.com/office/drawing/2014/main" id="{0D2F6BA0-39DD-4E3A-8A26-9A4283DC44D2}"/>
                </a:ext>
              </a:extLst>
            </p:cNvPr>
            <p:cNvSpPr>
              <a:spLocks noChangeShapeType="1"/>
            </p:cNvSpPr>
            <p:nvPr/>
          </p:nvSpPr>
          <p:spPr bwMode="auto">
            <a:xfrm>
              <a:off x="3211513"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5" name="Line 67">
              <a:extLst>
                <a:ext uri="{FF2B5EF4-FFF2-40B4-BE49-F238E27FC236}">
                  <a16:creationId xmlns:a16="http://schemas.microsoft.com/office/drawing/2014/main" id="{2CAE2D98-6D03-4A3C-9B6E-CD39C0C00B68}"/>
                </a:ext>
              </a:extLst>
            </p:cNvPr>
            <p:cNvSpPr>
              <a:spLocks noChangeShapeType="1"/>
            </p:cNvSpPr>
            <p:nvPr/>
          </p:nvSpPr>
          <p:spPr bwMode="auto">
            <a:xfrm>
              <a:off x="3170238"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6" name="Line 68">
              <a:extLst>
                <a:ext uri="{FF2B5EF4-FFF2-40B4-BE49-F238E27FC236}">
                  <a16:creationId xmlns:a16="http://schemas.microsoft.com/office/drawing/2014/main" id="{2C21DCEA-1294-4F4C-ACED-9011ABE51926}"/>
                </a:ext>
              </a:extLst>
            </p:cNvPr>
            <p:cNvSpPr>
              <a:spLocks noChangeShapeType="1"/>
            </p:cNvSpPr>
            <p:nvPr/>
          </p:nvSpPr>
          <p:spPr bwMode="auto">
            <a:xfrm>
              <a:off x="3230563"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7" name="Line 69">
              <a:extLst>
                <a:ext uri="{FF2B5EF4-FFF2-40B4-BE49-F238E27FC236}">
                  <a16:creationId xmlns:a16="http://schemas.microsoft.com/office/drawing/2014/main" id="{A4C04797-FB3F-4047-8206-D596A8E75F8C}"/>
                </a:ext>
              </a:extLst>
            </p:cNvPr>
            <p:cNvSpPr>
              <a:spLocks noChangeShapeType="1"/>
            </p:cNvSpPr>
            <p:nvPr/>
          </p:nvSpPr>
          <p:spPr bwMode="auto">
            <a:xfrm>
              <a:off x="3189288" y="2560638"/>
              <a:ext cx="80963"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8" name="Line 70">
              <a:extLst>
                <a:ext uri="{FF2B5EF4-FFF2-40B4-BE49-F238E27FC236}">
                  <a16:creationId xmlns:a16="http://schemas.microsoft.com/office/drawing/2014/main" id="{D0ECBCA5-7300-431D-BA28-085BAA77F81D}"/>
                </a:ext>
              </a:extLst>
            </p:cNvPr>
            <p:cNvSpPr>
              <a:spLocks noChangeShapeType="1"/>
            </p:cNvSpPr>
            <p:nvPr/>
          </p:nvSpPr>
          <p:spPr bwMode="auto">
            <a:xfrm>
              <a:off x="3246438"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79" name="Line 71">
              <a:extLst>
                <a:ext uri="{FF2B5EF4-FFF2-40B4-BE49-F238E27FC236}">
                  <a16:creationId xmlns:a16="http://schemas.microsoft.com/office/drawing/2014/main" id="{80C948F6-3239-43FF-A2EE-32449BE37E71}"/>
                </a:ext>
              </a:extLst>
            </p:cNvPr>
            <p:cNvSpPr>
              <a:spLocks noChangeShapeType="1"/>
            </p:cNvSpPr>
            <p:nvPr/>
          </p:nvSpPr>
          <p:spPr bwMode="auto">
            <a:xfrm>
              <a:off x="3205163" y="2560638"/>
              <a:ext cx="80963"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0" name="Line 72">
              <a:extLst>
                <a:ext uri="{FF2B5EF4-FFF2-40B4-BE49-F238E27FC236}">
                  <a16:creationId xmlns:a16="http://schemas.microsoft.com/office/drawing/2014/main" id="{7C475E5C-BEAA-4988-9CF1-00C342AB0FE4}"/>
                </a:ext>
              </a:extLst>
            </p:cNvPr>
            <p:cNvSpPr>
              <a:spLocks noChangeShapeType="1"/>
            </p:cNvSpPr>
            <p:nvPr/>
          </p:nvSpPr>
          <p:spPr bwMode="auto">
            <a:xfrm>
              <a:off x="3400426"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1" name="Line 73">
              <a:extLst>
                <a:ext uri="{FF2B5EF4-FFF2-40B4-BE49-F238E27FC236}">
                  <a16:creationId xmlns:a16="http://schemas.microsoft.com/office/drawing/2014/main" id="{4E1EA677-EB72-4FCD-A791-6BC30D073BB6}"/>
                </a:ext>
              </a:extLst>
            </p:cNvPr>
            <p:cNvSpPr>
              <a:spLocks noChangeShapeType="1"/>
            </p:cNvSpPr>
            <p:nvPr/>
          </p:nvSpPr>
          <p:spPr bwMode="auto">
            <a:xfrm>
              <a:off x="3359151"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2" name="Line 74">
              <a:extLst>
                <a:ext uri="{FF2B5EF4-FFF2-40B4-BE49-F238E27FC236}">
                  <a16:creationId xmlns:a16="http://schemas.microsoft.com/office/drawing/2014/main" id="{0F6FF484-4F2B-4976-A2AE-5AD8B34D60E4}"/>
                </a:ext>
              </a:extLst>
            </p:cNvPr>
            <p:cNvSpPr>
              <a:spLocks noChangeShapeType="1"/>
            </p:cNvSpPr>
            <p:nvPr/>
          </p:nvSpPr>
          <p:spPr bwMode="auto">
            <a:xfrm>
              <a:off x="3463926"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3" name="Line 75">
              <a:extLst>
                <a:ext uri="{FF2B5EF4-FFF2-40B4-BE49-F238E27FC236}">
                  <a16:creationId xmlns:a16="http://schemas.microsoft.com/office/drawing/2014/main" id="{18089FA5-B842-415A-A861-DCEEC899E012}"/>
                </a:ext>
              </a:extLst>
            </p:cNvPr>
            <p:cNvSpPr>
              <a:spLocks noChangeShapeType="1"/>
            </p:cNvSpPr>
            <p:nvPr/>
          </p:nvSpPr>
          <p:spPr bwMode="auto">
            <a:xfrm>
              <a:off x="3422651"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4" name="Line 76">
              <a:extLst>
                <a:ext uri="{FF2B5EF4-FFF2-40B4-BE49-F238E27FC236}">
                  <a16:creationId xmlns:a16="http://schemas.microsoft.com/office/drawing/2014/main" id="{C2E591E2-7D3F-4499-B6DD-46C4568E21FB}"/>
                </a:ext>
              </a:extLst>
            </p:cNvPr>
            <p:cNvSpPr>
              <a:spLocks noChangeShapeType="1"/>
            </p:cNvSpPr>
            <p:nvPr/>
          </p:nvSpPr>
          <p:spPr bwMode="auto">
            <a:xfrm>
              <a:off x="349885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5" name="Line 77">
              <a:extLst>
                <a:ext uri="{FF2B5EF4-FFF2-40B4-BE49-F238E27FC236}">
                  <a16:creationId xmlns:a16="http://schemas.microsoft.com/office/drawing/2014/main" id="{E0B04942-446B-4906-AA5C-4787D0C07422}"/>
                </a:ext>
              </a:extLst>
            </p:cNvPr>
            <p:cNvSpPr>
              <a:spLocks noChangeShapeType="1"/>
            </p:cNvSpPr>
            <p:nvPr/>
          </p:nvSpPr>
          <p:spPr bwMode="auto">
            <a:xfrm>
              <a:off x="3457576"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6" name="Line 78">
              <a:extLst>
                <a:ext uri="{FF2B5EF4-FFF2-40B4-BE49-F238E27FC236}">
                  <a16:creationId xmlns:a16="http://schemas.microsoft.com/office/drawing/2014/main" id="{976B99A5-33BE-45B9-8041-A5E34228E01A}"/>
                </a:ext>
              </a:extLst>
            </p:cNvPr>
            <p:cNvSpPr>
              <a:spLocks noChangeShapeType="1"/>
            </p:cNvSpPr>
            <p:nvPr/>
          </p:nvSpPr>
          <p:spPr bwMode="auto">
            <a:xfrm>
              <a:off x="354965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7" name="Line 79">
              <a:extLst>
                <a:ext uri="{FF2B5EF4-FFF2-40B4-BE49-F238E27FC236}">
                  <a16:creationId xmlns:a16="http://schemas.microsoft.com/office/drawing/2014/main" id="{538DBF80-D3EC-44A9-9F27-412A98FEB054}"/>
                </a:ext>
              </a:extLst>
            </p:cNvPr>
            <p:cNvSpPr>
              <a:spLocks noChangeShapeType="1"/>
            </p:cNvSpPr>
            <p:nvPr/>
          </p:nvSpPr>
          <p:spPr bwMode="auto">
            <a:xfrm>
              <a:off x="3508376"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8" name="Line 80">
              <a:extLst>
                <a:ext uri="{FF2B5EF4-FFF2-40B4-BE49-F238E27FC236}">
                  <a16:creationId xmlns:a16="http://schemas.microsoft.com/office/drawing/2014/main" id="{FBC14C93-719D-40B7-882E-58E905A22491}"/>
                </a:ext>
              </a:extLst>
            </p:cNvPr>
            <p:cNvSpPr>
              <a:spLocks noChangeShapeType="1"/>
            </p:cNvSpPr>
            <p:nvPr/>
          </p:nvSpPr>
          <p:spPr bwMode="auto">
            <a:xfrm>
              <a:off x="3571876"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89" name="Line 81">
              <a:extLst>
                <a:ext uri="{FF2B5EF4-FFF2-40B4-BE49-F238E27FC236}">
                  <a16:creationId xmlns:a16="http://schemas.microsoft.com/office/drawing/2014/main" id="{B004C27B-B322-4F96-A4E5-1A1C121BF867}"/>
                </a:ext>
              </a:extLst>
            </p:cNvPr>
            <p:cNvSpPr>
              <a:spLocks noChangeShapeType="1"/>
            </p:cNvSpPr>
            <p:nvPr/>
          </p:nvSpPr>
          <p:spPr bwMode="auto">
            <a:xfrm>
              <a:off x="3530601" y="2560638"/>
              <a:ext cx="8572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0" name="Line 82">
              <a:extLst>
                <a:ext uri="{FF2B5EF4-FFF2-40B4-BE49-F238E27FC236}">
                  <a16:creationId xmlns:a16="http://schemas.microsoft.com/office/drawing/2014/main" id="{3B76D78E-0E86-4087-A33D-EB9CE50F2AD1}"/>
                </a:ext>
              </a:extLst>
            </p:cNvPr>
            <p:cNvSpPr>
              <a:spLocks noChangeShapeType="1"/>
            </p:cNvSpPr>
            <p:nvPr/>
          </p:nvSpPr>
          <p:spPr bwMode="auto">
            <a:xfrm>
              <a:off x="3606801"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1" name="Line 83">
              <a:extLst>
                <a:ext uri="{FF2B5EF4-FFF2-40B4-BE49-F238E27FC236}">
                  <a16:creationId xmlns:a16="http://schemas.microsoft.com/office/drawing/2014/main" id="{A363FDFA-9177-4F5A-83FF-A875419572E3}"/>
                </a:ext>
              </a:extLst>
            </p:cNvPr>
            <p:cNvSpPr>
              <a:spLocks noChangeShapeType="1"/>
            </p:cNvSpPr>
            <p:nvPr/>
          </p:nvSpPr>
          <p:spPr bwMode="auto">
            <a:xfrm>
              <a:off x="3565526" y="2560638"/>
              <a:ext cx="80963"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2" name="Line 84">
              <a:extLst>
                <a:ext uri="{FF2B5EF4-FFF2-40B4-BE49-F238E27FC236}">
                  <a16:creationId xmlns:a16="http://schemas.microsoft.com/office/drawing/2014/main" id="{C2BFF756-796F-4733-A96F-80A9AF1E150A}"/>
                </a:ext>
              </a:extLst>
            </p:cNvPr>
            <p:cNvSpPr>
              <a:spLocks noChangeShapeType="1"/>
            </p:cNvSpPr>
            <p:nvPr/>
          </p:nvSpPr>
          <p:spPr bwMode="auto">
            <a:xfrm>
              <a:off x="3633788"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3" name="Line 85">
              <a:extLst>
                <a:ext uri="{FF2B5EF4-FFF2-40B4-BE49-F238E27FC236}">
                  <a16:creationId xmlns:a16="http://schemas.microsoft.com/office/drawing/2014/main" id="{113F71A0-6271-4EEA-BB5B-1EB3032115C7}"/>
                </a:ext>
              </a:extLst>
            </p:cNvPr>
            <p:cNvSpPr>
              <a:spLocks noChangeShapeType="1"/>
            </p:cNvSpPr>
            <p:nvPr/>
          </p:nvSpPr>
          <p:spPr bwMode="auto">
            <a:xfrm>
              <a:off x="3594101" y="2560638"/>
              <a:ext cx="80963"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4" name="Line 86">
              <a:extLst>
                <a:ext uri="{FF2B5EF4-FFF2-40B4-BE49-F238E27FC236}">
                  <a16:creationId xmlns:a16="http://schemas.microsoft.com/office/drawing/2014/main" id="{52157306-2082-4B16-9CA9-FD367448A8B7}"/>
                </a:ext>
              </a:extLst>
            </p:cNvPr>
            <p:cNvSpPr>
              <a:spLocks noChangeShapeType="1"/>
            </p:cNvSpPr>
            <p:nvPr/>
          </p:nvSpPr>
          <p:spPr bwMode="auto">
            <a:xfrm>
              <a:off x="3659188"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5" name="Line 87">
              <a:extLst>
                <a:ext uri="{FF2B5EF4-FFF2-40B4-BE49-F238E27FC236}">
                  <a16:creationId xmlns:a16="http://schemas.microsoft.com/office/drawing/2014/main" id="{42758BFF-C4B2-42BA-9741-2DFD09D67EDB}"/>
                </a:ext>
              </a:extLst>
            </p:cNvPr>
            <p:cNvSpPr>
              <a:spLocks noChangeShapeType="1"/>
            </p:cNvSpPr>
            <p:nvPr/>
          </p:nvSpPr>
          <p:spPr bwMode="auto">
            <a:xfrm>
              <a:off x="3619501" y="2560638"/>
              <a:ext cx="80963"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6" name="Line 88">
              <a:extLst>
                <a:ext uri="{FF2B5EF4-FFF2-40B4-BE49-F238E27FC236}">
                  <a16:creationId xmlns:a16="http://schemas.microsoft.com/office/drawing/2014/main" id="{837CD492-F8D7-4033-A1A0-287E2758F0A4}"/>
                </a:ext>
              </a:extLst>
            </p:cNvPr>
            <p:cNvSpPr>
              <a:spLocks noChangeShapeType="1"/>
            </p:cNvSpPr>
            <p:nvPr/>
          </p:nvSpPr>
          <p:spPr bwMode="auto">
            <a:xfrm>
              <a:off x="3722688" y="25209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7" name="Line 89">
              <a:extLst>
                <a:ext uri="{FF2B5EF4-FFF2-40B4-BE49-F238E27FC236}">
                  <a16:creationId xmlns:a16="http://schemas.microsoft.com/office/drawing/2014/main" id="{13E745B0-0737-4EE2-ABEE-37BD3749FAD0}"/>
                </a:ext>
              </a:extLst>
            </p:cNvPr>
            <p:cNvSpPr>
              <a:spLocks noChangeShapeType="1"/>
            </p:cNvSpPr>
            <p:nvPr/>
          </p:nvSpPr>
          <p:spPr bwMode="auto">
            <a:xfrm>
              <a:off x="3681413" y="2560638"/>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8" name="Line 90">
              <a:extLst>
                <a:ext uri="{FF2B5EF4-FFF2-40B4-BE49-F238E27FC236}">
                  <a16:creationId xmlns:a16="http://schemas.microsoft.com/office/drawing/2014/main" id="{4E5C7D64-B84F-4C06-A2A6-9351BA8CD275}"/>
                </a:ext>
              </a:extLst>
            </p:cNvPr>
            <p:cNvSpPr>
              <a:spLocks noChangeShapeType="1"/>
            </p:cNvSpPr>
            <p:nvPr/>
          </p:nvSpPr>
          <p:spPr bwMode="auto">
            <a:xfrm>
              <a:off x="2600326" y="2470150"/>
              <a:ext cx="0" cy="80963"/>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99" name="Line 91">
              <a:extLst>
                <a:ext uri="{FF2B5EF4-FFF2-40B4-BE49-F238E27FC236}">
                  <a16:creationId xmlns:a16="http://schemas.microsoft.com/office/drawing/2014/main" id="{CB0112C8-0233-4EA0-9237-2D9686728429}"/>
                </a:ext>
              </a:extLst>
            </p:cNvPr>
            <p:cNvSpPr>
              <a:spLocks noChangeShapeType="1"/>
            </p:cNvSpPr>
            <p:nvPr/>
          </p:nvSpPr>
          <p:spPr bwMode="auto">
            <a:xfrm>
              <a:off x="2559051" y="2511425"/>
              <a:ext cx="8255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00" name="Line 92">
              <a:extLst>
                <a:ext uri="{FF2B5EF4-FFF2-40B4-BE49-F238E27FC236}">
                  <a16:creationId xmlns:a16="http://schemas.microsoft.com/office/drawing/2014/main" id="{7E55DBD6-C805-4F43-83E2-AB116C09E04C}"/>
                </a:ext>
              </a:extLst>
            </p:cNvPr>
            <p:cNvSpPr>
              <a:spLocks noChangeShapeType="1"/>
            </p:cNvSpPr>
            <p:nvPr/>
          </p:nvSpPr>
          <p:spPr bwMode="auto">
            <a:xfrm>
              <a:off x="2382838" y="2422525"/>
              <a:ext cx="0" cy="8255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01" name="Line 93">
              <a:extLst>
                <a:ext uri="{FF2B5EF4-FFF2-40B4-BE49-F238E27FC236}">
                  <a16:creationId xmlns:a16="http://schemas.microsoft.com/office/drawing/2014/main" id="{32927A02-D466-47A5-BD42-1BA9C1A5E7AF}"/>
                </a:ext>
              </a:extLst>
            </p:cNvPr>
            <p:cNvSpPr>
              <a:spLocks noChangeShapeType="1"/>
            </p:cNvSpPr>
            <p:nvPr/>
          </p:nvSpPr>
          <p:spPr bwMode="auto">
            <a:xfrm>
              <a:off x="2338388" y="2463800"/>
              <a:ext cx="8572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grpSp>
      <p:sp>
        <p:nvSpPr>
          <p:cNvPr id="5" name="TextBox 4">
            <a:extLst>
              <a:ext uri="{FF2B5EF4-FFF2-40B4-BE49-F238E27FC236}">
                <a16:creationId xmlns:a16="http://schemas.microsoft.com/office/drawing/2014/main" id="{724D5110-2831-422A-A996-D3E3BD859A17}"/>
              </a:ext>
            </a:extLst>
          </p:cNvPr>
          <p:cNvSpPr txBox="1"/>
          <p:nvPr/>
        </p:nvSpPr>
        <p:spPr>
          <a:xfrm>
            <a:off x="1860644" y="1813931"/>
            <a:ext cx="1513556" cy="276999"/>
          </a:xfrm>
          <a:prstGeom prst="rect">
            <a:avLst/>
          </a:prstGeom>
          <a:noFill/>
        </p:spPr>
        <p:txBody>
          <a:bodyPr wrap="none" rtlCol="0">
            <a:spAutoFit/>
          </a:bodyPr>
          <a:lstStyle/>
          <a:p>
            <a:pPr algn="ctr" defTabSz="514337">
              <a:defRPr/>
            </a:pPr>
            <a:r>
              <a:rPr lang="en-US" sz="1200" b="1">
                <a:solidFill>
                  <a:srgbClr val="4F81BD"/>
                </a:solidFill>
                <a:latin typeface="Arial" panose="020B0604020202020204" pitchFamily="34" charset="0"/>
                <a:cs typeface="Arial" panose="020B0604020202020204" pitchFamily="34" charset="0"/>
              </a:rPr>
              <a:t>PFS in all patients</a:t>
            </a:r>
          </a:p>
        </p:txBody>
      </p:sp>
      <p:sp>
        <p:nvSpPr>
          <p:cNvPr id="6" name="TextBox 5">
            <a:extLst>
              <a:ext uri="{FF2B5EF4-FFF2-40B4-BE49-F238E27FC236}">
                <a16:creationId xmlns:a16="http://schemas.microsoft.com/office/drawing/2014/main" id="{953D4D68-2EDC-4A87-9173-0BAA1E4D4BFE}"/>
              </a:ext>
            </a:extLst>
          </p:cNvPr>
          <p:cNvSpPr txBox="1"/>
          <p:nvPr/>
        </p:nvSpPr>
        <p:spPr>
          <a:xfrm>
            <a:off x="5131835" y="1813930"/>
            <a:ext cx="3286492" cy="276999"/>
          </a:xfrm>
          <a:prstGeom prst="rect">
            <a:avLst/>
          </a:prstGeom>
          <a:noFill/>
        </p:spPr>
        <p:txBody>
          <a:bodyPr wrap="square" rtlCol="0">
            <a:spAutoFit/>
          </a:bodyPr>
          <a:lstStyle/>
          <a:p>
            <a:pPr algn="ctr" defTabSz="514337">
              <a:defRPr/>
            </a:pPr>
            <a:r>
              <a:rPr lang="en-US" sz="1200" b="1">
                <a:solidFill>
                  <a:srgbClr val="4F81BD"/>
                </a:solidFill>
                <a:latin typeface="Arial" panose="020B0604020202020204" pitchFamily="34" charset="0"/>
                <a:cs typeface="Arial" panose="020B0604020202020204" pitchFamily="34" charset="0"/>
              </a:rPr>
              <a:t>PFS by high-risk mutations</a:t>
            </a:r>
          </a:p>
        </p:txBody>
      </p:sp>
      <p:grpSp>
        <p:nvGrpSpPr>
          <p:cNvPr id="146" name="Group 145">
            <a:extLst>
              <a:ext uri="{FF2B5EF4-FFF2-40B4-BE49-F238E27FC236}">
                <a16:creationId xmlns:a16="http://schemas.microsoft.com/office/drawing/2014/main" id="{1D7D6E7E-F3A1-4C92-A2E7-B772025549F2}"/>
              </a:ext>
            </a:extLst>
          </p:cNvPr>
          <p:cNvGrpSpPr/>
          <p:nvPr/>
        </p:nvGrpSpPr>
        <p:grpSpPr>
          <a:xfrm>
            <a:off x="981755" y="2331786"/>
            <a:ext cx="3217863" cy="1875974"/>
            <a:chOff x="814388" y="2266950"/>
            <a:chExt cx="3217863" cy="2247900"/>
          </a:xfrm>
        </p:grpSpPr>
        <p:sp>
          <p:nvSpPr>
            <p:cNvPr id="13" name="Freeform 5">
              <a:extLst>
                <a:ext uri="{FF2B5EF4-FFF2-40B4-BE49-F238E27FC236}">
                  <a16:creationId xmlns:a16="http://schemas.microsoft.com/office/drawing/2014/main" id="{A8952092-EB64-4744-8685-CAFA410A171E}"/>
                </a:ext>
              </a:extLst>
            </p:cNvPr>
            <p:cNvSpPr>
              <a:spLocks/>
            </p:cNvSpPr>
            <p:nvPr/>
          </p:nvSpPr>
          <p:spPr bwMode="auto">
            <a:xfrm>
              <a:off x="881063" y="2266950"/>
              <a:ext cx="3151188" cy="2181225"/>
            </a:xfrm>
            <a:custGeom>
              <a:avLst/>
              <a:gdLst>
                <a:gd name="T0" fmla="*/ 0 w 1985"/>
                <a:gd name="T1" fmla="*/ 0 h 1374"/>
                <a:gd name="T2" fmla="*/ 0 w 1985"/>
                <a:gd name="T3" fmla="*/ 1374 h 1374"/>
                <a:gd name="T4" fmla="*/ 1985 w 1985"/>
                <a:gd name="T5" fmla="*/ 1374 h 1374"/>
              </a:gdLst>
              <a:ahLst/>
              <a:cxnLst>
                <a:cxn ang="0">
                  <a:pos x="T0" y="T1"/>
                </a:cxn>
                <a:cxn ang="0">
                  <a:pos x="T2" y="T3"/>
                </a:cxn>
                <a:cxn ang="0">
                  <a:pos x="T4" y="T5"/>
                </a:cxn>
              </a:cxnLst>
              <a:rect l="0" t="0" r="r" b="b"/>
              <a:pathLst>
                <a:path w="1985" h="1374">
                  <a:moveTo>
                    <a:pt x="0" y="0"/>
                  </a:moveTo>
                  <a:lnTo>
                    <a:pt x="0" y="1374"/>
                  </a:lnTo>
                  <a:lnTo>
                    <a:pt x="1985" y="1374"/>
                  </a:lnTo>
                </a:path>
              </a:pathLst>
            </a:custGeom>
            <a:noFill/>
            <a:ln w="19050">
              <a:solidFill>
                <a:schemeClr val="tx1">
                  <a:lumMod val="75000"/>
                  <a:lumOff val="2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4" name="Line 6">
              <a:extLst>
                <a:ext uri="{FF2B5EF4-FFF2-40B4-BE49-F238E27FC236}">
                  <a16:creationId xmlns:a16="http://schemas.microsoft.com/office/drawing/2014/main" id="{D64EE529-4573-4D6D-AB2F-603983CEAEF7}"/>
                </a:ext>
              </a:extLst>
            </p:cNvPr>
            <p:cNvSpPr>
              <a:spLocks noChangeShapeType="1"/>
            </p:cNvSpPr>
            <p:nvPr/>
          </p:nvSpPr>
          <p:spPr bwMode="auto">
            <a:xfrm flipH="1">
              <a:off x="814388" y="3387725"/>
              <a:ext cx="66675" cy="0"/>
            </a:xfrm>
            <a:prstGeom prst="line">
              <a:avLst/>
            </a:prstGeom>
            <a:noFill/>
            <a:ln w="19050">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5" name="Line 7">
              <a:extLst>
                <a:ext uri="{FF2B5EF4-FFF2-40B4-BE49-F238E27FC236}">
                  <a16:creationId xmlns:a16="http://schemas.microsoft.com/office/drawing/2014/main" id="{AE288F40-C61C-414A-8A77-026FB5AD485B}"/>
                </a:ext>
              </a:extLst>
            </p:cNvPr>
            <p:cNvSpPr>
              <a:spLocks noChangeShapeType="1"/>
            </p:cNvSpPr>
            <p:nvPr/>
          </p:nvSpPr>
          <p:spPr bwMode="auto">
            <a:xfrm flipH="1">
              <a:off x="814388" y="2330450"/>
              <a:ext cx="66675" cy="0"/>
            </a:xfrm>
            <a:prstGeom prst="line">
              <a:avLst/>
            </a:prstGeom>
            <a:noFill/>
            <a:ln w="19050">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6" name="Line 8">
              <a:extLst>
                <a:ext uri="{FF2B5EF4-FFF2-40B4-BE49-F238E27FC236}">
                  <a16:creationId xmlns:a16="http://schemas.microsoft.com/office/drawing/2014/main" id="{4D86383D-1FA5-44CA-94BC-E3E3CFF5C1FB}"/>
                </a:ext>
              </a:extLst>
            </p:cNvPr>
            <p:cNvSpPr>
              <a:spLocks noChangeShapeType="1"/>
            </p:cNvSpPr>
            <p:nvPr/>
          </p:nvSpPr>
          <p:spPr bwMode="auto">
            <a:xfrm flipH="1">
              <a:off x="814388" y="4448175"/>
              <a:ext cx="66675" cy="0"/>
            </a:xfrm>
            <a:prstGeom prst="line">
              <a:avLst/>
            </a:prstGeom>
            <a:noFill/>
            <a:ln w="19050">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7" name="Line 9">
              <a:extLst>
                <a:ext uri="{FF2B5EF4-FFF2-40B4-BE49-F238E27FC236}">
                  <a16:creationId xmlns:a16="http://schemas.microsoft.com/office/drawing/2014/main" id="{DDBE19ED-A5FA-4DF3-9F62-99BA4695CF61}"/>
                </a:ext>
              </a:extLst>
            </p:cNvPr>
            <p:cNvSpPr>
              <a:spLocks noChangeShapeType="1"/>
            </p:cNvSpPr>
            <p:nvPr/>
          </p:nvSpPr>
          <p:spPr bwMode="auto">
            <a:xfrm>
              <a:off x="884238" y="4448175"/>
              <a:ext cx="0" cy="66675"/>
            </a:xfrm>
            <a:prstGeom prst="line">
              <a:avLst/>
            </a:prstGeom>
            <a:noFill/>
            <a:ln w="19050">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8" name="Line 10">
              <a:extLst>
                <a:ext uri="{FF2B5EF4-FFF2-40B4-BE49-F238E27FC236}">
                  <a16:creationId xmlns:a16="http://schemas.microsoft.com/office/drawing/2014/main" id="{2E5C38CE-A77B-42ED-92AE-4E625B7574C1}"/>
                </a:ext>
              </a:extLst>
            </p:cNvPr>
            <p:cNvSpPr>
              <a:spLocks noChangeShapeType="1"/>
            </p:cNvSpPr>
            <p:nvPr/>
          </p:nvSpPr>
          <p:spPr bwMode="auto">
            <a:xfrm>
              <a:off x="2900363" y="4448175"/>
              <a:ext cx="0" cy="66675"/>
            </a:xfrm>
            <a:prstGeom prst="line">
              <a:avLst/>
            </a:prstGeom>
            <a:noFill/>
            <a:ln w="19050">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19" name="Line 11">
              <a:extLst>
                <a:ext uri="{FF2B5EF4-FFF2-40B4-BE49-F238E27FC236}">
                  <a16:creationId xmlns:a16="http://schemas.microsoft.com/office/drawing/2014/main" id="{C6FFB6B7-5216-4482-AE7A-69CCDBDE8C65}"/>
                </a:ext>
              </a:extLst>
            </p:cNvPr>
            <p:cNvSpPr>
              <a:spLocks noChangeShapeType="1"/>
            </p:cNvSpPr>
            <p:nvPr/>
          </p:nvSpPr>
          <p:spPr bwMode="auto">
            <a:xfrm>
              <a:off x="2227263" y="4448175"/>
              <a:ext cx="0" cy="66675"/>
            </a:xfrm>
            <a:prstGeom prst="line">
              <a:avLst/>
            </a:prstGeom>
            <a:noFill/>
            <a:ln w="19050">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20" name="Line 12">
              <a:extLst>
                <a:ext uri="{FF2B5EF4-FFF2-40B4-BE49-F238E27FC236}">
                  <a16:creationId xmlns:a16="http://schemas.microsoft.com/office/drawing/2014/main" id="{12AD88AD-1077-4ED1-98FD-E5244B1DEB2B}"/>
                </a:ext>
              </a:extLst>
            </p:cNvPr>
            <p:cNvSpPr>
              <a:spLocks noChangeShapeType="1"/>
            </p:cNvSpPr>
            <p:nvPr/>
          </p:nvSpPr>
          <p:spPr bwMode="auto">
            <a:xfrm>
              <a:off x="1557338" y="4448175"/>
              <a:ext cx="0" cy="66675"/>
            </a:xfrm>
            <a:prstGeom prst="line">
              <a:avLst/>
            </a:prstGeom>
            <a:noFill/>
            <a:ln w="19050">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21" name="Line 13">
              <a:extLst>
                <a:ext uri="{FF2B5EF4-FFF2-40B4-BE49-F238E27FC236}">
                  <a16:creationId xmlns:a16="http://schemas.microsoft.com/office/drawing/2014/main" id="{92464336-AEB7-41D9-B1FC-02F2C80BAC64}"/>
                </a:ext>
              </a:extLst>
            </p:cNvPr>
            <p:cNvSpPr>
              <a:spLocks noChangeShapeType="1"/>
            </p:cNvSpPr>
            <p:nvPr/>
          </p:nvSpPr>
          <p:spPr bwMode="auto">
            <a:xfrm>
              <a:off x="3575051" y="4448175"/>
              <a:ext cx="0" cy="66675"/>
            </a:xfrm>
            <a:prstGeom prst="line">
              <a:avLst/>
            </a:prstGeom>
            <a:noFill/>
            <a:ln w="19050">
              <a:solidFill>
                <a:schemeClr val="tx1">
                  <a:lumMod val="75000"/>
                  <a:lumOff val="2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grpSp>
      <p:grpSp>
        <p:nvGrpSpPr>
          <p:cNvPr id="147" name="Group 146">
            <a:extLst>
              <a:ext uri="{FF2B5EF4-FFF2-40B4-BE49-F238E27FC236}">
                <a16:creationId xmlns:a16="http://schemas.microsoft.com/office/drawing/2014/main" id="{44467971-7EFF-41BA-9081-3D14DC22933A}"/>
              </a:ext>
            </a:extLst>
          </p:cNvPr>
          <p:cNvGrpSpPr/>
          <p:nvPr/>
        </p:nvGrpSpPr>
        <p:grpSpPr>
          <a:xfrm>
            <a:off x="5200465" y="2331786"/>
            <a:ext cx="3217862" cy="1875974"/>
            <a:chOff x="5111751" y="2266950"/>
            <a:chExt cx="3217862" cy="2247900"/>
          </a:xfrm>
        </p:grpSpPr>
        <p:sp>
          <p:nvSpPr>
            <p:cNvPr id="22" name="Freeform 14">
              <a:extLst>
                <a:ext uri="{FF2B5EF4-FFF2-40B4-BE49-F238E27FC236}">
                  <a16:creationId xmlns:a16="http://schemas.microsoft.com/office/drawing/2014/main" id="{B9F4CF18-DCC4-4AA5-8C57-4DC1693E4668}"/>
                </a:ext>
              </a:extLst>
            </p:cNvPr>
            <p:cNvSpPr>
              <a:spLocks/>
            </p:cNvSpPr>
            <p:nvPr/>
          </p:nvSpPr>
          <p:spPr bwMode="auto">
            <a:xfrm>
              <a:off x="5176838" y="2266950"/>
              <a:ext cx="3152775" cy="2181225"/>
            </a:xfrm>
            <a:custGeom>
              <a:avLst/>
              <a:gdLst>
                <a:gd name="T0" fmla="*/ 0 w 1986"/>
                <a:gd name="T1" fmla="*/ 0 h 1374"/>
                <a:gd name="T2" fmla="*/ 0 w 1986"/>
                <a:gd name="T3" fmla="*/ 1374 h 1374"/>
                <a:gd name="T4" fmla="*/ 1986 w 1986"/>
                <a:gd name="T5" fmla="*/ 1374 h 1374"/>
              </a:gdLst>
              <a:ahLst/>
              <a:cxnLst>
                <a:cxn ang="0">
                  <a:pos x="T0" y="T1"/>
                </a:cxn>
                <a:cxn ang="0">
                  <a:pos x="T2" y="T3"/>
                </a:cxn>
                <a:cxn ang="0">
                  <a:pos x="T4" y="T5"/>
                </a:cxn>
              </a:cxnLst>
              <a:rect l="0" t="0" r="r" b="b"/>
              <a:pathLst>
                <a:path w="1986" h="1374">
                  <a:moveTo>
                    <a:pt x="0" y="0"/>
                  </a:moveTo>
                  <a:lnTo>
                    <a:pt x="0" y="1374"/>
                  </a:lnTo>
                  <a:lnTo>
                    <a:pt x="1986" y="1374"/>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23" name="Line 15">
              <a:extLst>
                <a:ext uri="{FF2B5EF4-FFF2-40B4-BE49-F238E27FC236}">
                  <a16:creationId xmlns:a16="http://schemas.microsoft.com/office/drawing/2014/main" id="{E91CE566-EEA2-4627-AAB8-D52B91DEE120}"/>
                </a:ext>
              </a:extLst>
            </p:cNvPr>
            <p:cNvSpPr>
              <a:spLocks noChangeShapeType="1"/>
            </p:cNvSpPr>
            <p:nvPr/>
          </p:nvSpPr>
          <p:spPr bwMode="auto">
            <a:xfrm flipH="1">
              <a:off x="5111751" y="3387725"/>
              <a:ext cx="65088"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24" name="Line 16">
              <a:extLst>
                <a:ext uri="{FF2B5EF4-FFF2-40B4-BE49-F238E27FC236}">
                  <a16:creationId xmlns:a16="http://schemas.microsoft.com/office/drawing/2014/main" id="{0147A245-9D3A-4388-91DF-26C24A6BFC24}"/>
                </a:ext>
              </a:extLst>
            </p:cNvPr>
            <p:cNvSpPr>
              <a:spLocks noChangeShapeType="1"/>
            </p:cNvSpPr>
            <p:nvPr/>
          </p:nvSpPr>
          <p:spPr bwMode="auto">
            <a:xfrm flipH="1">
              <a:off x="5111751" y="2330450"/>
              <a:ext cx="65088"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25" name="Line 17">
              <a:extLst>
                <a:ext uri="{FF2B5EF4-FFF2-40B4-BE49-F238E27FC236}">
                  <a16:creationId xmlns:a16="http://schemas.microsoft.com/office/drawing/2014/main" id="{4CAF67A5-99A0-4727-89FD-BC0B0BDB1E3A}"/>
                </a:ext>
              </a:extLst>
            </p:cNvPr>
            <p:cNvSpPr>
              <a:spLocks noChangeShapeType="1"/>
            </p:cNvSpPr>
            <p:nvPr/>
          </p:nvSpPr>
          <p:spPr bwMode="auto">
            <a:xfrm flipH="1">
              <a:off x="5111751" y="4448175"/>
              <a:ext cx="65088"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26" name="Line 18">
              <a:extLst>
                <a:ext uri="{FF2B5EF4-FFF2-40B4-BE49-F238E27FC236}">
                  <a16:creationId xmlns:a16="http://schemas.microsoft.com/office/drawing/2014/main" id="{F481CEEC-7E3A-4C10-8218-FB916551AAD2}"/>
                </a:ext>
              </a:extLst>
            </p:cNvPr>
            <p:cNvSpPr>
              <a:spLocks noChangeShapeType="1"/>
            </p:cNvSpPr>
            <p:nvPr/>
          </p:nvSpPr>
          <p:spPr bwMode="auto">
            <a:xfrm>
              <a:off x="5180013" y="4448175"/>
              <a:ext cx="0" cy="66675"/>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27" name="Line 19">
              <a:extLst>
                <a:ext uri="{FF2B5EF4-FFF2-40B4-BE49-F238E27FC236}">
                  <a16:creationId xmlns:a16="http://schemas.microsoft.com/office/drawing/2014/main" id="{96E33AEB-1AC0-45B4-A825-80B8EA6FBB2A}"/>
                </a:ext>
              </a:extLst>
            </p:cNvPr>
            <p:cNvSpPr>
              <a:spLocks noChangeShapeType="1"/>
            </p:cNvSpPr>
            <p:nvPr/>
          </p:nvSpPr>
          <p:spPr bwMode="auto">
            <a:xfrm>
              <a:off x="7197726" y="4448175"/>
              <a:ext cx="0" cy="66675"/>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28" name="Line 20">
              <a:extLst>
                <a:ext uri="{FF2B5EF4-FFF2-40B4-BE49-F238E27FC236}">
                  <a16:creationId xmlns:a16="http://schemas.microsoft.com/office/drawing/2014/main" id="{26EE086E-BB84-489C-BD81-4AE968768910}"/>
                </a:ext>
              </a:extLst>
            </p:cNvPr>
            <p:cNvSpPr>
              <a:spLocks noChangeShapeType="1"/>
            </p:cNvSpPr>
            <p:nvPr/>
          </p:nvSpPr>
          <p:spPr bwMode="auto">
            <a:xfrm>
              <a:off x="6524626" y="4448175"/>
              <a:ext cx="0" cy="66675"/>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29" name="Line 21">
              <a:extLst>
                <a:ext uri="{FF2B5EF4-FFF2-40B4-BE49-F238E27FC236}">
                  <a16:creationId xmlns:a16="http://schemas.microsoft.com/office/drawing/2014/main" id="{B1E1141A-95A4-40D5-A545-65641FEEFE45}"/>
                </a:ext>
              </a:extLst>
            </p:cNvPr>
            <p:cNvSpPr>
              <a:spLocks noChangeShapeType="1"/>
            </p:cNvSpPr>
            <p:nvPr/>
          </p:nvSpPr>
          <p:spPr bwMode="auto">
            <a:xfrm>
              <a:off x="5854701" y="4448175"/>
              <a:ext cx="0" cy="66675"/>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sp>
          <p:nvSpPr>
            <p:cNvPr id="30" name="Line 22">
              <a:extLst>
                <a:ext uri="{FF2B5EF4-FFF2-40B4-BE49-F238E27FC236}">
                  <a16:creationId xmlns:a16="http://schemas.microsoft.com/office/drawing/2014/main" id="{2A8C1CF3-3DB5-4A4B-A555-E5525DD26E95}"/>
                </a:ext>
              </a:extLst>
            </p:cNvPr>
            <p:cNvSpPr>
              <a:spLocks noChangeShapeType="1"/>
            </p:cNvSpPr>
            <p:nvPr/>
          </p:nvSpPr>
          <p:spPr bwMode="auto">
            <a:xfrm>
              <a:off x="7870826" y="4448175"/>
              <a:ext cx="0" cy="66675"/>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685800"/>
              <a:endParaRPr lang="en-US" sz="1000">
                <a:solidFill>
                  <a:prstClr val="black"/>
                </a:solidFill>
                <a:latin typeface="Arial" panose="020B0604020202020204" pitchFamily="34" charset="0"/>
                <a:cs typeface="Arial" panose="020B0604020202020204" pitchFamily="34" charset="0"/>
              </a:endParaRPr>
            </a:p>
          </p:txBody>
        </p:sp>
      </p:grpSp>
      <p:sp>
        <p:nvSpPr>
          <p:cNvPr id="151" name="TextBox 150">
            <a:extLst>
              <a:ext uri="{FF2B5EF4-FFF2-40B4-BE49-F238E27FC236}">
                <a16:creationId xmlns:a16="http://schemas.microsoft.com/office/drawing/2014/main" id="{9DB323AC-4294-4215-B144-6B21E8344A2E}"/>
              </a:ext>
            </a:extLst>
          </p:cNvPr>
          <p:cNvSpPr txBox="1"/>
          <p:nvPr/>
        </p:nvSpPr>
        <p:spPr>
          <a:xfrm>
            <a:off x="641364" y="2282241"/>
            <a:ext cx="396262" cy="246221"/>
          </a:xfrm>
          <a:prstGeom prst="rect">
            <a:avLst/>
          </a:prstGeom>
          <a:noFill/>
        </p:spPr>
        <p:txBody>
          <a:bodyPr wrap="none" rtlCol="0">
            <a:spAutoFit/>
          </a:bodyPr>
          <a:lstStyle/>
          <a:p>
            <a:pPr algn="r" defTabSz="685800"/>
            <a:r>
              <a:rPr lang="en-US" sz="1000">
                <a:solidFill>
                  <a:prstClr val="black">
                    <a:lumMod val="75000"/>
                    <a:lumOff val="25000"/>
                  </a:prstClr>
                </a:solidFill>
                <a:latin typeface="Arial" panose="020B0604020202020204" pitchFamily="34" charset="0"/>
                <a:cs typeface="Arial" panose="020B0604020202020204" pitchFamily="34" charset="0"/>
              </a:rPr>
              <a:t>100</a:t>
            </a:r>
          </a:p>
        </p:txBody>
      </p:sp>
      <p:sp>
        <p:nvSpPr>
          <p:cNvPr id="152" name="TextBox 151">
            <a:extLst>
              <a:ext uri="{FF2B5EF4-FFF2-40B4-BE49-F238E27FC236}">
                <a16:creationId xmlns:a16="http://schemas.microsoft.com/office/drawing/2014/main" id="{A73693FC-818C-4969-8BF5-0F24117FDC5D}"/>
              </a:ext>
            </a:extLst>
          </p:cNvPr>
          <p:cNvSpPr txBox="1"/>
          <p:nvPr/>
        </p:nvSpPr>
        <p:spPr>
          <a:xfrm>
            <a:off x="927810" y="4179912"/>
            <a:ext cx="255199"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0</a:t>
            </a:r>
          </a:p>
        </p:txBody>
      </p:sp>
      <p:sp>
        <p:nvSpPr>
          <p:cNvPr id="153" name="TextBox 152">
            <a:extLst>
              <a:ext uri="{FF2B5EF4-FFF2-40B4-BE49-F238E27FC236}">
                <a16:creationId xmlns:a16="http://schemas.microsoft.com/office/drawing/2014/main" id="{DC403705-FF54-43DD-B809-4BD2BC7D8B25}"/>
              </a:ext>
            </a:extLst>
          </p:cNvPr>
          <p:cNvSpPr txBox="1"/>
          <p:nvPr/>
        </p:nvSpPr>
        <p:spPr>
          <a:xfrm rot="16200000">
            <a:off x="-181534" y="3074430"/>
            <a:ext cx="1487947" cy="400110"/>
          </a:xfrm>
          <a:prstGeom prst="rect">
            <a:avLst/>
          </a:prstGeom>
          <a:noFill/>
        </p:spPr>
        <p:txBody>
          <a:bodyPr wrap="squar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Percentage alive and progression free</a:t>
            </a:r>
          </a:p>
        </p:txBody>
      </p:sp>
      <p:sp>
        <p:nvSpPr>
          <p:cNvPr id="154" name="TextBox 153">
            <a:extLst>
              <a:ext uri="{FF2B5EF4-FFF2-40B4-BE49-F238E27FC236}">
                <a16:creationId xmlns:a16="http://schemas.microsoft.com/office/drawing/2014/main" id="{C7A4E12B-22CA-4BD0-83A9-0491A3AB141C}"/>
              </a:ext>
            </a:extLst>
          </p:cNvPr>
          <p:cNvSpPr txBox="1"/>
          <p:nvPr/>
        </p:nvSpPr>
        <p:spPr>
          <a:xfrm>
            <a:off x="711897" y="3165309"/>
            <a:ext cx="325730" cy="246221"/>
          </a:xfrm>
          <a:prstGeom prst="rect">
            <a:avLst/>
          </a:prstGeom>
          <a:noFill/>
        </p:spPr>
        <p:txBody>
          <a:bodyPr wrap="none" rtlCol="0">
            <a:spAutoFit/>
          </a:bodyPr>
          <a:lstStyle/>
          <a:p>
            <a:pPr algn="r" defTabSz="685800"/>
            <a:r>
              <a:rPr lang="en-US" sz="1000">
                <a:solidFill>
                  <a:prstClr val="black">
                    <a:lumMod val="75000"/>
                    <a:lumOff val="25000"/>
                  </a:prstClr>
                </a:solidFill>
                <a:latin typeface="Arial" panose="020B0604020202020204" pitchFamily="34" charset="0"/>
                <a:cs typeface="Arial" panose="020B0604020202020204" pitchFamily="34" charset="0"/>
              </a:rPr>
              <a:t>50</a:t>
            </a:r>
          </a:p>
        </p:txBody>
      </p:sp>
      <p:sp>
        <p:nvSpPr>
          <p:cNvPr id="155" name="TextBox 154">
            <a:extLst>
              <a:ext uri="{FF2B5EF4-FFF2-40B4-BE49-F238E27FC236}">
                <a16:creationId xmlns:a16="http://schemas.microsoft.com/office/drawing/2014/main" id="{403ECD30-1112-4D87-9566-CA492DEA3FF8}"/>
              </a:ext>
            </a:extLst>
          </p:cNvPr>
          <p:cNvSpPr txBox="1"/>
          <p:nvPr/>
        </p:nvSpPr>
        <p:spPr>
          <a:xfrm>
            <a:off x="782428" y="4048377"/>
            <a:ext cx="255199" cy="246221"/>
          </a:xfrm>
          <a:prstGeom prst="rect">
            <a:avLst/>
          </a:prstGeom>
          <a:noFill/>
        </p:spPr>
        <p:txBody>
          <a:bodyPr wrap="none" rtlCol="0">
            <a:spAutoFit/>
          </a:bodyPr>
          <a:lstStyle/>
          <a:p>
            <a:pPr algn="r" defTabSz="685800"/>
            <a:r>
              <a:rPr lang="en-US" sz="1000">
                <a:solidFill>
                  <a:prstClr val="black">
                    <a:lumMod val="75000"/>
                    <a:lumOff val="25000"/>
                  </a:prstClr>
                </a:solidFill>
                <a:latin typeface="Arial" panose="020B0604020202020204" pitchFamily="34" charset="0"/>
                <a:cs typeface="Arial" panose="020B0604020202020204" pitchFamily="34" charset="0"/>
              </a:rPr>
              <a:t>0</a:t>
            </a:r>
          </a:p>
        </p:txBody>
      </p:sp>
      <p:sp>
        <p:nvSpPr>
          <p:cNvPr id="156" name="TextBox 155">
            <a:extLst>
              <a:ext uri="{FF2B5EF4-FFF2-40B4-BE49-F238E27FC236}">
                <a16:creationId xmlns:a16="http://schemas.microsoft.com/office/drawing/2014/main" id="{318CB832-6920-4C24-BFFB-F7A0C135996C}"/>
              </a:ext>
            </a:extLst>
          </p:cNvPr>
          <p:cNvSpPr txBox="1"/>
          <p:nvPr/>
        </p:nvSpPr>
        <p:spPr>
          <a:xfrm>
            <a:off x="1569419" y="4179912"/>
            <a:ext cx="325731"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12</a:t>
            </a:r>
          </a:p>
        </p:txBody>
      </p:sp>
      <p:sp>
        <p:nvSpPr>
          <p:cNvPr id="157" name="TextBox 156">
            <a:extLst>
              <a:ext uri="{FF2B5EF4-FFF2-40B4-BE49-F238E27FC236}">
                <a16:creationId xmlns:a16="http://schemas.microsoft.com/office/drawing/2014/main" id="{410ACD6A-BC07-4A70-9BDC-7BFCD89B8AE8}"/>
              </a:ext>
            </a:extLst>
          </p:cNvPr>
          <p:cNvSpPr txBox="1"/>
          <p:nvPr/>
        </p:nvSpPr>
        <p:spPr>
          <a:xfrm>
            <a:off x="2246291" y="4179912"/>
            <a:ext cx="325731"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24</a:t>
            </a:r>
          </a:p>
        </p:txBody>
      </p:sp>
      <p:sp>
        <p:nvSpPr>
          <p:cNvPr id="158" name="TextBox 157">
            <a:extLst>
              <a:ext uri="{FF2B5EF4-FFF2-40B4-BE49-F238E27FC236}">
                <a16:creationId xmlns:a16="http://schemas.microsoft.com/office/drawing/2014/main" id="{937EC4D3-014F-4D8E-AA7F-DA3A6B897C8E}"/>
              </a:ext>
            </a:extLst>
          </p:cNvPr>
          <p:cNvSpPr txBox="1"/>
          <p:nvPr/>
        </p:nvSpPr>
        <p:spPr>
          <a:xfrm>
            <a:off x="2923163" y="4179912"/>
            <a:ext cx="325731"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36</a:t>
            </a:r>
          </a:p>
        </p:txBody>
      </p:sp>
      <p:sp>
        <p:nvSpPr>
          <p:cNvPr id="159" name="TextBox 158">
            <a:extLst>
              <a:ext uri="{FF2B5EF4-FFF2-40B4-BE49-F238E27FC236}">
                <a16:creationId xmlns:a16="http://schemas.microsoft.com/office/drawing/2014/main" id="{3AB35821-FC3F-43D1-A4A5-E1C295232036}"/>
              </a:ext>
            </a:extLst>
          </p:cNvPr>
          <p:cNvSpPr txBox="1"/>
          <p:nvPr/>
        </p:nvSpPr>
        <p:spPr>
          <a:xfrm>
            <a:off x="3600036" y="4179912"/>
            <a:ext cx="325731"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48</a:t>
            </a:r>
          </a:p>
        </p:txBody>
      </p:sp>
      <p:sp>
        <p:nvSpPr>
          <p:cNvPr id="160" name="TextBox 159">
            <a:extLst>
              <a:ext uri="{FF2B5EF4-FFF2-40B4-BE49-F238E27FC236}">
                <a16:creationId xmlns:a16="http://schemas.microsoft.com/office/drawing/2014/main" id="{41B4DCF8-14D0-4BFC-A357-C9DB450C9AC6}"/>
              </a:ext>
            </a:extLst>
          </p:cNvPr>
          <p:cNvSpPr txBox="1"/>
          <p:nvPr/>
        </p:nvSpPr>
        <p:spPr>
          <a:xfrm>
            <a:off x="4855484" y="2284137"/>
            <a:ext cx="396262" cy="246221"/>
          </a:xfrm>
          <a:prstGeom prst="rect">
            <a:avLst/>
          </a:prstGeom>
          <a:noFill/>
        </p:spPr>
        <p:txBody>
          <a:bodyPr wrap="none" rtlCol="0">
            <a:spAutoFit/>
          </a:bodyPr>
          <a:lstStyle/>
          <a:p>
            <a:pPr algn="r" defTabSz="685800"/>
            <a:r>
              <a:rPr lang="en-US" sz="1000">
                <a:solidFill>
                  <a:prstClr val="black">
                    <a:lumMod val="75000"/>
                    <a:lumOff val="25000"/>
                  </a:prstClr>
                </a:solidFill>
                <a:latin typeface="Arial" panose="020B0604020202020204" pitchFamily="34" charset="0"/>
                <a:cs typeface="Arial" panose="020B0604020202020204" pitchFamily="34" charset="0"/>
              </a:rPr>
              <a:t>100</a:t>
            </a:r>
          </a:p>
        </p:txBody>
      </p:sp>
      <p:sp>
        <p:nvSpPr>
          <p:cNvPr id="161" name="TextBox 160">
            <a:extLst>
              <a:ext uri="{FF2B5EF4-FFF2-40B4-BE49-F238E27FC236}">
                <a16:creationId xmlns:a16="http://schemas.microsoft.com/office/drawing/2014/main" id="{C4B074FC-D00F-4D1F-933B-1887F98BE070}"/>
              </a:ext>
            </a:extLst>
          </p:cNvPr>
          <p:cNvSpPr txBox="1"/>
          <p:nvPr/>
        </p:nvSpPr>
        <p:spPr>
          <a:xfrm>
            <a:off x="5141929" y="4181808"/>
            <a:ext cx="255199"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0</a:t>
            </a:r>
          </a:p>
        </p:txBody>
      </p:sp>
      <p:sp>
        <p:nvSpPr>
          <p:cNvPr id="162" name="TextBox 161">
            <a:extLst>
              <a:ext uri="{FF2B5EF4-FFF2-40B4-BE49-F238E27FC236}">
                <a16:creationId xmlns:a16="http://schemas.microsoft.com/office/drawing/2014/main" id="{28CDC31F-5CDD-4D81-B1F7-432A0BB040DB}"/>
              </a:ext>
            </a:extLst>
          </p:cNvPr>
          <p:cNvSpPr txBox="1"/>
          <p:nvPr/>
        </p:nvSpPr>
        <p:spPr>
          <a:xfrm rot="16200000">
            <a:off x="4032586" y="3076326"/>
            <a:ext cx="1487947" cy="400110"/>
          </a:xfrm>
          <a:prstGeom prst="rect">
            <a:avLst/>
          </a:prstGeom>
          <a:noFill/>
        </p:spPr>
        <p:txBody>
          <a:bodyPr wrap="squar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Percentage alive and progression free</a:t>
            </a:r>
          </a:p>
        </p:txBody>
      </p:sp>
      <p:sp>
        <p:nvSpPr>
          <p:cNvPr id="163" name="TextBox 162">
            <a:extLst>
              <a:ext uri="{FF2B5EF4-FFF2-40B4-BE49-F238E27FC236}">
                <a16:creationId xmlns:a16="http://schemas.microsoft.com/office/drawing/2014/main" id="{28524AFB-F357-486E-AA0B-C6EE72E1EFB5}"/>
              </a:ext>
            </a:extLst>
          </p:cNvPr>
          <p:cNvSpPr txBox="1"/>
          <p:nvPr/>
        </p:nvSpPr>
        <p:spPr>
          <a:xfrm>
            <a:off x="4926016" y="3167205"/>
            <a:ext cx="325730" cy="246221"/>
          </a:xfrm>
          <a:prstGeom prst="rect">
            <a:avLst/>
          </a:prstGeom>
          <a:noFill/>
        </p:spPr>
        <p:txBody>
          <a:bodyPr wrap="none" rtlCol="0">
            <a:spAutoFit/>
          </a:bodyPr>
          <a:lstStyle/>
          <a:p>
            <a:pPr algn="r" defTabSz="685800"/>
            <a:r>
              <a:rPr lang="en-US" sz="1000">
                <a:solidFill>
                  <a:prstClr val="black">
                    <a:lumMod val="75000"/>
                    <a:lumOff val="25000"/>
                  </a:prstClr>
                </a:solidFill>
                <a:latin typeface="Arial" panose="020B0604020202020204" pitchFamily="34" charset="0"/>
                <a:cs typeface="Arial" panose="020B0604020202020204" pitchFamily="34" charset="0"/>
              </a:rPr>
              <a:t>50</a:t>
            </a:r>
          </a:p>
        </p:txBody>
      </p:sp>
      <p:sp>
        <p:nvSpPr>
          <p:cNvPr id="164" name="TextBox 163">
            <a:extLst>
              <a:ext uri="{FF2B5EF4-FFF2-40B4-BE49-F238E27FC236}">
                <a16:creationId xmlns:a16="http://schemas.microsoft.com/office/drawing/2014/main" id="{39E8AF91-639D-4809-B65D-F7EC89D83D46}"/>
              </a:ext>
            </a:extLst>
          </p:cNvPr>
          <p:cNvSpPr txBox="1"/>
          <p:nvPr/>
        </p:nvSpPr>
        <p:spPr>
          <a:xfrm>
            <a:off x="4996547" y="4050272"/>
            <a:ext cx="255199" cy="246221"/>
          </a:xfrm>
          <a:prstGeom prst="rect">
            <a:avLst/>
          </a:prstGeom>
          <a:noFill/>
        </p:spPr>
        <p:txBody>
          <a:bodyPr wrap="none" rtlCol="0">
            <a:spAutoFit/>
          </a:bodyPr>
          <a:lstStyle/>
          <a:p>
            <a:pPr algn="r" defTabSz="685800"/>
            <a:r>
              <a:rPr lang="en-US" sz="1000">
                <a:solidFill>
                  <a:prstClr val="black">
                    <a:lumMod val="75000"/>
                    <a:lumOff val="25000"/>
                  </a:prstClr>
                </a:solidFill>
                <a:latin typeface="Arial" panose="020B0604020202020204" pitchFamily="34" charset="0"/>
                <a:cs typeface="Arial" panose="020B0604020202020204" pitchFamily="34" charset="0"/>
              </a:rPr>
              <a:t>0</a:t>
            </a:r>
          </a:p>
        </p:txBody>
      </p:sp>
      <p:sp>
        <p:nvSpPr>
          <p:cNvPr id="165" name="TextBox 164">
            <a:extLst>
              <a:ext uri="{FF2B5EF4-FFF2-40B4-BE49-F238E27FC236}">
                <a16:creationId xmlns:a16="http://schemas.microsoft.com/office/drawing/2014/main" id="{BBD8DBBD-C4A0-49D4-9B6B-2B21B5764E1B}"/>
              </a:ext>
            </a:extLst>
          </p:cNvPr>
          <p:cNvSpPr txBox="1"/>
          <p:nvPr/>
        </p:nvSpPr>
        <p:spPr>
          <a:xfrm>
            <a:off x="5783538" y="4181808"/>
            <a:ext cx="325731"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12</a:t>
            </a:r>
          </a:p>
        </p:txBody>
      </p:sp>
      <p:sp>
        <p:nvSpPr>
          <p:cNvPr id="166" name="TextBox 165">
            <a:extLst>
              <a:ext uri="{FF2B5EF4-FFF2-40B4-BE49-F238E27FC236}">
                <a16:creationId xmlns:a16="http://schemas.microsoft.com/office/drawing/2014/main" id="{408D73C5-4D75-4B53-8D4B-17E1B17B078F}"/>
              </a:ext>
            </a:extLst>
          </p:cNvPr>
          <p:cNvSpPr txBox="1"/>
          <p:nvPr/>
        </p:nvSpPr>
        <p:spPr>
          <a:xfrm>
            <a:off x="6460410" y="4181808"/>
            <a:ext cx="325731"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24</a:t>
            </a:r>
          </a:p>
        </p:txBody>
      </p:sp>
      <p:sp>
        <p:nvSpPr>
          <p:cNvPr id="167" name="TextBox 166">
            <a:extLst>
              <a:ext uri="{FF2B5EF4-FFF2-40B4-BE49-F238E27FC236}">
                <a16:creationId xmlns:a16="http://schemas.microsoft.com/office/drawing/2014/main" id="{AF27F4AA-E051-4177-B9AF-F08D6975C2D0}"/>
              </a:ext>
            </a:extLst>
          </p:cNvPr>
          <p:cNvSpPr txBox="1"/>
          <p:nvPr/>
        </p:nvSpPr>
        <p:spPr>
          <a:xfrm>
            <a:off x="7137282" y="4181808"/>
            <a:ext cx="325731"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36</a:t>
            </a:r>
          </a:p>
        </p:txBody>
      </p:sp>
      <p:sp>
        <p:nvSpPr>
          <p:cNvPr id="168" name="TextBox 167">
            <a:extLst>
              <a:ext uri="{FF2B5EF4-FFF2-40B4-BE49-F238E27FC236}">
                <a16:creationId xmlns:a16="http://schemas.microsoft.com/office/drawing/2014/main" id="{3E11A81F-27A3-41A9-AF2D-4829E65F3EB3}"/>
              </a:ext>
            </a:extLst>
          </p:cNvPr>
          <p:cNvSpPr txBox="1"/>
          <p:nvPr/>
        </p:nvSpPr>
        <p:spPr>
          <a:xfrm>
            <a:off x="7814155" y="4181808"/>
            <a:ext cx="325731"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48</a:t>
            </a:r>
          </a:p>
        </p:txBody>
      </p:sp>
      <p:sp>
        <p:nvSpPr>
          <p:cNvPr id="169" name="TextBox 168">
            <a:extLst>
              <a:ext uri="{FF2B5EF4-FFF2-40B4-BE49-F238E27FC236}">
                <a16:creationId xmlns:a16="http://schemas.microsoft.com/office/drawing/2014/main" id="{9BCAB3C4-3922-445D-9090-BF76E0B1994A}"/>
              </a:ext>
            </a:extLst>
          </p:cNvPr>
          <p:cNvSpPr txBox="1"/>
          <p:nvPr/>
        </p:nvSpPr>
        <p:spPr>
          <a:xfrm>
            <a:off x="1630603" y="4373613"/>
            <a:ext cx="1561646"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Months from registration</a:t>
            </a:r>
          </a:p>
        </p:txBody>
      </p:sp>
      <p:sp>
        <p:nvSpPr>
          <p:cNvPr id="170" name="TextBox 169">
            <a:extLst>
              <a:ext uri="{FF2B5EF4-FFF2-40B4-BE49-F238E27FC236}">
                <a16:creationId xmlns:a16="http://schemas.microsoft.com/office/drawing/2014/main" id="{E8067476-2B0B-4A22-9795-6A28C18E307C}"/>
              </a:ext>
            </a:extLst>
          </p:cNvPr>
          <p:cNvSpPr txBox="1"/>
          <p:nvPr/>
        </p:nvSpPr>
        <p:spPr>
          <a:xfrm>
            <a:off x="5844722" y="4375509"/>
            <a:ext cx="1561646" cy="246221"/>
          </a:xfrm>
          <a:prstGeom prst="rect">
            <a:avLst/>
          </a:prstGeom>
          <a:noFill/>
        </p:spPr>
        <p:txBody>
          <a:bodyPr wrap="none" rtlCol="0">
            <a:spAutoFit/>
          </a:bodyPr>
          <a:lstStyle/>
          <a:p>
            <a:pPr algn="ctr" defTabSz="685800"/>
            <a:r>
              <a:rPr lang="en-US" sz="1000">
                <a:solidFill>
                  <a:prstClr val="black">
                    <a:lumMod val="75000"/>
                    <a:lumOff val="25000"/>
                  </a:prstClr>
                </a:solidFill>
                <a:latin typeface="Arial" panose="020B0604020202020204" pitchFamily="34" charset="0"/>
                <a:cs typeface="Arial" panose="020B0604020202020204" pitchFamily="34" charset="0"/>
              </a:rPr>
              <a:t>Months from registration</a:t>
            </a:r>
          </a:p>
        </p:txBody>
      </p:sp>
      <p:sp>
        <p:nvSpPr>
          <p:cNvPr id="172" name="TextBox 171">
            <a:extLst>
              <a:ext uri="{FF2B5EF4-FFF2-40B4-BE49-F238E27FC236}">
                <a16:creationId xmlns:a16="http://schemas.microsoft.com/office/drawing/2014/main" id="{AF8CA7EC-01D8-4048-9A9A-ABE217F272D4}"/>
              </a:ext>
            </a:extLst>
          </p:cNvPr>
          <p:cNvSpPr txBox="1"/>
          <p:nvPr/>
        </p:nvSpPr>
        <p:spPr>
          <a:xfrm>
            <a:off x="1029311" y="2157167"/>
            <a:ext cx="1300356" cy="246221"/>
          </a:xfrm>
          <a:prstGeom prst="rect">
            <a:avLst/>
          </a:prstGeom>
          <a:noFill/>
        </p:spPr>
        <p:txBody>
          <a:bodyPr wrap="none" rtlCol="0">
            <a:spAutoFit/>
          </a:bodyPr>
          <a:lstStyle/>
          <a:p>
            <a:pPr defTabSz="685800"/>
            <a:r>
              <a:rPr lang="en-US" sz="1000" b="1" i="1">
                <a:solidFill>
                  <a:prstClr val="black">
                    <a:lumMod val="75000"/>
                    <a:lumOff val="25000"/>
                  </a:prstClr>
                </a:solidFill>
                <a:latin typeface="Arial" panose="020B0604020202020204" pitchFamily="34" charset="0"/>
                <a:cs typeface="Arial" panose="020B0604020202020204" pitchFamily="34" charset="0"/>
              </a:rPr>
              <a:t>CRAB criteria PFS</a:t>
            </a:r>
          </a:p>
        </p:txBody>
      </p:sp>
      <p:sp>
        <p:nvSpPr>
          <p:cNvPr id="173" name="TextBox 172">
            <a:extLst>
              <a:ext uri="{FF2B5EF4-FFF2-40B4-BE49-F238E27FC236}">
                <a16:creationId xmlns:a16="http://schemas.microsoft.com/office/drawing/2014/main" id="{A1757AE5-46D7-4AC4-BBFE-D179AB2ED4D3}"/>
              </a:ext>
            </a:extLst>
          </p:cNvPr>
          <p:cNvSpPr txBox="1"/>
          <p:nvPr/>
        </p:nvSpPr>
        <p:spPr>
          <a:xfrm>
            <a:off x="1104103" y="3357981"/>
            <a:ext cx="2333516" cy="707886"/>
          </a:xfrm>
          <a:prstGeom prst="rect">
            <a:avLst/>
          </a:prstGeom>
          <a:noFill/>
        </p:spPr>
        <p:txBody>
          <a:bodyPr wrap="square" rtlCol="0">
            <a:spAutoFit/>
          </a:bodyPr>
          <a:lstStyle/>
          <a:p>
            <a:pPr defTabSz="685800"/>
            <a:r>
              <a:rPr lang="en-US" sz="1000" b="1">
                <a:solidFill>
                  <a:prstClr val="black">
                    <a:lumMod val="75000"/>
                    <a:lumOff val="25000"/>
                  </a:prstClr>
                </a:solidFill>
                <a:latin typeface="Arial" panose="020B0604020202020204" pitchFamily="34" charset="0"/>
                <a:cs typeface="Arial" panose="020B0604020202020204" pitchFamily="34" charset="0"/>
              </a:rPr>
              <a:t>PFS</a:t>
            </a:r>
          </a:p>
          <a:p>
            <a:pPr defTabSz="685800"/>
            <a:r>
              <a:rPr lang="en-US" sz="1000">
                <a:solidFill>
                  <a:prstClr val="black">
                    <a:lumMod val="75000"/>
                    <a:lumOff val="25000"/>
                  </a:prstClr>
                </a:solidFill>
                <a:latin typeface="Arial" panose="020B0604020202020204" pitchFamily="34" charset="0"/>
                <a:cs typeface="Arial" panose="020B0604020202020204" pitchFamily="34" charset="0"/>
              </a:rPr>
              <a:t>12-month: 100%</a:t>
            </a:r>
          </a:p>
          <a:p>
            <a:pPr defTabSz="685800"/>
            <a:r>
              <a:rPr lang="en-US" sz="1000">
                <a:solidFill>
                  <a:prstClr val="black">
                    <a:lumMod val="75000"/>
                    <a:lumOff val="25000"/>
                  </a:prstClr>
                </a:solidFill>
                <a:latin typeface="Arial" panose="020B0604020202020204" pitchFamily="34" charset="0"/>
                <a:cs typeface="Arial" panose="020B0604020202020204" pitchFamily="34" charset="0"/>
              </a:rPr>
              <a:t>24-month: 98%</a:t>
            </a:r>
          </a:p>
          <a:p>
            <a:pPr defTabSz="685800"/>
            <a:r>
              <a:rPr lang="en-US" sz="1000">
                <a:solidFill>
                  <a:prstClr val="black">
                    <a:lumMod val="75000"/>
                    <a:lumOff val="25000"/>
                  </a:prstClr>
                </a:solidFill>
                <a:latin typeface="Arial" panose="020B0604020202020204" pitchFamily="34" charset="0"/>
                <a:cs typeface="Arial" panose="020B0604020202020204" pitchFamily="34" charset="0"/>
              </a:rPr>
              <a:t>48-month: 89%</a:t>
            </a:r>
          </a:p>
        </p:txBody>
      </p:sp>
      <p:sp>
        <p:nvSpPr>
          <p:cNvPr id="174" name="TextBox 173">
            <a:extLst>
              <a:ext uri="{FF2B5EF4-FFF2-40B4-BE49-F238E27FC236}">
                <a16:creationId xmlns:a16="http://schemas.microsoft.com/office/drawing/2014/main" id="{659B2A5F-1A62-4CB3-A8A6-A35B30417183}"/>
              </a:ext>
            </a:extLst>
          </p:cNvPr>
          <p:cNvSpPr txBox="1"/>
          <p:nvPr/>
        </p:nvSpPr>
        <p:spPr>
          <a:xfrm>
            <a:off x="5216457" y="2141217"/>
            <a:ext cx="1821332" cy="246221"/>
          </a:xfrm>
          <a:prstGeom prst="rect">
            <a:avLst/>
          </a:prstGeom>
          <a:noFill/>
        </p:spPr>
        <p:txBody>
          <a:bodyPr wrap="none" rtlCol="0">
            <a:spAutoFit/>
          </a:bodyPr>
          <a:lstStyle/>
          <a:p>
            <a:pPr defTabSz="685800"/>
            <a:r>
              <a:rPr lang="en-US" sz="1000" b="1" i="1">
                <a:solidFill>
                  <a:prstClr val="black">
                    <a:lumMod val="75000"/>
                    <a:lumOff val="25000"/>
                  </a:prstClr>
                </a:solidFill>
                <a:latin typeface="Arial" panose="020B0604020202020204" pitchFamily="34" charset="0"/>
                <a:cs typeface="Arial" panose="020B0604020202020204" pitchFamily="34" charset="0"/>
              </a:rPr>
              <a:t>DNA repair, MAPK, or MYC</a:t>
            </a:r>
          </a:p>
        </p:txBody>
      </p:sp>
    </p:spTree>
    <p:extLst>
      <p:ext uri="{BB962C8B-B14F-4D97-AF65-F5344CB8AC3E}">
        <p14:creationId xmlns:p14="http://schemas.microsoft.com/office/powerpoint/2010/main" val="35485175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22" name="Rectangle 2">
            <a:extLst>
              <a:ext uri="{FF2B5EF4-FFF2-40B4-BE49-F238E27FC236}">
                <a16:creationId xmlns:a16="http://schemas.microsoft.com/office/drawing/2014/main" id="{AAF8B09E-E895-3544-B49C-7B07A77CD679}"/>
              </a:ext>
            </a:extLst>
          </p:cNvPr>
          <p:cNvSpPr>
            <a:spLocks noGrp="1" noChangeArrowheads="1"/>
          </p:cNvSpPr>
          <p:nvPr>
            <p:ph type="title"/>
          </p:nvPr>
        </p:nvSpPr>
        <p:spPr>
          <a:xfrm>
            <a:off x="337279" y="62558"/>
            <a:ext cx="8229600" cy="508295"/>
          </a:xfrm>
        </p:spPr>
        <p:txBody>
          <a:bodyPr>
            <a:normAutofit/>
          </a:bodyPr>
          <a:lstStyle/>
          <a:p>
            <a:pPr>
              <a:defRPr/>
            </a:pPr>
            <a:r>
              <a:rPr lang="en-US" altLang="en-US" sz="2400" b="1" dirty="0">
                <a:solidFill>
                  <a:srgbClr val="0070C0"/>
                </a:solidFill>
                <a:latin typeface="Arial" panose="020B0604020202020204" pitchFamily="34" charset="0"/>
                <a:ea typeface="+mn-ea"/>
                <a:cs typeface="Arial" panose="020B0604020202020204" pitchFamily="34" charset="0"/>
              </a:rPr>
              <a:t>Smoldering MM</a:t>
            </a:r>
          </a:p>
        </p:txBody>
      </p:sp>
      <p:sp>
        <p:nvSpPr>
          <p:cNvPr id="44034" name="Text Box 3">
            <a:extLst>
              <a:ext uri="{FF2B5EF4-FFF2-40B4-BE49-F238E27FC236}">
                <a16:creationId xmlns:a16="http://schemas.microsoft.com/office/drawing/2014/main" id="{7E718819-B2FA-A34F-ACC2-44518388085F}"/>
              </a:ext>
            </a:extLst>
          </p:cNvPr>
          <p:cNvSpPr txBox="1">
            <a:spLocks noChangeArrowheads="1"/>
          </p:cNvSpPr>
          <p:nvPr/>
        </p:nvSpPr>
        <p:spPr bwMode="auto">
          <a:xfrm>
            <a:off x="2571071" y="4406443"/>
            <a:ext cx="38576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nchor="ctr">
            <a:spAutoFit/>
          </a:bodyPr>
          <a:lstStyle>
            <a:lvl1pPr>
              <a:defRPr sz="2400" b="1">
                <a:solidFill>
                  <a:schemeClr val="tx1"/>
                </a:solidFill>
                <a:latin typeface="Arial" panose="020B0604020202020204" pitchFamily="34" charset="0"/>
                <a:ea typeface="MS PGothic" panose="020B0600070205080204" pitchFamily="34" charset="-128"/>
              </a:defRPr>
            </a:lvl1pPr>
            <a:lvl2pPr marL="742950" indent="-285750">
              <a:defRPr sz="2400" b="1">
                <a:solidFill>
                  <a:schemeClr val="tx1"/>
                </a:solidFill>
                <a:latin typeface="Arial" panose="020B0604020202020204" pitchFamily="34" charset="0"/>
                <a:ea typeface="MS PGothic" panose="020B0600070205080204" pitchFamily="34" charset="-128"/>
              </a:defRPr>
            </a:lvl2pPr>
            <a:lvl3pPr marL="1143000" indent="-228600">
              <a:defRPr sz="2400" b="1">
                <a:solidFill>
                  <a:schemeClr val="tx1"/>
                </a:solidFill>
                <a:latin typeface="Arial" panose="020B0604020202020204" pitchFamily="34" charset="0"/>
                <a:ea typeface="MS PGothic" panose="020B0600070205080204" pitchFamily="34" charset="-128"/>
              </a:defRPr>
            </a:lvl3pPr>
            <a:lvl4pPr marL="1600200" indent="-228600">
              <a:defRPr sz="2400" b="1">
                <a:solidFill>
                  <a:schemeClr val="tx1"/>
                </a:solidFill>
                <a:latin typeface="Arial" panose="020B0604020202020204" pitchFamily="34" charset="0"/>
                <a:ea typeface="MS PGothic" panose="020B0600070205080204" pitchFamily="34" charset="-128"/>
              </a:defRPr>
            </a:lvl4pPr>
            <a:lvl5pPr marL="2057400" indent="-22860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algn="ctr" fontAlgn="base">
              <a:spcBef>
                <a:spcPct val="0"/>
              </a:spcBef>
              <a:spcAft>
                <a:spcPct val="0"/>
              </a:spcAft>
            </a:pPr>
            <a:r>
              <a:rPr lang="en-US" altLang="en-US" sz="1200" dirty="0">
                <a:cs typeface="Arial"/>
              </a:rPr>
              <a:t>PI: Natalie </a:t>
            </a:r>
            <a:r>
              <a:rPr lang="en-US" altLang="en-US" sz="1200" dirty="0" err="1">
                <a:cs typeface="Arial"/>
              </a:rPr>
              <a:t>Callander</a:t>
            </a:r>
            <a:r>
              <a:rPr lang="en-US" altLang="en-US" sz="1200" dirty="0">
                <a:cs typeface="Arial"/>
              </a:rPr>
              <a:t>                                                                                      (Activated April 30, 2019)</a:t>
            </a:r>
          </a:p>
        </p:txBody>
      </p:sp>
      <p:sp>
        <p:nvSpPr>
          <p:cNvPr id="1105924" name="Rectangle 4">
            <a:extLst>
              <a:ext uri="{FF2B5EF4-FFF2-40B4-BE49-F238E27FC236}">
                <a16:creationId xmlns:a16="http://schemas.microsoft.com/office/drawing/2014/main" id="{022AED8A-56E5-1B48-BCB9-BFBBEF8CD97E}"/>
              </a:ext>
            </a:extLst>
          </p:cNvPr>
          <p:cNvSpPr>
            <a:spLocks noChangeArrowheads="1"/>
          </p:cNvSpPr>
          <p:nvPr/>
        </p:nvSpPr>
        <p:spPr bwMode="auto">
          <a:xfrm>
            <a:off x="964306" y="685851"/>
            <a:ext cx="6790544" cy="703660"/>
          </a:xfrm>
          <a:prstGeom prst="rect">
            <a:avLst/>
          </a:prstGeom>
          <a:noFill/>
          <a:ln>
            <a:noFill/>
          </a:ln>
          <a:effectLst>
            <a:outerShdw blurRad="63500" dist="38099" dir="2700000" algn="ctr" rotWithShape="0">
              <a:schemeClr val="bg2">
                <a:alpha val="75000"/>
              </a:schemeClr>
            </a:outerShdw>
          </a:effectLst>
        </p:spPr>
        <p:txBody>
          <a:bodyPr lIns="38100" tIns="38100" rIns="106680" bIns="38100"/>
          <a:lstStyle>
            <a:lvl1pPr marL="288925" indent="-288925">
              <a:defRPr sz="2400" b="1">
                <a:solidFill>
                  <a:schemeClr val="tx1"/>
                </a:solidFill>
                <a:latin typeface="Arial" panose="020B0604020202020204" pitchFamily="34" charset="0"/>
                <a:ea typeface="MS PGothic" panose="020B0600070205080204" pitchFamily="34" charset="-128"/>
              </a:defRPr>
            </a:lvl1pPr>
            <a:lvl2pPr marL="742950" indent="-285750">
              <a:defRPr sz="2400" b="1">
                <a:solidFill>
                  <a:schemeClr val="tx1"/>
                </a:solidFill>
                <a:latin typeface="Arial" panose="020B0604020202020204" pitchFamily="34" charset="0"/>
                <a:ea typeface="MS PGothic" panose="020B0600070205080204" pitchFamily="34" charset="-128"/>
              </a:defRPr>
            </a:lvl2pPr>
            <a:lvl3pPr marL="1143000" indent="-228600">
              <a:defRPr sz="2400" b="1">
                <a:solidFill>
                  <a:schemeClr val="tx1"/>
                </a:solidFill>
                <a:latin typeface="Arial" panose="020B0604020202020204" pitchFamily="34" charset="0"/>
                <a:ea typeface="MS PGothic" panose="020B0600070205080204" pitchFamily="34" charset="-128"/>
              </a:defRPr>
            </a:lvl3pPr>
            <a:lvl4pPr marL="1600200" indent="-228600">
              <a:defRPr sz="2400" b="1">
                <a:solidFill>
                  <a:schemeClr val="tx1"/>
                </a:solidFill>
                <a:latin typeface="Arial" panose="020B0604020202020204" pitchFamily="34" charset="0"/>
                <a:ea typeface="MS PGothic" panose="020B0600070205080204" pitchFamily="34" charset="-128"/>
              </a:defRPr>
            </a:lvl4pPr>
            <a:lvl5pPr marL="2057400" indent="-22860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algn="ctr" fontAlgn="base">
              <a:spcBef>
                <a:spcPct val="0"/>
              </a:spcBef>
              <a:spcAft>
                <a:spcPct val="0"/>
              </a:spcAft>
              <a:buClr>
                <a:srgbClr val="FF9900"/>
              </a:buClr>
              <a:defRPr/>
            </a:pPr>
            <a:r>
              <a:rPr lang="en-US" altLang="en-US" sz="1500" dirty="0">
                <a:cs typeface="Arial"/>
              </a:rPr>
              <a:t>EAA173: Phase III – Daratumumab to Enhance Therapeutic Effectiveness of Revlimid in Smoldering Myeloma (DETER-SMM)(PI: NC)</a:t>
            </a:r>
          </a:p>
        </p:txBody>
      </p:sp>
      <p:grpSp>
        <p:nvGrpSpPr>
          <p:cNvPr id="44036" name="Group 5">
            <a:extLst>
              <a:ext uri="{FF2B5EF4-FFF2-40B4-BE49-F238E27FC236}">
                <a16:creationId xmlns:a16="http://schemas.microsoft.com/office/drawing/2014/main" id="{36206A9F-8376-2042-B901-E23D4BE5EE0C}"/>
              </a:ext>
            </a:extLst>
          </p:cNvPr>
          <p:cNvGrpSpPr>
            <a:grpSpLocks/>
          </p:cNvGrpSpPr>
          <p:nvPr/>
        </p:nvGrpSpPr>
        <p:grpSpPr bwMode="auto">
          <a:xfrm>
            <a:off x="2318147" y="1389511"/>
            <a:ext cx="4507706" cy="2958704"/>
            <a:chOff x="404" y="1258"/>
            <a:chExt cx="4979" cy="2485"/>
          </a:xfrm>
        </p:grpSpPr>
        <p:sp>
          <p:nvSpPr>
            <p:cNvPr id="1105926" name="Text Box 6">
              <a:extLst>
                <a:ext uri="{FF2B5EF4-FFF2-40B4-BE49-F238E27FC236}">
                  <a16:creationId xmlns:a16="http://schemas.microsoft.com/office/drawing/2014/main" id="{1BE538EE-B8F0-B94E-BC7C-9872EF213592}"/>
                </a:ext>
              </a:extLst>
            </p:cNvPr>
            <p:cNvSpPr txBox="1">
              <a:spLocks noChangeArrowheads="1"/>
            </p:cNvSpPr>
            <p:nvPr/>
          </p:nvSpPr>
          <p:spPr bwMode="auto">
            <a:xfrm>
              <a:off x="1100" y="2797"/>
              <a:ext cx="905" cy="465"/>
            </a:xfrm>
            <a:prstGeom prst="rect">
              <a:avLst/>
            </a:prstGeom>
            <a:noFill/>
            <a:ln>
              <a:noFill/>
            </a:ln>
            <a:effectLst>
              <a:outerShdw blurRad="63500" dist="38099" dir="2700000" algn="ctr" rotWithShape="0">
                <a:schemeClr val="bg2">
                  <a:alpha val="74997"/>
                </a:schemeClr>
              </a:outerShdw>
            </a:effectLst>
          </p:spPr>
          <p:txBody>
            <a:bodyPr lIns="0" tIns="0" rIns="0" bIns="0" anchor="ctr">
              <a:spAutoFit/>
            </a:bodyPr>
            <a:lstStyle/>
            <a:p>
              <a:pPr eaLnBrk="0" fontAlgn="base" hangingPunct="0">
                <a:spcBef>
                  <a:spcPct val="0"/>
                </a:spcBef>
                <a:spcAft>
                  <a:spcPct val="0"/>
                </a:spcAft>
                <a:defRPr/>
              </a:pPr>
              <a:r>
                <a:rPr lang="en-US" sz="900" b="1" dirty="0">
                  <a:latin typeface="Arial" charset="0"/>
                  <a:ea typeface="Arial"/>
                  <a:cs typeface="Arial"/>
                </a:rPr>
                <a:t>Lenalidomide</a:t>
              </a:r>
            </a:p>
            <a:p>
              <a:pPr eaLnBrk="0" fontAlgn="base" hangingPunct="0">
                <a:spcBef>
                  <a:spcPct val="0"/>
                </a:spcBef>
                <a:spcAft>
                  <a:spcPct val="0"/>
                </a:spcAft>
                <a:defRPr/>
              </a:pPr>
              <a:r>
                <a:rPr lang="en-US" sz="900" b="1" dirty="0">
                  <a:latin typeface="Arial" charset="0"/>
                  <a:ea typeface="Arial"/>
                  <a:cs typeface="Arial"/>
                </a:rPr>
                <a:t>+ Dex x 24 mo; dex stops at 12 mo.</a:t>
              </a:r>
            </a:p>
          </p:txBody>
        </p:sp>
        <p:sp>
          <p:nvSpPr>
            <p:cNvPr id="1105927" name="Text Box 7">
              <a:extLst>
                <a:ext uri="{FF2B5EF4-FFF2-40B4-BE49-F238E27FC236}">
                  <a16:creationId xmlns:a16="http://schemas.microsoft.com/office/drawing/2014/main" id="{2376DF8A-622C-2245-8AED-6AF8C88B1994}"/>
                </a:ext>
              </a:extLst>
            </p:cNvPr>
            <p:cNvSpPr txBox="1">
              <a:spLocks noChangeArrowheads="1"/>
            </p:cNvSpPr>
            <p:nvPr/>
          </p:nvSpPr>
          <p:spPr bwMode="auto">
            <a:xfrm>
              <a:off x="1100" y="1741"/>
              <a:ext cx="949" cy="465"/>
            </a:xfrm>
            <a:prstGeom prst="rect">
              <a:avLst/>
            </a:prstGeom>
            <a:noFill/>
            <a:ln>
              <a:noFill/>
            </a:ln>
            <a:effectLst>
              <a:outerShdw blurRad="63500" dist="38099" dir="2700000" algn="ctr" rotWithShape="0">
                <a:schemeClr val="bg2">
                  <a:alpha val="74997"/>
                </a:schemeClr>
              </a:outerShdw>
            </a:effectLst>
          </p:spPr>
          <p:txBody>
            <a:bodyPr wrap="none" lIns="0" tIns="0" rIns="0" bIns="0" anchor="ctr">
              <a:spAutoFit/>
            </a:bodyPr>
            <a:lstStyle/>
            <a:p>
              <a:pPr eaLnBrk="0" fontAlgn="base" hangingPunct="0">
                <a:spcBef>
                  <a:spcPct val="0"/>
                </a:spcBef>
                <a:spcAft>
                  <a:spcPct val="0"/>
                </a:spcAft>
                <a:defRPr/>
              </a:pPr>
              <a:r>
                <a:rPr lang="en-US" sz="900" b="1" dirty="0">
                  <a:latin typeface="Arial" charset="0"/>
                  <a:ea typeface="Arial"/>
                  <a:cs typeface="Arial"/>
                </a:rPr>
                <a:t>Daratumumab </a:t>
              </a:r>
            </a:p>
            <a:p>
              <a:pPr eaLnBrk="0" fontAlgn="base" hangingPunct="0">
                <a:spcBef>
                  <a:spcPct val="0"/>
                </a:spcBef>
                <a:spcAft>
                  <a:spcPct val="0"/>
                </a:spcAft>
                <a:defRPr/>
              </a:pPr>
              <a:r>
                <a:rPr lang="en-US" sz="900" b="1" dirty="0">
                  <a:latin typeface="Arial" charset="0"/>
                  <a:ea typeface="Arial"/>
                  <a:cs typeface="Arial"/>
                </a:rPr>
                <a:t>+ Lenalidomide</a:t>
              </a:r>
            </a:p>
            <a:p>
              <a:pPr eaLnBrk="0" fontAlgn="base" hangingPunct="0">
                <a:spcBef>
                  <a:spcPct val="0"/>
                </a:spcBef>
                <a:spcAft>
                  <a:spcPct val="0"/>
                </a:spcAft>
                <a:defRPr/>
              </a:pPr>
              <a:r>
                <a:rPr lang="en-US" sz="900" b="1" dirty="0">
                  <a:latin typeface="Arial" charset="0"/>
                  <a:ea typeface="Arial"/>
                  <a:cs typeface="Arial"/>
                </a:rPr>
                <a:t>+ Dex x 24 mo.;</a:t>
              </a:r>
            </a:p>
            <a:p>
              <a:pPr eaLnBrk="0" fontAlgn="base" hangingPunct="0">
                <a:spcBef>
                  <a:spcPct val="0"/>
                </a:spcBef>
                <a:spcAft>
                  <a:spcPct val="0"/>
                </a:spcAft>
                <a:defRPr/>
              </a:pPr>
              <a:r>
                <a:rPr lang="en-US" sz="900" b="1" dirty="0">
                  <a:latin typeface="Arial" charset="0"/>
                  <a:ea typeface="Arial"/>
                  <a:cs typeface="Arial"/>
                </a:rPr>
                <a:t>Dex off at 12mo</a:t>
              </a:r>
            </a:p>
          </p:txBody>
        </p:sp>
        <p:sp>
          <p:nvSpPr>
            <p:cNvPr id="1105928" name="Rectangle 8">
              <a:extLst>
                <a:ext uri="{FF2B5EF4-FFF2-40B4-BE49-F238E27FC236}">
                  <a16:creationId xmlns:a16="http://schemas.microsoft.com/office/drawing/2014/main" id="{4DC2299E-C9B8-8348-968E-6C9626C8C75E}"/>
                </a:ext>
              </a:extLst>
            </p:cNvPr>
            <p:cNvSpPr>
              <a:spLocks noChangeArrowheads="1"/>
            </p:cNvSpPr>
            <p:nvPr/>
          </p:nvSpPr>
          <p:spPr bwMode="auto">
            <a:xfrm>
              <a:off x="2813" y="1808"/>
              <a:ext cx="613" cy="330"/>
            </a:xfrm>
            <a:prstGeom prst="rect">
              <a:avLst/>
            </a:prstGeom>
            <a:noFill/>
            <a:ln>
              <a:noFill/>
            </a:ln>
            <a:effectLst>
              <a:outerShdw blurRad="63500" dist="38099" dir="2700000" algn="ctr" rotWithShape="0">
                <a:schemeClr val="bg2">
                  <a:alpha val="74997"/>
                </a:schemeClr>
              </a:outerShdw>
            </a:effectLst>
          </p:spPr>
          <p:txBody>
            <a:bodyPr wrap="none" lIns="0" tIns="0" rIns="0" bIns="0" anchor="ctr">
              <a:spAutoFit/>
            </a:bodyPr>
            <a:lstStyle/>
            <a:p>
              <a:pPr eaLnBrk="0" fontAlgn="base" hangingPunct="0">
                <a:spcBef>
                  <a:spcPct val="0"/>
                </a:spcBef>
                <a:spcAft>
                  <a:spcPct val="0"/>
                </a:spcAft>
                <a:defRPr/>
              </a:pPr>
              <a:r>
                <a:rPr lang="en-US" sz="1275" b="1" dirty="0">
                  <a:latin typeface="Arial" charset="0"/>
                  <a:ea typeface="Arial"/>
                  <a:cs typeface="Arial"/>
                </a:rPr>
                <a:t>CR/PR/</a:t>
              </a:r>
            </a:p>
            <a:p>
              <a:pPr eaLnBrk="0" fontAlgn="base" hangingPunct="0">
                <a:spcBef>
                  <a:spcPct val="0"/>
                </a:spcBef>
                <a:spcAft>
                  <a:spcPct val="0"/>
                </a:spcAft>
                <a:defRPr/>
              </a:pPr>
              <a:r>
                <a:rPr lang="en-US" sz="1275" b="1" dirty="0">
                  <a:latin typeface="Arial" charset="0"/>
                  <a:ea typeface="Arial"/>
                  <a:cs typeface="Arial"/>
                </a:rPr>
                <a:t>Stable</a:t>
              </a:r>
            </a:p>
          </p:txBody>
        </p:sp>
        <p:sp>
          <p:nvSpPr>
            <p:cNvPr id="1105929" name="Text Box 9">
              <a:extLst>
                <a:ext uri="{FF2B5EF4-FFF2-40B4-BE49-F238E27FC236}">
                  <a16:creationId xmlns:a16="http://schemas.microsoft.com/office/drawing/2014/main" id="{FE58F469-6551-CD4F-83DB-FA4C52F4B965}"/>
                </a:ext>
              </a:extLst>
            </p:cNvPr>
            <p:cNvSpPr txBox="1">
              <a:spLocks noChangeArrowheads="1"/>
            </p:cNvSpPr>
            <p:nvPr/>
          </p:nvSpPr>
          <p:spPr bwMode="auto">
            <a:xfrm>
              <a:off x="2813" y="2854"/>
              <a:ext cx="683" cy="330"/>
            </a:xfrm>
            <a:prstGeom prst="rect">
              <a:avLst/>
            </a:prstGeom>
            <a:noFill/>
            <a:ln>
              <a:noFill/>
            </a:ln>
            <a:effectLst>
              <a:outerShdw blurRad="63500" dist="38099" dir="2700000" algn="ctr" rotWithShape="0">
                <a:schemeClr val="bg2">
                  <a:alpha val="74997"/>
                </a:schemeClr>
              </a:outerShdw>
            </a:effectLst>
          </p:spPr>
          <p:txBody>
            <a:bodyPr wrap="none" lIns="0" tIns="0" rIns="0" bIns="0" anchor="ctr">
              <a:spAutoFit/>
            </a:bodyPr>
            <a:lstStyle/>
            <a:p>
              <a:pPr eaLnBrk="0" fontAlgn="base" hangingPunct="0">
                <a:spcBef>
                  <a:spcPct val="0"/>
                </a:spcBef>
                <a:spcAft>
                  <a:spcPct val="0"/>
                </a:spcAft>
                <a:defRPr/>
              </a:pPr>
              <a:r>
                <a:rPr lang="en-US" sz="1275" b="1" dirty="0">
                  <a:latin typeface="Arial" charset="0"/>
                  <a:ea typeface="Arial"/>
                  <a:cs typeface="Arial"/>
                </a:rPr>
                <a:t>Prog.</a:t>
              </a:r>
            </a:p>
            <a:p>
              <a:pPr eaLnBrk="0" fontAlgn="base" hangingPunct="0">
                <a:spcBef>
                  <a:spcPct val="0"/>
                </a:spcBef>
                <a:spcAft>
                  <a:spcPct val="0"/>
                </a:spcAft>
                <a:defRPr/>
              </a:pPr>
              <a:r>
                <a:rPr lang="en-US" sz="1275" b="1" dirty="0">
                  <a:latin typeface="Arial" charset="0"/>
                  <a:ea typeface="Arial"/>
                  <a:cs typeface="Arial"/>
                </a:rPr>
                <a:t>anytime</a:t>
              </a:r>
            </a:p>
          </p:txBody>
        </p:sp>
        <p:sp>
          <p:nvSpPr>
            <p:cNvPr id="1105930" name="Line 10">
              <a:extLst>
                <a:ext uri="{FF2B5EF4-FFF2-40B4-BE49-F238E27FC236}">
                  <a16:creationId xmlns:a16="http://schemas.microsoft.com/office/drawing/2014/main" id="{A68C8513-C790-4347-913B-7E931F71D33B}"/>
                </a:ext>
              </a:extLst>
            </p:cNvPr>
            <p:cNvSpPr>
              <a:spLocks noChangeShapeType="1"/>
            </p:cNvSpPr>
            <p:nvPr/>
          </p:nvSpPr>
          <p:spPr bwMode="auto">
            <a:xfrm>
              <a:off x="3362" y="1986"/>
              <a:ext cx="648" cy="1"/>
            </a:xfrm>
            <a:prstGeom prst="line">
              <a:avLst/>
            </a:prstGeom>
            <a:noFill/>
            <a:ln w="57150">
              <a:solidFill>
                <a:schemeClr val="folHlink"/>
              </a:solidFill>
              <a:round/>
              <a:headEnd/>
              <a:tailEnd type="triangle" w="med" len="med"/>
            </a:ln>
            <a:effectLst/>
          </p:spPr>
          <p:txBody>
            <a:bodyPr wrap="none" anchor="ctr"/>
            <a:lstStyle/>
            <a:p>
              <a:pPr algn="ctr" fontAlgn="base">
                <a:spcBef>
                  <a:spcPct val="50000"/>
                </a:spcBef>
                <a:spcAft>
                  <a:spcPct val="0"/>
                </a:spcAft>
                <a:defRPr/>
              </a:pPr>
              <a:endParaRPr lang="en-US" b="1" dirty="0">
                <a:effectLst>
                  <a:outerShdw blurRad="38100" dist="38100" dir="2700000" algn="tl">
                    <a:srgbClr val="000000">
                      <a:alpha val="43137"/>
                    </a:srgbClr>
                  </a:outerShdw>
                </a:effectLst>
                <a:latin typeface="Arial" charset="0"/>
                <a:ea typeface="Arial"/>
                <a:cs typeface="Arial"/>
              </a:endParaRPr>
            </a:p>
          </p:txBody>
        </p:sp>
        <p:sp>
          <p:nvSpPr>
            <p:cNvPr id="1105931" name="Line 11">
              <a:extLst>
                <a:ext uri="{FF2B5EF4-FFF2-40B4-BE49-F238E27FC236}">
                  <a16:creationId xmlns:a16="http://schemas.microsoft.com/office/drawing/2014/main" id="{4793A756-6969-9C46-BA73-0E20C4DF3DA6}"/>
                </a:ext>
              </a:extLst>
            </p:cNvPr>
            <p:cNvSpPr>
              <a:spLocks noChangeShapeType="1"/>
            </p:cNvSpPr>
            <p:nvPr/>
          </p:nvSpPr>
          <p:spPr bwMode="auto">
            <a:xfrm>
              <a:off x="3362" y="3007"/>
              <a:ext cx="648" cy="1"/>
            </a:xfrm>
            <a:prstGeom prst="line">
              <a:avLst/>
            </a:prstGeom>
            <a:noFill/>
            <a:ln w="57150">
              <a:solidFill>
                <a:schemeClr val="folHlink"/>
              </a:solidFill>
              <a:round/>
              <a:headEnd/>
              <a:tailEnd type="triangle" w="med" len="med"/>
            </a:ln>
            <a:effectLst/>
          </p:spPr>
          <p:txBody>
            <a:bodyPr wrap="none" anchor="ctr"/>
            <a:lstStyle/>
            <a:p>
              <a:pPr algn="ctr" fontAlgn="base">
                <a:spcBef>
                  <a:spcPct val="50000"/>
                </a:spcBef>
                <a:spcAft>
                  <a:spcPct val="0"/>
                </a:spcAft>
                <a:defRPr/>
              </a:pPr>
              <a:endParaRPr lang="en-US" b="1" dirty="0">
                <a:effectLst>
                  <a:outerShdw blurRad="38100" dist="38100" dir="2700000" algn="tl">
                    <a:srgbClr val="000000">
                      <a:alpha val="43137"/>
                    </a:srgbClr>
                  </a:outerShdw>
                </a:effectLst>
                <a:latin typeface="Arial" charset="0"/>
                <a:ea typeface="Arial"/>
                <a:cs typeface="Arial"/>
              </a:endParaRPr>
            </a:p>
          </p:txBody>
        </p:sp>
        <p:sp>
          <p:nvSpPr>
            <p:cNvPr id="1105932" name="Rectangle 12">
              <a:extLst>
                <a:ext uri="{FF2B5EF4-FFF2-40B4-BE49-F238E27FC236}">
                  <a16:creationId xmlns:a16="http://schemas.microsoft.com/office/drawing/2014/main" id="{1F0562E2-A762-EE43-886E-0D468DDA1E41}"/>
                </a:ext>
              </a:extLst>
            </p:cNvPr>
            <p:cNvSpPr>
              <a:spLocks noChangeArrowheads="1"/>
            </p:cNvSpPr>
            <p:nvPr/>
          </p:nvSpPr>
          <p:spPr bwMode="auto">
            <a:xfrm>
              <a:off x="4078" y="1725"/>
              <a:ext cx="1305" cy="494"/>
            </a:xfrm>
            <a:prstGeom prst="rect">
              <a:avLst/>
            </a:prstGeom>
            <a:noFill/>
            <a:ln>
              <a:noFill/>
            </a:ln>
            <a:effectLst>
              <a:outerShdw blurRad="63500" dist="38099" dir="2700000" algn="ctr" rotWithShape="0">
                <a:schemeClr val="bg2">
                  <a:alpha val="74997"/>
                </a:schemeClr>
              </a:outerShdw>
            </a:effectLst>
          </p:spPr>
          <p:txBody>
            <a:bodyPr lIns="0" tIns="0" rIns="0" bIns="0" anchor="ctr">
              <a:spAutoFit/>
            </a:bodyPr>
            <a:lstStyle/>
            <a:p>
              <a:pPr eaLnBrk="0" fontAlgn="base" hangingPunct="0">
                <a:spcBef>
                  <a:spcPct val="0"/>
                </a:spcBef>
                <a:spcAft>
                  <a:spcPct val="0"/>
                </a:spcAft>
                <a:defRPr/>
              </a:pPr>
              <a:r>
                <a:rPr lang="en-US" sz="1275" b="1" dirty="0">
                  <a:latin typeface="Arial" charset="0"/>
                  <a:ea typeface="Arial"/>
                  <a:cs typeface="Arial"/>
                </a:rPr>
                <a:t>Continue therapy</a:t>
              </a:r>
            </a:p>
            <a:p>
              <a:pPr eaLnBrk="0" fontAlgn="base" hangingPunct="0">
                <a:spcBef>
                  <a:spcPct val="0"/>
                </a:spcBef>
                <a:spcAft>
                  <a:spcPct val="0"/>
                </a:spcAft>
                <a:defRPr/>
              </a:pPr>
              <a:r>
                <a:rPr lang="en-US" sz="1275" b="1" dirty="0">
                  <a:latin typeface="Arial" charset="0"/>
                  <a:ea typeface="Arial"/>
                  <a:cs typeface="Arial"/>
                </a:rPr>
                <a:t>For 2 years</a:t>
              </a:r>
            </a:p>
          </p:txBody>
        </p:sp>
        <p:sp>
          <p:nvSpPr>
            <p:cNvPr id="1105933" name="Rectangle 13">
              <a:extLst>
                <a:ext uri="{FF2B5EF4-FFF2-40B4-BE49-F238E27FC236}">
                  <a16:creationId xmlns:a16="http://schemas.microsoft.com/office/drawing/2014/main" id="{5E0E1094-FF84-344E-A6D2-42596FF777C1}"/>
                </a:ext>
              </a:extLst>
            </p:cNvPr>
            <p:cNvSpPr>
              <a:spLocks noChangeArrowheads="1"/>
            </p:cNvSpPr>
            <p:nvPr/>
          </p:nvSpPr>
          <p:spPr bwMode="auto">
            <a:xfrm>
              <a:off x="4078" y="2864"/>
              <a:ext cx="504" cy="330"/>
            </a:xfrm>
            <a:prstGeom prst="rect">
              <a:avLst/>
            </a:prstGeom>
            <a:noFill/>
            <a:ln>
              <a:noFill/>
            </a:ln>
            <a:effectLst>
              <a:outerShdw blurRad="63500" dist="38099" dir="2700000" algn="ctr" rotWithShape="0">
                <a:schemeClr val="bg2">
                  <a:alpha val="74997"/>
                </a:schemeClr>
              </a:outerShdw>
            </a:effectLst>
          </p:spPr>
          <p:txBody>
            <a:bodyPr lIns="0" tIns="0" rIns="0" bIns="0" anchor="ctr">
              <a:spAutoFit/>
            </a:bodyPr>
            <a:lstStyle/>
            <a:p>
              <a:pPr eaLnBrk="0" fontAlgn="base" hangingPunct="0">
                <a:spcBef>
                  <a:spcPct val="0"/>
                </a:spcBef>
                <a:spcAft>
                  <a:spcPct val="0"/>
                </a:spcAft>
                <a:defRPr/>
              </a:pPr>
              <a:r>
                <a:rPr lang="en-US" sz="1275" b="1" dirty="0">
                  <a:latin typeface="Arial" charset="0"/>
                  <a:ea typeface="Arial"/>
                  <a:cs typeface="Arial"/>
                </a:rPr>
                <a:t>Off Rx</a:t>
              </a:r>
            </a:p>
          </p:txBody>
        </p:sp>
        <p:grpSp>
          <p:nvGrpSpPr>
            <p:cNvPr id="44046" name="Group 14">
              <a:extLst>
                <a:ext uri="{FF2B5EF4-FFF2-40B4-BE49-F238E27FC236}">
                  <a16:creationId xmlns:a16="http://schemas.microsoft.com/office/drawing/2014/main" id="{43A34A8D-4D44-6443-BC32-B2A11D30038A}"/>
                </a:ext>
              </a:extLst>
            </p:cNvPr>
            <p:cNvGrpSpPr>
              <a:grpSpLocks/>
            </p:cNvGrpSpPr>
            <p:nvPr/>
          </p:nvGrpSpPr>
          <p:grpSpPr bwMode="auto">
            <a:xfrm>
              <a:off x="624" y="1984"/>
              <a:ext cx="414" cy="1034"/>
              <a:chOff x="589" y="2030"/>
              <a:chExt cx="414" cy="1034"/>
            </a:xfrm>
          </p:grpSpPr>
          <p:sp>
            <p:nvSpPr>
              <p:cNvPr id="1105935" name="Line 15">
                <a:extLst>
                  <a:ext uri="{FF2B5EF4-FFF2-40B4-BE49-F238E27FC236}">
                    <a16:creationId xmlns:a16="http://schemas.microsoft.com/office/drawing/2014/main" id="{721D4509-E0AA-7647-9923-21758C2EB3A9}"/>
                  </a:ext>
                </a:extLst>
              </p:cNvPr>
              <p:cNvSpPr>
                <a:spLocks noChangeShapeType="1"/>
              </p:cNvSpPr>
              <p:nvPr/>
            </p:nvSpPr>
            <p:spPr bwMode="auto">
              <a:xfrm>
                <a:off x="603" y="2669"/>
                <a:ext cx="397" cy="395"/>
              </a:xfrm>
              <a:prstGeom prst="line">
                <a:avLst/>
              </a:prstGeom>
              <a:noFill/>
              <a:ln w="57150">
                <a:solidFill>
                  <a:schemeClr val="folHlink"/>
                </a:solidFill>
                <a:round/>
                <a:headEnd/>
                <a:tailEnd type="triangle" w="med" len="med"/>
              </a:ln>
              <a:effectLst/>
            </p:spPr>
            <p:txBody>
              <a:bodyPr wrap="none" anchor="ctr"/>
              <a:lstStyle/>
              <a:p>
                <a:pPr algn="ctr" fontAlgn="base">
                  <a:spcBef>
                    <a:spcPct val="50000"/>
                  </a:spcBef>
                  <a:spcAft>
                    <a:spcPct val="0"/>
                  </a:spcAft>
                  <a:defRPr/>
                </a:pPr>
                <a:endParaRPr lang="en-US" b="1" dirty="0">
                  <a:effectLst>
                    <a:outerShdw blurRad="38100" dist="38100" dir="2700000" algn="tl">
                      <a:srgbClr val="000000">
                        <a:alpha val="43137"/>
                      </a:srgbClr>
                    </a:outerShdw>
                  </a:effectLst>
                  <a:latin typeface="Arial" charset="0"/>
                  <a:ea typeface="Arial"/>
                  <a:cs typeface="Arial"/>
                </a:endParaRPr>
              </a:p>
            </p:txBody>
          </p:sp>
          <p:sp>
            <p:nvSpPr>
              <p:cNvPr id="1105936" name="Line 16">
                <a:extLst>
                  <a:ext uri="{FF2B5EF4-FFF2-40B4-BE49-F238E27FC236}">
                    <a16:creationId xmlns:a16="http://schemas.microsoft.com/office/drawing/2014/main" id="{7855A714-2977-BE40-B9D2-82693A2319E0}"/>
                  </a:ext>
                </a:extLst>
              </p:cNvPr>
              <p:cNvSpPr>
                <a:spLocks noChangeShapeType="1"/>
              </p:cNvSpPr>
              <p:nvPr/>
            </p:nvSpPr>
            <p:spPr bwMode="auto">
              <a:xfrm flipV="1">
                <a:off x="589" y="2030"/>
                <a:ext cx="413" cy="417"/>
              </a:xfrm>
              <a:prstGeom prst="line">
                <a:avLst/>
              </a:prstGeom>
              <a:noFill/>
              <a:ln w="57150">
                <a:solidFill>
                  <a:schemeClr val="folHlink"/>
                </a:solidFill>
                <a:round/>
                <a:headEnd/>
                <a:tailEnd type="triangle" w="med" len="med"/>
              </a:ln>
              <a:effectLst/>
            </p:spPr>
            <p:txBody>
              <a:bodyPr wrap="none" anchor="ctr"/>
              <a:lstStyle/>
              <a:p>
                <a:pPr algn="ctr" fontAlgn="base">
                  <a:spcBef>
                    <a:spcPct val="50000"/>
                  </a:spcBef>
                  <a:spcAft>
                    <a:spcPct val="0"/>
                  </a:spcAft>
                  <a:defRPr/>
                </a:pPr>
                <a:endParaRPr lang="en-US" b="1" dirty="0">
                  <a:effectLst>
                    <a:outerShdw blurRad="38100" dist="38100" dir="2700000" algn="tl">
                      <a:srgbClr val="000000">
                        <a:alpha val="43137"/>
                      </a:srgbClr>
                    </a:outerShdw>
                  </a:effectLst>
                  <a:latin typeface="Arial" charset="0"/>
                  <a:ea typeface="Arial"/>
                  <a:cs typeface="Arial"/>
                </a:endParaRPr>
              </a:p>
            </p:txBody>
          </p:sp>
        </p:grpSp>
        <p:grpSp>
          <p:nvGrpSpPr>
            <p:cNvPr id="44047" name="Group 17">
              <a:extLst>
                <a:ext uri="{FF2B5EF4-FFF2-40B4-BE49-F238E27FC236}">
                  <a16:creationId xmlns:a16="http://schemas.microsoft.com/office/drawing/2014/main" id="{0CDF8A48-FDA2-1448-B9C7-0811F1F6202A}"/>
                </a:ext>
              </a:extLst>
            </p:cNvPr>
            <p:cNvGrpSpPr>
              <a:grpSpLocks/>
            </p:cNvGrpSpPr>
            <p:nvPr/>
          </p:nvGrpSpPr>
          <p:grpSpPr bwMode="auto">
            <a:xfrm>
              <a:off x="2131" y="1958"/>
              <a:ext cx="632" cy="1085"/>
              <a:chOff x="2096" y="2210"/>
              <a:chExt cx="632" cy="1085"/>
            </a:xfrm>
          </p:grpSpPr>
          <p:grpSp>
            <p:nvGrpSpPr>
              <p:cNvPr id="44049" name="Group 18">
                <a:extLst>
                  <a:ext uri="{FF2B5EF4-FFF2-40B4-BE49-F238E27FC236}">
                    <a16:creationId xmlns:a16="http://schemas.microsoft.com/office/drawing/2014/main" id="{059340E8-672B-F74A-BEA8-00E6D91D13D0}"/>
                  </a:ext>
                </a:extLst>
              </p:cNvPr>
              <p:cNvGrpSpPr>
                <a:grpSpLocks/>
              </p:cNvGrpSpPr>
              <p:nvPr/>
            </p:nvGrpSpPr>
            <p:grpSpPr bwMode="auto">
              <a:xfrm>
                <a:off x="2215" y="2236"/>
                <a:ext cx="513" cy="1034"/>
                <a:chOff x="2215" y="2223"/>
                <a:chExt cx="513" cy="1034"/>
              </a:xfrm>
            </p:grpSpPr>
            <p:sp>
              <p:nvSpPr>
                <p:cNvPr id="1105939" name="Line 19">
                  <a:extLst>
                    <a:ext uri="{FF2B5EF4-FFF2-40B4-BE49-F238E27FC236}">
                      <a16:creationId xmlns:a16="http://schemas.microsoft.com/office/drawing/2014/main" id="{3F322526-3ADA-0243-B684-0C06F7D5D527}"/>
                    </a:ext>
                  </a:extLst>
                </p:cNvPr>
                <p:cNvSpPr>
                  <a:spLocks noChangeShapeType="1"/>
                </p:cNvSpPr>
                <p:nvPr/>
              </p:nvSpPr>
              <p:spPr bwMode="auto">
                <a:xfrm>
                  <a:off x="2214" y="2748"/>
                  <a:ext cx="512" cy="509"/>
                </a:xfrm>
                <a:prstGeom prst="line">
                  <a:avLst/>
                </a:prstGeom>
                <a:noFill/>
                <a:ln w="57150">
                  <a:solidFill>
                    <a:schemeClr val="folHlink"/>
                  </a:solidFill>
                  <a:round/>
                  <a:headEnd/>
                  <a:tailEnd type="triangle" w="med" len="med"/>
                </a:ln>
                <a:effectLst/>
              </p:spPr>
              <p:txBody>
                <a:bodyPr wrap="none" anchor="ctr"/>
                <a:lstStyle/>
                <a:p>
                  <a:pPr algn="ctr" fontAlgn="base">
                    <a:spcBef>
                      <a:spcPct val="50000"/>
                    </a:spcBef>
                    <a:spcAft>
                      <a:spcPct val="0"/>
                    </a:spcAft>
                    <a:defRPr/>
                  </a:pPr>
                  <a:endParaRPr lang="en-US" b="1" dirty="0">
                    <a:effectLst>
                      <a:outerShdw blurRad="38100" dist="38100" dir="2700000" algn="tl">
                        <a:srgbClr val="000000">
                          <a:alpha val="43137"/>
                        </a:srgbClr>
                      </a:outerShdw>
                    </a:effectLst>
                    <a:latin typeface="Arial" charset="0"/>
                    <a:ea typeface="Arial"/>
                    <a:cs typeface="Arial"/>
                  </a:endParaRPr>
                </a:p>
              </p:txBody>
            </p:sp>
            <p:sp>
              <p:nvSpPr>
                <p:cNvPr id="1105940" name="Line 20">
                  <a:extLst>
                    <a:ext uri="{FF2B5EF4-FFF2-40B4-BE49-F238E27FC236}">
                      <a16:creationId xmlns:a16="http://schemas.microsoft.com/office/drawing/2014/main" id="{FF377DDA-9644-D34E-879C-75689E168B28}"/>
                    </a:ext>
                  </a:extLst>
                </p:cNvPr>
                <p:cNvSpPr>
                  <a:spLocks noChangeShapeType="1"/>
                </p:cNvSpPr>
                <p:nvPr/>
              </p:nvSpPr>
              <p:spPr bwMode="auto">
                <a:xfrm flipV="1">
                  <a:off x="2214" y="2223"/>
                  <a:ext cx="513" cy="517"/>
                </a:xfrm>
                <a:prstGeom prst="line">
                  <a:avLst/>
                </a:prstGeom>
                <a:noFill/>
                <a:ln w="57150">
                  <a:solidFill>
                    <a:schemeClr val="folHlink"/>
                  </a:solidFill>
                  <a:round/>
                  <a:headEnd/>
                  <a:tailEnd type="triangle" w="med" len="med"/>
                </a:ln>
                <a:effectLst/>
              </p:spPr>
              <p:txBody>
                <a:bodyPr wrap="none" anchor="ctr"/>
                <a:lstStyle/>
                <a:p>
                  <a:pPr algn="ctr" fontAlgn="base">
                    <a:spcBef>
                      <a:spcPct val="50000"/>
                    </a:spcBef>
                    <a:spcAft>
                      <a:spcPct val="0"/>
                    </a:spcAft>
                    <a:defRPr/>
                  </a:pPr>
                  <a:endParaRPr lang="en-US" b="1" dirty="0">
                    <a:effectLst>
                      <a:outerShdw blurRad="38100" dist="38100" dir="2700000" algn="tl">
                        <a:srgbClr val="000000">
                          <a:alpha val="43137"/>
                        </a:srgbClr>
                      </a:outerShdw>
                    </a:effectLst>
                    <a:latin typeface="Arial" charset="0"/>
                    <a:ea typeface="Arial"/>
                    <a:cs typeface="Arial"/>
                  </a:endParaRPr>
                </a:p>
              </p:txBody>
            </p:sp>
          </p:grpSp>
          <p:grpSp>
            <p:nvGrpSpPr>
              <p:cNvPr id="44050" name="Group 21">
                <a:extLst>
                  <a:ext uri="{FF2B5EF4-FFF2-40B4-BE49-F238E27FC236}">
                    <a16:creationId xmlns:a16="http://schemas.microsoft.com/office/drawing/2014/main" id="{A75A7BFC-927E-3848-BC20-92920A8F5C13}"/>
                  </a:ext>
                </a:extLst>
              </p:cNvPr>
              <p:cNvGrpSpPr>
                <a:grpSpLocks/>
              </p:cNvGrpSpPr>
              <p:nvPr/>
            </p:nvGrpSpPr>
            <p:grpSpPr bwMode="auto">
              <a:xfrm>
                <a:off x="2096" y="2210"/>
                <a:ext cx="131" cy="1085"/>
                <a:chOff x="2096" y="2210"/>
                <a:chExt cx="131" cy="1085"/>
              </a:xfrm>
            </p:grpSpPr>
            <p:sp>
              <p:nvSpPr>
                <p:cNvPr id="1105942" name="Line 22">
                  <a:extLst>
                    <a:ext uri="{FF2B5EF4-FFF2-40B4-BE49-F238E27FC236}">
                      <a16:creationId xmlns:a16="http://schemas.microsoft.com/office/drawing/2014/main" id="{A6FDF8C0-A241-8E49-BCB2-9AF69AFB3645}"/>
                    </a:ext>
                  </a:extLst>
                </p:cNvPr>
                <p:cNvSpPr>
                  <a:spLocks noChangeShapeType="1"/>
                </p:cNvSpPr>
                <p:nvPr/>
              </p:nvSpPr>
              <p:spPr bwMode="auto">
                <a:xfrm>
                  <a:off x="2096" y="2228"/>
                  <a:ext cx="134" cy="1"/>
                </a:xfrm>
                <a:prstGeom prst="line">
                  <a:avLst/>
                </a:prstGeom>
                <a:noFill/>
                <a:ln w="57150">
                  <a:solidFill>
                    <a:schemeClr val="folHlink"/>
                  </a:solidFill>
                  <a:round/>
                  <a:headEnd/>
                  <a:tailEnd type="none" w="lg" len="lg"/>
                </a:ln>
                <a:effectLst/>
              </p:spPr>
              <p:txBody>
                <a:bodyPr wrap="none" anchor="ctr"/>
                <a:lstStyle/>
                <a:p>
                  <a:pPr algn="ctr" fontAlgn="base">
                    <a:spcBef>
                      <a:spcPct val="50000"/>
                    </a:spcBef>
                    <a:spcAft>
                      <a:spcPct val="0"/>
                    </a:spcAft>
                    <a:defRPr/>
                  </a:pPr>
                  <a:endParaRPr lang="en-US" b="1" dirty="0">
                    <a:effectLst>
                      <a:outerShdw blurRad="38100" dist="38100" dir="2700000" algn="tl">
                        <a:srgbClr val="000000">
                          <a:alpha val="43137"/>
                        </a:srgbClr>
                      </a:outerShdw>
                    </a:effectLst>
                    <a:latin typeface="Arial" charset="0"/>
                    <a:ea typeface="Arial"/>
                    <a:cs typeface="Arial"/>
                  </a:endParaRPr>
                </a:p>
              </p:txBody>
            </p:sp>
            <p:sp>
              <p:nvSpPr>
                <p:cNvPr id="1105943" name="Line 23">
                  <a:extLst>
                    <a:ext uri="{FF2B5EF4-FFF2-40B4-BE49-F238E27FC236}">
                      <a16:creationId xmlns:a16="http://schemas.microsoft.com/office/drawing/2014/main" id="{9F8307AF-7EEC-184B-AF4E-CA7A867A9C17}"/>
                    </a:ext>
                  </a:extLst>
                </p:cNvPr>
                <p:cNvSpPr>
                  <a:spLocks noChangeShapeType="1"/>
                </p:cNvSpPr>
                <p:nvPr/>
              </p:nvSpPr>
              <p:spPr bwMode="auto">
                <a:xfrm>
                  <a:off x="2217" y="2210"/>
                  <a:ext cx="0" cy="1085"/>
                </a:xfrm>
                <a:prstGeom prst="line">
                  <a:avLst/>
                </a:prstGeom>
                <a:noFill/>
                <a:ln w="57150">
                  <a:solidFill>
                    <a:schemeClr val="folHlink"/>
                  </a:solidFill>
                  <a:round/>
                  <a:headEnd/>
                  <a:tailEnd type="none" w="lg" len="lg"/>
                </a:ln>
                <a:effectLst/>
              </p:spPr>
              <p:txBody>
                <a:bodyPr wrap="none" anchor="ctr"/>
                <a:lstStyle/>
                <a:p>
                  <a:pPr algn="ctr" fontAlgn="base">
                    <a:spcBef>
                      <a:spcPct val="50000"/>
                    </a:spcBef>
                    <a:spcAft>
                      <a:spcPct val="0"/>
                    </a:spcAft>
                    <a:defRPr/>
                  </a:pPr>
                  <a:endParaRPr lang="en-US" b="1" dirty="0">
                    <a:effectLst>
                      <a:outerShdw blurRad="38100" dist="38100" dir="2700000" algn="tl">
                        <a:srgbClr val="000000">
                          <a:alpha val="43137"/>
                        </a:srgbClr>
                      </a:outerShdw>
                    </a:effectLst>
                    <a:latin typeface="Arial" charset="0"/>
                    <a:ea typeface="Arial"/>
                    <a:cs typeface="Arial"/>
                  </a:endParaRPr>
                </a:p>
              </p:txBody>
            </p:sp>
            <p:sp>
              <p:nvSpPr>
                <p:cNvPr id="1105944" name="Line 24">
                  <a:extLst>
                    <a:ext uri="{FF2B5EF4-FFF2-40B4-BE49-F238E27FC236}">
                      <a16:creationId xmlns:a16="http://schemas.microsoft.com/office/drawing/2014/main" id="{3B4F07A6-D0C9-6B41-9D88-D22C0F448487}"/>
                    </a:ext>
                  </a:extLst>
                </p:cNvPr>
                <p:cNvSpPr>
                  <a:spLocks noChangeShapeType="1"/>
                </p:cNvSpPr>
                <p:nvPr/>
              </p:nvSpPr>
              <p:spPr bwMode="auto">
                <a:xfrm>
                  <a:off x="2096" y="3275"/>
                  <a:ext cx="134" cy="1"/>
                </a:xfrm>
                <a:prstGeom prst="line">
                  <a:avLst/>
                </a:prstGeom>
                <a:noFill/>
                <a:ln w="57150">
                  <a:solidFill>
                    <a:schemeClr val="folHlink"/>
                  </a:solidFill>
                  <a:round/>
                  <a:headEnd/>
                  <a:tailEnd type="none" w="lg" len="lg"/>
                </a:ln>
                <a:effectLst/>
              </p:spPr>
              <p:txBody>
                <a:bodyPr wrap="none" anchor="ctr"/>
                <a:lstStyle/>
                <a:p>
                  <a:pPr algn="ctr" fontAlgn="base">
                    <a:spcBef>
                      <a:spcPct val="50000"/>
                    </a:spcBef>
                    <a:spcAft>
                      <a:spcPct val="0"/>
                    </a:spcAft>
                    <a:defRPr/>
                  </a:pPr>
                  <a:endParaRPr lang="en-US" b="1" dirty="0">
                    <a:effectLst>
                      <a:outerShdw blurRad="38100" dist="38100" dir="2700000" algn="tl">
                        <a:srgbClr val="000000">
                          <a:alpha val="43137"/>
                        </a:srgbClr>
                      </a:outerShdw>
                    </a:effectLst>
                    <a:latin typeface="Arial" charset="0"/>
                    <a:ea typeface="Arial"/>
                    <a:cs typeface="Arial"/>
                  </a:endParaRPr>
                </a:p>
              </p:txBody>
            </p:sp>
          </p:grpSp>
        </p:grpSp>
        <p:sp>
          <p:nvSpPr>
            <p:cNvPr id="44048" name="Text Box 25">
              <a:extLst>
                <a:ext uri="{FF2B5EF4-FFF2-40B4-BE49-F238E27FC236}">
                  <a16:creationId xmlns:a16="http://schemas.microsoft.com/office/drawing/2014/main" id="{01372DA7-680C-1540-858D-443FA0D40411}"/>
                </a:ext>
              </a:extLst>
            </p:cNvPr>
            <p:cNvSpPr txBox="1">
              <a:spLocks noChangeArrowheads="1"/>
            </p:cNvSpPr>
            <p:nvPr/>
          </p:nvSpPr>
          <p:spPr bwMode="invGray">
            <a:xfrm>
              <a:off x="404" y="1258"/>
              <a:ext cx="251" cy="2485"/>
            </a:xfrm>
            <a:prstGeom prst="rect">
              <a:avLst/>
            </a:prstGeom>
            <a:solidFill>
              <a:schemeClr val="bg1"/>
            </a:solidFill>
            <a:ln w="28575">
              <a:solidFill>
                <a:srgbClr val="5F5F5F"/>
              </a:solidFill>
              <a:miter lim="800000"/>
              <a:headEnd/>
              <a:tailEnd/>
            </a:ln>
          </p:spPr>
          <p:txBody>
            <a:bodyPr anchor="ctr"/>
            <a:lstStyle>
              <a:lvl1pPr>
                <a:defRPr sz="2400" b="1">
                  <a:solidFill>
                    <a:schemeClr val="tx1"/>
                  </a:solidFill>
                  <a:latin typeface="Arial" panose="020B0604020202020204" pitchFamily="34" charset="0"/>
                  <a:ea typeface="MS PGothic" panose="020B0600070205080204" pitchFamily="34" charset="-128"/>
                </a:defRPr>
              </a:lvl1pPr>
              <a:lvl2pPr marL="742950" indent="-285750">
                <a:defRPr sz="2400" b="1">
                  <a:solidFill>
                    <a:schemeClr val="tx1"/>
                  </a:solidFill>
                  <a:latin typeface="Arial" panose="020B0604020202020204" pitchFamily="34" charset="0"/>
                  <a:ea typeface="MS PGothic" panose="020B0600070205080204" pitchFamily="34" charset="-128"/>
                </a:defRPr>
              </a:lvl2pPr>
              <a:lvl3pPr marL="1143000" indent="-228600">
                <a:defRPr sz="2400" b="1">
                  <a:solidFill>
                    <a:schemeClr val="tx1"/>
                  </a:solidFill>
                  <a:latin typeface="Arial" panose="020B0604020202020204" pitchFamily="34" charset="0"/>
                  <a:ea typeface="MS PGothic" panose="020B0600070205080204" pitchFamily="34" charset="-128"/>
                </a:defRPr>
              </a:lvl3pPr>
              <a:lvl4pPr marL="1600200" indent="-228600">
                <a:defRPr sz="2400" b="1">
                  <a:solidFill>
                    <a:schemeClr val="tx1"/>
                  </a:solidFill>
                  <a:latin typeface="Arial" panose="020B0604020202020204" pitchFamily="34" charset="0"/>
                  <a:ea typeface="MS PGothic" panose="020B0600070205080204" pitchFamily="34" charset="-128"/>
                </a:defRPr>
              </a:lvl4pPr>
              <a:lvl5pPr marL="2057400" indent="-22860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pPr>
              <a:r>
                <a:rPr lang="en-US" altLang="en-US" sz="1350">
                  <a:cs typeface="Arial"/>
                </a:rPr>
                <a:t>RANDOMI</a:t>
              </a:r>
            </a:p>
            <a:p>
              <a:pPr algn="ctr" eaLnBrk="0" fontAlgn="base" hangingPunct="0">
                <a:spcBef>
                  <a:spcPct val="0"/>
                </a:spcBef>
                <a:spcAft>
                  <a:spcPct val="0"/>
                </a:spcAft>
              </a:pPr>
              <a:r>
                <a:rPr lang="en-US" altLang="en-US" sz="1350">
                  <a:cs typeface="Arial"/>
                </a:rPr>
                <a:t>ZAT</a:t>
              </a:r>
            </a:p>
            <a:p>
              <a:pPr algn="ctr" eaLnBrk="0" fontAlgn="base" hangingPunct="0">
                <a:spcBef>
                  <a:spcPct val="0"/>
                </a:spcBef>
                <a:spcAft>
                  <a:spcPct val="0"/>
                </a:spcAft>
              </a:pPr>
              <a:r>
                <a:rPr lang="en-US" altLang="en-US" sz="1350">
                  <a:cs typeface="Arial"/>
                </a:rPr>
                <a:t>ION</a:t>
              </a:r>
            </a:p>
          </p:txBody>
        </p:sp>
      </p:grpSp>
      <p:sp>
        <p:nvSpPr>
          <p:cNvPr id="44037" name="TextBox 1">
            <a:extLst>
              <a:ext uri="{FF2B5EF4-FFF2-40B4-BE49-F238E27FC236}">
                <a16:creationId xmlns:a16="http://schemas.microsoft.com/office/drawing/2014/main" id="{B697E047-D8CA-4743-9226-50386AF748F8}"/>
              </a:ext>
            </a:extLst>
          </p:cNvPr>
          <p:cNvSpPr txBox="1">
            <a:spLocks noChangeArrowheads="1"/>
          </p:cNvSpPr>
          <p:nvPr/>
        </p:nvSpPr>
        <p:spPr bwMode="auto">
          <a:xfrm>
            <a:off x="5125641" y="4113661"/>
            <a:ext cx="86433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b="1">
                <a:solidFill>
                  <a:schemeClr val="tx1"/>
                </a:solidFill>
                <a:latin typeface="Arial" panose="020B0604020202020204" pitchFamily="34" charset="0"/>
                <a:ea typeface="MS PGothic" panose="020B0600070205080204" pitchFamily="34" charset="-128"/>
              </a:defRPr>
            </a:lvl1pPr>
            <a:lvl2pPr marL="742950" indent="-285750">
              <a:defRPr sz="2400" b="1">
                <a:solidFill>
                  <a:schemeClr val="tx1"/>
                </a:solidFill>
                <a:latin typeface="Arial" panose="020B0604020202020204" pitchFamily="34" charset="0"/>
                <a:ea typeface="MS PGothic" panose="020B0600070205080204" pitchFamily="34" charset="-128"/>
              </a:defRPr>
            </a:lvl2pPr>
            <a:lvl3pPr marL="1143000" indent="-228600">
              <a:defRPr sz="2400" b="1">
                <a:solidFill>
                  <a:schemeClr val="tx1"/>
                </a:solidFill>
                <a:latin typeface="Arial" panose="020B0604020202020204" pitchFamily="34" charset="0"/>
                <a:ea typeface="MS PGothic" panose="020B0600070205080204" pitchFamily="34" charset="-128"/>
              </a:defRPr>
            </a:lvl3pPr>
            <a:lvl4pPr marL="1600200" indent="-228600">
              <a:defRPr sz="2400" b="1">
                <a:solidFill>
                  <a:schemeClr val="tx1"/>
                </a:solidFill>
                <a:latin typeface="Arial" panose="020B0604020202020204" pitchFamily="34" charset="0"/>
                <a:ea typeface="MS PGothic" panose="020B0600070205080204" pitchFamily="34" charset="-128"/>
              </a:defRPr>
            </a:lvl4pPr>
            <a:lvl5pPr marL="2057400" indent="-22860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pPr>
            <a:r>
              <a:rPr lang="en-US" altLang="en-US" sz="1500">
                <a:cs typeface="Arial"/>
              </a:rPr>
              <a:t>N = 288</a:t>
            </a:r>
          </a:p>
        </p:txBody>
      </p:sp>
      <p:sp>
        <p:nvSpPr>
          <p:cNvPr id="27" name="Rectangle 29">
            <a:extLst>
              <a:ext uri="{FF2B5EF4-FFF2-40B4-BE49-F238E27FC236}">
                <a16:creationId xmlns:a16="http://schemas.microsoft.com/office/drawing/2014/main" id="{2FC6BD1A-10FA-48BC-847E-8843252EFFA0}"/>
              </a:ext>
            </a:extLst>
          </p:cNvPr>
          <p:cNvSpPr>
            <a:spLocks/>
          </p:cNvSpPr>
          <p:nvPr/>
        </p:nvSpPr>
        <p:spPr bwMode="auto">
          <a:xfrm>
            <a:off x="885796" y="4885756"/>
            <a:ext cx="6947564" cy="266700"/>
          </a:xfrm>
          <a:prstGeom prst="rect">
            <a:avLst/>
          </a:prstGeom>
          <a:noFill/>
          <a:ln w="9525">
            <a:noFill/>
            <a:miter lim="800000"/>
            <a:headEnd/>
            <a:tailEnd/>
          </a:ln>
        </p:spPr>
        <p:txBody>
          <a:bodyPr lIns="0" tIns="0" rIns="228600" bIns="0" anchor="ctr"/>
          <a:lstStyle>
            <a:lvl1pPr marL="228600">
              <a:defRPr sz="2400" b="1">
                <a:solidFill>
                  <a:schemeClr val="tx1"/>
                </a:solidFill>
                <a:latin typeface="Arial" panose="020B0604020202020204" pitchFamily="34" charset="0"/>
                <a:ea typeface="MS PGothic" panose="020B0600070205080204" pitchFamily="34" charset="-128"/>
              </a:defRPr>
            </a:lvl1pPr>
            <a:lvl2pPr marL="742950" indent="-285750">
              <a:defRPr sz="2400" b="1">
                <a:solidFill>
                  <a:schemeClr val="tx1"/>
                </a:solidFill>
                <a:latin typeface="Arial" panose="020B0604020202020204" pitchFamily="34" charset="0"/>
                <a:ea typeface="MS PGothic" panose="020B0600070205080204" pitchFamily="34" charset="-128"/>
              </a:defRPr>
            </a:lvl2pPr>
            <a:lvl3pPr marL="1143000" indent="-228600">
              <a:defRPr sz="2400" b="1">
                <a:solidFill>
                  <a:schemeClr val="tx1"/>
                </a:solidFill>
                <a:latin typeface="Arial" panose="020B0604020202020204" pitchFamily="34" charset="0"/>
                <a:ea typeface="MS PGothic" panose="020B0600070205080204" pitchFamily="34" charset="-128"/>
              </a:defRPr>
            </a:lvl3pPr>
            <a:lvl4pPr marL="1600200" indent="-228600">
              <a:defRPr sz="2400" b="1">
                <a:solidFill>
                  <a:schemeClr val="tx1"/>
                </a:solidFill>
                <a:latin typeface="Arial" panose="020B0604020202020204" pitchFamily="34" charset="0"/>
                <a:ea typeface="MS PGothic" panose="020B0600070205080204" pitchFamily="34" charset="-128"/>
              </a:defRPr>
            </a:lvl4pPr>
            <a:lvl5pPr marL="2057400" indent="-22860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algn="ctr" eaLnBrk="1" hangingPunct="1">
              <a:defRPr/>
            </a:pPr>
            <a:r>
              <a:rPr lang="en-US" altLang="en-US" sz="1200" dirty="0">
                <a:sym typeface="Arial" panose="020B0604020202020204" pitchFamily="34" charset="0"/>
              </a:rPr>
              <a:t>eastern cooperative oncology group</a:t>
            </a:r>
          </a:p>
        </p:txBody>
      </p:sp>
      <p:pic>
        <p:nvPicPr>
          <p:cNvPr id="28" name="Picture 30">
            <a:extLst>
              <a:ext uri="{FF2B5EF4-FFF2-40B4-BE49-F238E27FC236}">
                <a16:creationId xmlns:a16="http://schemas.microsoft.com/office/drawing/2014/main" id="{59816F19-5106-46FA-80AF-B2C7EA89E0A7}"/>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9853" y="4522219"/>
            <a:ext cx="654051"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37F33-F05C-4073-8ADF-6F9B76CC0F6B}"/>
              </a:ext>
            </a:extLst>
          </p:cNvPr>
          <p:cNvSpPr>
            <a:spLocks noGrp="1"/>
          </p:cNvSpPr>
          <p:nvPr>
            <p:ph type="ctrTitle"/>
          </p:nvPr>
        </p:nvSpPr>
        <p:spPr>
          <a:xfrm>
            <a:off x="0" y="104988"/>
            <a:ext cx="9144000" cy="434031"/>
          </a:xfrm>
        </p:spPr>
        <p:txBody>
          <a:bodyPr anchor="t">
            <a:noAutofit/>
          </a:bodyPr>
          <a:lstStyle/>
          <a:p>
            <a:pPr algn="ctr"/>
            <a:r>
              <a:rPr lang="en-US" sz="2400" b="1" noProof="0">
                <a:solidFill>
                  <a:srgbClr val="0070C0"/>
                </a:solidFill>
                <a:latin typeface="Arial" panose="020B0604020202020204" pitchFamily="34" charset="0"/>
                <a:cs typeface="Arial" panose="020B0604020202020204" pitchFamily="34" charset="0"/>
              </a:rPr>
              <a:t>Ixazomib, lenalidomide, + dex for high-risk SMM </a:t>
            </a:r>
          </a:p>
        </p:txBody>
      </p:sp>
      <p:sp>
        <p:nvSpPr>
          <p:cNvPr id="5" name="Text Placeholder 12">
            <a:extLst>
              <a:ext uri="{FF2B5EF4-FFF2-40B4-BE49-F238E27FC236}">
                <a16:creationId xmlns:a16="http://schemas.microsoft.com/office/drawing/2014/main" id="{794DD918-D39B-4CC4-8CFB-026C4551577E}"/>
              </a:ext>
            </a:extLst>
          </p:cNvPr>
          <p:cNvSpPr>
            <a:spLocks noGrp="1"/>
          </p:cNvSpPr>
          <p:nvPr>
            <p:ph type="body" sz="quarter" idx="10"/>
          </p:nvPr>
        </p:nvSpPr>
        <p:spPr>
          <a:xfrm>
            <a:off x="1227964" y="1080407"/>
            <a:ext cx="3867690" cy="2982688"/>
          </a:xfrm>
        </p:spPr>
        <p:txBody>
          <a:bodyPr>
            <a:noAutofit/>
          </a:bodyPr>
          <a:lstStyle/>
          <a:p>
            <a:pPr>
              <a:spcBef>
                <a:spcPts val="450"/>
              </a:spcBef>
              <a:spcAft>
                <a:spcPts val="450"/>
              </a:spcAft>
              <a:defRPr/>
            </a:pPr>
            <a:r>
              <a:rPr lang="en-US" sz="1350" noProof="0">
                <a:latin typeface="Arial" panose="020B0604020202020204" pitchFamily="34" charset="0"/>
                <a:cs typeface="Arial" panose="020B0604020202020204" pitchFamily="34" charset="0"/>
              </a:rPr>
              <a:t>A novel approach that builds on PFS of RD vs observation for those with SMM, and NCT01217957 data showing efficacy and tolerability in the NDMM setting</a:t>
            </a:r>
          </a:p>
          <a:p>
            <a:pPr>
              <a:spcBef>
                <a:spcPts val="450"/>
              </a:spcBef>
              <a:spcAft>
                <a:spcPts val="450"/>
              </a:spcAft>
              <a:defRPr/>
            </a:pPr>
            <a:endParaRPr lang="en-US" sz="1350" u="sng" noProof="0">
              <a:latin typeface="Arial" panose="020B0604020202020204" pitchFamily="34" charset="0"/>
              <a:cs typeface="Arial" panose="020B0604020202020204" pitchFamily="34" charset="0"/>
            </a:endParaRPr>
          </a:p>
          <a:p>
            <a:r>
              <a:rPr lang="en-US" sz="1350" noProof="0">
                <a:latin typeface="Arial" panose="020B0604020202020204" pitchFamily="34" charset="0"/>
                <a:cs typeface="Arial" panose="020B0604020202020204" pitchFamily="34" charset="0"/>
              </a:rPr>
              <a:t>Ixazomib is a potent proteasome inhibitor that, when combined with RD, shows promising PFS  with better tolerability than bortezomib. This all-oral combination will further improve compliance and quality of life for participants with high-risk SMM who have risk of progression at 5 years of 51% for intermediate-risk and 76% for high-risk individuals who have 1, 2, or 3 risk factors respectively. </a:t>
            </a:r>
          </a:p>
        </p:txBody>
      </p:sp>
      <p:sp>
        <p:nvSpPr>
          <p:cNvPr id="6" name="Arrow: Right 5">
            <a:extLst>
              <a:ext uri="{FF2B5EF4-FFF2-40B4-BE49-F238E27FC236}">
                <a16:creationId xmlns:a16="http://schemas.microsoft.com/office/drawing/2014/main" id="{4E9E1464-BB9D-449F-8133-B725C567183F}"/>
              </a:ext>
            </a:extLst>
          </p:cNvPr>
          <p:cNvSpPr/>
          <p:nvPr/>
        </p:nvSpPr>
        <p:spPr>
          <a:xfrm>
            <a:off x="405765" y="1257985"/>
            <a:ext cx="733806" cy="3634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panose="020B0604020202020204" pitchFamily="34" charset="0"/>
              <a:cs typeface="Arial" panose="020B0604020202020204" pitchFamily="34" charset="0"/>
            </a:endParaRPr>
          </a:p>
        </p:txBody>
      </p:sp>
      <p:sp>
        <p:nvSpPr>
          <p:cNvPr id="7" name="Arrow: Right 6">
            <a:extLst>
              <a:ext uri="{FF2B5EF4-FFF2-40B4-BE49-F238E27FC236}">
                <a16:creationId xmlns:a16="http://schemas.microsoft.com/office/drawing/2014/main" id="{2F9BCA23-D289-4291-B29C-AF0261E973F2}"/>
              </a:ext>
            </a:extLst>
          </p:cNvPr>
          <p:cNvSpPr/>
          <p:nvPr/>
        </p:nvSpPr>
        <p:spPr>
          <a:xfrm>
            <a:off x="405765" y="2341626"/>
            <a:ext cx="733806" cy="3634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BE69C748-D906-8F4B-887A-3D7AC11D3629}"/>
              </a:ext>
            </a:extLst>
          </p:cNvPr>
          <p:cNvGraphicFramePr>
            <a:graphicFrameLocks noGrp="1"/>
          </p:cNvGraphicFramePr>
          <p:nvPr/>
        </p:nvGraphicFramePr>
        <p:xfrm>
          <a:off x="5195779" y="957966"/>
          <a:ext cx="3083924" cy="1530052"/>
        </p:xfrm>
        <a:graphic>
          <a:graphicData uri="http://schemas.openxmlformats.org/drawingml/2006/table">
            <a:tbl>
              <a:tblPr firstRow="1" bandRow="1">
                <a:tableStyleId>{5C22544A-7EE6-4342-B048-85BDC9FD1C3A}</a:tableStyleId>
              </a:tblPr>
              <a:tblGrid>
                <a:gridCol w="1893481">
                  <a:extLst>
                    <a:ext uri="{9D8B030D-6E8A-4147-A177-3AD203B41FA5}">
                      <a16:colId xmlns:a16="http://schemas.microsoft.com/office/drawing/2014/main" val="391126927"/>
                    </a:ext>
                  </a:extLst>
                </a:gridCol>
                <a:gridCol w="1190443">
                  <a:extLst>
                    <a:ext uri="{9D8B030D-6E8A-4147-A177-3AD203B41FA5}">
                      <a16:colId xmlns:a16="http://schemas.microsoft.com/office/drawing/2014/main" val="2249829644"/>
                    </a:ext>
                  </a:extLst>
                </a:gridCol>
              </a:tblGrid>
              <a:tr h="456332">
                <a:tc>
                  <a:txBody>
                    <a:bodyPr/>
                    <a:lstStyle/>
                    <a:p>
                      <a:r>
                        <a:rPr lang="en-US" sz="1100">
                          <a:latin typeface="Arial" panose="020B0604020202020204" pitchFamily="34" charset="0"/>
                          <a:cs typeface="Arial" panose="020B0604020202020204" pitchFamily="34" charset="0"/>
                        </a:rPr>
                        <a:t>Response</a:t>
                      </a:r>
                    </a:p>
                  </a:txBody>
                  <a:tcPr marL="68580" marR="68580" marT="34290" marB="34290" anchor="ctr"/>
                </a:tc>
                <a:tc>
                  <a:txBody>
                    <a:bodyPr/>
                    <a:lstStyle/>
                    <a:p>
                      <a:pPr algn="ctr"/>
                      <a:r>
                        <a:rPr lang="en-US" sz="1100">
                          <a:latin typeface="Arial" panose="020B0604020202020204" pitchFamily="34" charset="0"/>
                          <a:cs typeface="Arial" panose="020B0604020202020204" pitchFamily="34" charset="0"/>
                        </a:rPr>
                        <a:t>Total </a:t>
                      </a:r>
                    </a:p>
                    <a:p>
                      <a:pPr algn="ctr"/>
                      <a:r>
                        <a:rPr lang="en-US" sz="1100">
                          <a:latin typeface="Arial" panose="020B0604020202020204" pitchFamily="34" charset="0"/>
                          <a:cs typeface="Arial" panose="020B0604020202020204" pitchFamily="34" charset="0"/>
                        </a:rPr>
                        <a:t>N =  55 (%)</a:t>
                      </a:r>
                    </a:p>
                  </a:txBody>
                  <a:tcPr marL="68580" marR="68580" marT="34290" marB="34290" anchor="ctr"/>
                </a:tc>
                <a:extLst>
                  <a:ext uri="{0D108BD9-81ED-4DB2-BD59-A6C34878D82A}">
                    <a16:rowId xmlns:a16="http://schemas.microsoft.com/office/drawing/2014/main" val="2634562792"/>
                  </a:ext>
                </a:extLst>
              </a:tr>
              <a:tr h="268430">
                <a:tc>
                  <a:txBody>
                    <a:bodyPr/>
                    <a:lstStyle/>
                    <a:p>
                      <a:r>
                        <a:rPr lang="en-US" sz="1100">
                          <a:latin typeface="Arial" panose="020B0604020202020204" pitchFamily="34" charset="0"/>
                          <a:cs typeface="Arial" panose="020B0604020202020204" pitchFamily="34" charset="0"/>
                        </a:rPr>
                        <a:t>Overall response rate</a:t>
                      </a:r>
                    </a:p>
                  </a:txBody>
                  <a:tcPr marL="68580" marR="68580" marT="34290" marB="34290" anchor="ctr"/>
                </a:tc>
                <a:tc>
                  <a:txBody>
                    <a:bodyPr/>
                    <a:lstStyle/>
                    <a:p>
                      <a:pPr algn="ctr"/>
                      <a:r>
                        <a:rPr lang="en-US" sz="1100">
                          <a:latin typeface="Arial" panose="020B0604020202020204" pitchFamily="34" charset="0"/>
                          <a:cs typeface="Arial" panose="020B0604020202020204" pitchFamily="34" charset="0"/>
                        </a:rPr>
                        <a:t>50 (90.9)</a:t>
                      </a:r>
                    </a:p>
                  </a:txBody>
                  <a:tcPr marL="68580" marR="68580" marT="34290" marB="34290" anchor="ctr"/>
                </a:tc>
                <a:extLst>
                  <a:ext uri="{0D108BD9-81ED-4DB2-BD59-A6C34878D82A}">
                    <a16:rowId xmlns:a16="http://schemas.microsoft.com/office/drawing/2014/main" val="1706414098"/>
                  </a:ext>
                </a:extLst>
              </a:tr>
              <a:tr h="268430">
                <a:tc>
                  <a:txBody>
                    <a:bodyPr/>
                    <a:lstStyle/>
                    <a:p>
                      <a:r>
                        <a:rPr lang="en-US" sz="1100">
                          <a:latin typeface="Arial" panose="020B0604020202020204" pitchFamily="34" charset="0"/>
                          <a:cs typeface="Arial" panose="020B0604020202020204" pitchFamily="34" charset="0"/>
                        </a:rPr>
                        <a:t>Complete response</a:t>
                      </a:r>
                    </a:p>
                  </a:txBody>
                  <a:tcPr marL="68580" marR="68580" marT="34290" marB="34290" anchor="ctr"/>
                </a:tc>
                <a:tc>
                  <a:txBody>
                    <a:bodyPr/>
                    <a:lstStyle/>
                    <a:p>
                      <a:pPr algn="ctr"/>
                      <a:r>
                        <a:rPr lang="en-US" sz="1100">
                          <a:latin typeface="Arial" panose="020B0604020202020204" pitchFamily="34" charset="0"/>
                          <a:cs typeface="Arial" panose="020B0604020202020204" pitchFamily="34" charset="0"/>
                        </a:rPr>
                        <a:t>12 (21.8%)</a:t>
                      </a:r>
                    </a:p>
                  </a:txBody>
                  <a:tcPr marL="68580" marR="68580" marT="34290" marB="34290" anchor="ctr"/>
                </a:tc>
                <a:extLst>
                  <a:ext uri="{0D108BD9-81ED-4DB2-BD59-A6C34878D82A}">
                    <a16:rowId xmlns:a16="http://schemas.microsoft.com/office/drawing/2014/main" val="2619082296"/>
                  </a:ext>
                </a:extLst>
              </a:tr>
              <a:tr h="268430">
                <a:tc>
                  <a:txBody>
                    <a:bodyPr/>
                    <a:lstStyle/>
                    <a:p>
                      <a:r>
                        <a:rPr lang="en-US" sz="1100">
                          <a:latin typeface="Arial" panose="020B0604020202020204" pitchFamily="34" charset="0"/>
                          <a:cs typeface="Arial" panose="020B0604020202020204" pitchFamily="34" charset="0"/>
                        </a:rPr>
                        <a:t>Very good partial response</a:t>
                      </a:r>
                    </a:p>
                  </a:txBody>
                  <a:tcPr marL="68580" marR="68580" marT="34290" marB="34290" anchor="ctr"/>
                </a:tc>
                <a:tc>
                  <a:txBody>
                    <a:bodyPr/>
                    <a:lstStyle/>
                    <a:p>
                      <a:pPr algn="ctr"/>
                      <a:r>
                        <a:rPr lang="en-US" sz="1100">
                          <a:latin typeface="Arial" panose="020B0604020202020204" pitchFamily="34" charset="0"/>
                          <a:cs typeface="Arial" panose="020B0604020202020204" pitchFamily="34" charset="0"/>
                        </a:rPr>
                        <a:t>10 (18.2%)</a:t>
                      </a:r>
                    </a:p>
                  </a:txBody>
                  <a:tcPr marL="68580" marR="68580" marT="34290" marB="34290" anchor="ctr"/>
                </a:tc>
                <a:extLst>
                  <a:ext uri="{0D108BD9-81ED-4DB2-BD59-A6C34878D82A}">
                    <a16:rowId xmlns:a16="http://schemas.microsoft.com/office/drawing/2014/main" val="1499949038"/>
                  </a:ext>
                </a:extLst>
              </a:tr>
              <a:tr h="268430">
                <a:tc>
                  <a:txBody>
                    <a:bodyPr/>
                    <a:lstStyle/>
                    <a:p>
                      <a:r>
                        <a:rPr lang="en-US" sz="1100">
                          <a:latin typeface="Arial" panose="020B0604020202020204" pitchFamily="34" charset="0"/>
                          <a:cs typeface="Arial" panose="020B0604020202020204" pitchFamily="34" charset="0"/>
                        </a:rPr>
                        <a:t>Partial response</a:t>
                      </a:r>
                    </a:p>
                  </a:txBody>
                  <a:tcPr marL="68580" marR="68580" marT="34290" marB="34290" anchor="ctr"/>
                </a:tc>
                <a:tc>
                  <a:txBody>
                    <a:bodyPr/>
                    <a:lstStyle/>
                    <a:p>
                      <a:pPr algn="ctr"/>
                      <a:r>
                        <a:rPr lang="en-US" sz="1100">
                          <a:latin typeface="Arial" panose="020B0604020202020204" pitchFamily="34" charset="0"/>
                          <a:cs typeface="Arial" panose="020B0604020202020204" pitchFamily="34" charset="0"/>
                        </a:rPr>
                        <a:t>28 (50.9%)</a:t>
                      </a:r>
                    </a:p>
                  </a:txBody>
                  <a:tcPr marL="68580" marR="68580" marT="34290" marB="34290" anchor="ctr"/>
                </a:tc>
                <a:extLst>
                  <a:ext uri="{0D108BD9-81ED-4DB2-BD59-A6C34878D82A}">
                    <a16:rowId xmlns:a16="http://schemas.microsoft.com/office/drawing/2014/main" val="3854445909"/>
                  </a:ext>
                </a:extLst>
              </a:tr>
            </a:tbl>
          </a:graphicData>
        </a:graphic>
      </p:graphicFrame>
      <p:pic>
        <p:nvPicPr>
          <p:cNvPr id="9" name="Picture 8">
            <a:extLst>
              <a:ext uri="{FF2B5EF4-FFF2-40B4-BE49-F238E27FC236}">
                <a16:creationId xmlns:a16="http://schemas.microsoft.com/office/drawing/2014/main" id="{9B7BB72D-4DED-5245-A0CD-016F07CD9A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78418" y="2655483"/>
            <a:ext cx="2769466" cy="1953732"/>
          </a:xfrm>
          <a:prstGeom prst="rect">
            <a:avLst/>
          </a:prstGeom>
        </p:spPr>
      </p:pic>
      <p:sp>
        <p:nvSpPr>
          <p:cNvPr id="3" name="TextBox 2">
            <a:extLst>
              <a:ext uri="{FF2B5EF4-FFF2-40B4-BE49-F238E27FC236}">
                <a16:creationId xmlns:a16="http://schemas.microsoft.com/office/drawing/2014/main" id="{E1115AD2-D079-CE45-868A-3ACF713BC3D9}"/>
              </a:ext>
            </a:extLst>
          </p:cNvPr>
          <p:cNvSpPr txBox="1"/>
          <p:nvPr/>
        </p:nvSpPr>
        <p:spPr>
          <a:xfrm>
            <a:off x="114300" y="4903449"/>
            <a:ext cx="9029700" cy="246221"/>
          </a:xfrm>
          <a:prstGeom prst="rect">
            <a:avLst/>
          </a:prstGeom>
          <a:noFill/>
        </p:spPr>
        <p:txBody>
          <a:bodyPr wrap="square" rtlCol="0">
            <a:spAutoFit/>
          </a:bodyPr>
          <a:lstStyle/>
          <a:p>
            <a:pPr algn="r" defTabSz="685800"/>
            <a:r>
              <a:rPr lang="en-US" sz="1000">
                <a:solidFill>
                  <a:prstClr val="black"/>
                </a:solidFill>
                <a:latin typeface="Arial" panose="020B0604020202020204" pitchFamily="34" charset="0"/>
                <a:cs typeface="Arial" panose="020B0604020202020204" pitchFamily="34" charset="0"/>
              </a:rPr>
              <a:t>Nadeem O, et al. ASH 2021. Abstract 2749.</a:t>
            </a:r>
          </a:p>
        </p:txBody>
      </p:sp>
    </p:spTree>
    <p:extLst>
      <p:ext uri="{BB962C8B-B14F-4D97-AF65-F5344CB8AC3E}">
        <p14:creationId xmlns:p14="http://schemas.microsoft.com/office/powerpoint/2010/main" val="27334316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D941629-8955-4304-9E8C-FD12DAB3AFBA}"/>
              </a:ext>
            </a:extLst>
          </p:cNvPr>
          <p:cNvSpPr/>
          <p:nvPr/>
        </p:nvSpPr>
        <p:spPr>
          <a:xfrm>
            <a:off x="0" y="1313167"/>
            <a:ext cx="4023358" cy="857250"/>
          </a:xfrm>
          <a:prstGeom prst="rect">
            <a:avLst/>
          </a:prstGeom>
          <a:gradFill>
            <a:gsLst>
              <a:gs pos="0">
                <a:srgbClr val="EC5423"/>
              </a:gs>
              <a:gs pos="100000">
                <a:schemeClr val="accent2">
                  <a:shade val="100000"/>
                  <a:satMod val="115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16255341-A611-407A-9E51-90A185533375}"/>
              </a:ext>
            </a:extLst>
          </p:cNvPr>
          <p:cNvSpPr/>
          <p:nvPr/>
        </p:nvSpPr>
        <p:spPr>
          <a:xfrm>
            <a:off x="400330" y="1508651"/>
            <a:ext cx="3309531" cy="466281"/>
          </a:xfrm>
          <a:prstGeom prst="rect">
            <a:avLst/>
          </a:prstGeom>
        </p:spPr>
        <p:txBody>
          <a:bodyPr wrap="square" anchor="ctr">
            <a:spAutoFit/>
          </a:bodyPr>
          <a:lstStyle/>
          <a:p>
            <a:pPr defTabSz="514325">
              <a:lnSpc>
                <a:spcPct val="90000"/>
              </a:lnSpc>
              <a:defRPr/>
            </a:pPr>
            <a:r>
              <a:rPr lang="en-US" sz="1350" b="1" kern="0">
                <a:solidFill>
                  <a:prstClr val="white"/>
                </a:solidFill>
                <a:latin typeface="Arial" panose="020B0604020202020204" pitchFamily="34" charset="0"/>
                <a:ea typeface="ＭＳ Ｐゴシック" panose="020B0600070205080204" pitchFamily="34" charset="-128"/>
                <a:cs typeface="Arial" panose="020B0604020202020204" pitchFamily="34" charset="0"/>
              </a:rPr>
              <a:t>Isatuximab is a monoclonal antibody that binds to CD38 on myeloma cells</a:t>
            </a:r>
          </a:p>
        </p:txBody>
      </p:sp>
      <p:cxnSp>
        <p:nvCxnSpPr>
          <p:cNvPr id="17" name="Straight Connector 16">
            <a:extLst>
              <a:ext uri="{FF2B5EF4-FFF2-40B4-BE49-F238E27FC236}">
                <a16:creationId xmlns:a16="http://schemas.microsoft.com/office/drawing/2014/main" id="{63E11AFD-F332-4EEB-814F-A1E1634368FC}"/>
              </a:ext>
            </a:extLst>
          </p:cNvPr>
          <p:cNvCxnSpPr>
            <a:cxnSpLocks/>
          </p:cNvCxnSpPr>
          <p:nvPr/>
        </p:nvCxnSpPr>
        <p:spPr>
          <a:xfrm>
            <a:off x="270790" y="1525393"/>
            <a:ext cx="0" cy="43279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99C0852B-BBBF-4F17-959F-21A58DAE55B4}"/>
              </a:ext>
            </a:extLst>
          </p:cNvPr>
          <p:cNvSpPr/>
          <p:nvPr/>
        </p:nvSpPr>
        <p:spPr>
          <a:xfrm>
            <a:off x="0" y="2372301"/>
            <a:ext cx="4023358" cy="857250"/>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943DCC10-A9EF-4AC2-9655-99AC0DDB1E7A}"/>
              </a:ext>
            </a:extLst>
          </p:cNvPr>
          <p:cNvSpPr/>
          <p:nvPr/>
        </p:nvSpPr>
        <p:spPr>
          <a:xfrm>
            <a:off x="400330" y="2661275"/>
            <a:ext cx="3502543" cy="279307"/>
          </a:xfrm>
          <a:prstGeom prst="rect">
            <a:avLst/>
          </a:prstGeom>
        </p:spPr>
        <p:txBody>
          <a:bodyPr wrap="square" anchor="ctr">
            <a:spAutoFit/>
          </a:bodyPr>
          <a:lstStyle/>
          <a:p>
            <a:pPr defTabSz="514325">
              <a:lnSpc>
                <a:spcPct val="90000"/>
              </a:lnSpc>
              <a:defRPr/>
            </a:pPr>
            <a:r>
              <a:rPr lang="en-US" sz="1350" b="1" kern="0">
                <a:solidFill>
                  <a:prstClr val="white"/>
                </a:solidFill>
                <a:latin typeface="Arial" panose="020B0604020202020204" pitchFamily="34" charset="0"/>
                <a:ea typeface="ＭＳ Ｐゴシック" panose="020B0600070205080204" pitchFamily="34" charset="-128"/>
                <a:cs typeface="Arial" panose="020B0604020202020204" pitchFamily="34" charset="0"/>
              </a:rPr>
              <a:t>Similar binding site of daratumumab</a:t>
            </a:r>
          </a:p>
        </p:txBody>
      </p:sp>
      <p:cxnSp>
        <p:nvCxnSpPr>
          <p:cNvPr id="22" name="Straight Connector 21">
            <a:extLst>
              <a:ext uri="{FF2B5EF4-FFF2-40B4-BE49-F238E27FC236}">
                <a16:creationId xmlns:a16="http://schemas.microsoft.com/office/drawing/2014/main" id="{8C72B0E7-758D-43B0-9B89-1637B764BCD8}"/>
              </a:ext>
            </a:extLst>
          </p:cNvPr>
          <p:cNvCxnSpPr>
            <a:cxnSpLocks/>
          </p:cNvCxnSpPr>
          <p:nvPr/>
        </p:nvCxnSpPr>
        <p:spPr>
          <a:xfrm>
            <a:off x="270790" y="2584527"/>
            <a:ext cx="0" cy="43279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B767E75A-0710-4A0A-ABFC-AFC503C431F6}"/>
              </a:ext>
            </a:extLst>
          </p:cNvPr>
          <p:cNvSpPr/>
          <p:nvPr/>
        </p:nvSpPr>
        <p:spPr>
          <a:xfrm>
            <a:off x="0" y="3429244"/>
            <a:ext cx="4023358" cy="857250"/>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8F28CF9C-E9ED-49F2-B353-B0F96028EBB9}"/>
              </a:ext>
            </a:extLst>
          </p:cNvPr>
          <p:cNvSpPr/>
          <p:nvPr/>
        </p:nvSpPr>
        <p:spPr>
          <a:xfrm>
            <a:off x="400329" y="3531244"/>
            <a:ext cx="3471568" cy="653256"/>
          </a:xfrm>
          <a:prstGeom prst="rect">
            <a:avLst/>
          </a:prstGeom>
        </p:spPr>
        <p:txBody>
          <a:bodyPr wrap="square" anchor="ctr">
            <a:spAutoFit/>
          </a:bodyPr>
          <a:lstStyle/>
          <a:p>
            <a:pPr defTabSz="514325">
              <a:lnSpc>
                <a:spcPct val="90000"/>
              </a:lnSpc>
              <a:defRPr/>
            </a:pPr>
            <a:r>
              <a:rPr lang="en-US" sz="1350" b="1" kern="0">
                <a:solidFill>
                  <a:prstClr val="white"/>
                </a:solidFill>
                <a:latin typeface="Arial" panose="020B0604020202020204" pitchFamily="34" charset="0"/>
                <a:ea typeface="ＭＳ Ｐゴシック" panose="020B0600070205080204" pitchFamily="34" charset="-128"/>
                <a:cs typeface="Arial" panose="020B0604020202020204" pitchFamily="34" charset="0"/>
              </a:rPr>
              <a:t>Phase II study of isatuximab in 24 patients with SMM (majority were considered high risk by 2/20/20 model)</a:t>
            </a:r>
          </a:p>
        </p:txBody>
      </p:sp>
      <p:cxnSp>
        <p:nvCxnSpPr>
          <p:cNvPr id="26" name="Straight Connector 25">
            <a:extLst>
              <a:ext uri="{FF2B5EF4-FFF2-40B4-BE49-F238E27FC236}">
                <a16:creationId xmlns:a16="http://schemas.microsoft.com/office/drawing/2014/main" id="{4C8D0E81-A875-415D-A2F7-7706FFD5E90B}"/>
              </a:ext>
            </a:extLst>
          </p:cNvPr>
          <p:cNvCxnSpPr>
            <a:cxnSpLocks/>
          </p:cNvCxnSpPr>
          <p:nvPr/>
        </p:nvCxnSpPr>
        <p:spPr>
          <a:xfrm>
            <a:off x="270790" y="3641470"/>
            <a:ext cx="0" cy="43279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BF26645-376A-42EC-AB68-A3F4DDE1BB0A}"/>
              </a:ext>
            </a:extLst>
          </p:cNvPr>
          <p:cNvSpPr/>
          <p:nvPr/>
        </p:nvSpPr>
        <p:spPr>
          <a:xfrm>
            <a:off x="4571999" y="1318548"/>
            <a:ext cx="4572000" cy="85186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5">
              <a:lnSpc>
                <a:spcPct val="90000"/>
              </a:lnSpc>
              <a:spcAft>
                <a:spcPts val="600"/>
              </a:spcAft>
            </a:pPr>
            <a:r>
              <a:rPr lang="en-US" sz="1350">
                <a:solidFill>
                  <a:prstClr val="black">
                    <a:lumMod val="75000"/>
                    <a:lumOff val="25000"/>
                  </a:prstClr>
                </a:solidFill>
                <a:latin typeface="Arial" panose="020B0604020202020204" pitchFamily="34" charset="0"/>
                <a:cs typeface="Arial" panose="020B0604020202020204" pitchFamily="34" charset="0"/>
              </a:rPr>
              <a:t>62.5% of patients responded to treatment</a:t>
            </a:r>
          </a:p>
          <a:p>
            <a:pPr marL="173034" indent="-173034" defTabSz="914355">
              <a:lnSpc>
                <a:spcPct val="90000"/>
              </a:lnSpc>
              <a:spcAft>
                <a:spcPts val="600"/>
              </a:spcAft>
              <a:buFont typeface="Arial" panose="020B0604020202020204" pitchFamily="34" charset="0"/>
              <a:buChar char="•"/>
            </a:pPr>
            <a:r>
              <a:rPr lang="en-US" sz="1350">
                <a:solidFill>
                  <a:prstClr val="black">
                    <a:lumMod val="75000"/>
                    <a:lumOff val="25000"/>
                  </a:prstClr>
                </a:solidFill>
                <a:latin typeface="Arial" panose="020B0604020202020204" pitchFamily="34" charset="0"/>
                <a:cs typeface="Arial" panose="020B0604020202020204" pitchFamily="34" charset="0"/>
              </a:rPr>
              <a:t>Comparable response rate to a recent phase III trial </a:t>
            </a:r>
            <a:br>
              <a:rPr lang="en-US" sz="1350">
                <a:solidFill>
                  <a:prstClr val="black">
                    <a:lumMod val="75000"/>
                    <a:lumOff val="25000"/>
                  </a:prstClr>
                </a:solidFill>
                <a:latin typeface="Arial" panose="020B0604020202020204" pitchFamily="34" charset="0"/>
                <a:cs typeface="Arial" panose="020B0604020202020204" pitchFamily="34" charset="0"/>
              </a:rPr>
            </a:br>
            <a:r>
              <a:rPr lang="en-US" sz="1350">
                <a:solidFill>
                  <a:prstClr val="black">
                    <a:lumMod val="75000"/>
                    <a:lumOff val="25000"/>
                  </a:prstClr>
                </a:solidFill>
                <a:latin typeface="Arial" panose="020B0604020202020204" pitchFamily="34" charset="0"/>
                <a:cs typeface="Arial" panose="020B0604020202020204" pitchFamily="34" charset="0"/>
              </a:rPr>
              <a:t>of lenalidomide in a similar patient population (50%)</a:t>
            </a:r>
          </a:p>
        </p:txBody>
      </p:sp>
      <p:sp>
        <p:nvSpPr>
          <p:cNvPr id="16" name="Rectangle 15">
            <a:extLst>
              <a:ext uri="{FF2B5EF4-FFF2-40B4-BE49-F238E27FC236}">
                <a16:creationId xmlns:a16="http://schemas.microsoft.com/office/drawing/2014/main" id="{26E77FBC-03D9-4D88-90C1-80C3A0EEDB4D}"/>
              </a:ext>
            </a:extLst>
          </p:cNvPr>
          <p:cNvSpPr/>
          <p:nvPr/>
        </p:nvSpPr>
        <p:spPr>
          <a:xfrm rot="10800000" flipV="1">
            <a:off x="4506073" y="1318548"/>
            <a:ext cx="69156" cy="851870"/>
          </a:xfrm>
          <a:prstGeom prst="rect">
            <a:avLst/>
          </a:prstGeom>
          <a:gradFill flip="none" rotWithShape="1">
            <a:gsLst>
              <a:gs pos="0">
                <a:srgbClr val="EC5423"/>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US" sz="2100">
              <a:solidFill>
                <a:prstClr val="white"/>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FC43D471-C4FD-4B3D-84F3-01E5A54A1053}"/>
              </a:ext>
            </a:extLst>
          </p:cNvPr>
          <p:cNvSpPr/>
          <p:nvPr/>
        </p:nvSpPr>
        <p:spPr>
          <a:xfrm>
            <a:off x="4571998" y="2372301"/>
            <a:ext cx="4572000" cy="87145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5">
              <a:lnSpc>
                <a:spcPct val="90000"/>
              </a:lnSpc>
              <a:spcAft>
                <a:spcPts val="600"/>
              </a:spcAft>
            </a:pPr>
            <a:r>
              <a:rPr lang="en-US" sz="1350">
                <a:solidFill>
                  <a:prstClr val="black">
                    <a:lumMod val="75000"/>
                    <a:lumOff val="25000"/>
                  </a:prstClr>
                </a:solidFill>
                <a:latin typeface="Arial" panose="020B0604020202020204" pitchFamily="34" charset="0"/>
                <a:cs typeface="Arial" panose="020B0604020202020204" pitchFamily="34" charset="0"/>
              </a:rPr>
              <a:t>20% of patients experienced grade 3 side effects and no grade 4</a:t>
            </a:r>
          </a:p>
          <a:p>
            <a:pPr marL="173034" indent="-173034" defTabSz="914355">
              <a:lnSpc>
                <a:spcPct val="90000"/>
              </a:lnSpc>
              <a:spcAft>
                <a:spcPts val="600"/>
              </a:spcAft>
              <a:buFont typeface="Arial" panose="020B0604020202020204" pitchFamily="34" charset="0"/>
              <a:buChar char="•"/>
            </a:pPr>
            <a:r>
              <a:rPr lang="en-US" sz="1350">
                <a:solidFill>
                  <a:prstClr val="black">
                    <a:lumMod val="75000"/>
                    <a:lumOff val="25000"/>
                  </a:prstClr>
                </a:solidFill>
                <a:latin typeface="Arial" panose="020B0604020202020204" pitchFamily="34" charset="0"/>
                <a:cs typeface="Arial" panose="020B0604020202020204" pitchFamily="34" charset="0"/>
              </a:rPr>
              <a:t>No patients discontinued the trial due to side effects</a:t>
            </a:r>
          </a:p>
        </p:txBody>
      </p:sp>
      <p:sp>
        <p:nvSpPr>
          <p:cNvPr id="23" name="Rectangle 22">
            <a:extLst>
              <a:ext uri="{FF2B5EF4-FFF2-40B4-BE49-F238E27FC236}">
                <a16:creationId xmlns:a16="http://schemas.microsoft.com/office/drawing/2014/main" id="{8020A71B-D06A-46D2-BEB6-19BCD9124EE1}"/>
              </a:ext>
            </a:extLst>
          </p:cNvPr>
          <p:cNvSpPr/>
          <p:nvPr/>
        </p:nvSpPr>
        <p:spPr>
          <a:xfrm rot="10800000" flipV="1">
            <a:off x="4506072" y="2372300"/>
            <a:ext cx="69156" cy="871452"/>
          </a:xfrm>
          <a:prstGeom prst="rect">
            <a:avLst/>
          </a:prstGeom>
          <a:gradFill flip="none" rotWithShape="1">
            <a:gsLst>
              <a:gs pos="0">
                <a:srgbClr val="EC5423"/>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US" sz="2100">
              <a:solidFill>
                <a:prstClr val="white"/>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ADDC1BE4-0AEA-4321-A524-569A5C9158EF}"/>
              </a:ext>
            </a:extLst>
          </p:cNvPr>
          <p:cNvSpPr/>
          <p:nvPr/>
        </p:nvSpPr>
        <p:spPr>
          <a:xfrm>
            <a:off x="4571998" y="3429244"/>
            <a:ext cx="4572000" cy="8572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323" defTabSz="914355">
              <a:lnSpc>
                <a:spcPct val="90000"/>
              </a:lnSpc>
              <a:spcAft>
                <a:spcPts val="600"/>
              </a:spcAft>
            </a:pPr>
            <a:r>
              <a:rPr lang="en-US" sz="1350">
                <a:solidFill>
                  <a:prstClr val="black">
                    <a:lumMod val="75000"/>
                    <a:lumOff val="25000"/>
                  </a:prstClr>
                </a:solidFill>
                <a:latin typeface="Arial" panose="020B0604020202020204" pitchFamily="34" charset="0"/>
                <a:cs typeface="Arial" panose="020B0604020202020204" pitchFamily="34" charset="0"/>
              </a:rPr>
              <a:t>Treatment decreased patients’ worries about cancer</a:t>
            </a:r>
          </a:p>
        </p:txBody>
      </p:sp>
      <p:sp>
        <p:nvSpPr>
          <p:cNvPr id="30" name="Rectangle 29">
            <a:extLst>
              <a:ext uri="{FF2B5EF4-FFF2-40B4-BE49-F238E27FC236}">
                <a16:creationId xmlns:a16="http://schemas.microsoft.com/office/drawing/2014/main" id="{452026E5-96C7-4EBE-856D-31ADFDD884A1}"/>
              </a:ext>
            </a:extLst>
          </p:cNvPr>
          <p:cNvSpPr/>
          <p:nvPr/>
        </p:nvSpPr>
        <p:spPr>
          <a:xfrm rot="10800000" flipV="1">
            <a:off x="4506072" y="3429244"/>
            <a:ext cx="69156" cy="857251"/>
          </a:xfrm>
          <a:prstGeom prst="rect">
            <a:avLst/>
          </a:prstGeom>
          <a:gradFill flip="none" rotWithShape="1">
            <a:gsLst>
              <a:gs pos="0">
                <a:srgbClr val="EC5423"/>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endParaRPr lang="en-US" sz="2100">
              <a:solidFill>
                <a:prstClr val="white"/>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C780EA54-81E4-4119-B7CF-8A91E6E07DE7}"/>
              </a:ext>
            </a:extLst>
          </p:cNvPr>
          <p:cNvSpPr/>
          <p:nvPr/>
        </p:nvSpPr>
        <p:spPr>
          <a:xfrm>
            <a:off x="577630" y="4420873"/>
            <a:ext cx="7375490" cy="230832"/>
          </a:xfrm>
          <a:prstGeom prst="rect">
            <a:avLst/>
          </a:prstGeom>
        </p:spPr>
        <p:txBody>
          <a:bodyPr wrap="square" lIns="0" tIns="0" rIns="0" bIns="0" anchor="t">
            <a:spAutoFit/>
          </a:bodyPr>
          <a:lstStyle/>
          <a:p>
            <a:pPr algn="ctr" defTabSz="914355"/>
            <a:r>
              <a:rPr lang="en-US" sz="1500" b="1">
                <a:solidFill>
                  <a:prstClr val="black">
                    <a:lumMod val="75000"/>
                    <a:lumOff val="25000"/>
                  </a:prstClr>
                </a:solidFill>
                <a:latin typeface="Arial" panose="020B0604020202020204" pitchFamily="34" charset="0"/>
                <a:cs typeface="Arial" panose="020B0604020202020204" pitchFamily="34" charset="0"/>
              </a:rPr>
              <a:t>Analysis is ongoing</a:t>
            </a:r>
          </a:p>
        </p:txBody>
      </p:sp>
      <p:sp>
        <p:nvSpPr>
          <p:cNvPr id="28" name="Title 3">
            <a:extLst>
              <a:ext uri="{FF2B5EF4-FFF2-40B4-BE49-F238E27FC236}">
                <a16:creationId xmlns:a16="http://schemas.microsoft.com/office/drawing/2014/main" id="{B3B4F2D2-51AD-4B11-A21A-A93264EAB165}"/>
              </a:ext>
            </a:extLst>
          </p:cNvPr>
          <p:cNvSpPr>
            <a:spLocks noGrp="1"/>
          </p:cNvSpPr>
          <p:nvPr>
            <p:ph type="title"/>
          </p:nvPr>
        </p:nvSpPr>
        <p:spPr>
          <a:xfrm>
            <a:off x="0" y="73233"/>
            <a:ext cx="9144000" cy="509497"/>
          </a:xfrm>
        </p:spPr>
        <p:txBody>
          <a:bodyPr>
            <a:noAutofit/>
          </a:bodyPr>
          <a:lstStyle/>
          <a:p>
            <a:pPr lvl="0"/>
            <a:r>
              <a:rPr lang="en-US" sz="2400" b="1" noProof="0">
                <a:solidFill>
                  <a:srgbClr val="0070C0"/>
                </a:solidFill>
                <a:latin typeface="Arial" panose="020B0604020202020204" pitchFamily="34" charset="0"/>
                <a:cs typeface="Arial" panose="020B0604020202020204" pitchFamily="34" charset="0"/>
              </a:rPr>
              <a:t>Phase II trial of isatuximab in SMM patients</a:t>
            </a:r>
          </a:p>
        </p:txBody>
      </p:sp>
    </p:spTree>
    <p:extLst>
      <p:ext uri="{BB962C8B-B14F-4D97-AF65-F5344CB8AC3E}">
        <p14:creationId xmlns:p14="http://schemas.microsoft.com/office/powerpoint/2010/main" val="17409234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862BB7B-BB6B-491D-98EC-0C37DE96AE2A}"/>
              </a:ext>
            </a:extLst>
          </p:cNvPr>
          <p:cNvSpPr>
            <a:spLocks noGrp="1"/>
          </p:cNvSpPr>
          <p:nvPr>
            <p:ph type="title"/>
          </p:nvPr>
        </p:nvSpPr>
        <p:spPr>
          <a:xfrm>
            <a:off x="186144" y="225161"/>
            <a:ext cx="8766928" cy="568794"/>
          </a:xfrm>
        </p:spPr>
        <p:txBody>
          <a:bodyPr anchor="t">
            <a:normAutofit fontScale="90000"/>
          </a:bodyPr>
          <a:lstStyle/>
          <a:p>
            <a:r>
              <a:rPr lang="en-US" sz="2700" noProof="0"/>
              <a:t>Proposed Agenda Day 1 – Europe</a:t>
            </a:r>
            <a:br>
              <a:rPr lang="en-US" sz="2400" noProof="0"/>
            </a:br>
            <a:r>
              <a:rPr lang="en-US" sz="1300" noProof="0"/>
              <a:t>17.00 – 20.00 (CET)/10.00 – 13.00 (MST)</a:t>
            </a:r>
            <a:endParaRPr lang="en-US" sz="2400" noProof="0"/>
          </a:p>
        </p:txBody>
      </p:sp>
      <p:graphicFrame>
        <p:nvGraphicFramePr>
          <p:cNvPr id="6" name="Table 4">
            <a:extLst>
              <a:ext uri="{FF2B5EF4-FFF2-40B4-BE49-F238E27FC236}">
                <a16:creationId xmlns:a16="http://schemas.microsoft.com/office/drawing/2014/main" id="{0FE28B0C-4D56-4DE7-9CB2-6021B7785162}"/>
              </a:ext>
            </a:extLst>
          </p:cNvPr>
          <p:cNvGraphicFramePr>
            <a:graphicFrameLocks noGrp="1"/>
          </p:cNvGraphicFramePr>
          <p:nvPr>
            <p:extLst>
              <p:ext uri="{D42A27DB-BD31-4B8C-83A1-F6EECF244321}">
                <p14:modId xmlns:p14="http://schemas.microsoft.com/office/powerpoint/2010/main" val="3342415609"/>
              </p:ext>
            </p:extLst>
          </p:nvPr>
        </p:nvGraphicFramePr>
        <p:xfrm>
          <a:off x="182880" y="889819"/>
          <a:ext cx="8778240" cy="3596640"/>
        </p:xfrm>
        <a:graphic>
          <a:graphicData uri="http://schemas.openxmlformats.org/drawingml/2006/table">
            <a:tbl>
              <a:tblPr firstRow="1" bandRow="1">
                <a:tableStyleId>{5C22544A-7EE6-4342-B048-85BDC9FD1C3A}</a:tableStyleId>
              </a:tblPr>
              <a:tblGrid>
                <a:gridCol w="1038471">
                  <a:extLst>
                    <a:ext uri="{9D8B030D-6E8A-4147-A177-3AD203B41FA5}">
                      <a16:colId xmlns:a16="http://schemas.microsoft.com/office/drawing/2014/main" val="2109553782"/>
                    </a:ext>
                  </a:extLst>
                </a:gridCol>
                <a:gridCol w="5127691">
                  <a:extLst>
                    <a:ext uri="{9D8B030D-6E8A-4147-A177-3AD203B41FA5}">
                      <a16:colId xmlns:a16="http://schemas.microsoft.com/office/drawing/2014/main" val="3035314657"/>
                    </a:ext>
                  </a:extLst>
                </a:gridCol>
                <a:gridCol w="2612078">
                  <a:extLst>
                    <a:ext uri="{9D8B030D-6E8A-4147-A177-3AD203B41FA5}">
                      <a16:colId xmlns:a16="http://schemas.microsoft.com/office/drawing/2014/main" val="1523985630"/>
                    </a:ext>
                  </a:extLst>
                </a:gridCol>
              </a:tblGrid>
              <a:tr h="0">
                <a:tc>
                  <a:txBody>
                    <a:bodyPr/>
                    <a:lstStyle/>
                    <a:p>
                      <a:pPr marL="0" marR="0" algn="l">
                        <a:lnSpc>
                          <a:spcPct val="100000"/>
                        </a:lnSpc>
                        <a:spcBef>
                          <a:spcPts val="0"/>
                        </a:spcBef>
                        <a:spcAft>
                          <a:spcPts val="0"/>
                        </a:spcAft>
                      </a:pPr>
                      <a:r>
                        <a:rPr lang="en-US" sz="1000" b="1" noProof="0">
                          <a:effectLst/>
                          <a:latin typeface="Arial"/>
                          <a:cs typeface="Arial"/>
                        </a:rPr>
                        <a:t>Time</a:t>
                      </a:r>
                      <a:endParaRPr lang="en-US" sz="1000" noProof="0">
                        <a:effectLst/>
                        <a:latin typeface="Arial"/>
                        <a:ea typeface="Arial" panose="020B0604020202020204" pitchFamily="34" charset="0"/>
                        <a:cs typeface="Arial"/>
                      </a:endParaRPr>
                    </a:p>
                  </a:txBody>
                  <a:tcPr anchor="ctr"/>
                </a:tc>
                <a:tc>
                  <a:txBody>
                    <a:bodyPr/>
                    <a:lstStyle/>
                    <a:p>
                      <a:pPr marL="0" marR="0" algn="l">
                        <a:lnSpc>
                          <a:spcPct val="100000"/>
                        </a:lnSpc>
                        <a:spcBef>
                          <a:spcPts val="0"/>
                        </a:spcBef>
                        <a:spcAft>
                          <a:spcPts val="0"/>
                        </a:spcAft>
                      </a:pPr>
                      <a:r>
                        <a:rPr lang="en-US" sz="1000" b="1" kern="1200" noProof="0">
                          <a:solidFill>
                            <a:schemeClr val="bg1"/>
                          </a:solidFill>
                          <a:effectLst/>
                          <a:latin typeface="Arial"/>
                          <a:cs typeface="Arial"/>
                        </a:rPr>
                        <a:t>Topic</a:t>
                      </a:r>
                      <a:endParaRPr lang="en-US" sz="1000" noProof="0">
                        <a:solidFill>
                          <a:schemeClr val="bg1"/>
                        </a:solidFill>
                        <a:effectLst/>
                        <a:latin typeface="Arial"/>
                        <a:ea typeface="Arial" panose="020B0604020202020204" pitchFamily="34" charset="0"/>
                        <a:cs typeface="Arial"/>
                      </a:endParaRPr>
                    </a:p>
                  </a:txBody>
                  <a:tcPr anchor="ctr"/>
                </a:tc>
                <a:tc>
                  <a:txBody>
                    <a:bodyPr/>
                    <a:lstStyle/>
                    <a:p>
                      <a:pPr marL="0" marR="0" algn="l">
                        <a:lnSpc>
                          <a:spcPct val="100000"/>
                        </a:lnSpc>
                        <a:spcBef>
                          <a:spcPts val="0"/>
                        </a:spcBef>
                        <a:spcAft>
                          <a:spcPts val="0"/>
                        </a:spcAft>
                      </a:pPr>
                      <a:r>
                        <a:rPr lang="en-US" sz="1000" noProof="0">
                          <a:solidFill>
                            <a:schemeClr val="bg1"/>
                          </a:solidFill>
                          <a:effectLst/>
                          <a:latin typeface="Arial"/>
                          <a:cs typeface="Arial"/>
                        </a:rPr>
                        <a:t>Speaker</a:t>
                      </a:r>
                      <a:endParaRPr lang="en-US" sz="1000" noProof="0">
                        <a:solidFill>
                          <a:schemeClr val="bg1"/>
                        </a:solidFill>
                        <a:effectLst/>
                        <a:latin typeface="Arial"/>
                        <a:ea typeface="Arial" panose="020B0604020202020204" pitchFamily="34" charset="0"/>
                        <a:cs typeface="Arial"/>
                      </a:endParaRPr>
                    </a:p>
                  </a:txBody>
                  <a:tcPr anchor="ctr"/>
                </a:tc>
                <a:extLst>
                  <a:ext uri="{0D108BD9-81ED-4DB2-BD59-A6C34878D82A}">
                    <a16:rowId xmlns:a16="http://schemas.microsoft.com/office/drawing/2014/main" val="228243973"/>
                  </a:ext>
                </a:extLst>
              </a:tr>
              <a:tr h="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a:cs typeface="Arial"/>
                        </a:rPr>
                        <a:t>17.00 – 17.10</a:t>
                      </a:r>
                    </a:p>
                  </a:txBody>
                  <a:tcPr anchor="ctr"/>
                </a:tc>
                <a:tc>
                  <a:txBody>
                    <a:bodyPr/>
                    <a:lstStyle/>
                    <a:p>
                      <a:pPr marL="0" marR="0" algn="l">
                        <a:lnSpc>
                          <a:spcPct val="100000"/>
                        </a:lnSpc>
                        <a:spcBef>
                          <a:spcPts val="0"/>
                        </a:spcBef>
                        <a:spcAft>
                          <a:spcPts val="0"/>
                        </a:spcAft>
                      </a:pPr>
                      <a:r>
                        <a:rPr lang="en-US" sz="1000" b="1" u="none" kern="1200" noProof="0">
                          <a:solidFill>
                            <a:schemeClr val="tx1"/>
                          </a:solidFill>
                          <a:effectLst/>
                          <a:latin typeface="Arial"/>
                          <a:cs typeface="Arial"/>
                        </a:rPr>
                        <a:t>Welcome and Meeting Overview</a:t>
                      </a:r>
                      <a:endParaRPr lang="en-US" sz="1000" b="1" u="none" noProof="0">
                        <a:solidFill>
                          <a:schemeClr val="tx1"/>
                        </a:solidFill>
                        <a:effectLst/>
                        <a:latin typeface="Arial"/>
                        <a:cs typeface="Arial"/>
                      </a:endParaRPr>
                    </a:p>
                  </a:txBody>
                  <a:tcPr anchor="ctr"/>
                </a:tc>
                <a:tc>
                  <a:txBody>
                    <a:bodyPr/>
                    <a:lstStyle/>
                    <a:p>
                      <a:pPr marL="0" marR="0" algn="l">
                        <a:lnSpc>
                          <a:spcPct val="100000"/>
                        </a:lnSpc>
                        <a:spcBef>
                          <a:spcPts val="0"/>
                        </a:spcBef>
                        <a:spcAft>
                          <a:spcPts val="0"/>
                        </a:spcAft>
                      </a:pPr>
                      <a:r>
                        <a:rPr lang="en-US" sz="1000" b="0" strike="noStrike" noProof="0">
                          <a:solidFill>
                            <a:schemeClr val="tx1"/>
                          </a:solidFill>
                          <a:effectLst/>
                          <a:latin typeface="Arial"/>
                          <a:cs typeface="Arial"/>
                        </a:rPr>
                        <a:t>Rafael Fonseca, MD</a:t>
                      </a:r>
                    </a:p>
                  </a:txBody>
                  <a:tcPr anchor="ctr"/>
                </a:tc>
                <a:extLst>
                  <a:ext uri="{0D108BD9-81ED-4DB2-BD59-A6C34878D82A}">
                    <a16:rowId xmlns:a16="http://schemas.microsoft.com/office/drawing/2014/main" val="167821165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a:cs typeface="Arial"/>
                        </a:rPr>
                        <a:t>17.10 – 17.30</a:t>
                      </a:r>
                    </a:p>
                  </a:txBody>
                  <a:tcPr anchor="ctr"/>
                </a:tc>
                <a:tc>
                  <a:txBody>
                    <a:bodyPr/>
                    <a:lstStyle/>
                    <a:p>
                      <a:pPr algn="l">
                        <a:lnSpc>
                          <a:spcPct val="100000"/>
                        </a:lnSpc>
                        <a:spcBef>
                          <a:spcPts val="0"/>
                        </a:spcBef>
                        <a:spcAft>
                          <a:spcPts val="0"/>
                        </a:spcAft>
                      </a:pPr>
                      <a:r>
                        <a:rPr lang="en-US" sz="1000" b="1" u="none" kern="1200" noProof="0">
                          <a:solidFill>
                            <a:schemeClr val="tx1"/>
                          </a:solidFill>
                          <a:effectLst/>
                          <a:latin typeface="Arial"/>
                          <a:cs typeface="Arial"/>
                        </a:rPr>
                        <a:t>Smoldering Multiple Myeloma</a:t>
                      </a:r>
                    </a:p>
                  </a:txBody>
                  <a:tcPr anchor="ctr"/>
                </a:tc>
                <a:tc>
                  <a:txBody>
                    <a:bodyPr/>
                    <a:lstStyle/>
                    <a:p>
                      <a:pPr algn="l">
                        <a:lnSpc>
                          <a:spcPct val="100000"/>
                        </a:lnSpc>
                        <a:spcBef>
                          <a:spcPts val="0"/>
                        </a:spcBef>
                        <a:spcAft>
                          <a:spcPts val="0"/>
                        </a:spcAft>
                      </a:pPr>
                      <a:r>
                        <a:rPr lang="en-US" sz="1000" b="0" strike="noStrike" kern="1200" noProof="0">
                          <a:solidFill>
                            <a:schemeClr val="tx1"/>
                          </a:solidFill>
                          <a:effectLst/>
                          <a:latin typeface="Arial"/>
                          <a:cs typeface="Arial"/>
                        </a:rPr>
                        <a:t>Irene Ghobrial, MD</a:t>
                      </a:r>
                    </a:p>
                  </a:txBody>
                  <a:tcPr anchor="ctr"/>
                </a:tc>
                <a:extLst>
                  <a:ext uri="{0D108BD9-81ED-4DB2-BD59-A6C34878D82A}">
                    <a16:rowId xmlns:a16="http://schemas.microsoft.com/office/drawing/2014/main" val="51184477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a:cs typeface="Arial"/>
                        </a:rPr>
                        <a:t>17.30 – 17.50</a:t>
                      </a:r>
                    </a:p>
                  </a:txBody>
                  <a:tcPr anchor="ctr"/>
                </a:tc>
                <a:tc>
                  <a:txBody>
                    <a:bodyPr/>
                    <a:lstStyle/>
                    <a:p>
                      <a:pPr algn="l">
                        <a:lnSpc>
                          <a:spcPct val="100000"/>
                        </a:lnSpc>
                        <a:spcBef>
                          <a:spcPts val="0"/>
                        </a:spcBef>
                        <a:spcAft>
                          <a:spcPts val="0"/>
                        </a:spcAft>
                      </a:pPr>
                      <a:r>
                        <a:rPr lang="en-US" sz="1000" b="1" u="none" kern="1200" noProof="0">
                          <a:solidFill>
                            <a:schemeClr val="tx1"/>
                          </a:solidFill>
                          <a:effectLst/>
                          <a:latin typeface="Arial"/>
                          <a:cs typeface="Arial"/>
                        </a:rPr>
                        <a:t>Importance of Minimal Residual Disease and Genetic Testing in Multiple Myeloma</a:t>
                      </a:r>
                      <a:endParaRPr lang="en-US" sz="1000" b="1" u="none" noProof="0">
                        <a:solidFill>
                          <a:schemeClr val="tx1"/>
                        </a:solidFill>
                        <a:effectLst/>
                        <a:latin typeface="Arial"/>
                        <a:cs typeface="Arial"/>
                      </a:endParaRPr>
                    </a:p>
                  </a:txBody>
                  <a:tcPr anchor="ctr"/>
                </a:tc>
                <a:tc>
                  <a:txBody>
                    <a:bodyPr/>
                    <a:lstStyle/>
                    <a:p>
                      <a:pPr marL="0" marR="0" algn="l">
                        <a:lnSpc>
                          <a:spcPct val="100000"/>
                        </a:lnSpc>
                        <a:spcBef>
                          <a:spcPts val="0"/>
                        </a:spcBef>
                        <a:spcAft>
                          <a:spcPts val="0"/>
                        </a:spcAft>
                      </a:pPr>
                      <a:r>
                        <a:rPr lang="en-US" sz="1000" noProof="0">
                          <a:solidFill>
                            <a:schemeClr val="tx1"/>
                          </a:solidFill>
                          <a:latin typeface="Arial"/>
                          <a:cs typeface="Arial"/>
                        </a:rPr>
                        <a:t>Bruno Paiva, PharmD, PhD</a:t>
                      </a:r>
                      <a:endParaRPr lang="en-US" sz="1000" b="0" strike="noStrike" noProof="0">
                        <a:solidFill>
                          <a:schemeClr val="tx1"/>
                        </a:solidFill>
                        <a:effectLst/>
                        <a:latin typeface="Arial"/>
                        <a:cs typeface="Arial"/>
                      </a:endParaRPr>
                    </a:p>
                  </a:txBody>
                  <a:tcPr anchor="ctr"/>
                </a:tc>
                <a:extLst>
                  <a:ext uri="{0D108BD9-81ED-4DB2-BD59-A6C34878D82A}">
                    <a16:rowId xmlns:a16="http://schemas.microsoft.com/office/drawing/2014/main" val="369669245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a:cs typeface="Arial"/>
                        </a:rPr>
                        <a:t>17.50 – 18.10</a:t>
                      </a:r>
                    </a:p>
                  </a:txBody>
                  <a:tcPr anchor="ctr"/>
                </a:tc>
                <a:tc>
                  <a:txBody>
                    <a:bodyPr/>
                    <a:lstStyle/>
                    <a:p>
                      <a:pPr algn="l">
                        <a:lnSpc>
                          <a:spcPct val="100000"/>
                        </a:lnSpc>
                        <a:spcBef>
                          <a:spcPts val="0"/>
                        </a:spcBef>
                        <a:spcAft>
                          <a:spcPts val="0"/>
                        </a:spcAft>
                      </a:pPr>
                      <a:r>
                        <a:rPr lang="en-US" sz="1000" b="1" u="none" kern="1200" spc="-10" baseline="0" noProof="0">
                          <a:solidFill>
                            <a:schemeClr val="tx1"/>
                          </a:solidFill>
                          <a:effectLst/>
                          <a:latin typeface="Arial"/>
                          <a:cs typeface="Arial"/>
                        </a:rPr>
                        <a:t>Frontline Therapy for Newly Diagnosed Transplant-Eligible Multiple Myeloma: The Role of Transplantation</a:t>
                      </a:r>
                      <a:endParaRPr lang="en-US" sz="1000" b="1" u="none" spc="-10" baseline="0" noProof="0">
                        <a:solidFill>
                          <a:schemeClr val="tx1"/>
                        </a:solidFill>
                        <a:effectLst/>
                        <a:latin typeface="Arial"/>
                        <a:cs typeface="Arial"/>
                      </a:endParaRPr>
                    </a:p>
                  </a:txBody>
                  <a:tcPr anchor="ctr"/>
                </a:tc>
                <a:tc>
                  <a:txBody>
                    <a:bodyPr/>
                    <a:lstStyle/>
                    <a:p>
                      <a:pPr algn="l">
                        <a:lnSpc>
                          <a:spcPct val="100000"/>
                        </a:lnSpc>
                        <a:spcBef>
                          <a:spcPts val="0"/>
                        </a:spcBef>
                        <a:spcAft>
                          <a:spcPts val="0"/>
                        </a:spcAft>
                      </a:pPr>
                      <a:r>
                        <a:rPr lang="en-US" sz="1000" b="0" u="none" kern="1200" noProof="0">
                          <a:solidFill>
                            <a:schemeClr val="tx1"/>
                          </a:solidFill>
                          <a:effectLst/>
                          <a:latin typeface="Arial"/>
                          <a:cs typeface="Arial"/>
                        </a:rPr>
                        <a:t>María-Victoria Mateos, MD, PhD</a:t>
                      </a:r>
                    </a:p>
                  </a:txBody>
                  <a:tcPr anchor="ctr"/>
                </a:tc>
                <a:extLst>
                  <a:ext uri="{0D108BD9-81ED-4DB2-BD59-A6C34878D82A}">
                    <a16:rowId xmlns:a16="http://schemas.microsoft.com/office/drawing/2014/main" val="1514731825"/>
                  </a:ext>
                </a:extLst>
              </a:tr>
              <a:tr h="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a:cs typeface="Arial"/>
                        </a:rPr>
                        <a:t>18.10 – 18.3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u="none" kern="1200" noProof="0">
                          <a:solidFill>
                            <a:schemeClr val="tx1"/>
                          </a:solidFill>
                          <a:effectLst/>
                          <a:latin typeface="Arial" panose="020B0604020202020204" pitchFamily="34" charset="0"/>
                          <a:cs typeface="Arial" panose="020B0604020202020204" pitchFamily="34" charset="0"/>
                        </a:rPr>
                        <a:t>Panel Discus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kern="1200" noProof="0">
                          <a:solidFill>
                            <a:schemeClr val="tx1"/>
                          </a:solidFill>
                          <a:effectLst/>
                          <a:latin typeface="Arial"/>
                          <a:ea typeface="+mn-ea"/>
                          <a:cs typeface="Arial"/>
                        </a:rPr>
                        <a:t>Regional challenges of multiple myeloma diagnosis (Dr </a:t>
                      </a:r>
                      <a:r>
                        <a:rPr lang="en-US" sz="1000" b="0" i="0" u="none" kern="1200" noProof="0">
                          <a:solidFill>
                            <a:schemeClr val="tx1"/>
                          </a:solidFill>
                          <a:effectLst/>
                          <a:latin typeface="Arial"/>
                          <a:ea typeface="+mn-ea"/>
                          <a:cs typeface="Arial"/>
                        </a:rPr>
                        <a:t>Bruno Paiva)</a:t>
                      </a:r>
                      <a:r>
                        <a:rPr lang="en-US" sz="1000" b="0" u="none" kern="1200" noProof="0">
                          <a:solidFill>
                            <a:schemeClr val="tx1"/>
                          </a:solidFill>
                          <a:effectLst/>
                          <a:latin typeface="Arial"/>
                          <a:ea typeface="+mn-ea"/>
                          <a:cs typeface="Arial"/>
                        </a:rPr>
                        <a:t> and treatment (Dr </a:t>
                      </a:r>
                      <a:r>
                        <a:rPr lang="en-US" sz="1000" b="0" i="0" u="none" kern="1200" noProof="0">
                          <a:solidFill>
                            <a:schemeClr val="tx1"/>
                          </a:solidFill>
                          <a:effectLst/>
                          <a:latin typeface="Arial"/>
                          <a:ea typeface="+mn-ea"/>
                          <a:cs typeface="Arial"/>
                        </a:rPr>
                        <a:t>Hermann Einsele)</a:t>
                      </a:r>
                      <a:endParaRPr lang="en-US" sz="1000" b="0" u="none" kern="1200" noProof="0">
                        <a:solidFill>
                          <a:schemeClr val="tx1"/>
                        </a:solidFill>
                        <a:effectLst/>
                        <a:latin typeface="Arial"/>
                        <a:cs typeface="Arial"/>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0" strike="noStrike" kern="1200" noProof="0">
                          <a:solidFill>
                            <a:schemeClr val="tx1"/>
                          </a:solidFill>
                          <a:effectLst/>
                          <a:latin typeface="Arial" panose="020B0604020202020204" pitchFamily="34" charset="0"/>
                          <a:cs typeface="Arial" panose="020B0604020202020204" pitchFamily="34" charset="0"/>
                        </a:rPr>
                        <a:t>All faculty discussion</a:t>
                      </a:r>
                    </a:p>
                  </a:txBody>
                  <a:tcPr anchor="ctr"/>
                </a:tc>
                <a:extLst>
                  <a:ext uri="{0D108BD9-81ED-4DB2-BD59-A6C34878D82A}">
                    <a16:rowId xmlns:a16="http://schemas.microsoft.com/office/drawing/2014/main" val="281685279"/>
                  </a:ext>
                </a:extLst>
              </a:tr>
              <a:tr h="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8.30 – 18.35</a:t>
                      </a:r>
                    </a:p>
                  </a:txBody>
                  <a:tcPr anchor="ctr"/>
                </a:tc>
                <a:tc>
                  <a:txBody>
                    <a:bodyPr/>
                    <a:lstStyle/>
                    <a:p>
                      <a:pPr marL="0" marR="0" indent="0" algn="l" defTabSz="914400" rtl="0" eaLnBrk="1" latinLnBrk="0" hangingPunct="1">
                        <a:lnSpc>
                          <a:spcPct val="100000"/>
                        </a:lnSpc>
                        <a:spcBef>
                          <a:spcPts val="0"/>
                        </a:spcBef>
                        <a:spcAft>
                          <a:spcPts val="0"/>
                        </a:spcAft>
                        <a:buFont typeface="Arial" panose="020B0604020202020204" pitchFamily="34" charset="0"/>
                        <a:buNone/>
                      </a:pPr>
                      <a:r>
                        <a:rPr lang="en-US" sz="1000" b="1" u="none" kern="1200" noProof="0">
                          <a:solidFill>
                            <a:schemeClr val="tx1"/>
                          </a:solidFill>
                          <a:effectLst/>
                          <a:latin typeface="Arial" panose="020B0604020202020204" pitchFamily="34" charset="0"/>
                          <a:cs typeface="Arial" panose="020B0604020202020204" pitchFamily="34" charset="0"/>
                        </a:rPr>
                        <a:t>Break</a:t>
                      </a:r>
                    </a:p>
                  </a:txBody>
                  <a:tcPr anchor="ctr"/>
                </a:tc>
                <a:tc>
                  <a:txBody>
                    <a:bodyPr/>
                    <a:lstStyle/>
                    <a:p>
                      <a:pPr marL="0" marR="0" algn="l">
                        <a:lnSpc>
                          <a:spcPct val="100000"/>
                        </a:lnSpc>
                        <a:spcBef>
                          <a:spcPts val="0"/>
                        </a:spcBef>
                        <a:spcAft>
                          <a:spcPts val="0"/>
                        </a:spcAft>
                      </a:pPr>
                      <a:endParaRPr lang="en-US" sz="1000" b="0" strike="noStrike" kern="1200" noProof="0">
                        <a:solidFill>
                          <a:schemeClr val="tx1"/>
                        </a:solidFill>
                        <a:effectLst/>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52523912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8.35 – 18.55 </a:t>
                      </a:r>
                    </a:p>
                  </a:txBody>
                  <a:tcPr anchor="ctr"/>
                </a:tc>
                <a:tc>
                  <a:txBody>
                    <a:bodyPr/>
                    <a:lstStyle/>
                    <a:p>
                      <a:pPr algn="l">
                        <a:lnSpc>
                          <a:spcPct val="100000"/>
                        </a:lnSpc>
                        <a:spcBef>
                          <a:spcPts val="0"/>
                        </a:spcBef>
                        <a:spcAft>
                          <a:spcPts val="0"/>
                        </a:spcAft>
                      </a:pPr>
                      <a:r>
                        <a:rPr lang="en-US" sz="1000" b="1" u="none" kern="1200" noProof="0">
                          <a:solidFill>
                            <a:schemeClr val="tx1"/>
                          </a:solidFill>
                          <a:effectLst/>
                          <a:latin typeface="Arial" panose="020B0604020202020204" pitchFamily="34" charset="0"/>
                          <a:cs typeface="Arial" panose="020B0604020202020204" pitchFamily="34" charset="0"/>
                        </a:rPr>
                        <a:t>Optimal Use of Consolidation and Maintenance Therapy</a:t>
                      </a:r>
                      <a:endParaRPr lang="en-US" sz="1000" b="1" u="none" noProof="0">
                        <a:solidFill>
                          <a:schemeClr val="tx1"/>
                        </a:solidFill>
                        <a:effectLst/>
                        <a:latin typeface="Arial" panose="020B0604020202020204" pitchFamily="34" charset="0"/>
                        <a:cs typeface="Arial" panose="020B0604020202020204" pitchFamily="34" charset="0"/>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noProof="0">
                          <a:solidFill>
                            <a:schemeClr val="tx1"/>
                          </a:solidFill>
                          <a:latin typeface="Arial" panose="020B0604020202020204" pitchFamily="34" charset="0"/>
                          <a:cs typeface="Arial" panose="020B0604020202020204" pitchFamily="34" charset="0"/>
                        </a:rPr>
                        <a:t>Xavier Leleu, MD, PhD</a:t>
                      </a:r>
                    </a:p>
                  </a:txBody>
                  <a:tcPr anchor="ctr"/>
                </a:tc>
                <a:extLst>
                  <a:ext uri="{0D108BD9-81ED-4DB2-BD59-A6C34878D82A}">
                    <a16:rowId xmlns:a16="http://schemas.microsoft.com/office/drawing/2014/main" val="32525747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8.55  – 19.20</a:t>
                      </a:r>
                    </a:p>
                  </a:txBody>
                  <a:tcPr anchor="ctr"/>
                </a:tc>
                <a:tc>
                  <a:txBody>
                    <a:bodyPr/>
                    <a:lstStyle/>
                    <a:p>
                      <a:pPr marL="0" marR="0" algn="l">
                        <a:lnSpc>
                          <a:spcPct val="100000"/>
                        </a:lnSpc>
                        <a:spcBef>
                          <a:spcPts val="0"/>
                        </a:spcBef>
                        <a:spcAft>
                          <a:spcPts val="0"/>
                        </a:spcAft>
                      </a:pPr>
                      <a:r>
                        <a:rPr lang="en-US" sz="1000" b="1" u="none" kern="1200" noProof="0">
                          <a:solidFill>
                            <a:schemeClr val="tx1"/>
                          </a:solidFill>
                          <a:effectLst/>
                          <a:latin typeface="Arial" panose="020B0604020202020204" pitchFamily="34" charset="0"/>
                          <a:cs typeface="Arial" panose="020B0604020202020204" pitchFamily="34" charset="0"/>
                        </a:rPr>
                        <a:t>Frontline Therapy for Newly Diagnosed Transplant-Ineligible Patients</a:t>
                      </a:r>
                      <a:endParaRPr lang="en-US" sz="1000" b="1" u="none" noProof="0">
                        <a:solidFill>
                          <a:schemeClr val="tx1"/>
                        </a:solidFill>
                        <a:effectLst/>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strike="noStrike" kern="1200" noProof="0">
                          <a:solidFill>
                            <a:schemeClr val="tx1"/>
                          </a:solidFill>
                          <a:effectLst/>
                          <a:latin typeface="Arial" panose="020B0604020202020204" pitchFamily="34" charset="0"/>
                          <a:cs typeface="Arial" panose="020B0604020202020204" pitchFamily="34" charset="0"/>
                        </a:rPr>
                        <a:t>Keith Stewart, MBChB, MBA</a:t>
                      </a:r>
                    </a:p>
                  </a:txBody>
                  <a:tcPr anchor="ctr"/>
                </a:tc>
                <a:extLst>
                  <a:ext uri="{0D108BD9-81ED-4DB2-BD59-A6C34878D82A}">
                    <a16:rowId xmlns:a16="http://schemas.microsoft.com/office/drawing/2014/main" val="3715149960"/>
                  </a:ext>
                </a:extLst>
              </a:tr>
              <a:tr h="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9.20 – 19.50</a:t>
                      </a:r>
                    </a:p>
                  </a:txBody>
                  <a:tcPr anchor="ctr"/>
                </a:tc>
                <a:tc>
                  <a:txBody>
                    <a:bodyPr/>
                    <a:lstStyle/>
                    <a:p>
                      <a:pPr marL="0" marR="0" algn="l">
                        <a:lnSpc>
                          <a:spcPct val="100000"/>
                        </a:lnSpc>
                        <a:spcBef>
                          <a:spcPts val="0"/>
                        </a:spcBef>
                        <a:spcAft>
                          <a:spcPts val="0"/>
                        </a:spcAft>
                      </a:pPr>
                      <a:r>
                        <a:rPr lang="en-US" sz="1000" b="1" u="none" kern="1200" noProof="0">
                          <a:solidFill>
                            <a:schemeClr val="tx1"/>
                          </a:solidFill>
                          <a:effectLst/>
                          <a:latin typeface="Arial"/>
                          <a:cs typeface="Arial"/>
                        </a:rPr>
                        <a:t>Debate</a:t>
                      </a:r>
                    </a:p>
                    <a:p>
                      <a:pPr marL="171450" marR="0" indent="-171450" algn="l" rtl="0" eaLnBrk="1" latinLnBrk="0" hangingPunct="1">
                        <a:lnSpc>
                          <a:spcPct val="100000"/>
                        </a:lnSpc>
                        <a:spcBef>
                          <a:spcPts val="0"/>
                        </a:spcBef>
                        <a:spcAft>
                          <a:spcPts val="0"/>
                        </a:spcAft>
                        <a:buFont typeface="Arial" panose="020B0604020202020204" pitchFamily="34" charset="0"/>
                        <a:buChar char="•"/>
                      </a:pPr>
                      <a:r>
                        <a:rPr lang="en-US" sz="1000" b="0" u="none" kern="1200" noProof="0">
                          <a:solidFill>
                            <a:schemeClr val="tx1"/>
                          </a:solidFill>
                          <a:effectLst/>
                          <a:latin typeface="Arial"/>
                          <a:cs typeface="Arial"/>
                        </a:rPr>
                        <a:t>Smoldering myeloma: To treat or not to treat? </a:t>
                      </a:r>
                    </a:p>
                    <a:p>
                      <a:pPr marL="171450" marR="0" indent="-171450" algn="l" defTabSz="914400" rtl="0" eaLnBrk="1" latinLnBrk="0" hangingPunct="1">
                        <a:lnSpc>
                          <a:spcPct val="100000"/>
                        </a:lnSpc>
                        <a:spcBef>
                          <a:spcPts val="0"/>
                        </a:spcBef>
                        <a:spcAft>
                          <a:spcPts val="0"/>
                        </a:spcAft>
                        <a:buFont typeface="Arial" panose="020B0604020202020204" pitchFamily="34" charset="0"/>
                        <a:buChar char="•"/>
                      </a:pPr>
                      <a:r>
                        <a:rPr lang="en-US" sz="1000" b="0" u="none" kern="1200" noProof="0">
                          <a:solidFill>
                            <a:schemeClr val="tx1"/>
                          </a:solidFill>
                          <a:effectLst/>
                          <a:latin typeface="Arial"/>
                          <a:cs typeface="Arial"/>
                        </a:rPr>
                        <a:t>Is myeloma curable or not?</a:t>
                      </a:r>
                    </a:p>
                  </a:txBody>
                  <a:tcPr anchor="ctr"/>
                </a:tc>
                <a:tc>
                  <a:txBody>
                    <a:bodyPr/>
                    <a:lstStyle/>
                    <a:p>
                      <a:pPr marL="0" marR="0" algn="l">
                        <a:lnSpc>
                          <a:spcPct val="100000"/>
                        </a:lnSpc>
                        <a:spcBef>
                          <a:spcPts val="0"/>
                        </a:spcBef>
                        <a:spcAft>
                          <a:spcPts val="0"/>
                        </a:spcAft>
                      </a:pPr>
                      <a:r>
                        <a:rPr lang="en-US" sz="1000" b="0" strike="noStrike" kern="1200" noProof="0">
                          <a:solidFill>
                            <a:schemeClr val="tx1"/>
                          </a:solidFill>
                          <a:effectLst/>
                          <a:latin typeface="Arial" panose="020B0604020202020204" pitchFamily="34" charset="0"/>
                          <a:cs typeface="Arial" panose="020B0604020202020204" pitchFamily="34" charset="0"/>
                        </a:rPr>
                        <a:t>Irene Ghobrial, MD (yes) vs Meletios Dimopoulos, MD (no);</a:t>
                      </a:r>
                    </a:p>
                    <a:p>
                      <a:pPr marL="0" marR="0" algn="l">
                        <a:lnSpc>
                          <a:spcPct val="100000"/>
                        </a:lnSpc>
                        <a:spcBef>
                          <a:spcPts val="0"/>
                        </a:spcBef>
                        <a:spcAft>
                          <a:spcPts val="0"/>
                        </a:spcAft>
                      </a:pPr>
                      <a:r>
                        <a:rPr lang="en-US" sz="1000" b="0" strike="noStrike" kern="1200" noProof="0">
                          <a:solidFill>
                            <a:schemeClr val="tx1"/>
                          </a:solidFill>
                          <a:effectLst/>
                          <a:latin typeface="Arial" panose="020B0604020202020204" pitchFamily="34" charset="0"/>
                          <a:cs typeface="Arial" panose="020B0604020202020204" pitchFamily="34" charset="0"/>
                        </a:rPr>
                        <a:t>Rafael Fonseca, MD (yes) vs Xavier Leleu, MD, PhD (no)</a:t>
                      </a:r>
                    </a:p>
                  </a:txBody>
                  <a:tcPr anchor="ctr"/>
                </a:tc>
                <a:extLst>
                  <a:ext uri="{0D108BD9-81ED-4DB2-BD59-A6C34878D82A}">
                    <a16:rowId xmlns:a16="http://schemas.microsoft.com/office/drawing/2014/main" val="190587433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9.50 – 20.00</a:t>
                      </a:r>
                    </a:p>
                  </a:txBody>
                  <a:tcPr anchor="ctr"/>
                </a:tc>
                <a:tc>
                  <a:txBody>
                    <a:bodyPr/>
                    <a:lstStyle/>
                    <a:p>
                      <a:pPr marL="0" marR="0" algn="l">
                        <a:lnSpc>
                          <a:spcPct val="100000"/>
                        </a:lnSpc>
                        <a:spcBef>
                          <a:spcPts val="0"/>
                        </a:spcBef>
                        <a:spcAft>
                          <a:spcPts val="0"/>
                        </a:spcAft>
                      </a:pPr>
                      <a:r>
                        <a:rPr lang="en-US" sz="1000" b="1" u="none" kern="1200" noProof="0">
                          <a:solidFill>
                            <a:schemeClr val="tx1"/>
                          </a:solidFill>
                          <a:effectLst/>
                          <a:latin typeface="Arial" panose="020B0604020202020204" pitchFamily="34" charset="0"/>
                          <a:cs typeface="Arial" panose="020B0604020202020204" pitchFamily="34" charset="0"/>
                        </a:rPr>
                        <a:t>Session Close</a:t>
                      </a:r>
                    </a:p>
                  </a:txBody>
                  <a:tcPr anchor="ctr"/>
                </a:tc>
                <a:tc>
                  <a:txBody>
                    <a:bodyPr/>
                    <a:lstStyle/>
                    <a:p>
                      <a:pPr marL="0" marR="0" algn="l">
                        <a:lnSpc>
                          <a:spcPct val="100000"/>
                        </a:lnSpc>
                        <a:spcBef>
                          <a:spcPts val="0"/>
                        </a:spcBef>
                        <a:spcAft>
                          <a:spcPts val="0"/>
                        </a:spcAft>
                      </a:pPr>
                      <a:r>
                        <a:rPr lang="en-US" sz="1000" b="0" strike="noStrike" kern="1200" noProof="0">
                          <a:solidFill>
                            <a:schemeClr val="tx1"/>
                          </a:solidFill>
                          <a:effectLst/>
                          <a:latin typeface="Arial" panose="020B0604020202020204" pitchFamily="34" charset="0"/>
                          <a:cs typeface="Arial" panose="020B0604020202020204" pitchFamily="34" charset="0"/>
                        </a:rPr>
                        <a:t>Rafael Fonseca, MD</a:t>
                      </a:r>
                    </a:p>
                  </a:txBody>
                  <a:tcPr anchor="ctr"/>
                </a:tc>
                <a:extLst>
                  <a:ext uri="{0D108BD9-81ED-4DB2-BD59-A6C34878D82A}">
                    <a16:rowId xmlns:a16="http://schemas.microsoft.com/office/drawing/2014/main" val="3914838558"/>
                  </a:ext>
                </a:extLst>
              </a:tr>
            </a:tbl>
          </a:graphicData>
        </a:graphic>
      </p:graphicFrame>
    </p:spTree>
    <p:extLst>
      <p:ext uri="{BB962C8B-B14F-4D97-AF65-F5344CB8AC3E}">
        <p14:creationId xmlns:p14="http://schemas.microsoft.com/office/powerpoint/2010/main" val="4711566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84130" y="1392059"/>
            <a:ext cx="1078729" cy="860244"/>
          </a:xfrm>
          <a:prstGeom prst="roundRect">
            <a:avLst/>
          </a:prstGeom>
          <a:solidFill>
            <a:srgbClr val="00B0F0"/>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85800"/>
            <a:r>
              <a:rPr lang="en-US" sz="825" b="1">
                <a:solidFill>
                  <a:prstClr val="white"/>
                </a:solidFill>
                <a:latin typeface="Arial" panose="020B0604020202020204" pitchFamily="34" charset="0"/>
                <a:cs typeface="Arial" panose="020B0604020202020204" pitchFamily="34" charset="0"/>
              </a:rPr>
              <a:t>High-risk smoldering myeloma</a:t>
            </a:r>
          </a:p>
        </p:txBody>
      </p:sp>
      <p:sp>
        <p:nvSpPr>
          <p:cNvPr id="5" name="Rounded Rectangle 4"/>
          <p:cNvSpPr/>
          <p:nvPr/>
        </p:nvSpPr>
        <p:spPr>
          <a:xfrm>
            <a:off x="1734755" y="1126082"/>
            <a:ext cx="1227611" cy="1844248"/>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a:r>
              <a:rPr lang="en-US" sz="825" b="1">
                <a:solidFill>
                  <a:prstClr val="white"/>
                </a:solidFill>
                <a:latin typeface="Arial" panose="020B0604020202020204" pitchFamily="34" charset="0"/>
                <a:cs typeface="Arial" panose="020B0604020202020204" pitchFamily="34" charset="0"/>
              </a:rPr>
              <a:t>Daratumumab 1800 mg SQ d1, 8, 15, 22</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Bortezomib 1.3 mg/m</a:t>
            </a:r>
            <a:r>
              <a:rPr lang="en-US" sz="825" b="1" baseline="30000">
                <a:solidFill>
                  <a:prstClr val="white"/>
                </a:solidFill>
                <a:latin typeface="Arial" panose="020B0604020202020204" pitchFamily="34" charset="0"/>
                <a:cs typeface="Arial" panose="020B0604020202020204" pitchFamily="34" charset="0"/>
              </a:rPr>
              <a:t>2</a:t>
            </a:r>
            <a:r>
              <a:rPr lang="en-US" sz="825" b="1">
                <a:solidFill>
                  <a:prstClr val="white"/>
                </a:solidFill>
                <a:latin typeface="Arial" panose="020B0604020202020204" pitchFamily="34" charset="0"/>
                <a:cs typeface="Arial" panose="020B0604020202020204" pitchFamily="34" charset="0"/>
              </a:rPr>
              <a:t> SQ d1, 8, 15</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Lenalidomide 25 mg PO d1-21</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Dexamethasone 20 mg weekly</a:t>
            </a:r>
          </a:p>
        </p:txBody>
      </p:sp>
      <p:sp>
        <p:nvSpPr>
          <p:cNvPr id="14" name="TextBox 13"/>
          <p:cNvSpPr txBox="1"/>
          <p:nvPr/>
        </p:nvSpPr>
        <p:spPr>
          <a:xfrm>
            <a:off x="4231621" y="1694201"/>
            <a:ext cx="529880" cy="230832"/>
          </a:xfrm>
          <a:prstGeom prst="rect">
            <a:avLst/>
          </a:prstGeom>
          <a:noFill/>
        </p:spPr>
        <p:txBody>
          <a:bodyPr wrap="square" lIns="34290" rIns="34290" rtlCol="0" anchor="ctr">
            <a:spAutoFit/>
          </a:bodyPr>
          <a:lstStyle/>
          <a:p>
            <a:pPr algn="ctr" defTabSz="685800"/>
            <a:r>
              <a:rPr lang="en-US" sz="900" b="1">
                <a:solidFill>
                  <a:prstClr val="black"/>
                </a:solidFill>
                <a:latin typeface="Arial" panose="020B0604020202020204" pitchFamily="34" charset="0"/>
                <a:cs typeface="Arial" panose="020B0604020202020204" pitchFamily="34" charset="0"/>
              </a:rPr>
              <a:t>MRD</a:t>
            </a:r>
          </a:p>
        </p:txBody>
      </p:sp>
      <p:sp>
        <p:nvSpPr>
          <p:cNvPr id="16" name="Rounded Rectangle 15">
            <a:extLst>
              <a:ext uri="{FF2B5EF4-FFF2-40B4-BE49-F238E27FC236}">
                <a16:creationId xmlns:a16="http://schemas.microsoft.com/office/drawing/2014/main" id="{53BC296D-35D6-1249-8E80-AC409BF2A59D}"/>
              </a:ext>
            </a:extLst>
          </p:cNvPr>
          <p:cNvSpPr/>
          <p:nvPr/>
        </p:nvSpPr>
        <p:spPr>
          <a:xfrm>
            <a:off x="3068750" y="1135462"/>
            <a:ext cx="1259503" cy="1844249"/>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a:r>
              <a:rPr lang="en-US" sz="825" b="1">
                <a:solidFill>
                  <a:prstClr val="white"/>
                </a:solidFill>
                <a:latin typeface="Arial" panose="020B0604020202020204" pitchFamily="34" charset="0"/>
                <a:cs typeface="Arial" panose="020B0604020202020204" pitchFamily="34" charset="0"/>
              </a:rPr>
              <a:t>Daratumumab 1800 mg SQ d1, 15</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Bortezomib 1.3 mg/m</a:t>
            </a:r>
            <a:r>
              <a:rPr lang="en-US" sz="825" b="1" baseline="30000">
                <a:solidFill>
                  <a:prstClr val="white"/>
                </a:solidFill>
                <a:latin typeface="Arial" panose="020B0604020202020204" pitchFamily="34" charset="0"/>
                <a:cs typeface="Arial" panose="020B0604020202020204" pitchFamily="34" charset="0"/>
              </a:rPr>
              <a:t>2</a:t>
            </a:r>
            <a:r>
              <a:rPr lang="en-US" sz="825" b="1">
                <a:solidFill>
                  <a:prstClr val="white"/>
                </a:solidFill>
                <a:latin typeface="Arial" panose="020B0604020202020204" pitchFamily="34" charset="0"/>
                <a:cs typeface="Arial" panose="020B0604020202020204" pitchFamily="34" charset="0"/>
              </a:rPr>
              <a:t> SQ d1, 8, 15</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Lenalidomide 25 mg PO d1-21</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Dexamethasone 20 mg weekly</a:t>
            </a:r>
          </a:p>
        </p:txBody>
      </p:sp>
      <p:sp>
        <p:nvSpPr>
          <p:cNvPr id="17" name="Rounded Rectangle 16">
            <a:extLst>
              <a:ext uri="{FF2B5EF4-FFF2-40B4-BE49-F238E27FC236}">
                <a16:creationId xmlns:a16="http://schemas.microsoft.com/office/drawing/2014/main" id="{C75E47BD-43B1-8E41-B297-755FC913DB47}"/>
              </a:ext>
            </a:extLst>
          </p:cNvPr>
          <p:cNvSpPr/>
          <p:nvPr/>
        </p:nvSpPr>
        <p:spPr>
          <a:xfrm>
            <a:off x="4673707" y="1126081"/>
            <a:ext cx="1147236" cy="1890384"/>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a:r>
              <a:rPr lang="en-US" sz="825" b="1">
                <a:solidFill>
                  <a:prstClr val="white"/>
                </a:solidFill>
                <a:latin typeface="Arial" panose="020B0604020202020204" pitchFamily="34" charset="0"/>
                <a:cs typeface="Arial" panose="020B0604020202020204" pitchFamily="34" charset="0"/>
              </a:rPr>
              <a:t>Daratumumab 1800 mg SQ d1</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Bortezomib 1.3 mg/m</a:t>
            </a:r>
            <a:r>
              <a:rPr lang="en-US" sz="825" b="1" baseline="30000">
                <a:solidFill>
                  <a:prstClr val="white"/>
                </a:solidFill>
                <a:latin typeface="Arial" panose="020B0604020202020204" pitchFamily="34" charset="0"/>
                <a:cs typeface="Arial" panose="020B0604020202020204" pitchFamily="34" charset="0"/>
              </a:rPr>
              <a:t>2</a:t>
            </a:r>
            <a:r>
              <a:rPr lang="en-US" sz="825" b="1">
                <a:solidFill>
                  <a:prstClr val="white"/>
                </a:solidFill>
                <a:latin typeface="Arial" panose="020B0604020202020204" pitchFamily="34" charset="0"/>
                <a:cs typeface="Arial" panose="020B0604020202020204" pitchFamily="34" charset="0"/>
              </a:rPr>
              <a:t> SQ d1, 15</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Lenalidomide 15 mg PO d1-21</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Dexamethasone 20 mg d1, 15</a:t>
            </a:r>
          </a:p>
        </p:txBody>
      </p:sp>
      <p:sp>
        <p:nvSpPr>
          <p:cNvPr id="18" name="TextBox 17">
            <a:extLst>
              <a:ext uri="{FF2B5EF4-FFF2-40B4-BE49-F238E27FC236}">
                <a16:creationId xmlns:a16="http://schemas.microsoft.com/office/drawing/2014/main" id="{E1398F83-F532-CB4A-9E7C-C6F151315E82}"/>
              </a:ext>
            </a:extLst>
          </p:cNvPr>
          <p:cNvSpPr txBox="1"/>
          <p:nvPr/>
        </p:nvSpPr>
        <p:spPr>
          <a:xfrm>
            <a:off x="5742994" y="1694201"/>
            <a:ext cx="495539" cy="230832"/>
          </a:xfrm>
          <a:prstGeom prst="rect">
            <a:avLst/>
          </a:prstGeom>
          <a:noFill/>
        </p:spPr>
        <p:txBody>
          <a:bodyPr wrap="square" lIns="34290" rIns="34290" rtlCol="0" anchor="ctr">
            <a:spAutoFit/>
          </a:bodyPr>
          <a:lstStyle/>
          <a:p>
            <a:pPr algn="ctr" defTabSz="685800"/>
            <a:r>
              <a:rPr lang="en-US" sz="900" b="1">
                <a:solidFill>
                  <a:prstClr val="black"/>
                </a:solidFill>
                <a:latin typeface="Arial" panose="020B0604020202020204" pitchFamily="34" charset="0"/>
                <a:cs typeface="Arial" panose="020B0604020202020204" pitchFamily="34" charset="0"/>
              </a:rPr>
              <a:t>MRD</a:t>
            </a:r>
          </a:p>
        </p:txBody>
      </p:sp>
      <p:sp>
        <p:nvSpPr>
          <p:cNvPr id="21" name="Rounded Rectangle 20">
            <a:extLst>
              <a:ext uri="{FF2B5EF4-FFF2-40B4-BE49-F238E27FC236}">
                <a16:creationId xmlns:a16="http://schemas.microsoft.com/office/drawing/2014/main" id="{F1EA0D8C-CF97-E340-A8D9-70DED9807D06}"/>
              </a:ext>
            </a:extLst>
          </p:cNvPr>
          <p:cNvSpPr/>
          <p:nvPr/>
        </p:nvSpPr>
        <p:spPr>
          <a:xfrm>
            <a:off x="6166398" y="1079910"/>
            <a:ext cx="1144843" cy="1951264"/>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defTabSz="685800"/>
            <a:r>
              <a:rPr lang="en-US" sz="825" b="1">
                <a:solidFill>
                  <a:prstClr val="white"/>
                </a:solidFill>
                <a:latin typeface="Arial" panose="020B0604020202020204" pitchFamily="34" charset="0"/>
                <a:cs typeface="Arial" panose="020B0604020202020204" pitchFamily="34" charset="0"/>
              </a:rPr>
              <a:t>Daratumumab 1800 mg SQ d1</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Bortezomib 1.3 mg/m</a:t>
            </a:r>
            <a:r>
              <a:rPr lang="en-US" sz="825" b="1" baseline="30000">
                <a:solidFill>
                  <a:prstClr val="white"/>
                </a:solidFill>
                <a:latin typeface="Arial" panose="020B0604020202020204" pitchFamily="34" charset="0"/>
                <a:cs typeface="Arial" panose="020B0604020202020204" pitchFamily="34" charset="0"/>
              </a:rPr>
              <a:t>2</a:t>
            </a:r>
            <a:r>
              <a:rPr lang="en-US" sz="825" b="1">
                <a:solidFill>
                  <a:prstClr val="white"/>
                </a:solidFill>
                <a:latin typeface="Arial" panose="020B0604020202020204" pitchFamily="34" charset="0"/>
                <a:cs typeface="Arial" panose="020B0604020202020204" pitchFamily="34" charset="0"/>
              </a:rPr>
              <a:t> SQ d1, 15</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Lenalidomide 15 mg PO d1-21</a:t>
            </a:r>
          </a:p>
          <a:p>
            <a:pPr algn="ctr" defTabSz="685800"/>
            <a:endParaRPr lang="en-US" sz="825" b="1">
              <a:solidFill>
                <a:prstClr val="white"/>
              </a:solidFill>
              <a:latin typeface="Arial" panose="020B0604020202020204" pitchFamily="34" charset="0"/>
              <a:cs typeface="Arial" panose="020B0604020202020204" pitchFamily="34" charset="0"/>
            </a:endParaRPr>
          </a:p>
          <a:p>
            <a:pPr algn="ctr" defTabSz="685800"/>
            <a:r>
              <a:rPr lang="en-US" sz="825" b="1">
                <a:solidFill>
                  <a:prstClr val="white"/>
                </a:solidFill>
                <a:latin typeface="Arial" panose="020B0604020202020204" pitchFamily="34" charset="0"/>
                <a:cs typeface="Arial" panose="020B0604020202020204" pitchFamily="34" charset="0"/>
              </a:rPr>
              <a:t>Dexamethasone 20 mg d1, 15</a:t>
            </a:r>
          </a:p>
        </p:txBody>
      </p:sp>
      <p:sp>
        <p:nvSpPr>
          <p:cNvPr id="24" name="TextBox 23">
            <a:extLst>
              <a:ext uri="{FF2B5EF4-FFF2-40B4-BE49-F238E27FC236}">
                <a16:creationId xmlns:a16="http://schemas.microsoft.com/office/drawing/2014/main" id="{CE83185E-6078-0A43-A0D3-CA8F8F9D80A3}"/>
              </a:ext>
            </a:extLst>
          </p:cNvPr>
          <p:cNvSpPr txBox="1"/>
          <p:nvPr/>
        </p:nvSpPr>
        <p:spPr>
          <a:xfrm>
            <a:off x="7559518" y="1742241"/>
            <a:ext cx="495539" cy="230832"/>
          </a:xfrm>
          <a:prstGeom prst="rect">
            <a:avLst/>
          </a:prstGeom>
          <a:noFill/>
        </p:spPr>
        <p:txBody>
          <a:bodyPr wrap="square" rtlCol="0">
            <a:spAutoFit/>
          </a:bodyPr>
          <a:lstStyle/>
          <a:p>
            <a:pPr defTabSz="685800"/>
            <a:r>
              <a:rPr lang="en-US" sz="900" b="1">
                <a:solidFill>
                  <a:prstClr val="black"/>
                </a:solidFill>
                <a:latin typeface="Arial" panose="020B0604020202020204" pitchFamily="34" charset="0"/>
                <a:cs typeface="Arial" panose="020B0604020202020204" pitchFamily="34" charset="0"/>
              </a:rPr>
              <a:t>MRD</a:t>
            </a:r>
          </a:p>
        </p:txBody>
      </p:sp>
      <p:sp>
        <p:nvSpPr>
          <p:cNvPr id="25" name="TextBox 24">
            <a:extLst>
              <a:ext uri="{FF2B5EF4-FFF2-40B4-BE49-F238E27FC236}">
                <a16:creationId xmlns:a16="http://schemas.microsoft.com/office/drawing/2014/main" id="{BD1936BB-E401-5740-ABD7-1B2447CD91DD}"/>
              </a:ext>
            </a:extLst>
          </p:cNvPr>
          <p:cNvSpPr txBox="1"/>
          <p:nvPr/>
        </p:nvSpPr>
        <p:spPr>
          <a:xfrm>
            <a:off x="1822543" y="860967"/>
            <a:ext cx="822803" cy="219291"/>
          </a:xfrm>
          <a:prstGeom prst="rect">
            <a:avLst/>
          </a:prstGeom>
          <a:noFill/>
        </p:spPr>
        <p:txBody>
          <a:bodyPr wrap="square" rtlCol="0">
            <a:spAutoFit/>
          </a:bodyPr>
          <a:lstStyle/>
          <a:p>
            <a:pPr defTabSz="685800"/>
            <a:r>
              <a:rPr lang="en-US" sz="825" b="1">
                <a:solidFill>
                  <a:prstClr val="black"/>
                </a:solidFill>
                <a:latin typeface="Arial" panose="020B0604020202020204" pitchFamily="34" charset="0"/>
                <a:cs typeface="Arial" panose="020B0604020202020204" pitchFamily="34" charset="0"/>
              </a:rPr>
              <a:t>Cycles 1-2</a:t>
            </a:r>
          </a:p>
        </p:txBody>
      </p:sp>
      <p:sp>
        <p:nvSpPr>
          <p:cNvPr id="26" name="TextBox 25">
            <a:extLst>
              <a:ext uri="{FF2B5EF4-FFF2-40B4-BE49-F238E27FC236}">
                <a16:creationId xmlns:a16="http://schemas.microsoft.com/office/drawing/2014/main" id="{1C496C5E-D5A2-8B48-A3EA-6C625999E782}"/>
              </a:ext>
            </a:extLst>
          </p:cNvPr>
          <p:cNvSpPr txBox="1"/>
          <p:nvPr/>
        </p:nvSpPr>
        <p:spPr>
          <a:xfrm>
            <a:off x="3226576" y="849079"/>
            <a:ext cx="792970" cy="219291"/>
          </a:xfrm>
          <a:prstGeom prst="rect">
            <a:avLst/>
          </a:prstGeom>
          <a:noFill/>
        </p:spPr>
        <p:txBody>
          <a:bodyPr wrap="square" rtlCol="0">
            <a:spAutoFit/>
          </a:bodyPr>
          <a:lstStyle/>
          <a:p>
            <a:pPr defTabSz="685800"/>
            <a:r>
              <a:rPr lang="en-US" sz="825" b="1">
                <a:solidFill>
                  <a:prstClr val="black"/>
                </a:solidFill>
                <a:latin typeface="Arial" panose="020B0604020202020204" pitchFamily="34" charset="0"/>
                <a:cs typeface="Arial" panose="020B0604020202020204" pitchFamily="34" charset="0"/>
              </a:rPr>
              <a:t>Cycles 3-6</a:t>
            </a:r>
          </a:p>
        </p:txBody>
      </p:sp>
      <p:sp>
        <p:nvSpPr>
          <p:cNvPr id="27" name="TextBox 26">
            <a:extLst>
              <a:ext uri="{FF2B5EF4-FFF2-40B4-BE49-F238E27FC236}">
                <a16:creationId xmlns:a16="http://schemas.microsoft.com/office/drawing/2014/main" id="{A2E91DFD-3484-DB43-BEB1-D83B8A049659}"/>
              </a:ext>
            </a:extLst>
          </p:cNvPr>
          <p:cNvSpPr txBox="1"/>
          <p:nvPr/>
        </p:nvSpPr>
        <p:spPr>
          <a:xfrm>
            <a:off x="4758501" y="860967"/>
            <a:ext cx="956059" cy="219291"/>
          </a:xfrm>
          <a:prstGeom prst="rect">
            <a:avLst/>
          </a:prstGeom>
          <a:noFill/>
        </p:spPr>
        <p:txBody>
          <a:bodyPr wrap="square" rtlCol="0">
            <a:spAutoFit/>
          </a:bodyPr>
          <a:lstStyle/>
          <a:p>
            <a:pPr defTabSz="685800"/>
            <a:r>
              <a:rPr lang="en-US" sz="825" b="1">
                <a:solidFill>
                  <a:prstClr val="black"/>
                </a:solidFill>
                <a:latin typeface="Arial" panose="020B0604020202020204" pitchFamily="34" charset="0"/>
                <a:cs typeface="Arial" panose="020B0604020202020204" pitchFamily="34" charset="0"/>
              </a:rPr>
              <a:t>Cycles 7-12</a:t>
            </a:r>
          </a:p>
        </p:txBody>
      </p:sp>
      <p:sp>
        <p:nvSpPr>
          <p:cNvPr id="28" name="TextBox 27">
            <a:extLst>
              <a:ext uri="{FF2B5EF4-FFF2-40B4-BE49-F238E27FC236}">
                <a16:creationId xmlns:a16="http://schemas.microsoft.com/office/drawing/2014/main" id="{5DA9AD9F-FFE2-5944-9942-B0A940EF49BE}"/>
              </a:ext>
            </a:extLst>
          </p:cNvPr>
          <p:cNvSpPr txBox="1"/>
          <p:nvPr/>
        </p:nvSpPr>
        <p:spPr>
          <a:xfrm>
            <a:off x="6166397" y="849266"/>
            <a:ext cx="900132" cy="219291"/>
          </a:xfrm>
          <a:prstGeom prst="rect">
            <a:avLst/>
          </a:prstGeom>
          <a:noFill/>
        </p:spPr>
        <p:txBody>
          <a:bodyPr wrap="square" rtlCol="0">
            <a:spAutoFit/>
          </a:bodyPr>
          <a:lstStyle/>
          <a:p>
            <a:pPr defTabSz="685800"/>
            <a:r>
              <a:rPr lang="en-US" sz="825" b="1">
                <a:solidFill>
                  <a:prstClr val="black"/>
                </a:solidFill>
                <a:latin typeface="Arial" panose="020B0604020202020204" pitchFamily="34" charset="0"/>
                <a:cs typeface="Arial" panose="020B0604020202020204" pitchFamily="34" charset="0"/>
              </a:rPr>
              <a:t>Cycles 13-24</a:t>
            </a:r>
          </a:p>
        </p:txBody>
      </p:sp>
      <p:sp>
        <p:nvSpPr>
          <p:cNvPr id="15" name="Rectangle 2">
            <a:extLst>
              <a:ext uri="{FF2B5EF4-FFF2-40B4-BE49-F238E27FC236}">
                <a16:creationId xmlns:a16="http://schemas.microsoft.com/office/drawing/2014/main" id="{50C008BF-4803-6949-A616-345F75687B85}"/>
              </a:ext>
            </a:extLst>
          </p:cNvPr>
          <p:cNvSpPr>
            <a:spLocks noChangeArrowheads="1"/>
          </p:cNvSpPr>
          <p:nvPr/>
        </p:nvSpPr>
        <p:spPr bwMode="auto">
          <a:xfrm>
            <a:off x="0" y="140023"/>
            <a:ext cx="9144000" cy="484748"/>
          </a:xfrm>
          <a:prstGeom prst="rect">
            <a:avLst/>
          </a:prstGeom>
          <a:noFill/>
          <a:ln w="12700">
            <a:noFill/>
            <a:miter lim="800000"/>
            <a:headEnd/>
            <a:tailEnd/>
          </a:ln>
        </p:spPr>
        <p:txBody>
          <a:bodyPr wrap="square">
            <a:noAutofit/>
          </a:bodyPr>
          <a:lstStyle/>
          <a:p>
            <a:pPr algn="ctr" defTabSz="685800"/>
            <a:r>
              <a:rPr lang="en-US" sz="2100" b="1">
                <a:solidFill>
                  <a:srgbClr val="0070C0"/>
                </a:solidFill>
                <a:latin typeface="Arial" panose="020B0604020202020204" pitchFamily="34" charset="0"/>
                <a:cs typeface="Arial" panose="020B0604020202020204" pitchFamily="34" charset="0"/>
              </a:rPr>
              <a:t>A phase II study of daratumumab, bortezomib, lenalidomide, and dexamethasone in high-risk smoldering multiple myeloma</a:t>
            </a:r>
          </a:p>
        </p:txBody>
      </p:sp>
      <p:cxnSp>
        <p:nvCxnSpPr>
          <p:cNvPr id="19" name="Straight Arrow Connector 18">
            <a:extLst>
              <a:ext uri="{FF2B5EF4-FFF2-40B4-BE49-F238E27FC236}">
                <a16:creationId xmlns:a16="http://schemas.microsoft.com/office/drawing/2014/main" id="{C1D21E71-CEEA-864E-ACE7-362EA408F8BD}"/>
              </a:ext>
            </a:extLst>
          </p:cNvPr>
          <p:cNvCxnSpPr>
            <a:cxnSpLocks/>
          </p:cNvCxnSpPr>
          <p:nvPr/>
        </p:nvCxnSpPr>
        <p:spPr>
          <a:xfrm>
            <a:off x="1286023" y="1825100"/>
            <a:ext cx="425567" cy="0"/>
          </a:xfrm>
          <a:prstGeom prst="straightConnector1">
            <a:avLst/>
          </a:prstGeom>
          <a:noFill/>
          <a:ln w="50800" cap="flat" cmpd="sng" algn="ctr">
            <a:solidFill>
              <a:schemeClr val="tx1"/>
            </a:solidFill>
            <a:prstDash val="solid"/>
            <a:miter lim="800000"/>
            <a:tailEnd type="triangle"/>
          </a:ln>
          <a:effectLst/>
        </p:spPr>
      </p:cxnSp>
      <p:sp>
        <p:nvSpPr>
          <p:cNvPr id="20" name="Rectangle 19">
            <a:extLst>
              <a:ext uri="{FF2B5EF4-FFF2-40B4-BE49-F238E27FC236}">
                <a16:creationId xmlns:a16="http://schemas.microsoft.com/office/drawing/2014/main" id="{395A8228-7684-2C46-A208-E81B5F32ACED}"/>
              </a:ext>
            </a:extLst>
          </p:cNvPr>
          <p:cNvSpPr/>
          <p:nvPr/>
        </p:nvSpPr>
        <p:spPr>
          <a:xfrm>
            <a:off x="36716" y="2891199"/>
            <a:ext cx="3252174" cy="1546577"/>
          </a:xfrm>
          <a:prstGeom prst="rect">
            <a:avLst/>
          </a:prstGeom>
        </p:spPr>
        <p:txBody>
          <a:bodyPr wrap="square">
            <a:noAutofit/>
          </a:bodyPr>
          <a:lstStyle/>
          <a:p>
            <a:pPr defTabSz="685800" fontAlgn="base"/>
            <a:r>
              <a:rPr lang="nl-BE" sz="900" b="1" u="sng">
                <a:solidFill>
                  <a:srgbClr val="000000"/>
                </a:solidFill>
                <a:latin typeface="Arial" panose="020B0604020202020204" pitchFamily="34" charset="0"/>
                <a:cs typeface="Arial" panose="020B0604020202020204" pitchFamily="34" charset="0"/>
              </a:rPr>
              <a:t>Inclusion criteria</a:t>
            </a:r>
            <a:r>
              <a:rPr lang="nl-BE" sz="900" b="1">
                <a:solidFill>
                  <a:srgbClr val="000000"/>
                </a:solidFill>
                <a:latin typeface="Arial" panose="020B0604020202020204" pitchFamily="34" charset="0"/>
                <a:cs typeface="Arial" panose="020B0604020202020204" pitchFamily="34" charset="0"/>
              </a:rPr>
              <a:t> </a:t>
            </a:r>
          </a:p>
          <a:p>
            <a:pPr defTabSz="685800" fontAlgn="base"/>
            <a:r>
              <a:rPr lang="nl-BE" sz="900" b="1">
                <a:solidFill>
                  <a:srgbClr val="000000"/>
                </a:solidFill>
                <a:latin typeface="Arial" panose="020B0604020202020204" pitchFamily="34" charset="0"/>
                <a:cs typeface="Arial" panose="020B0604020202020204" pitchFamily="34" charset="0"/>
              </a:rPr>
              <a:t>High-risk SMM defined as having 1 of the </a:t>
            </a:r>
          </a:p>
          <a:p>
            <a:pPr defTabSz="685800" fontAlgn="base"/>
            <a:r>
              <a:rPr lang="nl-BE" sz="900" b="1">
                <a:solidFill>
                  <a:srgbClr val="000000"/>
                </a:solidFill>
                <a:latin typeface="Arial" panose="020B0604020202020204" pitchFamily="34" charset="0"/>
                <a:cs typeface="Arial" panose="020B0604020202020204" pitchFamily="34" charset="0"/>
              </a:rPr>
              <a:t>following 2 criteria:</a:t>
            </a:r>
            <a:r>
              <a:rPr lang="nl-BE" sz="900">
                <a:solidFill>
                  <a:srgbClr val="000000"/>
                </a:solidFill>
                <a:latin typeface="Arial" panose="020B0604020202020204" pitchFamily="34" charset="0"/>
                <a:cs typeface="Arial" panose="020B0604020202020204" pitchFamily="34" charset="0"/>
              </a:rPr>
              <a:t> </a:t>
            </a:r>
          </a:p>
          <a:p>
            <a:pPr defTabSz="685800" fontAlgn="base"/>
            <a:r>
              <a:rPr lang="nl-BE" sz="825">
                <a:solidFill>
                  <a:srgbClr val="000000"/>
                </a:solidFill>
                <a:latin typeface="Arial" panose="020B0604020202020204" pitchFamily="34" charset="0"/>
                <a:cs typeface="Arial" panose="020B0604020202020204" pitchFamily="34" charset="0"/>
              </a:rPr>
              <a:t> </a:t>
            </a:r>
          </a:p>
          <a:p>
            <a:pPr marL="171450" indent="-171450" defTabSz="685800" fontAlgn="base">
              <a:buFont typeface="+mj-lt"/>
              <a:buAutoNum type="arabicPeriod"/>
            </a:pPr>
            <a:r>
              <a:rPr lang="nl-BE" sz="825" b="1">
                <a:solidFill>
                  <a:srgbClr val="000000"/>
                </a:solidFill>
                <a:latin typeface="Arial" panose="020B0604020202020204" pitchFamily="34" charset="0"/>
                <a:cs typeface="Arial" panose="020B0604020202020204" pitchFamily="34" charset="0"/>
              </a:rPr>
              <a:t>High risk per "20-2-20" criteria defined as presence of any 2 of the following  </a:t>
            </a:r>
          </a:p>
          <a:p>
            <a:pPr marL="303610" lvl="1" indent="-128588"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Serum M-spike ≥2 g/dL </a:t>
            </a:r>
          </a:p>
          <a:p>
            <a:pPr marL="303610" lvl="1" indent="-128588"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Involved to uninvolved free light chain (FLC) ratio ≥20 </a:t>
            </a:r>
          </a:p>
          <a:p>
            <a:pPr marL="303610" lvl="1" indent="-128588"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Bone marrow PC% ≥20%  </a:t>
            </a:r>
          </a:p>
          <a:p>
            <a:pPr defTabSz="685800" fontAlgn="base"/>
            <a:r>
              <a:rPr lang="nl-BE" sz="825">
                <a:solidFill>
                  <a:srgbClr val="000000"/>
                </a:solidFill>
                <a:latin typeface="Arial" panose="020B0604020202020204" pitchFamily="34" charset="0"/>
                <a:cs typeface="Arial" panose="020B0604020202020204" pitchFamily="34" charset="0"/>
              </a:rPr>
              <a:t> </a:t>
            </a:r>
          </a:p>
          <a:p>
            <a:pPr defTabSz="685800" fontAlgn="base"/>
            <a:r>
              <a:rPr lang="nl-BE" sz="825">
                <a:solidFill>
                  <a:srgbClr val="000000"/>
                </a:solidFill>
                <a:latin typeface="Arial" panose="020B0604020202020204" pitchFamily="34" charset="0"/>
                <a:cs typeface="Arial" panose="020B0604020202020204" pitchFamily="34" charset="0"/>
              </a:rPr>
              <a:t>OR</a:t>
            </a:r>
            <a:r>
              <a:rPr lang="nl-BE" sz="825" b="1">
                <a:solidFill>
                  <a:srgbClr val="000000"/>
                </a:solidFill>
                <a:latin typeface="Arial" panose="020B0604020202020204" pitchFamily="34" charset="0"/>
                <a:cs typeface="Arial" panose="020B0604020202020204" pitchFamily="34" charset="0"/>
              </a:rPr>
              <a:t> total score </a:t>
            </a:r>
            <a:r>
              <a:rPr lang="nl-BE" sz="825">
                <a:solidFill>
                  <a:srgbClr val="000000"/>
                </a:solidFill>
                <a:latin typeface="Arial" panose="020B0604020202020204" pitchFamily="34" charset="0"/>
                <a:cs typeface="Arial" panose="020B0604020202020204" pitchFamily="34" charset="0"/>
              </a:rPr>
              <a:t>of 9 using the following scoring system </a:t>
            </a:r>
          </a:p>
          <a:p>
            <a:pPr marL="303610" lvl="1" indent="-127397"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FLC ratio: &gt;10-25 = 2, &gt;25-40 = 3, &gt; 40 = 5 </a:t>
            </a:r>
          </a:p>
          <a:p>
            <a:pPr marL="303610" lvl="1" indent="-127397"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Serum M-protein (g/dL): &gt;1.5-3 = 3, &gt;3 = 4 </a:t>
            </a:r>
          </a:p>
          <a:p>
            <a:pPr marL="303610" lvl="1" indent="-127397"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BMPC%: &gt;15-20 = 2, &gt;20-30 = 3, &gt;30-40 = 5, &gt;40 = 6 </a:t>
            </a:r>
          </a:p>
          <a:p>
            <a:pPr marL="303610" lvl="1" indent="-127397"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FISH abnormality (t(4,14), t(14,16), 1q gain, or del13q = 2 </a:t>
            </a:r>
            <a:br>
              <a:rPr lang="nl-BE" sz="825">
                <a:solidFill>
                  <a:srgbClr val="000000"/>
                </a:solidFill>
                <a:latin typeface="Arial" panose="020B0604020202020204" pitchFamily="34" charset="0"/>
                <a:cs typeface="Arial" panose="020B0604020202020204" pitchFamily="34" charset="0"/>
              </a:rPr>
            </a:br>
            <a:r>
              <a:rPr lang="nl-BE" sz="825">
                <a:solidFill>
                  <a:srgbClr val="000000"/>
                </a:solidFill>
                <a:latin typeface="Arial" panose="020B0604020202020204" pitchFamily="34" charset="0"/>
                <a:cs typeface="Arial" panose="020B0604020202020204" pitchFamily="34" charset="0"/>
              </a:rPr>
              <a:t> </a:t>
            </a:r>
          </a:p>
          <a:p>
            <a:pPr defTabSz="514337" fontAlgn="base"/>
            <a:endParaRPr lang="en-US" sz="825">
              <a:solidFill>
                <a:srgbClr val="000000"/>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6E8B1CB2-6733-7941-BAFB-D098BFB90582}"/>
              </a:ext>
            </a:extLst>
          </p:cNvPr>
          <p:cNvSpPr/>
          <p:nvPr/>
        </p:nvSpPr>
        <p:spPr>
          <a:xfrm>
            <a:off x="2962365" y="3428233"/>
            <a:ext cx="2955061" cy="854080"/>
          </a:xfrm>
          <a:prstGeom prst="rect">
            <a:avLst/>
          </a:prstGeom>
        </p:spPr>
        <p:txBody>
          <a:bodyPr wrap="square">
            <a:noAutofit/>
          </a:bodyPr>
          <a:lstStyle/>
          <a:p>
            <a:pPr marL="175022" indent="-175022" defTabSz="685800" fontAlgn="base">
              <a:buFont typeface="+mj-lt"/>
              <a:buAutoNum type="arabicPeriod" startAt="2"/>
            </a:pPr>
            <a:r>
              <a:rPr lang="nl-BE" sz="825" b="1" spc="-15">
                <a:solidFill>
                  <a:srgbClr val="000000"/>
                </a:solidFill>
                <a:latin typeface="Arial" panose="020B0604020202020204" pitchFamily="34" charset="0"/>
                <a:cs typeface="Arial" panose="020B0604020202020204" pitchFamily="34" charset="0"/>
              </a:rPr>
              <a:t>Presence of ≥10% BMPC and at least 1 of the following</a:t>
            </a:r>
          </a:p>
          <a:p>
            <a:pPr marL="303610" lvl="1" indent="-127397" defTabSz="685800" fontAlgn="base">
              <a:buFont typeface="Arial" panose="020B0604020202020204" pitchFamily="34" charset="0"/>
              <a:buChar char="•"/>
            </a:pPr>
            <a:r>
              <a:rPr lang="nl-BE" sz="825" b="1">
                <a:solidFill>
                  <a:srgbClr val="000000"/>
                </a:solidFill>
                <a:latin typeface="Arial" panose="020B0604020202020204" pitchFamily="34" charset="0"/>
                <a:cs typeface="Arial" panose="020B0604020202020204" pitchFamily="34" charset="0"/>
              </a:rPr>
              <a:t>Evolving pattern </a:t>
            </a:r>
            <a:endParaRPr lang="nl-BE" sz="825">
              <a:solidFill>
                <a:srgbClr val="000000"/>
              </a:solidFill>
              <a:latin typeface="Arial" panose="020B0604020202020204" pitchFamily="34" charset="0"/>
              <a:cs typeface="Arial" panose="020B0604020202020204" pitchFamily="34" charset="0"/>
            </a:endParaRPr>
          </a:p>
          <a:p>
            <a:pPr marL="303610" lvl="1" indent="-127397" defTabSz="685800" fontAlgn="base">
              <a:buFont typeface="Arial" panose="020B0604020202020204" pitchFamily="34" charset="0"/>
              <a:buChar char="•"/>
            </a:pPr>
            <a:r>
              <a:rPr lang="nl-BE" sz="825" b="1">
                <a:solidFill>
                  <a:srgbClr val="000000"/>
                </a:solidFill>
                <a:latin typeface="Arial" panose="020B0604020202020204" pitchFamily="34" charset="0"/>
                <a:cs typeface="Arial" panose="020B0604020202020204" pitchFamily="34" charset="0"/>
              </a:rPr>
              <a:t>Abnormal PC immunophenotype </a:t>
            </a:r>
            <a:r>
              <a:rPr lang="nl-BE" sz="825">
                <a:solidFill>
                  <a:srgbClr val="000000"/>
                </a:solidFill>
                <a:latin typeface="Arial" panose="020B0604020202020204" pitchFamily="34" charset="0"/>
                <a:cs typeface="Arial" panose="020B0604020202020204" pitchFamily="34" charset="0"/>
              </a:rPr>
              <a:t>(≥95% of BMPCs are clonal) and reduction of ≥1 uninvolved immunoglobin isotope (only IgG, IgA, and IgMwill be  considered) </a:t>
            </a:r>
          </a:p>
          <a:p>
            <a:pPr marL="303610" lvl="1" indent="-127397" defTabSz="685800" fontAlgn="base">
              <a:buFont typeface="Arial" panose="020B0604020202020204" pitchFamily="34" charset="0"/>
              <a:buChar char="•"/>
            </a:pPr>
            <a:r>
              <a:rPr lang="nl-BE" sz="825" b="1">
                <a:solidFill>
                  <a:srgbClr val="000000"/>
                </a:solidFill>
                <a:latin typeface="Arial" panose="020B0604020202020204" pitchFamily="34" charset="0"/>
                <a:cs typeface="Arial" panose="020B0604020202020204" pitchFamily="34" charset="0"/>
              </a:rPr>
              <a:t>High-risk cytogenetics </a:t>
            </a:r>
            <a:r>
              <a:rPr lang="nl-BE" sz="825">
                <a:solidFill>
                  <a:srgbClr val="000000"/>
                </a:solidFill>
                <a:latin typeface="Arial" panose="020B0604020202020204" pitchFamily="34" charset="0"/>
                <a:cs typeface="Arial" panose="020B0604020202020204" pitchFamily="34" charset="0"/>
              </a:rPr>
              <a:t>defined as presence of t(4;14),   t(14;16), t(14;20), 17p deletion,</a:t>
            </a:r>
            <a:r>
              <a:rPr lang="nl-BE" sz="825" i="1">
                <a:solidFill>
                  <a:srgbClr val="000000"/>
                </a:solidFill>
                <a:latin typeface="Arial" panose="020B0604020202020204" pitchFamily="34" charset="0"/>
                <a:cs typeface="Arial" panose="020B0604020202020204" pitchFamily="34" charset="0"/>
              </a:rPr>
              <a:t>TP53 </a:t>
            </a:r>
            <a:r>
              <a:rPr lang="nl-BE" sz="825">
                <a:solidFill>
                  <a:srgbClr val="000000"/>
                </a:solidFill>
                <a:latin typeface="Arial" panose="020B0604020202020204" pitchFamily="34" charset="0"/>
                <a:cs typeface="Arial" panose="020B0604020202020204" pitchFamily="34" charset="0"/>
              </a:rPr>
              <a:t> mutation, 1q21 gain </a:t>
            </a:r>
          </a:p>
          <a:p>
            <a:pPr defTabSz="685800" fontAlgn="base"/>
            <a:endParaRPr lang="en-US" sz="600">
              <a:solidFill>
                <a:srgbClr val="000000"/>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C4FF6782-4B24-624B-A6FF-9D76C99BCE60}"/>
              </a:ext>
            </a:extLst>
          </p:cNvPr>
          <p:cNvSpPr/>
          <p:nvPr/>
        </p:nvSpPr>
        <p:spPr>
          <a:xfrm>
            <a:off x="7417624" y="953140"/>
            <a:ext cx="1617392" cy="2292449"/>
          </a:xfrm>
          <a:prstGeom prst="rect">
            <a:avLst/>
          </a:prstGeom>
          <a:solidFill>
            <a:srgbClr val="00B0F0"/>
          </a:solidFill>
          <a:ln w="12700" cap="flat" cmpd="sng" algn="ctr">
            <a:solidFill>
              <a:srgbClr val="4472C4">
                <a:shade val="50000"/>
              </a:srgbClr>
            </a:solidFill>
            <a:prstDash val="solid"/>
            <a:miter lim="800000"/>
          </a:ln>
          <a:effectLst/>
        </p:spPr>
        <p:txBody>
          <a:bodyPr rtlCol="0" anchor="ctr"/>
          <a:lstStyle/>
          <a:p>
            <a:pPr defTabSz="342892">
              <a:defRPr/>
            </a:pPr>
            <a:r>
              <a:rPr lang="en-US" sz="825" kern="0">
                <a:solidFill>
                  <a:prstClr val="white"/>
                </a:solidFill>
                <a:latin typeface="Arial" panose="020B0604020202020204" pitchFamily="34" charset="0"/>
                <a:ea typeface="Verdana" panose="020B0604030504040204" pitchFamily="34" charset="0"/>
                <a:cs typeface="Arial" panose="020B0604020202020204" pitchFamily="34" charset="0"/>
              </a:rPr>
              <a:t>Primary endpoint</a:t>
            </a:r>
          </a:p>
          <a:p>
            <a:pPr marL="169863" indent="-169863" defTabSz="342892">
              <a:buFontTx/>
              <a:buChar char="-"/>
              <a:defRPr/>
            </a:pPr>
            <a:r>
              <a:rPr lang="en-US" sz="825" kern="0">
                <a:solidFill>
                  <a:prstClr val="white"/>
                </a:solidFill>
                <a:latin typeface="Arial" panose="020B0604020202020204" pitchFamily="34" charset="0"/>
                <a:ea typeface="Verdana" panose="020B0604030504040204" pitchFamily="34" charset="0"/>
                <a:cs typeface="Arial" panose="020B0604020202020204" pitchFamily="34" charset="0"/>
              </a:rPr>
              <a:t>MRD negativity rate at 2 years</a:t>
            </a:r>
          </a:p>
          <a:p>
            <a:pPr marL="214308" indent="-214308" defTabSz="342892">
              <a:buFontTx/>
              <a:buChar char="-"/>
              <a:defRPr/>
            </a:pPr>
            <a:endParaRPr lang="en-US" sz="825" kern="0">
              <a:solidFill>
                <a:prstClr val="white"/>
              </a:solidFill>
              <a:latin typeface="Arial" panose="020B0604020202020204" pitchFamily="34" charset="0"/>
              <a:ea typeface="Verdana" panose="020B0604030504040204" pitchFamily="34" charset="0"/>
              <a:cs typeface="Arial" panose="020B0604020202020204" pitchFamily="34" charset="0"/>
            </a:endParaRPr>
          </a:p>
          <a:p>
            <a:pPr defTabSz="342892">
              <a:defRPr/>
            </a:pPr>
            <a:r>
              <a:rPr lang="en-US" sz="825" kern="0">
                <a:solidFill>
                  <a:prstClr val="white"/>
                </a:solidFill>
                <a:latin typeface="Arial" panose="020B0604020202020204" pitchFamily="34" charset="0"/>
                <a:ea typeface="Verdana" panose="020B0604030504040204" pitchFamily="34" charset="0"/>
                <a:cs typeface="Arial" panose="020B0604020202020204" pitchFamily="34" charset="0"/>
              </a:rPr>
              <a:t>Secondary endpoints</a:t>
            </a:r>
          </a:p>
          <a:p>
            <a:pPr marL="169863" indent="-169863" defTabSz="342892">
              <a:buFontTx/>
              <a:buChar char="-"/>
              <a:defRPr/>
            </a:pPr>
            <a:r>
              <a:rPr lang="en-US" sz="825" kern="0">
                <a:solidFill>
                  <a:prstClr val="white"/>
                </a:solidFill>
                <a:latin typeface="Arial" panose="020B0604020202020204" pitchFamily="34" charset="0"/>
                <a:ea typeface="Verdana" panose="020B0604030504040204" pitchFamily="34" charset="0"/>
                <a:cs typeface="Arial" panose="020B0604020202020204" pitchFamily="34" charset="0"/>
              </a:rPr>
              <a:t>Sustained MRD negative disease assessed at 6 months, 1 year, and 2 years</a:t>
            </a:r>
          </a:p>
          <a:p>
            <a:pPr marL="169863" indent="-169863" defTabSz="342892">
              <a:buFontTx/>
              <a:buChar char="-"/>
              <a:defRPr/>
            </a:pPr>
            <a:r>
              <a:rPr lang="en-US" sz="825" kern="0">
                <a:solidFill>
                  <a:prstClr val="white"/>
                </a:solidFill>
                <a:latin typeface="Arial" panose="020B0604020202020204" pitchFamily="34" charset="0"/>
                <a:ea typeface="Verdana" panose="020B0604030504040204" pitchFamily="34" charset="0"/>
                <a:cs typeface="Arial" panose="020B0604020202020204" pitchFamily="34" charset="0"/>
              </a:rPr>
              <a:t>Progression-free survival to myeloma-defining events (SLIM-CRAB)</a:t>
            </a:r>
          </a:p>
          <a:p>
            <a:pPr marL="169863" indent="-169863" defTabSz="342892">
              <a:buFontTx/>
              <a:buChar char="-"/>
              <a:defRPr/>
            </a:pPr>
            <a:r>
              <a:rPr lang="en-US" sz="825" kern="0">
                <a:solidFill>
                  <a:prstClr val="white"/>
                </a:solidFill>
                <a:latin typeface="Arial" panose="020B0604020202020204" pitchFamily="34" charset="0"/>
                <a:ea typeface="Verdana" panose="020B0604030504040204" pitchFamily="34" charset="0"/>
                <a:cs typeface="Arial" panose="020B0604020202020204" pitchFamily="34" charset="0"/>
              </a:rPr>
              <a:t>Progression-free survival 2</a:t>
            </a:r>
          </a:p>
          <a:p>
            <a:pPr marL="169863" indent="-169863" defTabSz="342892">
              <a:buFontTx/>
              <a:buChar char="-"/>
              <a:defRPr/>
            </a:pPr>
            <a:r>
              <a:rPr lang="en-US" sz="825" kern="0">
                <a:solidFill>
                  <a:prstClr val="white"/>
                </a:solidFill>
                <a:latin typeface="Arial" panose="020B0604020202020204" pitchFamily="34" charset="0"/>
                <a:ea typeface="Verdana" panose="020B0604030504040204" pitchFamily="34" charset="0"/>
                <a:cs typeface="Arial" panose="020B0604020202020204" pitchFamily="34" charset="0"/>
              </a:rPr>
              <a:t>Duration of response</a:t>
            </a:r>
          </a:p>
          <a:p>
            <a:pPr marL="169863" indent="-169863" defTabSz="342892">
              <a:buFontTx/>
              <a:buChar char="-"/>
              <a:defRPr/>
            </a:pPr>
            <a:r>
              <a:rPr lang="en-US" sz="825" kern="0">
                <a:solidFill>
                  <a:prstClr val="white"/>
                </a:solidFill>
                <a:latin typeface="Arial" panose="020B0604020202020204" pitchFamily="34" charset="0"/>
                <a:ea typeface="Verdana" panose="020B0604030504040204" pitchFamily="34" charset="0"/>
                <a:cs typeface="Arial" panose="020B0604020202020204" pitchFamily="34" charset="0"/>
              </a:rPr>
              <a:t>Overall survival</a:t>
            </a:r>
          </a:p>
          <a:p>
            <a:pPr marL="169863" indent="-169863" defTabSz="342892">
              <a:buFontTx/>
              <a:buChar char="-"/>
              <a:defRPr/>
            </a:pPr>
            <a:r>
              <a:rPr lang="en-US" sz="825" kern="0">
                <a:solidFill>
                  <a:prstClr val="white"/>
                </a:solidFill>
                <a:latin typeface="Arial" panose="020B0604020202020204" pitchFamily="34" charset="0"/>
                <a:ea typeface="Verdana" panose="020B0604030504040204" pitchFamily="34" charset="0"/>
                <a:cs typeface="Arial" panose="020B0604020202020204" pitchFamily="34" charset="0"/>
              </a:rPr>
              <a:t>To assess safety</a:t>
            </a:r>
          </a:p>
        </p:txBody>
      </p:sp>
      <p:sp>
        <p:nvSpPr>
          <p:cNvPr id="30" name="TextBox 29">
            <a:extLst>
              <a:ext uri="{FF2B5EF4-FFF2-40B4-BE49-F238E27FC236}">
                <a16:creationId xmlns:a16="http://schemas.microsoft.com/office/drawing/2014/main" id="{E21AAF61-B546-47DA-BCB8-12052ED45018}"/>
              </a:ext>
            </a:extLst>
          </p:cNvPr>
          <p:cNvSpPr txBox="1"/>
          <p:nvPr/>
        </p:nvSpPr>
        <p:spPr>
          <a:xfrm>
            <a:off x="114300" y="4918197"/>
            <a:ext cx="9029700" cy="246221"/>
          </a:xfrm>
          <a:prstGeom prst="rect">
            <a:avLst/>
          </a:prstGeom>
          <a:noFill/>
        </p:spPr>
        <p:txBody>
          <a:bodyPr wrap="square" rtlCol="0">
            <a:spAutoFit/>
          </a:bodyPr>
          <a:lstStyle/>
          <a:p>
            <a:pPr algn="r" defTabSz="685800"/>
            <a:r>
              <a:rPr lang="en-US" sz="1000">
                <a:solidFill>
                  <a:prstClr val="black"/>
                </a:solidFill>
                <a:latin typeface="Arial" panose="020B0604020202020204" pitchFamily="34" charset="0"/>
                <a:cs typeface="Arial" panose="020B0604020202020204" pitchFamily="34" charset="0"/>
              </a:rPr>
              <a:t>ClinicalTrials.gov identifier: NCT04775550.</a:t>
            </a:r>
          </a:p>
        </p:txBody>
      </p:sp>
    </p:spTree>
    <p:extLst>
      <p:ext uri="{BB962C8B-B14F-4D97-AF65-F5344CB8AC3E}">
        <p14:creationId xmlns:p14="http://schemas.microsoft.com/office/powerpoint/2010/main" val="27235628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69DD90A-C113-344C-B050-F0D8C297F13A}"/>
              </a:ext>
            </a:extLst>
          </p:cNvPr>
          <p:cNvSpPr/>
          <p:nvPr/>
        </p:nvSpPr>
        <p:spPr>
          <a:xfrm>
            <a:off x="3936208" y="1050563"/>
            <a:ext cx="1857968" cy="297011"/>
          </a:xfrm>
          <a:prstGeom prst="rect">
            <a:avLst/>
          </a:prstGeom>
          <a:solidFill>
            <a:srgbClr val="00B0F0"/>
          </a:solidFill>
          <a:ln w="12700" cap="flat" cmpd="sng" algn="ctr">
            <a:solidFill>
              <a:srgbClr val="4472C4">
                <a:shade val="50000"/>
              </a:srgbClr>
            </a:solidFill>
            <a:prstDash val="solid"/>
            <a:miter lim="800000"/>
          </a:ln>
          <a:effectLst/>
        </p:spPr>
        <p:txBody>
          <a:bodyPr rtlCol="0" anchor="ctr"/>
          <a:lstStyle/>
          <a:p>
            <a:pPr algn="ctr" defTabSz="257168">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Lenalidomide and dexamethasone </a:t>
            </a:r>
          </a:p>
          <a:p>
            <a:pPr algn="ctr" defTabSz="257168">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Max. 24 cycles</a:t>
            </a:r>
          </a:p>
        </p:txBody>
      </p:sp>
      <p:sp>
        <p:nvSpPr>
          <p:cNvPr id="5" name="Rectangle 4">
            <a:extLst>
              <a:ext uri="{FF2B5EF4-FFF2-40B4-BE49-F238E27FC236}">
                <a16:creationId xmlns:a16="http://schemas.microsoft.com/office/drawing/2014/main" id="{395BA18D-7B3B-114D-B838-9DA0081C3DD4}"/>
              </a:ext>
            </a:extLst>
          </p:cNvPr>
          <p:cNvSpPr/>
          <p:nvPr/>
        </p:nvSpPr>
        <p:spPr>
          <a:xfrm>
            <a:off x="4256757" y="1404831"/>
            <a:ext cx="1015513" cy="491737"/>
          </a:xfrm>
          <a:prstGeom prst="rect">
            <a:avLst/>
          </a:prstGeom>
          <a:solidFill>
            <a:srgbClr val="00B0F0"/>
          </a:solidFill>
          <a:ln w="12700" cap="flat" cmpd="sng" algn="ctr">
            <a:solidFill>
              <a:srgbClr val="4472C4">
                <a:shade val="50000"/>
              </a:srgbClr>
            </a:solidFill>
            <a:prstDash val="solid"/>
            <a:miter lim="800000"/>
          </a:ln>
          <a:effectLst/>
        </p:spPr>
        <p:txBody>
          <a:bodyPr rtlCol="0" anchor="ctr"/>
          <a:lstStyle/>
          <a:p>
            <a:pPr algn="ctr" defTabSz="257168">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Teclistamab </a:t>
            </a:r>
          </a:p>
          <a:p>
            <a:pPr algn="ctr" defTabSz="257168">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Max. 24 cycles</a:t>
            </a:r>
          </a:p>
        </p:txBody>
      </p:sp>
      <p:cxnSp>
        <p:nvCxnSpPr>
          <p:cNvPr id="6" name="Connector: Elbow 60">
            <a:extLst>
              <a:ext uri="{FF2B5EF4-FFF2-40B4-BE49-F238E27FC236}">
                <a16:creationId xmlns:a16="http://schemas.microsoft.com/office/drawing/2014/main" id="{85599789-9D09-A243-A9B5-240EE8BB69EA}"/>
              </a:ext>
            </a:extLst>
          </p:cNvPr>
          <p:cNvCxnSpPr>
            <a:cxnSpLocks/>
          </p:cNvCxnSpPr>
          <p:nvPr/>
        </p:nvCxnSpPr>
        <p:spPr>
          <a:xfrm flipV="1">
            <a:off x="2839128" y="1180822"/>
            <a:ext cx="423652" cy="359705"/>
          </a:xfrm>
          <a:prstGeom prst="bentConnector3">
            <a:avLst>
              <a:gd name="adj1" fmla="val 50000"/>
            </a:avLst>
          </a:prstGeom>
          <a:noFill/>
          <a:ln w="44450" cap="flat" cmpd="sng" algn="ctr">
            <a:solidFill>
              <a:srgbClr val="4472C4"/>
            </a:solidFill>
            <a:prstDash val="solid"/>
            <a:miter lim="800000"/>
            <a:headEnd w="med" len="med"/>
            <a:tailEnd type="triangle" w="med" len="med"/>
          </a:ln>
          <a:effectLst/>
        </p:spPr>
      </p:cxnSp>
      <p:cxnSp>
        <p:nvCxnSpPr>
          <p:cNvPr id="7" name="Connector: Elbow 63">
            <a:extLst>
              <a:ext uri="{FF2B5EF4-FFF2-40B4-BE49-F238E27FC236}">
                <a16:creationId xmlns:a16="http://schemas.microsoft.com/office/drawing/2014/main" id="{CBBC2CE7-943D-C648-AAFC-E069F06D429A}"/>
              </a:ext>
            </a:extLst>
          </p:cNvPr>
          <p:cNvCxnSpPr>
            <a:cxnSpLocks/>
          </p:cNvCxnSpPr>
          <p:nvPr/>
        </p:nvCxnSpPr>
        <p:spPr>
          <a:xfrm>
            <a:off x="2841420" y="1560500"/>
            <a:ext cx="423652" cy="284393"/>
          </a:xfrm>
          <a:prstGeom prst="bentConnector3">
            <a:avLst>
              <a:gd name="adj1" fmla="val 50000"/>
            </a:avLst>
          </a:prstGeom>
          <a:noFill/>
          <a:ln w="44450" cap="flat" cmpd="sng" algn="ctr">
            <a:solidFill>
              <a:srgbClr val="4472C4"/>
            </a:solidFill>
            <a:prstDash val="solid"/>
            <a:miter lim="800000"/>
            <a:headEnd w="med" len="med"/>
            <a:tailEnd type="triangle" w="med" len="med"/>
          </a:ln>
          <a:effectLst/>
        </p:spPr>
      </p:cxnSp>
      <p:sp>
        <p:nvSpPr>
          <p:cNvPr id="8" name="Raute 15">
            <a:extLst>
              <a:ext uri="{FF2B5EF4-FFF2-40B4-BE49-F238E27FC236}">
                <a16:creationId xmlns:a16="http://schemas.microsoft.com/office/drawing/2014/main" id="{F69CB9C8-523E-2344-AFF8-3914BF746647}"/>
              </a:ext>
            </a:extLst>
          </p:cNvPr>
          <p:cNvSpPr/>
          <p:nvPr/>
        </p:nvSpPr>
        <p:spPr>
          <a:xfrm>
            <a:off x="2115283" y="1239893"/>
            <a:ext cx="657122" cy="568785"/>
          </a:xfrm>
          <a:prstGeom prst="diamond">
            <a:avLst/>
          </a:prstGeom>
          <a:solidFill>
            <a:srgbClr val="FF6600"/>
          </a:solidFill>
          <a:ln w="12700" cap="flat" cmpd="sng" algn="ctr">
            <a:solidFill>
              <a:srgbClr val="4472C4">
                <a:shade val="50000"/>
              </a:srgbClr>
            </a:solidFill>
            <a:prstDash val="solid"/>
            <a:miter lim="800000"/>
          </a:ln>
          <a:effectLst/>
        </p:spPr>
        <p:txBody>
          <a:bodyPr rtlCol="0" anchor="ctr"/>
          <a:lstStyle/>
          <a:p>
            <a:pPr algn="ctr" defTabSz="385743">
              <a:defRPr/>
            </a:pPr>
            <a:r>
              <a:rPr lang="de-DE" sz="1350" kern="0">
                <a:solidFill>
                  <a:prstClr val="white"/>
                </a:solidFill>
                <a:latin typeface="Arial" panose="020B0604020202020204" pitchFamily="34" charset="0"/>
                <a:ea typeface="Verdana" panose="020B0604030504040204" pitchFamily="34" charset="0"/>
                <a:cs typeface="Arial" panose="020B0604020202020204" pitchFamily="34" charset="0"/>
              </a:rPr>
              <a:t>R</a:t>
            </a:r>
          </a:p>
        </p:txBody>
      </p:sp>
      <p:sp>
        <p:nvSpPr>
          <p:cNvPr id="9" name="Rectangle 8">
            <a:extLst>
              <a:ext uri="{FF2B5EF4-FFF2-40B4-BE49-F238E27FC236}">
                <a16:creationId xmlns:a16="http://schemas.microsoft.com/office/drawing/2014/main" id="{5C3142A1-B536-DB46-91C9-F1998A963E55}"/>
              </a:ext>
            </a:extLst>
          </p:cNvPr>
          <p:cNvSpPr/>
          <p:nvPr/>
        </p:nvSpPr>
        <p:spPr>
          <a:xfrm>
            <a:off x="824508" y="1110892"/>
            <a:ext cx="888700" cy="883313"/>
          </a:xfrm>
          <a:prstGeom prst="rect">
            <a:avLst/>
          </a:prstGeom>
          <a:solidFill>
            <a:srgbClr val="00B0F0"/>
          </a:solidFill>
          <a:ln w="12700" cap="flat" cmpd="sng" algn="ctr">
            <a:solidFill>
              <a:srgbClr val="4472C4">
                <a:shade val="50000"/>
              </a:srgbClr>
            </a:solidFill>
            <a:prstDash val="solid"/>
            <a:miter lim="800000"/>
          </a:ln>
          <a:effectLst/>
        </p:spPr>
        <p:txBody>
          <a:bodyPr rtlCol="0" anchor="ctr"/>
          <a:lstStyle/>
          <a:p>
            <a:pPr algn="ctr" defTabSz="257168">
              <a:defRPr/>
            </a:pPr>
            <a:r>
              <a:rPr lang="en-US" sz="1050" kern="0">
                <a:solidFill>
                  <a:prstClr val="white"/>
                </a:solidFill>
                <a:latin typeface="Arial" panose="020B0604020202020204" pitchFamily="34" charset="0"/>
                <a:ea typeface="Verdana" panose="020B0604030504040204" pitchFamily="34" charset="0"/>
                <a:cs typeface="Arial" panose="020B0604020202020204" pitchFamily="34" charset="0"/>
              </a:rPr>
              <a:t>High-risk SMM</a:t>
            </a:r>
          </a:p>
        </p:txBody>
      </p:sp>
      <p:cxnSp>
        <p:nvCxnSpPr>
          <p:cNvPr id="10" name="Straight Arrow Connector 9">
            <a:extLst>
              <a:ext uri="{FF2B5EF4-FFF2-40B4-BE49-F238E27FC236}">
                <a16:creationId xmlns:a16="http://schemas.microsoft.com/office/drawing/2014/main" id="{B7652727-1EF2-8F4B-A593-4FC61E155440}"/>
              </a:ext>
            </a:extLst>
          </p:cNvPr>
          <p:cNvCxnSpPr>
            <a:cxnSpLocks/>
          </p:cNvCxnSpPr>
          <p:nvPr/>
        </p:nvCxnSpPr>
        <p:spPr>
          <a:xfrm flipV="1">
            <a:off x="1806761" y="1537145"/>
            <a:ext cx="241798" cy="4967"/>
          </a:xfrm>
          <a:prstGeom prst="straightConnector1">
            <a:avLst/>
          </a:prstGeom>
          <a:noFill/>
          <a:ln w="50800" cap="flat" cmpd="sng" algn="ctr">
            <a:solidFill>
              <a:srgbClr val="4472C4"/>
            </a:solidFill>
            <a:prstDash val="solid"/>
            <a:miter lim="800000"/>
            <a:tailEnd type="triangle"/>
          </a:ln>
          <a:effectLst/>
        </p:spPr>
      </p:cxnSp>
      <p:cxnSp>
        <p:nvCxnSpPr>
          <p:cNvPr id="12" name="Connector: Elbow 60">
            <a:extLst>
              <a:ext uri="{FF2B5EF4-FFF2-40B4-BE49-F238E27FC236}">
                <a16:creationId xmlns:a16="http://schemas.microsoft.com/office/drawing/2014/main" id="{70386850-1FAA-BC4B-98F8-2A0D7755EBF5}"/>
              </a:ext>
            </a:extLst>
          </p:cNvPr>
          <p:cNvCxnSpPr>
            <a:cxnSpLocks/>
          </p:cNvCxnSpPr>
          <p:nvPr/>
        </p:nvCxnSpPr>
        <p:spPr>
          <a:xfrm flipV="1">
            <a:off x="3710096" y="1537144"/>
            <a:ext cx="423652" cy="359705"/>
          </a:xfrm>
          <a:prstGeom prst="bentConnector3">
            <a:avLst>
              <a:gd name="adj1" fmla="val 50000"/>
            </a:avLst>
          </a:prstGeom>
          <a:noFill/>
          <a:ln w="44450" cap="flat" cmpd="sng" algn="ctr">
            <a:solidFill>
              <a:srgbClr val="4472C4"/>
            </a:solidFill>
            <a:prstDash val="solid"/>
            <a:miter lim="800000"/>
            <a:headEnd w="med" len="med"/>
            <a:tailEnd type="triangle" w="med" len="med"/>
          </a:ln>
          <a:effectLst/>
        </p:spPr>
      </p:cxnSp>
      <p:cxnSp>
        <p:nvCxnSpPr>
          <p:cNvPr id="13" name="Connector: Elbow 63">
            <a:extLst>
              <a:ext uri="{FF2B5EF4-FFF2-40B4-BE49-F238E27FC236}">
                <a16:creationId xmlns:a16="http://schemas.microsoft.com/office/drawing/2014/main" id="{AB8A1429-697D-E946-9A5D-290B0732E318}"/>
              </a:ext>
            </a:extLst>
          </p:cNvPr>
          <p:cNvCxnSpPr>
            <a:cxnSpLocks/>
          </p:cNvCxnSpPr>
          <p:nvPr/>
        </p:nvCxnSpPr>
        <p:spPr>
          <a:xfrm>
            <a:off x="3707403" y="1899382"/>
            <a:ext cx="423652" cy="340946"/>
          </a:xfrm>
          <a:prstGeom prst="bentConnector3">
            <a:avLst>
              <a:gd name="adj1" fmla="val 50000"/>
            </a:avLst>
          </a:prstGeom>
          <a:noFill/>
          <a:ln w="44450" cap="flat" cmpd="sng" algn="ctr">
            <a:solidFill>
              <a:srgbClr val="4472C4"/>
            </a:solidFill>
            <a:prstDash val="solid"/>
            <a:miter lim="800000"/>
            <a:headEnd w="med" len="med"/>
            <a:tailEnd type="triangle" w="med" len="med"/>
          </a:ln>
          <a:effectLst/>
        </p:spPr>
      </p:cxnSp>
      <p:sp>
        <p:nvSpPr>
          <p:cNvPr id="14" name="Rectangle 13">
            <a:extLst>
              <a:ext uri="{FF2B5EF4-FFF2-40B4-BE49-F238E27FC236}">
                <a16:creationId xmlns:a16="http://schemas.microsoft.com/office/drawing/2014/main" id="{45AFE3AB-2CC5-6248-8098-870F9C67EA10}"/>
              </a:ext>
            </a:extLst>
          </p:cNvPr>
          <p:cNvSpPr/>
          <p:nvPr/>
        </p:nvSpPr>
        <p:spPr>
          <a:xfrm>
            <a:off x="4262429" y="1977650"/>
            <a:ext cx="996462" cy="491730"/>
          </a:xfrm>
          <a:prstGeom prst="rect">
            <a:avLst/>
          </a:prstGeom>
          <a:solidFill>
            <a:srgbClr val="00B0F0"/>
          </a:solidFill>
          <a:ln w="12700" cap="flat" cmpd="sng" algn="ctr">
            <a:solidFill>
              <a:srgbClr val="4472C4">
                <a:shade val="50000"/>
              </a:srgbClr>
            </a:solidFill>
            <a:prstDash val="solid"/>
            <a:miter lim="800000"/>
          </a:ln>
          <a:effectLst/>
        </p:spPr>
        <p:txBody>
          <a:bodyPr rtlCol="0" anchor="ctr"/>
          <a:lstStyle/>
          <a:p>
            <a:pPr algn="ctr" defTabSz="257168">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TBD</a:t>
            </a:r>
          </a:p>
        </p:txBody>
      </p:sp>
      <p:sp>
        <p:nvSpPr>
          <p:cNvPr id="16" name="TextBox 15">
            <a:extLst>
              <a:ext uri="{FF2B5EF4-FFF2-40B4-BE49-F238E27FC236}">
                <a16:creationId xmlns:a16="http://schemas.microsoft.com/office/drawing/2014/main" id="{AAFC47EF-3EC0-5746-AA9E-8B0507A8FA81}"/>
              </a:ext>
            </a:extLst>
          </p:cNvPr>
          <p:cNvSpPr txBox="1"/>
          <p:nvPr/>
        </p:nvSpPr>
        <p:spPr>
          <a:xfrm>
            <a:off x="3260149" y="1083410"/>
            <a:ext cx="498855" cy="230832"/>
          </a:xfrm>
          <a:prstGeom prst="rect">
            <a:avLst/>
          </a:prstGeom>
          <a:noFill/>
        </p:spPr>
        <p:txBody>
          <a:bodyPr wrap="none" rtlCol="0">
            <a:spAutoFit/>
          </a:bodyPr>
          <a:lstStyle/>
          <a:p>
            <a:pPr defTabSz="514337">
              <a:defRPr/>
            </a:pPr>
            <a:r>
              <a:rPr lang="en-US" sz="900">
                <a:solidFill>
                  <a:srgbClr val="212121"/>
                </a:solidFill>
                <a:latin typeface="Arial" panose="020B0604020202020204" pitchFamily="34" charset="0"/>
                <a:ea typeface="ヒラギノ角ゴ ProN W3"/>
                <a:cs typeface="Arial" panose="020B0604020202020204" pitchFamily="34" charset="0"/>
              </a:rPr>
              <a:t>15 pts</a:t>
            </a:r>
          </a:p>
        </p:txBody>
      </p:sp>
      <p:sp>
        <p:nvSpPr>
          <p:cNvPr id="17" name="TextBox 16">
            <a:extLst>
              <a:ext uri="{FF2B5EF4-FFF2-40B4-BE49-F238E27FC236}">
                <a16:creationId xmlns:a16="http://schemas.microsoft.com/office/drawing/2014/main" id="{4DF6D51E-C04D-D643-B323-1FA53654DBE8}"/>
              </a:ext>
            </a:extLst>
          </p:cNvPr>
          <p:cNvSpPr txBox="1"/>
          <p:nvPr/>
        </p:nvSpPr>
        <p:spPr>
          <a:xfrm>
            <a:off x="3254382" y="1756937"/>
            <a:ext cx="498855" cy="230832"/>
          </a:xfrm>
          <a:prstGeom prst="rect">
            <a:avLst/>
          </a:prstGeom>
          <a:noFill/>
        </p:spPr>
        <p:txBody>
          <a:bodyPr wrap="none" rtlCol="0">
            <a:spAutoFit/>
          </a:bodyPr>
          <a:lstStyle/>
          <a:p>
            <a:pPr defTabSz="514337">
              <a:defRPr/>
            </a:pPr>
            <a:r>
              <a:rPr lang="en-US" sz="900">
                <a:solidFill>
                  <a:srgbClr val="212121"/>
                </a:solidFill>
                <a:latin typeface="Arial" panose="020B0604020202020204" pitchFamily="34" charset="0"/>
                <a:ea typeface="ヒラギノ角ゴ ProN W3"/>
                <a:cs typeface="Arial" panose="020B0604020202020204" pitchFamily="34" charset="0"/>
              </a:rPr>
              <a:t>30 pts</a:t>
            </a:r>
          </a:p>
        </p:txBody>
      </p:sp>
      <p:cxnSp>
        <p:nvCxnSpPr>
          <p:cNvPr id="18" name="Straight Arrow Connector 17">
            <a:extLst>
              <a:ext uri="{FF2B5EF4-FFF2-40B4-BE49-F238E27FC236}">
                <a16:creationId xmlns:a16="http://schemas.microsoft.com/office/drawing/2014/main" id="{2A36D5C5-63E4-9944-BE5E-B8DF40C5F866}"/>
              </a:ext>
            </a:extLst>
          </p:cNvPr>
          <p:cNvCxnSpPr>
            <a:cxnSpLocks/>
          </p:cNvCxnSpPr>
          <p:nvPr/>
        </p:nvCxnSpPr>
        <p:spPr>
          <a:xfrm flipV="1">
            <a:off x="5435996" y="1844892"/>
            <a:ext cx="900875" cy="6238"/>
          </a:xfrm>
          <a:prstGeom prst="straightConnector1">
            <a:avLst/>
          </a:prstGeom>
          <a:noFill/>
          <a:ln w="50800" cap="flat" cmpd="sng" algn="ctr">
            <a:solidFill>
              <a:srgbClr val="4472C4"/>
            </a:solidFill>
            <a:prstDash val="solid"/>
            <a:miter lim="800000"/>
            <a:tailEnd type="triangle"/>
          </a:ln>
          <a:effectLst/>
        </p:spPr>
      </p:cxnSp>
      <p:sp>
        <p:nvSpPr>
          <p:cNvPr id="19" name="Rectangle 18">
            <a:extLst>
              <a:ext uri="{FF2B5EF4-FFF2-40B4-BE49-F238E27FC236}">
                <a16:creationId xmlns:a16="http://schemas.microsoft.com/office/drawing/2014/main" id="{8E1B7A30-2821-2542-B03C-73788E720BB1}"/>
              </a:ext>
            </a:extLst>
          </p:cNvPr>
          <p:cNvSpPr/>
          <p:nvPr/>
        </p:nvSpPr>
        <p:spPr>
          <a:xfrm>
            <a:off x="6489428" y="1080034"/>
            <a:ext cx="1278953" cy="1232547"/>
          </a:xfrm>
          <a:prstGeom prst="rect">
            <a:avLst/>
          </a:prstGeom>
          <a:solidFill>
            <a:srgbClr val="00B0F0"/>
          </a:solidFill>
          <a:ln w="12700" cap="flat" cmpd="sng" algn="ctr">
            <a:solidFill>
              <a:srgbClr val="4472C4">
                <a:shade val="50000"/>
              </a:srgbClr>
            </a:solidFill>
            <a:prstDash val="solid"/>
            <a:miter lim="800000"/>
          </a:ln>
          <a:effectLst/>
        </p:spPr>
        <p:txBody>
          <a:bodyPr rtlCol="0" anchor="ctr"/>
          <a:lstStyle/>
          <a:p>
            <a:pPr defTabSz="257168">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Primary endpoint</a:t>
            </a:r>
          </a:p>
          <a:p>
            <a:pPr marL="160731" indent="-160731" defTabSz="257168">
              <a:buFontTx/>
              <a:buChar char="-"/>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CR rate</a:t>
            </a:r>
          </a:p>
          <a:p>
            <a:pPr marL="160731" indent="-160731" defTabSz="257168">
              <a:buFontTx/>
              <a:buChar char="-"/>
              <a:defRPr/>
            </a:pPr>
            <a:endParaRPr lang="en-US" sz="788" kern="0">
              <a:solidFill>
                <a:prstClr val="white"/>
              </a:solidFill>
              <a:latin typeface="Arial" panose="020B0604020202020204" pitchFamily="34" charset="0"/>
              <a:ea typeface="Verdana" panose="020B0604030504040204" pitchFamily="34" charset="0"/>
              <a:cs typeface="Arial" panose="020B0604020202020204" pitchFamily="34" charset="0"/>
            </a:endParaRPr>
          </a:p>
          <a:p>
            <a:pPr defTabSz="257168">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Secondary endpoints</a:t>
            </a:r>
          </a:p>
          <a:p>
            <a:pPr marL="160731" indent="-160731" defTabSz="257168">
              <a:buFontTx/>
              <a:buChar char="-"/>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Safety</a:t>
            </a:r>
          </a:p>
          <a:p>
            <a:pPr marL="160731" indent="-160731" defTabSz="257168">
              <a:buFontTx/>
              <a:buChar char="-"/>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MRD status at 10</a:t>
            </a:r>
            <a:r>
              <a:rPr lang="en-US" sz="788" kern="0" baseline="30000">
                <a:solidFill>
                  <a:prstClr val="white"/>
                </a:solidFill>
                <a:latin typeface="Arial" panose="020B0604020202020204" pitchFamily="34" charset="0"/>
                <a:ea typeface="Verdana" panose="020B0604030504040204" pitchFamily="34" charset="0"/>
                <a:cs typeface="Arial" panose="020B0604020202020204" pitchFamily="34" charset="0"/>
              </a:rPr>
              <a:t>-6</a:t>
            </a:r>
          </a:p>
          <a:p>
            <a:pPr marL="160731" indent="-160731" defTabSz="257168">
              <a:buFontTx/>
              <a:buChar char="-"/>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ORR</a:t>
            </a:r>
          </a:p>
          <a:p>
            <a:pPr marL="160731" indent="-160731" defTabSz="257168">
              <a:buFontTx/>
              <a:buChar char="-"/>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TTP and PFS</a:t>
            </a:r>
          </a:p>
          <a:p>
            <a:pPr marL="160731" indent="-160731" defTabSz="257168">
              <a:buFontTx/>
              <a:buChar char="-"/>
              <a:defRPr/>
            </a:pPr>
            <a:r>
              <a:rPr lang="en-US" sz="788" kern="0">
                <a:solidFill>
                  <a:prstClr val="white"/>
                </a:solidFill>
                <a:latin typeface="Arial" panose="020B0604020202020204" pitchFamily="34" charset="0"/>
                <a:ea typeface="Verdana" panose="020B0604030504040204" pitchFamily="34" charset="0"/>
                <a:cs typeface="Arial" panose="020B0604020202020204" pitchFamily="34" charset="0"/>
              </a:rPr>
              <a:t>Clonal evolution</a:t>
            </a:r>
          </a:p>
        </p:txBody>
      </p:sp>
      <p:cxnSp>
        <p:nvCxnSpPr>
          <p:cNvPr id="20" name="Straight Arrow Connector 19">
            <a:extLst>
              <a:ext uri="{FF2B5EF4-FFF2-40B4-BE49-F238E27FC236}">
                <a16:creationId xmlns:a16="http://schemas.microsoft.com/office/drawing/2014/main" id="{BC4CD3CF-2F9C-F04E-9668-A379DBB50914}"/>
              </a:ext>
            </a:extLst>
          </p:cNvPr>
          <p:cNvCxnSpPr>
            <a:cxnSpLocks/>
          </p:cNvCxnSpPr>
          <p:nvPr/>
        </p:nvCxnSpPr>
        <p:spPr>
          <a:xfrm flipV="1">
            <a:off x="5946734" y="1187284"/>
            <a:ext cx="390137" cy="1"/>
          </a:xfrm>
          <a:prstGeom prst="straightConnector1">
            <a:avLst/>
          </a:prstGeom>
          <a:noFill/>
          <a:ln w="50800" cap="flat" cmpd="sng" algn="ctr">
            <a:solidFill>
              <a:srgbClr val="4472C4"/>
            </a:solidFill>
            <a:prstDash val="solid"/>
            <a:miter lim="800000"/>
            <a:tailEnd type="triangle"/>
          </a:ln>
          <a:effectLst/>
        </p:spPr>
      </p:cxnSp>
      <p:sp>
        <p:nvSpPr>
          <p:cNvPr id="30" name="Rectangle 29">
            <a:extLst>
              <a:ext uri="{FF2B5EF4-FFF2-40B4-BE49-F238E27FC236}">
                <a16:creationId xmlns:a16="http://schemas.microsoft.com/office/drawing/2014/main" id="{6A018D5B-6697-504B-B2FB-7CA4E89C75F2}"/>
              </a:ext>
            </a:extLst>
          </p:cNvPr>
          <p:cNvSpPr/>
          <p:nvPr/>
        </p:nvSpPr>
        <p:spPr>
          <a:xfrm>
            <a:off x="5833612" y="2376993"/>
            <a:ext cx="3104342" cy="403957"/>
          </a:xfrm>
          <a:prstGeom prst="rect">
            <a:avLst/>
          </a:prstGeom>
        </p:spPr>
        <p:txBody>
          <a:bodyPr wrap="square">
            <a:spAutoFit/>
          </a:bodyPr>
          <a:lstStyle/>
          <a:p>
            <a:pPr defTabSz="514337"/>
            <a:r>
              <a:rPr lang="en-US" sz="675" i="1">
                <a:solidFill>
                  <a:srgbClr val="000000"/>
                </a:solidFill>
                <a:latin typeface="Arial" panose="020B0604020202020204" pitchFamily="34" charset="0"/>
                <a:ea typeface="Times New Roman" panose="02020603050405020304" pitchFamily="18" charset="0"/>
                <a:cs typeface="Arial" panose="020B0604020202020204" pitchFamily="34" charset="0"/>
              </a:rPr>
              <a:t> *If a participant randomized to the control arm experiences confirmed IMWG disease progression at any time during the treatment period, they may choose to receive the investigational agent for up to 24 cycles.</a:t>
            </a:r>
          </a:p>
        </p:txBody>
      </p:sp>
      <p:sp>
        <p:nvSpPr>
          <p:cNvPr id="21" name="Rectangle 2">
            <a:extLst>
              <a:ext uri="{FF2B5EF4-FFF2-40B4-BE49-F238E27FC236}">
                <a16:creationId xmlns:a16="http://schemas.microsoft.com/office/drawing/2014/main" id="{F4AF1AB7-1057-3B43-BE0D-FEE3A84F4046}"/>
              </a:ext>
            </a:extLst>
          </p:cNvPr>
          <p:cNvSpPr>
            <a:spLocks noChangeArrowheads="1"/>
          </p:cNvSpPr>
          <p:nvPr/>
        </p:nvSpPr>
        <p:spPr bwMode="auto">
          <a:xfrm>
            <a:off x="0" y="184495"/>
            <a:ext cx="9144000" cy="646331"/>
          </a:xfrm>
          <a:prstGeom prst="rect">
            <a:avLst/>
          </a:prstGeom>
          <a:noFill/>
          <a:ln w="12700">
            <a:noFill/>
            <a:miter lim="800000"/>
            <a:headEnd/>
            <a:tailEnd/>
          </a:ln>
        </p:spPr>
        <p:txBody>
          <a:bodyPr wrap="square">
            <a:spAutoFit/>
          </a:bodyPr>
          <a:lstStyle/>
          <a:p>
            <a:pPr algn="ctr" defTabSz="685800"/>
            <a:r>
              <a:rPr lang="en-US" b="1">
                <a:solidFill>
                  <a:srgbClr val="0070C0"/>
                </a:solidFill>
                <a:latin typeface="Arial" panose="020B0604020202020204"/>
              </a:rPr>
              <a:t>Immuno-PRISM (</a:t>
            </a:r>
            <a:r>
              <a:rPr lang="en-US" b="1" u="sng">
                <a:solidFill>
                  <a:srgbClr val="0070C0"/>
                </a:solidFill>
                <a:latin typeface="Arial" panose="020B0604020202020204"/>
              </a:rPr>
              <a:t>PR</a:t>
            </a:r>
            <a:r>
              <a:rPr lang="en-US" b="1">
                <a:solidFill>
                  <a:srgbClr val="0070C0"/>
                </a:solidFill>
                <a:latin typeface="Arial" panose="020B0604020202020204"/>
              </a:rPr>
              <a:t>ecision </a:t>
            </a:r>
            <a:r>
              <a:rPr lang="en-US" b="1" u="sng">
                <a:solidFill>
                  <a:srgbClr val="0070C0"/>
                </a:solidFill>
                <a:latin typeface="Arial" panose="020B0604020202020204"/>
              </a:rPr>
              <a:t>I</a:t>
            </a:r>
            <a:r>
              <a:rPr lang="en-US" b="1">
                <a:solidFill>
                  <a:srgbClr val="0070C0"/>
                </a:solidFill>
                <a:latin typeface="Arial" panose="020B0604020202020204"/>
              </a:rPr>
              <a:t>ntervention </a:t>
            </a:r>
            <a:r>
              <a:rPr lang="en-US" b="1" u="sng">
                <a:solidFill>
                  <a:srgbClr val="0070C0"/>
                </a:solidFill>
                <a:latin typeface="Arial" panose="020B0604020202020204"/>
              </a:rPr>
              <a:t>S</a:t>
            </a:r>
            <a:r>
              <a:rPr lang="en-US" b="1">
                <a:solidFill>
                  <a:srgbClr val="0070C0"/>
                </a:solidFill>
                <a:latin typeface="Arial" panose="020B0604020202020204"/>
              </a:rPr>
              <a:t>moldering </a:t>
            </a:r>
            <a:r>
              <a:rPr lang="en-US" b="1" u="sng">
                <a:solidFill>
                  <a:srgbClr val="0070C0"/>
                </a:solidFill>
                <a:latin typeface="Arial" panose="020B0604020202020204"/>
              </a:rPr>
              <a:t>M</a:t>
            </a:r>
            <a:r>
              <a:rPr lang="en-US" b="1">
                <a:solidFill>
                  <a:srgbClr val="0070C0"/>
                </a:solidFill>
                <a:latin typeface="Arial" panose="020B0604020202020204"/>
              </a:rPr>
              <a:t>yeloma): A randomized </a:t>
            </a:r>
            <a:r>
              <a:rPr lang="en-US" b="1" spc="-30">
                <a:solidFill>
                  <a:srgbClr val="0070C0"/>
                </a:solidFill>
                <a:latin typeface="Arial" panose="020B0604020202020204"/>
              </a:rPr>
              <a:t>phase II platform study of select immunotherapies for high-risk smoldering myeloma</a:t>
            </a:r>
          </a:p>
        </p:txBody>
      </p:sp>
      <p:grpSp>
        <p:nvGrpSpPr>
          <p:cNvPr id="24" name="Group 23">
            <a:extLst>
              <a:ext uri="{FF2B5EF4-FFF2-40B4-BE49-F238E27FC236}">
                <a16:creationId xmlns:a16="http://schemas.microsoft.com/office/drawing/2014/main" id="{083B2744-6902-D841-AE40-AF8C2E27FA9F}"/>
              </a:ext>
            </a:extLst>
          </p:cNvPr>
          <p:cNvGrpSpPr/>
          <p:nvPr/>
        </p:nvGrpSpPr>
        <p:grpSpPr>
          <a:xfrm>
            <a:off x="6114393" y="3084213"/>
            <a:ext cx="2530105" cy="1669218"/>
            <a:chOff x="6004363" y="1247749"/>
            <a:chExt cx="5661250" cy="7312842"/>
          </a:xfrm>
        </p:grpSpPr>
        <p:sp>
          <p:nvSpPr>
            <p:cNvPr id="25" name="TextBox 53">
              <a:extLst>
                <a:ext uri="{FF2B5EF4-FFF2-40B4-BE49-F238E27FC236}">
                  <a16:creationId xmlns:a16="http://schemas.microsoft.com/office/drawing/2014/main" id="{E2E6346C-35A1-9547-9744-7D40864014A8}"/>
                </a:ext>
              </a:extLst>
            </p:cNvPr>
            <p:cNvSpPr txBox="1">
              <a:spLocks noChangeArrowheads="1"/>
            </p:cNvSpPr>
            <p:nvPr/>
          </p:nvSpPr>
          <p:spPr bwMode="auto">
            <a:xfrm>
              <a:off x="6883183" y="2404420"/>
              <a:ext cx="954282" cy="55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684213">
                <a:defRPr sz="2400">
                  <a:solidFill>
                    <a:schemeClr val="tx1"/>
                  </a:solidFill>
                  <a:latin typeface="Verdana" panose="020B0604030504040204" pitchFamily="34" charset="0"/>
                </a:defRPr>
              </a:lvl1pPr>
              <a:lvl2pPr defTabSz="684213">
                <a:defRPr sz="2400">
                  <a:solidFill>
                    <a:schemeClr val="tx1"/>
                  </a:solidFill>
                  <a:latin typeface="Verdana" panose="020B0604030504040204" pitchFamily="34" charset="0"/>
                </a:defRPr>
              </a:lvl2pPr>
              <a:lvl3pPr defTabSz="684213">
                <a:defRPr sz="2400">
                  <a:solidFill>
                    <a:schemeClr val="tx1"/>
                  </a:solidFill>
                  <a:latin typeface="Verdana" panose="020B0604030504040204" pitchFamily="34" charset="0"/>
                </a:defRPr>
              </a:lvl3pPr>
              <a:lvl4pPr defTabSz="684213">
                <a:defRPr sz="2400">
                  <a:solidFill>
                    <a:schemeClr val="tx1"/>
                  </a:solidFill>
                  <a:latin typeface="Verdana" panose="020B0604030504040204" pitchFamily="34" charset="0"/>
                </a:defRPr>
              </a:lvl4pPr>
              <a:lvl5pPr defTabSz="684213">
                <a:defRPr sz="2400">
                  <a:solidFill>
                    <a:schemeClr val="tx1"/>
                  </a:solidFill>
                  <a:latin typeface="Verdana" panose="020B0604030504040204" pitchFamily="34" charset="0"/>
                </a:defRPr>
              </a:lvl5pPr>
              <a:lvl6pPr marL="2284413" indent="1588" defTabSz="684213" eaLnBrk="0" fontAlgn="base" hangingPunct="0">
                <a:spcBef>
                  <a:spcPct val="0"/>
                </a:spcBef>
                <a:spcAft>
                  <a:spcPct val="0"/>
                </a:spcAft>
                <a:defRPr sz="2400">
                  <a:solidFill>
                    <a:schemeClr val="tx1"/>
                  </a:solidFill>
                  <a:latin typeface="Verdana" panose="020B0604030504040204" pitchFamily="34" charset="0"/>
                </a:defRPr>
              </a:lvl6pPr>
              <a:lvl7pPr marL="2741613" indent="1588" defTabSz="684213" eaLnBrk="0" fontAlgn="base" hangingPunct="0">
                <a:spcBef>
                  <a:spcPct val="0"/>
                </a:spcBef>
                <a:spcAft>
                  <a:spcPct val="0"/>
                </a:spcAft>
                <a:defRPr sz="2400">
                  <a:solidFill>
                    <a:schemeClr val="tx1"/>
                  </a:solidFill>
                  <a:latin typeface="Verdana" panose="020B0604030504040204" pitchFamily="34" charset="0"/>
                </a:defRPr>
              </a:lvl7pPr>
              <a:lvl8pPr marL="3198813" indent="1588" defTabSz="684213" eaLnBrk="0" fontAlgn="base" hangingPunct="0">
                <a:spcBef>
                  <a:spcPct val="0"/>
                </a:spcBef>
                <a:spcAft>
                  <a:spcPct val="0"/>
                </a:spcAft>
                <a:defRPr sz="2400">
                  <a:solidFill>
                    <a:schemeClr val="tx1"/>
                  </a:solidFill>
                  <a:latin typeface="Verdana" panose="020B0604030504040204" pitchFamily="34" charset="0"/>
                </a:defRPr>
              </a:lvl8pPr>
              <a:lvl9pPr marL="3656013" indent="1588" defTabSz="684213" eaLnBrk="0" fontAlgn="base" hangingPunct="0">
                <a:spcBef>
                  <a:spcPct val="0"/>
                </a:spcBef>
                <a:spcAft>
                  <a:spcPct val="0"/>
                </a:spcAft>
                <a:defRPr sz="2400">
                  <a:solidFill>
                    <a:schemeClr val="tx1"/>
                  </a:solidFill>
                  <a:latin typeface="Verdana" panose="020B0604030504040204" pitchFamily="34" charset="0"/>
                </a:defRPr>
              </a:lvl9pPr>
            </a:lstStyle>
            <a:p>
              <a:pPr algn="ctr" defTabSz="384842" fontAlgn="base">
                <a:spcBef>
                  <a:spcPct val="0"/>
                </a:spcBef>
                <a:spcAft>
                  <a:spcPct val="0"/>
                </a:spcAft>
                <a:defRPr/>
              </a:pPr>
              <a:r>
                <a:rPr lang="en-US" altLang="en-US" sz="825" b="1">
                  <a:solidFill>
                    <a:srgbClr val="003479"/>
                  </a:solidFill>
                  <a:latin typeface="Arial" panose="020B0604020202020204" pitchFamily="34" charset="0"/>
                  <a:ea typeface="Verdana" panose="020B0604030504040204" pitchFamily="34" charset="0"/>
                  <a:cs typeface="Arial" panose="020B0604020202020204" pitchFamily="34" charset="0"/>
                </a:rPr>
                <a:t>BCMA</a:t>
              </a:r>
            </a:p>
          </p:txBody>
        </p:sp>
        <p:sp>
          <p:nvSpPr>
            <p:cNvPr id="26" name="TextBox 55">
              <a:extLst>
                <a:ext uri="{FF2B5EF4-FFF2-40B4-BE49-F238E27FC236}">
                  <a16:creationId xmlns:a16="http://schemas.microsoft.com/office/drawing/2014/main" id="{AADE1DE2-D4D2-7B44-A78F-973B94404E42}"/>
                </a:ext>
              </a:extLst>
            </p:cNvPr>
            <p:cNvSpPr txBox="1">
              <a:spLocks noChangeArrowheads="1"/>
            </p:cNvSpPr>
            <p:nvPr/>
          </p:nvSpPr>
          <p:spPr bwMode="auto">
            <a:xfrm>
              <a:off x="9824620" y="2404420"/>
              <a:ext cx="1454145" cy="55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684213">
                <a:defRPr sz="2400">
                  <a:solidFill>
                    <a:schemeClr val="tx1"/>
                  </a:solidFill>
                  <a:latin typeface="Verdana" panose="020B0604030504040204" pitchFamily="34" charset="0"/>
                </a:defRPr>
              </a:lvl1pPr>
              <a:lvl2pPr defTabSz="684213">
                <a:defRPr sz="2400">
                  <a:solidFill>
                    <a:schemeClr val="tx1"/>
                  </a:solidFill>
                  <a:latin typeface="Verdana" panose="020B0604030504040204" pitchFamily="34" charset="0"/>
                </a:defRPr>
              </a:lvl2pPr>
              <a:lvl3pPr defTabSz="684213">
                <a:defRPr sz="2400">
                  <a:solidFill>
                    <a:schemeClr val="tx1"/>
                  </a:solidFill>
                  <a:latin typeface="Verdana" panose="020B0604030504040204" pitchFamily="34" charset="0"/>
                </a:defRPr>
              </a:lvl3pPr>
              <a:lvl4pPr defTabSz="684213">
                <a:defRPr sz="2400">
                  <a:solidFill>
                    <a:schemeClr val="tx1"/>
                  </a:solidFill>
                  <a:latin typeface="Verdana" panose="020B0604030504040204" pitchFamily="34" charset="0"/>
                </a:defRPr>
              </a:lvl4pPr>
              <a:lvl5pPr defTabSz="684213">
                <a:defRPr sz="2400">
                  <a:solidFill>
                    <a:schemeClr val="tx1"/>
                  </a:solidFill>
                  <a:latin typeface="Verdana" panose="020B0604030504040204" pitchFamily="34" charset="0"/>
                </a:defRPr>
              </a:lvl5pPr>
              <a:lvl6pPr marL="2284413" indent="1588" defTabSz="684213" eaLnBrk="0" fontAlgn="base" hangingPunct="0">
                <a:spcBef>
                  <a:spcPct val="0"/>
                </a:spcBef>
                <a:spcAft>
                  <a:spcPct val="0"/>
                </a:spcAft>
                <a:defRPr sz="2400">
                  <a:solidFill>
                    <a:schemeClr val="tx1"/>
                  </a:solidFill>
                  <a:latin typeface="Verdana" panose="020B0604030504040204" pitchFamily="34" charset="0"/>
                </a:defRPr>
              </a:lvl6pPr>
              <a:lvl7pPr marL="2741613" indent="1588" defTabSz="684213" eaLnBrk="0" fontAlgn="base" hangingPunct="0">
                <a:spcBef>
                  <a:spcPct val="0"/>
                </a:spcBef>
                <a:spcAft>
                  <a:spcPct val="0"/>
                </a:spcAft>
                <a:defRPr sz="2400">
                  <a:solidFill>
                    <a:schemeClr val="tx1"/>
                  </a:solidFill>
                  <a:latin typeface="Verdana" panose="020B0604030504040204" pitchFamily="34" charset="0"/>
                </a:defRPr>
              </a:lvl7pPr>
              <a:lvl8pPr marL="3198813" indent="1588" defTabSz="684213" eaLnBrk="0" fontAlgn="base" hangingPunct="0">
                <a:spcBef>
                  <a:spcPct val="0"/>
                </a:spcBef>
                <a:spcAft>
                  <a:spcPct val="0"/>
                </a:spcAft>
                <a:defRPr sz="2400">
                  <a:solidFill>
                    <a:schemeClr val="tx1"/>
                  </a:solidFill>
                  <a:latin typeface="Verdana" panose="020B0604030504040204" pitchFamily="34" charset="0"/>
                </a:defRPr>
              </a:lvl8pPr>
              <a:lvl9pPr marL="3656013" indent="1588" defTabSz="684213" eaLnBrk="0" fontAlgn="base" hangingPunct="0">
                <a:spcBef>
                  <a:spcPct val="0"/>
                </a:spcBef>
                <a:spcAft>
                  <a:spcPct val="0"/>
                </a:spcAft>
                <a:defRPr sz="2400">
                  <a:solidFill>
                    <a:schemeClr val="tx1"/>
                  </a:solidFill>
                  <a:latin typeface="Verdana" panose="020B0604030504040204" pitchFamily="34" charset="0"/>
                </a:defRPr>
              </a:lvl9pPr>
            </a:lstStyle>
            <a:p>
              <a:pPr algn="ctr" defTabSz="384842" fontAlgn="base">
                <a:spcBef>
                  <a:spcPct val="0"/>
                </a:spcBef>
                <a:spcAft>
                  <a:spcPct val="0"/>
                </a:spcAft>
                <a:defRPr/>
              </a:pPr>
              <a:r>
                <a:rPr lang="en-US" altLang="en-US" sz="825" b="1">
                  <a:solidFill>
                    <a:srgbClr val="003479"/>
                  </a:solidFill>
                  <a:latin typeface="Arial" panose="020B0604020202020204" pitchFamily="34" charset="0"/>
                  <a:ea typeface="Verdana" panose="020B0604030504040204" pitchFamily="34" charset="0"/>
                  <a:cs typeface="Arial" panose="020B0604020202020204" pitchFamily="34" charset="0"/>
                </a:rPr>
                <a:t>Teclistamab</a:t>
              </a:r>
            </a:p>
          </p:txBody>
        </p:sp>
        <p:sp>
          <p:nvSpPr>
            <p:cNvPr id="27" name="Right Arrow 99">
              <a:extLst>
                <a:ext uri="{FF2B5EF4-FFF2-40B4-BE49-F238E27FC236}">
                  <a16:creationId xmlns:a16="http://schemas.microsoft.com/office/drawing/2014/main" id="{BC16575C-B1D7-714D-B03D-DDF694480112}"/>
                </a:ext>
              </a:extLst>
            </p:cNvPr>
            <p:cNvSpPr/>
            <p:nvPr/>
          </p:nvSpPr>
          <p:spPr>
            <a:xfrm>
              <a:off x="9305895" y="1753292"/>
              <a:ext cx="627479" cy="220964"/>
            </a:xfrm>
            <a:prstGeom prst="rightArrow">
              <a:avLst/>
            </a:prstGeom>
            <a:solidFill>
              <a:schemeClr val="tx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250">
                <a:defRPr/>
              </a:pPr>
              <a:endParaRPr lang="en-GB" sz="900">
                <a:solidFill>
                  <a:srgbClr val="FFFFFF"/>
                </a:solidFill>
                <a:latin typeface="Arial" panose="020B0604020202020204" pitchFamily="34" charset="0"/>
                <a:cs typeface="Arial" panose="020B0604020202020204" pitchFamily="34" charset="0"/>
              </a:endParaRPr>
            </a:p>
          </p:txBody>
        </p:sp>
        <p:sp>
          <p:nvSpPr>
            <p:cNvPr id="28" name="TextBox 54">
              <a:extLst>
                <a:ext uri="{FF2B5EF4-FFF2-40B4-BE49-F238E27FC236}">
                  <a16:creationId xmlns:a16="http://schemas.microsoft.com/office/drawing/2014/main" id="{5E40A444-2C8C-CF43-9CB6-88800E54972A}"/>
                </a:ext>
              </a:extLst>
            </p:cNvPr>
            <p:cNvSpPr txBox="1">
              <a:spLocks noChangeArrowheads="1"/>
            </p:cNvSpPr>
            <p:nvPr/>
          </p:nvSpPr>
          <p:spPr bwMode="auto">
            <a:xfrm>
              <a:off x="8565086" y="2404420"/>
              <a:ext cx="522142" cy="55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684213">
                <a:defRPr sz="2400">
                  <a:solidFill>
                    <a:schemeClr val="tx1"/>
                  </a:solidFill>
                  <a:latin typeface="Verdana" panose="020B0604030504040204" pitchFamily="34" charset="0"/>
                </a:defRPr>
              </a:lvl1pPr>
              <a:lvl2pPr defTabSz="684213">
                <a:defRPr sz="2400">
                  <a:solidFill>
                    <a:schemeClr val="tx1"/>
                  </a:solidFill>
                  <a:latin typeface="Verdana" panose="020B0604030504040204" pitchFamily="34" charset="0"/>
                </a:defRPr>
              </a:lvl2pPr>
              <a:lvl3pPr defTabSz="684213">
                <a:defRPr sz="2400">
                  <a:solidFill>
                    <a:schemeClr val="tx1"/>
                  </a:solidFill>
                  <a:latin typeface="Verdana" panose="020B0604030504040204" pitchFamily="34" charset="0"/>
                </a:defRPr>
              </a:lvl3pPr>
              <a:lvl4pPr defTabSz="684213">
                <a:defRPr sz="2400">
                  <a:solidFill>
                    <a:schemeClr val="tx1"/>
                  </a:solidFill>
                  <a:latin typeface="Verdana" panose="020B0604030504040204" pitchFamily="34" charset="0"/>
                </a:defRPr>
              </a:lvl4pPr>
              <a:lvl5pPr defTabSz="684213">
                <a:defRPr sz="2400">
                  <a:solidFill>
                    <a:schemeClr val="tx1"/>
                  </a:solidFill>
                  <a:latin typeface="Verdana" panose="020B0604030504040204" pitchFamily="34" charset="0"/>
                </a:defRPr>
              </a:lvl5pPr>
              <a:lvl6pPr marL="2284413" indent="1588" defTabSz="684213" eaLnBrk="0" fontAlgn="base" hangingPunct="0">
                <a:spcBef>
                  <a:spcPct val="0"/>
                </a:spcBef>
                <a:spcAft>
                  <a:spcPct val="0"/>
                </a:spcAft>
                <a:defRPr sz="2400">
                  <a:solidFill>
                    <a:schemeClr val="tx1"/>
                  </a:solidFill>
                  <a:latin typeface="Verdana" panose="020B0604030504040204" pitchFamily="34" charset="0"/>
                </a:defRPr>
              </a:lvl6pPr>
              <a:lvl7pPr marL="2741613" indent="1588" defTabSz="684213" eaLnBrk="0" fontAlgn="base" hangingPunct="0">
                <a:spcBef>
                  <a:spcPct val="0"/>
                </a:spcBef>
                <a:spcAft>
                  <a:spcPct val="0"/>
                </a:spcAft>
                <a:defRPr sz="2400">
                  <a:solidFill>
                    <a:schemeClr val="tx1"/>
                  </a:solidFill>
                  <a:latin typeface="Verdana" panose="020B0604030504040204" pitchFamily="34" charset="0"/>
                </a:defRPr>
              </a:lvl7pPr>
              <a:lvl8pPr marL="3198813" indent="1588" defTabSz="684213" eaLnBrk="0" fontAlgn="base" hangingPunct="0">
                <a:spcBef>
                  <a:spcPct val="0"/>
                </a:spcBef>
                <a:spcAft>
                  <a:spcPct val="0"/>
                </a:spcAft>
                <a:defRPr sz="2400">
                  <a:solidFill>
                    <a:schemeClr val="tx1"/>
                  </a:solidFill>
                  <a:latin typeface="Verdana" panose="020B0604030504040204" pitchFamily="34" charset="0"/>
                </a:defRPr>
              </a:lvl8pPr>
              <a:lvl9pPr marL="3656013" indent="1588" defTabSz="684213" eaLnBrk="0" fontAlgn="base" hangingPunct="0">
                <a:spcBef>
                  <a:spcPct val="0"/>
                </a:spcBef>
                <a:spcAft>
                  <a:spcPct val="0"/>
                </a:spcAft>
                <a:defRPr sz="2400">
                  <a:solidFill>
                    <a:schemeClr val="tx1"/>
                  </a:solidFill>
                  <a:latin typeface="Verdana" panose="020B0604030504040204" pitchFamily="34" charset="0"/>
                </a:defRPr>
              </a:lvl9pPr>
            </a:lstStyle>
            <a:p>
              <a:pPr algn="ctr" defTabSz="384842" fontAlgn="base">
                <a:spcBef>
                  <a:spcPct val="0"/>
                </a:spcBef>
                <a:spcAft>
                  <a:spcPct val="0"/>
                </a:spcAft>
                <a:defRPr/>
              </a:pPr>
              <a:r>
                <a:rPr lang="en-US" altLang="en-US" sz="825" b="1">
                  <a:solidFill>
                    <a:srgbClr val="003479"/>
                  </a:solidFill>
                  <a:latin typeface="Arial" panose="020B0604020202020204" pitchFamily="34" charset="0"/>
                  <a:ea typeface="Verdana" panose="020B0604030504040204" pitchFamily="34" charset="0"/>
                  <a:cs typeface="Arial" panose="020B0604020202020204" pitchFamily="34" charset="0"/>
                </a:rPr>
                <a:t>CD3</a:t>
              </a:r>
            </a:p>
          </p:txBody>
        </p:sp>
        <p:sp>
          <p:nvSpPr>
            <p:cNvPr id="29" name="TextBox 28">
              <a:extLst>
                <a:ext uri="{FF2B5EF4-FFF2-40B4-BE49-F238E27FC236}">
                  <a16:creationId xmlns:a16="http://schemas.microsoft.com/office/drawing/2014/main" id="{B034717F-A729-6041-BCB3-201F877F59E3}"/>
                </a:ext>
              </a:extLst>
            </p:cNvPr>
            <p:cNvSpPr txBox="1"/>
            <p:nvPr/>
          </p:nvSpPr>
          <p:spPr>
            <a:xfrm>
              <a:off x="6004363" y="5147421"/>
              <a:ext cx="1101871" cy="1618043"/>
            </a:xfrm>
            <a:prstGeom prst="rect">
              <a:avLst/>
            </a:prstGeom>
            <a:noFill/>
          </p:spPr>
          <p:txBody>
            <a:bodyPr wrap="none" rtlCol="0">
              <a:spAutoFit/>
            </a:bodyPr>
            <a:lstStyle/>
            <a:p>
              <a:pPr algn="ctr" defTabSz="514337"/>
              <a:r>
                <a:rPr lang="en-US" sz="900" b="1">
                  <a:solidFill>
                    <a:srgbClr val="C00000"/>
                  </a:solidFill>
                  <a:latin typeface="Arial" panose="020B0604020202020204" pitchFamily="34" charset="0"/>
                  <a:cs typeface="Arial" panose="020B0604020202020204" pitchFamily="34" charset="0"/>
                </a:rPr>
                <a:t>Cell </a:t>
              </a:r>
            </a:p>
            <a:p>
              <a:pPr algn="ctr" defTabSz="514337"/>
              <a:r>
                <a:rPr lang="en-US" sz="900" b="1">
                  <a:solidFill>
                    <a:srgbClr val="C00000"/>
                  </a:solidFill>
                  <a:latin typeface="Arial" panose="020B0604020202020204" pitchFamily="34" charset="0"/>
                  <a:cs typeface="Arial" panose="020B0604020202020204" pitchFamily="34" charset="0"/>
                </a:rPr>
                <a:t>death</a:t>
              </a:r>
            </a:p>
          </p:txBody>
        </p:sp>
        <p:sp>
          <p:nvSpPr>
            <p:cNvPr id="31" name="TextBox 30">
              <a:extLst>
                <a:ext uri="{FF2B5EF4-FFF2-40B4-BE49-F238E27FC236}">
                  <a16:creationId xmlns:a16="http://schemas.microsoft.com/office/drawing/2014/main" id="{B6832EA3-22F4-A44C-BFA8-9C31BB113B26}"/>
                </a:ext>
              </a:extLst>
            </p:cNvPr>
            <p:cNvSpPr txBox="1"/>
            <p:nvPr/>
          </p:nvSpPr>
          <p:spPr>
            <a:xfrm>
              <a:off x="9411365" y="5122252"/>
              <a:ext cx="2254248" cy="3438339"/>
            </a:xfrm>
            <a:prstGeom prst="rect">
              <a:avLst/>
            </a:prstGeom>
            <a:noFill/>
          </p:spPr>
          <p:txBody>
            <a:bodyPr wrap="square" rtlCol="0">
              <a:spAutoFit/>
            </a:bodyPr>
            <a:lstStyle/>
            <a:p>
              <a:pPr algn="ctr" defTabSz="514337"/>
              <a:r>
                <a:rPr lang="en-US" sz="900" b="1">
                  <a:solidFill>
                    <a:srgbClr val="349941">
                      <a:lumMod val="75000"/>
                    </a:srgbClr>
                  </a:solidFill>
                  <a:latin typeface="Arial" panose="020B0604020202020204" pitchFamily="34" charset="0"/>
                  <a:cs typeface="Arial" panose="020B0604020202020204" pitchFamily="34" charset="0"/>
                </a:rPr>
                <a:t>T-cell activation</a:t>
              </a:r>
            </a:p>
            <a:p>
              <a:pPr algn="ctr" defTabSz="514337"/>
              <a:r>
                <a:rPr lang="en-US" sz="900" b="1">
                  <a:solidFill>
                    <a:srgbClr val="349941">
                      <a:lumMod val="75000"/>
                    </a:srgbClr>
                  </a:solidFill>
                  <a:latin typeface="Arial" panose="020B0604020202020204" pitchFamily="34" charset="0"/>
                  <a:cs typeface="Arial" panose="020B0604020202020204" pitchFamily="34" charset="0"/>
                </a:rPr>
                <a:t>Cytokine secretion</a:t>
              </a:r>
            </a:p>
            <a:p>
              <a:pPr algn="ctr" defTabSz="514337"/>
              <a:r>
                <a:rPr lang="en-US" sz="900" b="1">
                  <a:solidFill>
                    <a:srgbClr val="349941">
                      <a:lumMod val="75000"/>
                    </a:srgbClr>
                  </a:solidFill>
                  <a:latin typeface="Arial" panose="020B0604020202020204" pitchFamily="34" charset="0"/>
                  <a:cs typeface="Arial" panose="020B0604020202020204" pitchFamily="34" charset="0"/>
                </a:rPr>
                <a:t>Cytotoxicity</a:t>
              </a:r>
            </a:p>
          </p:txBody>
        </p:sp>
        <p:grpSp>
          <p:nvGrpSpPr>
            <p:cNvPr id="32" name="Group 31">
              <a:extLst>
                <a:ext uri="{FF2B5EF4-FFF2-40B4-BE49-F238E27FC236}">
                  <a16:creationId xmlns:a16="http://schemas.microsoft.com/office/drawing/2014/main" id="{E740FEA6-5171-5A49-AC9B-D916011E8C11}"/>
                </a:ext>
              </a:extLst>
            </p:cNvPr>
            <p:cNvGrpSpPr/>
            <p:nvPr/>
          </p:nvGrpSpPr>
          <p:grpSpPr>
            <a:xfrm>
              <a:off x="6835797" y="3128246"/>
              <a:ext cx="2413239" cy="1997163"/>
              <a:chOff x="8524728" y="3206418"/>
              <a:chExt cx="1685925" cy="1803313"/>
            </a:xfrm>
          </p:grpSpPr>
          <p:grpSp>
            <p:nvGrpSpPr>
              <p:cNvPr id="219" name="Group 123">
                <a:extLst>
                  <a:ext uri="{FF2B5EF4-FFF2-40B4-BE49-F238E27FC236}">
                    <a16:creationId xmlns:a16="http://schemas.microsoft.com/office/drawing/2014/main" id="{25880753-FCEF-644C-9571-9CC1A7CB8239}"/>
                  </a:ext>
                </a:extLst>
              </p:cNvPr>
              <p:cNvGrpSpPr>
                <a:grpSpLocks/>
              </p:cNvGrpSpPr>
              <p:nvPr/>
            </p:nvGrpSpPr>
            <p:grpSpPr bwMode="auto">
              <a:xfrm>
                <a:off x="8524728" y="3206418"/>
                <a:ext cx="1685925" cy="1803313"/>
                <a:chOff x="2435" y="2401"/>
                <a:chExt cx="883" cy="949"/>
              </a:xfrm>
            </p:grpSpPr>
            <p:sp>
              <p:nvSpPr>
                <p:cNvPr id="221" name="Freeform 124">
                  <a:extLst>
                    <a:ext uri="{FF2B5EF4-FFF2-40B4-BE49-F238E27FC236}">
                      <a16:creationId xmlns:a16="http://schemas.microsoft.com/office/drawing/2014/main" id="{76AA2260-4DF6-CA4E-BBD0-1952AE2F8489}"/>
                    </a:ext>
                  </a:extLst>
                </p:cNvPr>
                <p:cNvSpPr>
                  <a:spLocks/>
                </p:cNvSpPr>
                <p:nvPr/>
              </p:nvSpPr>
              <p:spPr bwMode="auto">
                <a:xfrm>
                  <a:off x="2435" y="2401"/>
                  <a:ext cx="883" cy="949"/>
                </a:xfrm>
                <a:custGeom>
                  <a:avLst/>
                  <a:gdLst>
                    <a:gd name="T0" fmla="*/ 3147 w 353"/>
                    <a:gd name="T1" fmla="*/ 307 h 356"/>
                    <a:gd name="T2" fmla="*/ 1926 w 353"/>
                    <a:gd name="T3" fmla="*/ 149 h 356"/>
                    <a:gd name="T4" fmla="*/ 1301 w 353"/>
                    <a:gd name="T5" fmla="*/ 989 h 356"/>
                    <a:gd name="T6" fmla="*/ 533 w 353"/>
                    <a:gd name="T7" fmla="*/ 1839 h 356"/>
                    <a:gd name="T8" fmla="*/ 270 w 353"/>
                    <a:gd name="T9" fmla="*/ 3012 h 356"/>
                    <a:gd name="T10" fmla="*/ 125 w 353"/>
                    <a:gd name="T11" fmla="*/ 4492 h 356"/>
                    <a:gd name="T12" fmla="*/ 800 w 353"/>
                    <a:gd name="T13" fmla="*/ 5529 h 356"/>
                    <a:gd name="T14" fmla="*/ 1238 w 353"/>
                    <a:gd name="T15" fmla="*/ 6459 h 356"/>
                    <a:gd name="T16" fmla="*/ 2459 w 353"/>
                    <a:gd name="T17" fmla="*/ 6651 h 356"/>
                    <a:gd name="T18" fmla="*/ 4317 w 353"/>
                    <a:gd name="T19" fmla="*/ 6097 h 356"/>
                    <a:gd name="T20" fmla="*/ 5118 w 353"/>
                    <a:gd name="T21" fmla="*/ 5073 h 356"/>
                    <a:gd name="T22" fmla="*/ 5163 w 353"/>
                    <a:gd name="T23" fmla="*/ 3617 h 356"/>
                    <a:gd name="T24" fmla="*/ 5506 w 353"/>
                    <a:gd name="T25" fmla="*/ 2708 h 356"/>
                    <a:gd name="T26" fmla="*/ 4963 w 353"/>
                    <a:gd name="T27" fmla="*/ 1498 h 356"/>
                    <a:gd name="T28" fmla="*/ 4222 w 353"/>
                    <a:gd name="T29" fmla="*/ 477 h 356"/>
                    <a:gd name="T30" fmla="*/ 3147 w 353"/>
                    <a:gd name="T31" fmla="*/ 307 h 3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3" h="356">
                      <a:moveTo>
                        <a:pt x="201" y="16"/>
                      </a:moveTo>
                      <a:cubicBezTo>
                        <a:pt x="172" y="13"/>
                        <a:pt x="145" y="0"/>
                        <a:pt x="123" y="8"/>
                      </a:cubicBezTo>
                      <a:cubicBezTo>
                        <a:pt x="103" y="16"/>
                        <a:pt x="98" y="35"/>
                        <a:pt x="83" y="52"/>
                      </a:cubicBezTo>
                      <a:cubicBezTo>
                        <a:pt x="69" y="67"/>
                        <a:pt x="44" y="79"/>
                        <a:pt x="34" y="97"/>
                      </a:cubicBezTo>
                      <a:cubicBezTo>
                        <a:pt x="21" y="116"/>
                        <a:pt x="22" y="140"/>
                        <a:pt x="17" y="159"/>
                      </a:cubicBezTo>
                      <a:cubicBezTo>
                        <a:pt x="8" y="189"/>
                        <a:pt x="0" y="212"/>
                        <a:pt x="8" y="237"/>
                      </a:cubicBezTo>
                      <a:cubicBezTo>
                        <a:pt x="16" y="260"/>
                        <a:pt x="38" y="274"/>
                        <a:pt x="51" y="292"/>
                      </a:cubicBezTo>
                      <a:cubicBezTo>
                        <a:pt x="63" y="308"/>
                        <a:pt x="67" y="329"/>
                        <a:pt x="79" y="341"/>
                      </a:cubicBezTo>
                      <a:cubicBezTo>
                        <a:pt x="101" y="356"/>
                        <a:pt x="130" y="352"/>
                        <a:pt x="157" y="351"/>
                      </a:cubicBezTo>
                      <a:cubicBezTo>
                        <a:pt x="196" y="349"/>
                        <a:pt x="242" y="353"/>
                        <a:pt x="276" y="322"/>
                      </a:cubicBezTo>
                      <a:cubicBezTo>
                        <a:pt x="295" y="305"/>
                        <a:pt x="313" y="303"/>
                        <a:pt x="327" y="268"/>
                      </a:cubicBezTo>
                      <a:cubicBezTo>
                        <a:pt x="342" y="233"/>
                        <a:pt x="324" y="207"/>
                        <a:pt x="330" y="191"/>
                      </a:cubicBezTo>
                      <a:cubicBezTo>
                        <a:pt x="337" y="172"/>
                        <a:pt x="353" y="161"/>
                        <a:pt x="352" y="143"/>
                      </a:cubicBezTo>
                      <a:cubicBezTo>
                        <a:pt x="350" y="115"/>
                        <a:pt x="340" y="104"/>
                        <a:pt x="317" y="79"/>
                      </a:cubicBezTo>
                      <a:cubicBezTo>
                        <a:pt x="305" y="66"/>
                        <a:pt x="299" y="49"/>
                        <a:pt x="270" y="25"/>
                      </a:cubicBezTo>
                      <a:cubicBezTo>
                        <a:pt x="256" y="13"/>
                        <a:pt x="228" y="19"/>
                        <a:pt x="201" y="16"/>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22" name="Freeform 125">
                  <a:extLst>
                    <a:ext uri="{FF2B5EF4-FFF2-40B4-BE49-F238E27FC236}">
                      <a16:creationId xmlns:a16="http://schemas.microsoft.com/office/drawing/2014/main" id="{16087CA9-3E50-6440-BAE2-32676091BE69}"/>
                    </a:ext>
                  </a:extLst>
                </p:cNvPr>
                <p:cNvSpPr>
                  <a:spLocks/>
                </p:cNvSpPr>
                <p:nvPr/>
              </p:nvSpPr>
              <p:spPr bwMode="auto">
                <a:xfrm>
                  <a:off x="2683" y="2657"/>
                  <a:ext cx="505" cy="539"/>
                </a:xfrm>
                <a:custGeom>
                  <a:avLst/>
                  <a:gdLst>
                    <a:gd name="T0" fmla="*/ 20 w 202"/>
                    <a:gd name="T1" fmla="*/ 1574 h 202"/>
                    <a:gd name="T2" fmla="*/ 425 w 202"/>
                    <a:gd name="T3" fmla="*/ 2735 h 202"/>
                    <a:gd name="T4" fmla="*/ 1000 w 202"/>
                    <a:gd name="T5" fmla="*/ 3269 h 202"/>
                    <a:gd name="T6" fmla="*/ 1625 w 202"/>
                    <a:gd name="T7" fmla="*/ 3816 h 202"/>
                    <a:gd name="T8" fmla="*/ 2708 w 202"/>
                    <a:gd name="T9" fmla="*/ 3359 h 202"/>
                    <a:gd name="T10" fmla="*/ 3083 w 202"/>
                    <a:gd name="T11" fmla="*/ 2265 h 202"/>
                    <a:gd name="T12" fmla="*/ 2708 w 202"/>
                    <a:gd name="T13" fmla="*/ 1003 h 202"/>
                    <a:gd name="T14" fmla="*/ 2158 w 202"/>
                    <a:gd name="T15" fmla="*/ 547 h 202"/>
                    <a:gd name="T16" fmla="*/ 1533 w 202"/>
                    <a:gd name="T17" fmla="*/ 21 h 202"/>
                    <a:gd name="T18" fmla="*/ 645 w 202"/>
                    <a:gd name="T19" fmla="*/ 512 h 202"/>
                    <a:gd name="T20" fmla="*/ 20 w 202"/>
                    <a:gd name="T21" fmla="*/ 1574 h 2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2" h="202">
                      <a:moveTo>
                        <a:pt x="1" y="83"/>
                      </a:moveTo>
                      <a:cubicBezTo>
                        <a:pt x="0" y="102"/>
                        <a:pt x="18" y="124"/>
                        <a:pt x="27" y="144"/>
                      </a:cubicBezTo>
                      <a:cubicBezTo>
                        <a:pt x="34" y="155"/>
                        <a:pt x="52" y="162"/>
                        <a:pt x="64" y="172"/>
                      </a:cubicBezTo>
                      <a:cubicBezTo>
                        <a:pt x="78" y="185"/>
                        <a:pt x="86" y="201"/>
                        <a:pt x="104" y="201"/>
                      </a:cubicBezTo>
                      <a:cubicBezTo>
                        <a:pt x="123" y="202"/>
                        <a:pt x="157" y="193"/>
                        <a:pt x="173" y="177"/>
                      </a:cubicBezTo>
                      <a:cubicBezTo>
                        <a:pt x="187" y="158"/>
                        <a:pt x="194" y="133"/>
                        <a:pt x="197" y="119"/>
                      </a:cubicBezTo>
                      <a:cubicBezTo>
                        <a:pt x="202" y="91"/>
                        <a:pt x="179" y="71"/>
                        <a:pt x="173" y="53"/>
                      </a:cubicBezTo>
                      <a:cubicBezTo>
                        <a:pt x="168" y="43"/>
                        <a:pt x="151" y="39"/>
                        <a:pt x="138" y="29"/>
                      </a:cubicBezTo>
                      <a:cubicBezTo>
                        <a:pt x="124" y="19"/>
                        <a:pt x="115" y="2"/>
                        <a:pt x="98" y="1"/>
                      </a:cubicBezTo>
                      <a:cubicBezTo>
                        <a:pt x="78" y="0"/>
                        <a:pt x="54" y="19"/>
                        <a:pt x="41" y="27"/>
                      </a:cubicBezTo>
                      <a:cubicBezTo>
                        <a:pt x="20" y="47"/>
                        <a:pt x="1" y="63"/>
                        <a:pt x="1" y="83"/>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23" name="Freeform 126">
                  <a:extLst>
                    <a:ext uri="{FF2B5EF4-FFF2-40B4-BE49-F238E27FC236}">
                      <a16:creationId xmlns:a16="http://schemas.microsoft.com/office/drawing/2014/main" id="{743DD06B-B43C-6541-AA24-4DFFF44E0958}"/>
                    </a:ext>
                  </a:extLst>
                </p:cNvPr>
                <p:cNvSpPr>
                  <a:spLocks/>
                </p:cNvSpPr>
                <p:nvPr/>
              </p:nvSpPr>
              <p:spPr bwMode="auto">
                <a:xfrm>
                  <a:off x="2618" y="2628"/>
                  <a:ext cx="505" cy="539"/>
                </a:xfrm>
                <a:custGeom>
                  <a:avLst/>
                  <a:gdLst>
                    <a:gd name="T0" fmla="*/ 20 w 202"/>
                    <a:gd name="T1" fmla="*/ 1574 h 202"/>
                    <a:gd name="T2" fmla="*/ 425 w 202"/>
                    <a:gd name="T3" fmla="*/ 2735 h 202"/>
                    <a:gd name="T4" fmla="*/ 1000 w 202"/>
                    <a:gd name="T5" fmla="*/ 3269 h 202"/>
                    <a:gd name="T6" fmla="*/ 1625 w 202"/>
                    <a:gd name="T7" fmla="*/ 3816 h 202"/>
                    <a:gd name="T8" fmla="*/ 2708 w 202"/>
                    <a:gd name="T9" fmla="*/ 3359 h 202"/>
                    <a:gd name="T10" fmla="*/ 3083 w 202"/>
                    <a:gd name="T11" fmla="*/ 2265 h 202"/>
                    <a:gd name="T12" fmla="*/ 2708 w 202"/>
                    <a:gd name="T13" fmla="*/ 1003 h 202"/>
                    <a:gd name="T14" fmla="*/ 2158 w 202"/>
                    <a:gd name="T15" fmla="*/ 547 h 202"/>
                    <a:gd name="T16" fmla="*/ 1533 w 202"/>
                    <a:gd name="T17" fmla="*/ 21 h 202"/>
                    <a:gd name="T18" fmla="*/ 645 w 202"/>
                    <a:gd name="T19" fmla="*/ 512 h 202"/>
                    <a:gd name="T20" fmla="*/ 20 w 202"/>
                    <a:gd name="T21" fmla="*/ 1574 h 2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2" h="202">
                      <a:moveTo>
                        <a:pt x="1" y="83"/>
                      </a:moveTo>
                      <a:cubicBezTo>
                        <a:pt x="0" y="102"/>
                        <a:pt x="18" y="124"/>
                        <a:pt x="27" y="144"/>
                      </a:cubicBezTo>
                      <a:cubicBezTo>
                        <a:pt x="34" y="155"/>
                        <a:pt x="52" y="162"/>
                        <a:pt x="64" y="172"/>
                      </a:cubicBezTo>
                      <a:cubicBezTo>
                        <a:pt x="78" y="185"/>
                        <a:pt x="86" y="201"/>
                        <a:pt x="104" y="201"/>
                      </a:cubicBezTo>
                      <a:cubicBezTo>
                        <a:pt x="123" y="202"/>
                        <a:pt x="157" y="193"/>
                        <a:pt x="173" y="177"/>
                      </a:cubicBezTo>
                      <a:cubicBezTo>
                        <a:pt x="187" y="158"/>
                        <a:pt x="194" y="133"/>
                        <a:pt x="197" y="119"/>
                      </a:cubicBezTo>
                      <a:cubicBezTo>
                        <a:pt x="202" y="91"/>
                        <a:pt x="179" y="71"/>
                        <a:pt x="173" y="53"/>
                      </a:cubicBezTo>
                      <a:cubicBezTo>
                        <a:pt x="168" y="43"/>
                        <a:pt x="151" y="39"/>
                        <a:pt x="138" y="29"/>
                      </a:cubicBezTo>
                      <a:cubicBezTo>
                        <a:pt x="124" y="19"/>
                        <a:pt x="115" y="2"/>
                        <a:pt x="98" y="1"/>
                      </a:cubicBezTo>
                      <a:cubicBezTo>
                        <a:pt x="78" y="0"/>
                        <a:pt x="54" y="19"/>
                        <a:pt x="41" y="27"/>
                      </a:cubicBezTo>
                      <a:cubicBezTo>
                        <a:pt x="20" y="47"/>
                        <a:pt x="1" y="63"/>
                        <a:pt x="1" y="83"/>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24" name="Freeform 127">
                  <a:extLst>
                    <a:ext uri="{FF2B5EF4-FFF2-40B4-BE49-F238E27FC236}">
                      <a16:creationId xmlns:a16="http://schemas.microsoft.com/office/drawing/2014/main" id="{A6238103-8736-394F-820C-E20DE67592A6}"/>
                    </a:ext>
                  </a:extLst>
                </p:cNvPr>
                <p:cNvSpPr>
                  <a:spLocks/>
                </p:cNvSpPr>
                <p:nvPr/>
              </p:nvSpPr>
              <p:spPr bwMode="auto">
                <a:xfrm>
                  <a:off x="2455" y="2428"/>
                  <a:ext cx="720" cy="834"/>
                </a:xfrm>
                <a:custGeom>
                  <a:avLst/>
                  <a:gdLst>
                    <a:gd name="T0" fmla="*/ 3875 w 288"/>
                    <a:gd name="T1" fmla="*/ 320 h 313"/>
                    <a:gd name="T2" fmla="*/ 2408 w 288"/>
                    <a:gd name="T3" fmla="*/ 115 h 313"/>
                    <a:gd name="T4" fmla="*/ 1438 w 288"/>
                    <a:gd name="T5" fmla="*/ 568 h 313"/>
                    <a:gd name="T6" fmla="*/ 1000 w 288"/>
                    <a:gd name="T7" fmla="*/ 1172 h 313"/>
                    <a:gd name="T8" fmla="*/ 533 w 288"/>
                    <a:gd name="T9" fmla="*/ 1663 h 313"/>
                    <a:gd name="T10" fmla="*/ 363 w 288"/>
                    <a:gd name="T11" fmla="*/ 2385 h 313"/>
                    <a:gd name="T12" fmla="*/ 83 w 288"/>
                    <a:gd name="T13" fmla="*/ 3536 h 313"/>
                    <a:gd name="T14" fmla="*/ 300 w 288"/>
                    <a:gd name="T15" fmla="*/ 4580 h 313"/>
                    <a:gd name="T16" fmla="*/ 783 w 288"/>
                    <a:gd name="T17" fmla="*/ 5204 h 313"/>
                    <a:gd name="T18" fmla="*/ 1033 w 288"/>
                    <a:gd name="T19" fmla="*/ 5921 h 313"/>
                    <a:gd name="T20" fmla="*/ 613 w 288"/>
                    <a:gd name="T21" fmla="*/ 4751 h 313"/>
                    <a:gd name="T22" fmla="*/ 395 w 288"/>
                    <a:gd name="T23" fmla="*/ 4090 h 313"/>
                    <a:gd name="T24" fmla="*/ 645 w 288"/>
                    <a:gd name="T25" fmla="*/ 3706 h 313"/>
                    <a:gd name="T26" fmla="*/ 613 w 288"/>
                    <a:gd name="T27" fmla="*/ 3387 h 313"/>
                    <a:gd name="T28" fmla="*/ 563 w 288"/>
                    <a:gd name="T29" fmla="*/ 2931 h 313"/>
                    <a:gd name="T30" fmla="*/ 800 w 288"/>
                    <a:gd name="T31" fmla="*/ 2478 h 313"/>
                    <a:gd name="T32" fmla="*/ 1158 w 288"/>
                    <a:gd name="T33" fmla="*/ 2214 h 313"/>
                    <a:gd name="T34" fmla="*/ 1300 w 288"/>
                    <a:gd name="T35" fmla="*/ 1625 h 313"/>
                    <a:gd name="T36" fmla="*/ 1845 w 288"/>
                    <a:gd name="T37" fmla="*/ 1156 h 313"/>
                    <a:gd name="T38" fmla="*/ 2750 w 288"/>
                    <a:gd name="T39" fmla="*/ 965 h 313"/>
                    <a:gd name="T40" fmla="*/ 3625 w 288"/>
                    <a:gd name="T41" fmla="*/ 589 h 313"/>
                    <a:gd name="T42" fmla="*/ 3970 w 288"/>
                    <a:gd name="T43" fmla="*/ 887 h 313"/>
                    <a:gd name="T44" fmla="*/ 4250 w 288"/>
                    <a:gd name="T45" fmla="*/ 943 h 313"/>
                    <a:gd name="T46" fmla="*/ 4488 w 288"/>
                    <a:gd name="T47" fmla="*/ 1271 h 313"/>
                    <a:gd name="T48" fmla="*/ 4188 w 288"/>
                    <a:gd name="T49" fmla="*/ 624 h 313"/>
                    <a:gd name="T50" fmla="*/ 3895 w 288"/>
                    <a:gd name="T51" fmla="*/ 320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88" h="313">
                      <a:moveTo>
                        <a:pt x="248" y="17"/>
                      </a:moveTo>
                      <a:cubicBezTo>
                        <a:pt x="216" y="17"/>
                        <a:pt x="180" y="12"/>
                        <a:pt x="154" y="6"/>
                      </a:cubicBezTo>
                      <a:cubicBezTo>
                        <a:pt x="126" y="0"/>
                        <a:pt x="110" y="8"/>
                        <a:pt x="92" y="30"/>
                      </a:cubicBezTo>
                      <a:cubicBezTo>
                        <a:pt x="83" y="41"/>
                        <a:pt x="75" y="53"/>
                        <a:pt x="64" y="62"/>
                      </a:cubicBezTo>
                      <a:cubicBezTo>
                        <a:pt x="55" y="71"/>
                        <a:pt x="43" y="78"/>
                        <a:pt x="34" y="88"/>
                      </a:cubicBezTo>
                      <a:cubicBezTo>
                        <a:pt x="24" y="98"/>
                        <a:pt x="26" y="113"/>
                        <a:pt x="23" y="126"/>
                      </a:cubicBezTo>
                      <a:cubicBezTo>
                        <a:pt x="18" y="147"/>
                        <a:pt x="11" y="166"/>
                        <a:pt x="5" y="187"/>
                      </a:cubicBezTo>
                      <a:cubicBezTo>
                        <a:pt x="0" y="207"/>
                        <a:pt x="4" y="228"/>
                        <a:pt x="19" y="242"/>
                      </a:cubicBezTo>
                      <a:cubicBezTo>
                        <a:pt x="30" y="251"/>
                        <a:pt x="42" y="263"/>
                        <a:pt x="50" y="275"/>
                      </a:cubicBezTo>
                      <a:cubicBezTo>
                        <a:pt x="58" y="286"/>
                        <a:pt x="59" y="301"/>
                        <a:pt x="66" y="313"/>
                      </a:cubicBezTo>
                      <a:cubicBezTo>
                        <a:pt x="69" y="284"/>
                        <a:pt x="56" y="271"/>
                        <a:pt x="39" y="251"/>
                      </a:cubicBezTo>
                      <a:cubicBezTo>
                        <a:pt x="31" y="242"/>
                        <a:pt x="20" y="230"/>
                        <a:pt x="25" y="216"/>
                      </a:cubicBezTo>
                      <a:cubicBezTo>
                        <a:pt x="29" y="204"/>
                        <a:pt x="37" y="208"/>
                        <a:pt x="41" y="196"/>
                      </a:cubicBezTo>
                      <a:cubicBezTo>
                        <a:pt x="43" y="190"/>
                        <a:pt x="41" y="186"/>
                        <a:pt x="39" y="179"/>
                      </a:cubicBezTo>
                      <a:cubicBezTo>
                        <a:pt x="37" y="171"/>
                        <a:pt x="35" y="164"/>
                        <a:pt x="36" y="155"/>
                      </a:cubicBezTo>
                      <a:cubicBezTo>
                        <a:pt x="38" y="146"/>
                        <a:pt x="43" y="135"/>
                        <a:pt x="51" y="131"/>
                      </a:cubicBezTo>
                      <a:cubicBezTo>
                        <a:pt x="61" y="127"/>
                        <a:pt x="68" y="130"/>
                        <a:pt x="74" y="117"/>
                      </a:cubicBezTo>
                      <a:cubicBezTo>
                        <a:pt x="79" y="108"/>
                        <a:pt x="79" y="96"/>
                        <a:pt x="83" y="86"/>
                      </a:cubicBezTo>
                      <a:cubicBezTo>
                        <a:pt x="88" y="74"/>
                        <a:pt x="111" y="73"/>
                        <a:pt x="118" y="61"/>
                      </a:cubicBezTo>
                      <a:cubicBezTo>
                        <a:pt x="126" y="47"/>
                        <a:pt x="152" y="55"/>
                        <a:pt x="176" y="51"/>
                      </a:cubicBezTo>
                      <a:cubicBezTo>
                        <a:pt x="194" y="48"/>
                        <a:pt x="211" y="22"/>
                        <a:pt x="232" y="31"/>
                      </a:cubicBezTo>
                      <a:cubicBezTo>
                        <a:pt x="241" y="34"/>
                        <a:pt x="245" y="45"/>
                        <a:pt x="254" y="47"/>
                      </a:cubicBezTo>
                      <a:cubicBezTo>
                        <a:pt x="260" y="49"/>
                        <a:pt x="264" y="45"/>
                        <a:pt x="272" y="50"/>
                      </a:cubicBezTo>
                      <a:cubicBezTo>
                        <a:pt x="278" y="55"/>
                        <a:pt x="282" y="61"/>
                        <a:pt x="287" y="67"/>
                      </a:cubicBezTo>
                      <a:cubicBezTo>
                        <a:pt x="288" y="50"/>
                        <a:pt x="277" y="45"/>
                        <a:pt x="268" y="33"/>
                      </a:cubicBezTo>
                      <a:cubicBezTo>
                        <a:pt x="262" y="26"/>
                        <a:pt x="258" y="21"/>
                        <a:pt x="249" y="17"/>
                      </a:cubicBezTo>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25" name="Freeform 128">
                  <a:extLst>
                    <a:ext uri="{FF2B5EF4-FFF2-40B4-BE49-F238E27FC236}">
                      <a16:creationId xmlns:a16="http://schemas.microsoft.com/office/drawing/2014/main" id="{0C5DA3FF-C379-DA49-8B62-7AD5F0BFC128}"/>
                    </a:ext>
                  </a:extLst>
                </p:cNvPr>
                <p:cNvSpPr>
                  <a:spLocks/>
                </p:cNvSpPr>
                <p:nvPr/>
              </p:nvSpPr>
              <p:spPr bwMode="auto">
                <a:xfrm>
                  <a:off x="2450" y="2425"/>
                  <a:ext cx="468" cy="595"/>
                </a:xfrm>
                <a:custGeom>
                  <a:avLst/>
                  <a:gdLst>
                    <a:gd name="T0" fmla="*/ 2931 w 187"/>
                    <a:gd name="T1" fmla="*/ 227 h 223"/>
                    <a:gd name="T2" fmla="*/ 1960 w 187"/>
                    <a:gd name="T3" fmla="*/ 115 h 223"/>
                    <a:gd name="T4" fmla="*/ 1221 w 187"/>
                    <a:gd name="T5" fmla="*/ 969 h 223"/>
                    <a:gd name="T6" fmla="*/ 846 w 187"/>
                    <a:gd name="T7" fmla="*/ 1387 h 223"/>
                    <a:gd name="T8" fmla="*/ 521 w 187"/>
                    <a:gd name="T9" fmla="*/ 1766 h 223"/>
                    <a:gd name="T10" fmla="*/ 408 w 187"/>
                    <a:gd name="T11" fmla="*/ 2300 h 223"/>
                    <a:gd name="T12" fmla="*/ 220 w 187"/>
                    <a:gd name="T13" fmla="*/ 3039 h 223"/>
                    <a:gd name="T14" fmla="*/ 113 w 187"/>
                    <a:gd name="T15" fmla="*/ 4237 h 223"/>
                    <a:gd name="T16" fmla="*/ 283 w 187"/>
                    <a:gd name="T17" fmla="*/ 3210 h 223"/>
                    <a:gd name="T18" fmla="*/ 646 w 187"/>
                    <a:gd name="T19" fmla="*/ 2492 h 223"/>
                    <a:gd name="T20" fmla="*/ 863 w 187"/>
                    <a:gd name="T21" fmla="*/ 1766 h 223"/>
                    <a:gd name="T22" fmla="*/ 1492 w 187"/>
                    <a:gd name="T23" fmla="*/ 1174 h 223"/>
                    <a:gd name="T24" fmla="*/ 2147 w 187"/>
                    <a:gd name="T25" fmla="*/ 398 h 223"/>
                    <a:gd name="T26" fmla="*/ 2931 w 187"/>
                    <a:gd name="T27" fmla="*/ 248 h 2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7" h="223">
                      <a:moveTo>
                        <a:pt x="187" y="12"/>
                      </a:moveTo>
                      <a:cubicBezTo>
                        <a:pt x="166" y="15"/>
                        <a:pt x="147" y="0"/>
                        <a:pt x="125" y="6"/>
                      </a:cubicBezTo>
                      <a:cubicBezTo>
                        <a:pt x="104" y="12"/>
                        <a:pt x="93" y="36"/>
                        <a:pt x="78" y="51"/>
                      </a:cubicBezTo>
                      <a:cubicBezTo>
                        <a:pt x="70" y="58"/>
                        <a:pt x="62" y="66"/>
                        <a:pt x="54" y="73"/>
                      </a:cubicBezTo>
                      <a:cubicBezTo>
                        <a:pt x="47" y="79"/>
                        <a:pt x="38" y="85"/>
                        <a:pt x="33" y="93"/>
                      </a:cubicBezTo>
                      <a:cubicBezTo>
                        <a:pt x="28" y="101"/>
                        <a:pt x="27" y="112"/>
                        <a:pt x="26" y="121"/>
                      </a:cubicBezTo>
                      <a:cubicBezTo>
                        <a:pt x="25" y="134"/>
                        <a:pt x="19" y="148"/>
                        <a:pt x="14" y="160"/>
                      </a:cubicBezTo>
                      <a:cubicBezTo>
                        <a:pt x="8" y="174"/>
                        <a:pt x="0" y="208"/>
                        <a:pt x="7" y="223"/>
                      </a:cubicBezTo>
                      <a:cubicBezTo>
                        <a:pt x="2" y="202"/>
                        <a:pt x="10" y="185"/>
                        <a:pt x="18" y="169"/>
                      </a:cubicBezTo>
                      <a:cubicBezTo>
                        <a:pt x="25" y="156"/>
                        <a:pt x="36" y="144"/>
                        <a:pt x="41" y="131"/>
                      </a:cubicBezTo>
                      <a:cubicBezTo>
                        <a:pt x="47" y="117"/>
                        <a:pt x="44" y="105"/>
                        <a:pt x="55" y="93"/>
                      </a:cubicBezTo>
                      <a:cubicBezTo>
                        <a:pt x="66" y="82"/>
                        <a:pt x="86" y="75"/>
                        <a:pt x="95" y="62"/>
                      </a:cubicBezTo>
                      <a:cubicBezTo>
                        <a:pt x="109" y="42"/>
                        <a:pt x="110" y="24"/>
                        <a:pt x="137" y="21"/>
                      </a:cubicBezTo>
                      <a:cubicBezTo>
                        <a:pt x="150" y="20"/>
                        <a:pt x="177" y="23"/>
                        <a:pt x="187" y="13"/>
                      </a:cubicBezTo>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26" name="Freeform 129">
                  <a:extLst>
                    <a:ext uri="{FF2B5EF4-FFF2-40B4-BE49-F238E27FC236}">
                      <a16:creationId xmlns:a16="http://schemas.microsoft.com/office/drawing/2014/main" id="{407B2692-509E-EF43-9833-3609A723B645}"/>
                    </a:ext>
                  </a:extLst>
                </p:cNvPr>
                <p:cNvSpPr>
                  <a:spLocks/>
                </p:cNvSpPr>
                <p:nvPr/>
              </p:nvSpPr>
              <p:spPr bwMode="auto">
                <a:xfrm>
                  <a:off x="2673" y="2630"/>
                  <a:ext cx="352" cy="472"/>
                </a:xfrm>
                <a:custGeom>
                  <a:avLst/>
                  <a:gdLst>
                    <a:gd name="T0" fmla="*/ 2194 w 141"/>
                    <a:gd name="T1" fmla="*/ 797 h 177"/>
                    <a:gd name="T2" fmla="*/ 1528 w 141"/>
                    <a:gd name="T3" fmla="*/ 627 h 177"/>
                    <a:gd name="T4" fmla="*/ 934 w 141"/>
                    <a:gd name="T5" fmla="*/ 875 h 177"/>
                    <a:gd name="T6" fmla="*/ 761 w 141"/>
                    <a:gd name="T7" fmla="*/ 1421 h 177"/>
                    <a:gd name="T8" fmla="*/ 374 w 141"/>
                    <a:gd name="T9" fmla="*/ 1728 h 177"/>
                    <a:gd name="T10" fmla="*/ 687 w 141"/>
                    <a:gd name="T11" fmla="*/ 2637 h 177"/>
                    <a:gd name="T12" fmla="*/ 1121 w 141"/>
                    <a:gd name="T13" fmla="*/ 3357 h 177"/>
                    <a:gd name="T14" fmla="*/ 687 w 141"/>
                    <a:gd name="T15" fmla="*/ 2867 h 177"/>
                    <a:gd name="T16" fmla="*/ 387 w 141"/>
                    <a:gd name="T17" fmla="*/ 2637 h 177"/>
                    <a:gd name="T18" fmla="*/ 292 w 141"/>
                    <a:gd name="T19" fmla="*/ 2355 h 177"/>
                    <a:gd name="T20" fmla="*/ 105 w 141"/>
                    <a:gd name="T21" fmla="*/ 1784 h 177"/>
                    <a:gd name="T22" fmla="*/ 342 w 141"/>
                    <a:gd name="T23" fmla="*/ 760 h 177"/>
                    <a:gd name="T24" fmla="*/ 1258 w 141"/>
                    <a:gd name="T25" fmla="*/ 93 h 177"/>
                    <a:gd name="T26" fmla="*/ 2182 w 141"/>
                    <a:gd name="T27" fmla="*/ 739 h 1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1" h="177">
                      <a:moveTo>
                        <a:pt x="141" y="42"/>
                      </a:moveTo>
                      <a:cubicBezTo>
                        <a:pt x="124" y="52"/>
                        <a:pt x="111" y="51"/>
                        <a:pt x="98" y="33"/>
                      </a:cubicBezTo>
                      <a:cubicBezTo>
                        <a:pt x="81" y="6"/>
                        <a:pt x="72" y="33"/>
                        <a:pt x="60" y="46"/>
                      </a:cubicBezTo>
                      <a:cubicBezTo>
                        <a:pt x="49" y="57"/>
                        <a:pt x="53" y="61"/>
                        <a:pt x="49" y="75"/>
                      </a:cubicBezTo>
                      <a:cubicBezTo>
                        <a:pt x="45" y="90"/>
                        <a:pt x="31" y="77"/>
                        <a:pt x="24" y="91"/>
                      </a:cubicBezTo>
                      <a:cubicBezTo>
                        <a:pt x="17" y="107"/>
                        <a:pt x="33" y="129"/>
                        <a:pt x="44" y="139"/>
                      </a:cubicBezTo>
                      <a:cubicBezTo>
                        <a:pt x="53" y="148"/>
                        <a:pt x="70" y="164"/>
                        <a:pt x="72" y="177"/>
                      </a:cubicBezTo>
                      <a:cubicBezTo>
                        <a:pt x="68" y="167"/>
                        <a:pt x="54" y="156"/>
                        <a:pt x="44" y="151"/>
                      </a:cubicBezTo>
                      <a:cubicBezTo>
                        <a:pt x="38" y="147"/>
                        <a:pt x="30" y="144"/>
                        <a:pt x="25" y="139"/>
                      </a:cubicBezTo>
                      <a:cubicBezTo>
                        <a:pt x="22" y="135"/>
                        <a:pt x="21" y="129"/>
                        <a:pt x="19" y="124"/>
                      </a:cubicBezTo>
                      <a:cubicBezTo>
                        <a:pt x="15" y="114"/>
                        <a:pt x="10" y="104"/>
                        <a:pt x="7" y="94"/>
                      </a:cubicBezTo>
                      <a:cubicBezTo>
                        <a:pt x="0" y="70"/>
                        <a:pt x="7" y="57"/>
                        <a:pt x="22" y="40"/>
                      </a:cubicBezTo>
                      <a:cubicBezTo>
                        <a:pt x="35" y="25"/>
                        <a:pt x="62" y="8"/>
                        <a:pt x="81" y="5"/>
                      </a:cubicBezTo>
                      <a:cubicBezTo>
                        <a:pt x="108" y="0"/>
                        <a:pt x="119" y="33"/>
                        <a:pt x="140" y="39"/>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27" name="Freeform 130">
                  <a:extLst>
                    <a:ext uri="{FF2B5EF4-FFF2-40B4-BE49-F238E27FC236}">
                      <a16:creationId xmlns:a16="http://schemas.microsoft.com/office/drawing/2014/main" id="{7BD23295-161F-8948-BCFB-614F1C2DC299}"/>
                    </a:ext>
                  </a:extLst>
                </p:cNvPr>
                <p:cNvSpPr>
                  <a:spLocks/>
                </p:cNvSpPr>
                <p:nvPr/>
              </p:nvSpPr>
              <p:spPr bwMode="auto">
                <a:xfrm>
                  <a:off x="2883" y="2774"/>
                  <a:ext cx="232" cy="374"/>
                </a:xfrm>
                <a:custGeom>
                  <a:avLst/>
                  <a:gdLst>
                    <a:gd name="T0" fmla="*/ 0 w 93"/>
                    <a:gd name="T1" fmla="*/ 2498 h 140"/>
                    <a:gd name="T2" fmla="*/ 791 w 93"/>
                    <a:gd name="T3" fmla="*/ 2305 h 140"/>
                    <a:gd name="T4" fmla="*/ 1275 w 93"/>
                    <a:gd name="T5" fmla="*/ 1793 h 140"/>
                    <a:gd name="T6" fmla="*/ 1412 w 93"/>
                    <a:gd name="T7" fmla="*/ 900 h 140"/>
                    <a:gd name="T8" fmla="*/ 978 w 93"/>
                    <a:gd name="T9" fmla="*/ 21 h 140"/>
                    <a:gd name="T10" fmla="*/ 1182 w 93"/>
                    <a:gd name="T11" fmla="*/ 457 h 140"/>
                    <a:gd name="T12" fmla="*/ 903 w 93"/>
                    <a:gd name="T13" fmla="*/ 799 h 140"/>
                    <a:gd name="T14" fmla="*/ 716 w 93"/>
                    <a:gd name="T15" fmla="*/ 1106 h 140"/>
                    <a:gd name="T16" fmla="*/ 883 w 93"/>
                    <a:gd name="T17" fmla="*/ 1656 h 140"/>
                    <a:gd name="T18" fmla="*/ 696 w 93"/>
                    <a:gd name="T19" fmla="*/ 1870 h 140"/>
                    <a:gd name="T20" fmla="*/ 716 w 93"/>
                    <a:gd name="T21" fmla="*/ 2062 h 140"/>
                    <a:gd name="T22" fmla="*/ 511 w 93"/>
                    <a:gd name="T23" fmla="*/ 2212 h 140"/>
                    <a:gd name="T24" fmla="*/ 187 w 93"/>
                    <a:gd name="T25" fmla="*/ 2362 h 140"/>
                    <a:gd name="T26" fmla="*/ 62 w 93"/>
                    <a:gd name="T27" fmla="*/ 2519 h 1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3" h="140">
                      <a:moveTo>
                        <a:pt x="0" y="131"/>
                      </a:moveTo>
                      <a:cubicBezTo>
                        <a:pt x="10" y="140"/>
                        <a:pt x="40" y="124"/>
                        <a:pt x="51" y="121"/>
                      </a:cubicBezTo>
                      <a:cubicBezTo>
                        <a:pt x="67" y="117"/>
                        <a:pt x="75" y="109"/>
                        <a:pt x="82" y="94"/>
                      </a:cubicBezTo>
                      <a:cubicBezTo>
                        <a:pt x="89" y="80"/>
                        <a:pt x="93" y="62"/>
                        <a:pt x="91" y="47"/>
                      </a:cubicBezTo>
                      <a:cubicBezTo>
                        <a:pt x="90" y="35"/>
                        <a:pt x="79" y="0"/>
                        <a:pt x="63" y="1"/>
                      </a:cubicBezTo>
                      <a:cubicBezTo>
                        <a:pt x="62" y="8"/>
                        <a:pt x="74" y="15"/>
                        <a:pt x="76" y="24"/>
                      </a:cubicBezTo>
                      <a:cubicBezTo>
                        <a:pt x="80" y="40"/>
                        <a:pt x="71" y="40"/>
                        <a:pt x="58" y="42"/>
                      </a:cubicBezTo>
                      <a:cubicBezTo>
                        <a:pt x="45" y="44"/>
                        <a:pt x="37" y="47"/>
                        <a:pt x="46" y="58"/>
                      </a:cubicBezTo>
                      <a:cubicBezTo>
                        <a:pt x="52" y="64"/>
                        <a:pt x="67" y="75"/>
                        <a:pt x="57" y="87"/>
                      </a:cubicBezTo>
                      <a:cubicBezTo>
                        <a:pt x="50" y="96"/>
                        <a:pt x="47" y="86"/>
                        <a:pt x="45" y="98"/>
                      </a:cubicBezTo>
                      <a:cubicBezTo>
                        <a:pt x="45" y="102"/>
                        <a:pt x="48" y="103"/>
                        <a:pt x="46" y="108"/>
                      </a:cubicBezTo>
                      <a:cubicBezTo>
                        <a:pt x="44" y="111"/>
                        <a:pt x="36" y="115"/>
                        <a:pt x="33" y="116"/>
                      </a:cubicBezTo>
                      <a:cubicBezTo>
                        <a:pt x="22" y="119"/>
                        <a:pt x="19" y="113"/>
                        <a:pt x="12" y="124"/>
                      </a:cubicBezTo>
                      <a:cubicBezTo>
                        <a:pt x="10" y="128"/>
                        <a:pt x="10" y="135"/>
                        <a:pt x="4" y="132"/>
                      </a:cubicBez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28" name="Freeform 131">
                  <a:extLst>
                    <a:ext uri="{FF2B5EF4-FFF2-40B4-BE49-F238E27FC236}">
                      <a16:creationId xmlns:a16="http://schemas.microsoft.com/office/drawing/2014/main" id="{37208585-BA77-C140-B5CA-F97FB3DE729C}"/>
                    </a:ext>
                  </a:extLst>
                </p:cNvPr>
                <p:cNvSpPr>
                  <a:spLocks/>
                </p:cNvSpPr>
                <p:nvPr/>
              </p:nvSpPr>
              <p:spPr bwMode="auto">
                <a:xfrm>
                  <a:off x="2673" y="2673"/>
                  <a:ext cx="137" cy="272"/>
                </a:xfrm>
                <a:custGeom>
                  <a:avLst/>
                  <a:gdLst>
                    <a:gd name="T0" fmla="*/ 837 w 55"/>
                    <a:gd name="T1" fmla="*/ 0 h 102"/>
                    <a:gd name="T2" fmla="*/ 154 w 55"/>
                    <a:gd name="T3" fmla="*/ 739 h 102"/>
                    <a:gd name="T4" fmla="*/ 0 w 55"/>
                    <a:gd name="T5" fmla="*/ 1195 h 102"/>
                    <a:gd name="T6" fmla="*/ 249 w 55"/>
                    <a:gd name="T7" fmla="*/ 1933 h 102"/>
                    <a:gd name="T8" fmla="*/ 167 w 55"/>
                    <a:gd name="T9" fmla="*/ 1059 h 102"/>
                    <a:gd name="T10" fmla="*/ 404 w 55"/>
                    <a:gd name="T11" fmla="*/ 947 h 102"/>
                    <a:gd name="T12" fmla="*/ 466 w 55"/>
                    <a:gd name="T13" fmla="*/ 648 h 102"/>
                    <a:gd name="T14" fmla="*/ 695 w 55"/>
                    <a:gd name="T15" fmla="*/ 363 h 102"/>
                    <a:gd name="T16" fmla="*/ 849 w 55"/>
                    <a:gd name="T17" fmla="*/ 0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5" h="102">
                      <a:moveTo>
                        <a:pt x="54" y="0"/>
                      </a:moveTo>
                      <a:cubicBezTo>
                        <a:pt x="37" y="13"/>
                        <a:pt x="22" y="20"/>
                        <a:pt x="10" y="39"/>
                      </a:cubicBezTo>
                      <a:cubicBezTo>
                        <a:pt x="5" y="46"/>
                        <a:pt x="0" y="54"/>
                        <a:pt x="0" y="63"/>
                      </a:cubicBezTo>
                      <a:cubicBezTo>
                        <a:pt x="1" y="76"/>
                        <a:pt x="13" y="89"/>
                        <a:pt x="16" y="102"/>
                      </a:cubicBezTo>
                      <a:cubicBezTo>
                        <a:pt x="10" y="93"/>
                        <a:pt x="3" y="66"/>
                        <a:pt x="11" y="56"/>
                      </a:cubicBezTo>
                      <a:cubicBezTo>
                        <a:pt x="16" y="51"/>
                        <a:pt x="21" y="54"/>
                        <a:pt x="26" y="50"/>
                      </a:cubicBezTo>
                      <a:cubicBezTo>
                        <a:pt x="32" y="45"/>
                        <a:pt x="29" y="39"/>
                        <a:pt x="30" y="34"/>
                      </a:cubicBezTo>
                      <a:cubicBezTo>
                        <a:pt x="33" y="22"/>
                        <a:pt x="38" y="25"/>
                        <a:pt x="45" y="19"/>
                      </a:cubicBezTo>
                      <a:cubicBezTo>
                        <a:pt x="52" y="13"/>
                        <a:pt x="47" y="3"/>
                        <a:pt x="55" y="0"/>
                      </a:cubicBezTo>
                    </a:path>
                  </a:pathLst>
                </a:custGeom>
                <a:solidFill>
                  <a:srgbClr val="E4ED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29" name="Freeform 132">
                  <a:extLst>
                    <a:ext uri="{FF2B5EF4-FFF2-40B4-BE49-F238E27FC236}">
                      <a16:creationId xmlns:a16="http://schemas.microsoft.com/office/drawing/2014/main" id="{3A6E2429-61FF-0449-8C50-84BED99C5E12}"/>
                    </a:ext>
                  </a:extLst>
                </p:cNvPr>
                <p:cNvSpPr>
                  <a:spLocks/>
                </p:cNvSpPr>
                <p:nvPr/>
              </p:nvSpPr>
              <p:spPr bwMode="auto">
                <a:xfrm>
                  <a:off x="2718" y="2668"/>
                  <a:ext cx="565" cy="653"/>
                </a:xfrm>
                <a:custGeom>
                  <a:avLst/>
                  <a:gdLst>
                    <a:gd name="T0" fmla="*/ 0 w 226"/>
                    <a:gd name="T1" fmla="*/ 4638 h 245"/>
                    <a:gd name="T2" fmla="*/ 1625 w 226"/>
                    <a:gd name="T3" fmla="*/ 4467 h 245"/>
                    <a:gd name="T4" fmla="*/ 2125 w 226"/>
                    <a:gd name="T5" fmla="*/ 4129 h 245"/>
                    <a:gd name="T6" fmla="*/ 2470 w 226"/>
                    <a:gd name="T7" fmla="*/ 3809 h 245"/>
                    <a:gd name="T8" fmla="*/ 2875 w 226"/>
                    <a:gd name="T9" fmla="*/ 3638 h 245"/>
                    <a:gd name="T10" fmla="*/ 3145 w 226"/>
                    <a:gd name="T11" fmla="*/ 2068 h 245"/>
                    <a:gd name="T12" fmla="*/ 3408 w 226"/>
                    <a:gd name="T13" fmla="*/ 1173 h 245"/>
                    <a:gd name="T14" fmla="*/ 3125 w 226"/>
                    <a:gd name="T15" fmla="*/ 0 h 245"/>
                    <a:gd name="T16" fmla="*/ 2925 w 226"/>
                    <a:gd name="T17" fmla="*/ 909 h 245"/>
                    <a:gd name="T18" fmla="*/ 2845 w 226"/>
                    <a:gd name="T19" fmla="*/ 1647 h 245"/>
                    <a:gd name="T20" fmla="*/ 2675 w 226"/>
                    <a:gd name="T21" fmla="*/ 2423 h 245"/>
                    <a:gd name="T22" fmla="*/ 2658 w 226"/>
                    <a:gd name="T23" fmla="*/ 3254 h 245"/>
                    <a:gd name="T24" fmla="*/ 1958 w 226"/>
                    <a:gd name="T25" fmla="*/ 3707 h 245"/>
                    <a:gd name="T26" fmla="*/ 1533 w 226"/>
                    <a:gd name="T27" fmla="*/ 4299 h 245"/>
                    <a:gd name="T28" fmla="*/ 1000 w 226"/>
                    <a:gd name="T29" fmla="*/ 4299 h 245"/>
                    <a:gd name="T30" fmla="*/ 533 w 226"/>
                    <a:gd name="T31" fmla="*/ 4467 h 2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6" h="245">
                      <a:moveTo>
                        <a:pt x="0" y="245"/>
                      </a:moveTo>
                      <a:cubicBezTo>
                        <a:pt x="31" y="237"/>
                        <a:pt x="72" y="239"/>
                        <a:pt x="104" y="236"/>
                      </a:cubicBezTo>
                      <a:cubicBezTo>
                        <a:pt x="120" y="235"/>
                        <a:pt x="121" y="227"/>
                        <a:pt x="136" y="218"/>
                      </a:cubicBezTo>
                      <a:cubicBezTo>
                        <a:pt x="143" y="213"/>
                        <a:pt x="150" y="205"/>
                        <a:pt x="158" y="201"/>
                      </a:cubicBezTo>
                      <a:cubicBezTo>
                        <a:pt x="166" y="197"/>
                        <a:pt x="176" y="197"/>
                        <a:pt x="184" y="192"/>
                      </a:cubicBezTo>
                      <a:cubicBezTo>
                        <a:pt x="217" y="174"/>
                        <a:pt x="205" y="140"/>
                        <a:pt x="201" y="109"/>
                      </a:cubicBezTo>
                      <a:cubicBezTo>
                        <a:pt x="197" y="85"/>
                        <a:pt x="212" y="82"/>
                        <a:pt x="218" y="62"/>
                      </a:cubicBezTo>
                      <a:cubicBezTo>
                        <a:pt x="226" y="39"/>
                        <a:pt x="220" y="13"/>
                        <a:pt x="200" y="0"/>
                      </a:cubicBezTo>
                      <a:cubicBezTo>
                        <a:pt x="213" y="19"/>
                        <a:pt x="202" y="35"/>
                        <a:pt x="187" y="48"/>
                      </a:cubicBezTo>
                      <a:cubicBezTo>
                        <a:pt x="170" y="63"/>
                        <a:pt x="178" y="65"/>
                        <a:pt x="182" y="87"/>
                      </a:cubicBezTo>
                      <a:cubicBezTo>
                        <a:pt x="185" y="105"/>
                        <a:pt x="170" y="112"/>
                        <a:pt x="171" y="128"/>
                      </a:cubicBezTo>
                      <a:cubicBezTo>
                        <a:pt x="171" y="147"/>
                        <a:pt x="184" y="154"/>
                        <a:pt x="170" y="172"/>
                      </a:cubicBezTo>
                      <a:cubicBezTo>
                        <a:pt x="158" y="188"/>
                        <a:pt x="140" y="187"/>
                        <a:pt x="125" y="196"/>
                      </a:cubicBezTo>
                      <a:cubicBezTo>
                        <a:pt x="112" y="203"/>
                        <a:pt x="110" y="222"/>
                        <a:pt x="98" y="227"/>
                      </a:cubicBezTo>
                      <a:cubicBezTo>
                        <a:pt x="88" y="232"/>
                        <a:pt x="74" y="225"/>
                        <a:pt x="64" y="227"/>
                      </a:cubicBezTo>
                      <a:cubicBezTo>
                        <a:pt x="53" y="228"/>
                        <a:pt x="46" y="238"/>
                        <a:pt x="34" y="236"/>
                      </a:cubicBezTo>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30" name="Freeform 133">
                  <a:extLst>
                    <a:ext uri="{FF2B5EF4-FFF2-40B4-BE49-F238E27FC236}">
                      <a16:creationId xmlns:a16="http://schemas.microsoft.com/office/drawing/2014/main" id="{E240BA33-EFEE-6248-A1CC-2C63DC129B9F}"/>
                    </a:ext>
                  </a:extLst>
                </p:cNvPr>
                <p:cNvSpPr>
                  <a:spLocks/>
                </p:cNvSpPr>
                <p:nvPr/>
              </p:nvSpPr>
              <p:spPr bwMode="auto">
                <a:xfrm>
                  <a:off x="2938" y="2985"/>
                  <a:ext cx="305" cy="312"/>
                </a:xfrm>
                <a:custGeom>
                  <a:avLst/>
                  <a:gdLst>
                    <a:gd name="T0" fmla="*/ 0 w 122"/>
                    <a:gd name="T1" fmla="*/ 2141 h 117"/>
                    <a:gd name="T2" fmla="*/ 613 w 122"/>
                    <a:gd name="T3" fmla="*/ 2013 h 117"/>
                    <a:gd name="T4" fmla="*/ 1375 w 122"/>
                    <a:gd name="T5" fmla="*/ 1443 h 117"/>
                    <a:gd name="T6" fmla="*/ 1750 w 122"/>
                    <a:gd name="T7" fmla="*/ 0 h 117"/>
                    <a:gd name="T8" fmla="*/ 1750 w 122"/>
                    <a:gd name="T9" fmla="*/ 776 h 117"/>
                    <a:gd name="T10" fmla="*/ 1270 w 122"/>
                    <a:gd name="T11" fmla="*/ 1160 h 117"/>
                    <a:gd name="T12" fmla="*/ 770 w 122"/>
                    <a:gd name="T13" fmla="*/ 1536 h 117"/>
                    <a:gd name="T14" fmla="*/ 345 w 122"/>
                    <a:gd name="T15" fmla="*/ 2141 h 1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2" h="117">
                      <a:moveTo>
                        <a:pt x="0" y="113"/>
                      </a:moveTo>
                      <a:cubicBezTo>
                        <a:pt x="12" y="116"/>
                        <a:pt x="25" y="117"/>
                        <a:pt x="39" y="106"/>
                      </a:cubicBezTo>
                      <a:cubicBezTo>
                        <a:pt x="53" y="95"/>
                        <a:pt x="72" y="83"/>
                        <a:pt x="88" y="76"/>
                      </a:cubicBezTo>
                      <a:cubicBezTo>
                        <a:pt x="122" y="60"/>
                        <a:pt x="116" y="32"/>
                        <a:pt x="112" y="0"/>
                      </a:cubicBezTo>
                      <a:cubicBezTo>
                        <a:pt x="116" y="13"/>
                        <a:pt x="121" y="29"/>
                        <a:pt x="112" y="41"/>
                      </a:cubicBezTo>
                      <a:cubicBezTo>
                        <a:pt x="105" y="50"/>
                        <a:pt x="90" y="55"/>
                        <a:pt x="81" y="61"/>
                      </a:cubicBezTo>
                      <a:cubicBezTo>
                        <a:pt x="70" y="68"/>
                        <a:pt x="58" y="73"/>
                        <a:pt x="49" y="81"/>
                      </a:cubicBezTo>
                      <a:cubicBezTo>
                        <a:pt x="38" y="90"/>
                        <a:pt x="34" y="106"/>
                        <a:pt x="22" y="113"/>
                      </a:cubicBez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31" name="Freeform 134">
                  <a:extLst>
                    <a:ext uri="{FF2B5EF4-FFF2-40B4-BE49-F238E27FC236}">
                      <a16:creationId xmlns:a16="http://schemas.microsoft.com/office/drawing/2014/main" id="{34B040AD-DEFD-1F47-8FA1-8C2D71E7FDD9}"/>
                    </a:ext>
                  </a:extLst>
                </p:cNvPr>
                <p:cNvSpPr>
                  <a:spLocks/>
                </p:cNvSpPr>
                <p:nvPr/>
              </p:nvSpPr>
              <p:spPr bwMode="auto">
                <a:xfrm>
                  <a:off x="2435" y="2401"/>
                  <a:ext cx="883" cy="949"/>
                </a:xfrm>
                <a:custGeom>
                  <a:avLst/>
                  <a:gdLst>
                    <a:gd name="T0" fmla="*/ 3147 w 353"/>
                    <a:gd name="T1" fmla="*/ 307 h 356"/>
                    <a:gd name="T2" fmla="*/ 1926 w 353"/>
                    <a:gd name="T3" fmla="*/ 149 h 356"/>
                    <a:gd name="T4" fmla="*/ 1301 w 353"/>
                    <a:gd name="T5" fmla="*/ 989 h 356"/>
                    <a:gd name="T6" fmla="*/ 533 w 353"/>
                    <a:gd name="T7" fmla="*/ 1839 h 356"/>
                    <a:gd name="T8" fmla="*/ 270 w 353"/>
                    <a:gd name="T9" fmla="*/ 3012 h 356"/>
                    <a:gd name="T10" fmla="*/ 125 w 353"/>
                    <a:gd name="T11" fmla="*/ 4492 h 356"/>
                    <a:gd name="T12" fmla="*/ 800 w 353"/>
                    <a:gd name="T13" fmla="*/ 5529 h 356"/>
                    <a:gd name="T14" fmla="*/ 1238 w 353"/>
                    <a:gd name="T15" fmla="*/ 6459 h 356"/>
                    <a:gd name="T16" fmla="*/ 2459 w 353"/>
                    <a:gd name="T17" fmla="*/ 6651 h 356"/>
                    <a:gd name="T18" fmla="*/ 4317 w 353"/>
                    <a:gd name="T19" fmla="*/ 6097 h 356"/>
                    <a:gd name="T20" fmla="*/ 5118 w 353"/>
                    <a:gd name="T21" fmla="*/ 5073 h 356"/>
                    <a:gd name="T22" fmla="*/ 5163 w 353"/>
                    <a:gd name="T23" fmla="*/ 3617 h 356"/>
                    <a:gd name="T24" fmla="*/ 5506 w 353"/>
                    <a:gd name="T25" fmla="*/ 2708 h 356"/>
                    <a:gd name="T26" fmla="*/ 4963 w 353"/>
                    <a:gd name="T27" fmla="*/ 1498 h 356"/>
                    <a:gd name="T28" fmla="*/ 4222 w 353"/>
                    <a:gd name="T29" fmla="*/ 477 h 356"/>
                    <a:gd name="T30" fmla="*/ 3147 w 353"/>
                    <a:gd name="T31" fmla="*/ 307 h 3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3" h="356">
                      <a:moveTo>
                        <a:pt x="201" y="16"/>
                      </a:moveTo>
                      <a:cubicBezTo>
                        <a:pt x="172" y="13"/>
                        <a:pt x="145" y="0"/>
                        <a:pt x="123" y="8"/>
                      </a:cubicBezTo>
                      <a:cubicBezTo>
                        <a:pt x="103" y="16"/>
                        <a:pt x="98" y="35"/>
                        <a:pt x="83" y="52"/>
                      </a:cubicBezTo>
                      <a:cubicBezTo>
                        <a:pt x="69" y="67"/>
                        <a:pt x="44" y="79"/>
                        <a:pt x="34" y="97"/>
                      </a:cubicBezTo>
                      <a:cubicBezTo>
                        <a:pt x="21" y="116"/>
                        <a:pt x="22" y="140"/>
                        <a:pt x="17" y="159"/>
                      </a:cubicBezTo>
                      <a:cubicBezTo>
                        <a:pt x="8" y="189"/>
                        <a:pt x="0" y="212"/>
                        <a:pt x="8" y="237"/>
                      </a:cubicBezTo>
                      <a:cubicBezTo>
                        <a:pt x="16" y="260"/>
                        <a:pt x="38" y="274"/>
                        <a:pt x="51" y="292"/>
                      </a:cubicBezTo>
                      <a:cubicBezTo>
                        <a:pt x="63" y="308"/>
                        <a:pt x="67" y="329"/>
                        <a:pt x="79" y="341"/>
                      </a:cubicBezTo>
                      <a:cubicBezTo>
                        <a:pt x="101" y="356"/>
                        <a:pt x="130" y="352"/>
                        <a:pt x="157" y="351"/>
                      </a:cubicBezTo>
                      <a:cubicBezTo>
                        <a:pt x="196" y="349"/>
                        <a:pt x="242" y="353"/>
                        <a:pt x="276" y="322"/>
                      </a:cubicBezTo>
                      <a:cubicBezTo>
                        <a:pt x="295" y="305"/>
                        <a:pt x="313" y="303"/>
                        <a:pt x="327" y="268"/>
                      </a:cubicBezTo>
                      <a:cubicBezTo>
                        <a:pt x="342" y="233"/>
                        <a:pt x="324" y="207"/>
                        <a:pt x="330" y="191"/>
                      </a:cubicBezTo>
                      <a:cubicBezTo>
                        <a:pt x="337" y="172"/>
                        <a:pt x="353" y="161"/>
                        <a:pt x="352" y="143"/>
                      </a:cubicBezTo>
                      <a:cubicBezTo>
                        <a:pt x="350" y="115"/>
                        <a:pt x="340" y="104"/>
                        <a:pt x="317" y="79"/>
                      </a:cubicBezTo>
                      <a:cubicBezTo>
                        <a:pt x="305" y="66"/>
                        <a:pt x="299" y="49"/>
                        <a:pt x="270" y="25"/>
                      </a:cubicBezTo>
                      <a:cubicBezTo>
                        <a:pt x="256" y="13"/>
                        <a:pt x="228" y="19"/>
                        <a:pt x="201" y="16"/>
                      </a:cubicBezTo>
                      <a:close/>
                    </a:path>
                  </a:pathLst>
                </a:custGeom>
                <a:noFill/>
                <a:ln w="7938"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32" name="Freeform 135">
                  <a:extLst>
                    <a:ext uri="{FF2B5EF4-FFF2-40B4-BE49-F238E27FC236}">
                      <a16:creationId xmlns:a16="http://schemas.microsoft.com/office/drawing/2014/main" id="{2AB79ACF-08D7-B84B-B4BD-526A25FEEF35}"/>
                    </a:ext>
                  </a:extLst>
                </p:cNvPr>
                <p:cNvSpPr>
                  <a:spLocks/>
                </p:cNvSpPr>
                <p:nvPr/>
              </p:nvSpPr>
              <p:spPr bwMode="auto">
                <a:xfrm>
                  <a:off x="2648" y="2614"/>
                  <a:ext cx="505" cy="539"/>
                </a:xfrm>
                <a:custGeom>
                  <a:avLst/>
                  <a:gdLst>
                    <a:gd name="T0" fmla="*/ 20 w 202"/>
                    <a:gd name="T1" fmla="*/ 1574 h 202"/>
                    <a:gd name="T2" fmla="*/ 425 w 202"/>
                    <a:gd name="T3" fmla="*/ 2735 h 202"/>
                    <a:gd name="T4" fmla="*/ 1000 w 202"/>
                    <a:gd name="T5" fmla="*/ 3269 h 202"/>
                    <a:gd name="T6" fmla="*/ 1625 w 202"/>
                    <a:gd name="T7" fmla="*/ 3816 h 202"/>
                    <a:gd name="T8" fmla="*/ 2708 w 202"/>
                    <a:gd name="T9" fmla="*/ 3359 h 202"/>
                    <a:gd name="T10" fmla="*/ 3083 w 202"/>
                    <a:gd name="T11" fmla="*/ 2265 h 202"/>
                    <a:gd name="T12" fmla="*/ 2708 w 202"/>
                    <a:gd name="T13" fmla="*/ 1003 h 202"/>
                    <a:gd name="T14" fmla="*/ 2158 w 202"/>
                    <a:gd name="T15" fmla="*/ 547 h 202"/>
                    <a:gd name="T16" fmla="*/ 1533 w 202"/>
                    <a:gd name="T17" fmla="*/ 21 h 202"/>
                    <a:gd name="T18" fmla="*/ 645 w 202"/>
                    <a:gd name="T19" fmla="*/ 512 h 202"/>
                    <a:gd name="T20" fmla="*/ 20 w 202"/>
                    <a:gd name="T21" fmla="*/ 1574 h 2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2" h="202">
                      <a:moveTo>
                        <a:pt x="1" y="83"/>
                      </a:moveTo>
                      <a:cubicBezTo>
                        <a:pt x="0" y="102"/>
                        <a:pt x="18" y="124"/>
                        <a:pt x="27" y="144"/>
                      </a:cubicBezTo>
                      <a:cubicBezTo>
                        <a:pt x="34" y="155"/>
                        <a:pt x="52" y="162"/>
                        <a:pt x="64" y="172"/>
                      </a:cubicBezTo>
                      <a:cubicBezTo>
                        <a:pt x="78" y="185"/>
                        <a:pt x="86" y="201"/>
                        <a:pt x="104" y="201"/>
                      </a:cubicBezTo>
                      <a:cubicBezTo>
                        <a:pt x="123" y="202"/>
                        <a:pt x="157" y="193"/>
                        <a:pt x="173" y="177"/>
                      </a:cubicBezTo>
                      <a:cubicBezTo>
                        <a:pt x="187" y="158"/>
                        <a:pt x="194" y="133"/>
                        <a:pt x="197" y="119"/>
                      </a:cubicBezTo>
                      <a:cubicBezTo>
                        <a:pt x="202" y="91"/>
                        <a:pt x="179" y="71"/>
                        <a:pt x="173" y="53"/>
                      </a:cubicBezTo>
                      <a:cubicBezTo>
                        <a:pt x="168" y="43"/>
                        <a:pt x="151" y="39"/>
                        <a:pt x="138" y="29"/>
                      </a:cubicBezTo>
                      <a:cubicBezTo>
                        <a:pt x="124" y="19"/>
                        <a:pt x="115" y="2"/>
                        <a:pt x="98" y="1"/>
                      </a:cubicBezTo>
                      <a:cubicBezTo>
                        <a:pt x="78" y="0"/>
                        <a:pt x="54" y="19"/>
                        <a:pt x="41" y="27"/>
                      </a:cubicBezTo>
                      <a:cubicBezTo>
                        <a:pt x="20" y="47"/>
                        <a:pt x="1" y="63"/>
                        <a:pt x="1" y="83"/>
                      </a:cubicBezTo>
                      <a:close/>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33" name="Oval 136">
                  <a:extLst>
                    <a:ext uri="{FF2B5EF4-FFF2-40B4-BE49-F238E27FC236}">
                      <a16:creationId xmlns:a16="http://schemas.microsoft.com/office/drawing/2014/main" id="{9A2A40B9-25B8-234B-9883-49330278287E}"/>
                    </a:ext>
                  </a:extLst>
                </p:cNvPr>
                <p:cNvSpPr>
                  <a:spLocks noChangeArrowheads="1"/>
                </p:cNvSpPr>
                <p:nvPr/>
              </p:nvSpPr>
              <p:spPr bwMode="auto">
                <a:xfrm>
                  <a:off x="2665" y="2694"/>
                  <a:ext cx="65" cy="7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spcBef>
                      <a:spcPct val="20000"/>
                    </a:spcBef>
                    <a:defRPr sz="3200">
                      <a:solidFill>
                        <a:srgbClr val="0070C0"/>
                      </a:solidFill>
                      <a:latin typeface="Arial" charset="0"/>
                    </a:defRPr>
                  </a:lvl1pPr>
                  <a:lvl2pPr marL="742950" indent="-285750" eaLnBrk="0" hangingPunct="0">
                    <a:spcBef>
                      <a:spcPct val="20000"/>
                    </a:spcBef>
                    <a:buChar char="–"/>
                    <a:defRPr sz="2800">
                      <a:solidFill>
                        <a:srgbClr val="0070C0"/>
                      </a:solidFill>
                      <a:latin typeface="Arial" charset="0"/>
                    </a:defRPr>
                  </a:lvl2pPr>
                  <a:lvl3pPr marL="1143000" indent="-228600" eaLnBrk="0" hangingPunct="0">
                    <a:spcBef>
                      <a:spcPct val="20000"/>
                    </a:spcBef>
                    <a:buChar char="•"/>
                    <a:defRPr sz="2400">
                      <a:solidFill>
                        <a:srgbClr val="0070C0"/>
                      </a:solidFill>
                      <a:latin typeface="Arial" charset="0"/>
                    </a:defRPr>
                  </a:lvl3pPr>
                  <a:lvl4pPr marL="1600200" indent="-228600" eaLnBrk="0" hangingPunct="0">
                    <a:spcBef>
                      <a:spcPct val="20000"/>
                    </a:spcBef>
                    <a:buChar char="–"/>
                    <a:defRPr sz="2000">
                      <a:solidFill>
                        <a:srgbClr val="0070C0"/>
                      </a:solidFill>
                      <a:latin typeface="Arial" charset="0"/>
                    </a:defRPr>
                  </a:lvl4pPr>
                  <a:lvl5pPr marL="2057400" indent="-228600" eaLnBrk="0" hangingPunct="0">
                    <a:spcBef>
                      <a:spcPct val="20000"/>
                    </a:spcBef>
                    <a:buChar char="»"/>
                    <a:defRPr sz="2000">
                      <a:solidFill>
                        <a:srgbClr val="0070C0"/>
                      </a:solidFill>
                      <a:latin typeface="Arial" charset="0"/>
                    </a:defRPr>
                  </a:lvl5pPr>
                  <a:lvl6pPr marL="2514600" indent="-228600" eaLnBrk="0" fontAlgn="base" hangingPunct="0">
                    <a:spcBef>
                      <a:spcPct val="20000"/>
                    </a:spcBef>
                    <a:spcAft>
                      <a:spcPct val="0"/>
                    </a:spcAft>
                    <a:buChar char="»"/>
                    <a:defRPr sz="2000">
                      <a:solidFill>
                        <a:srgbClr val="0070C0"/>
                      </a:solidFill>
                      <a:latin typeface="Arial" charset="0"/>
                    </a:defRPr>
                  </a:lvl6pPr>
                  <a:lvl7pPr marL="2971800" indent="-228600" eaLnBrk="0" fontAlgn="base" hangingPunct="0">
                    <a:spcBef>
                      <a:spcPct val="20000"/>
                    </a:spcBef>
                    <a:spcAft>
                      <a:spcPct val="0"/>
                    </a:spcAft>
                    <a:buChar char="»"/>
                    <a:defRPr sz="2000">
                      <a:solidFill>
                        <a:srgbClr val="0070C0"/>
                      </a:solidFill>
                      <a:latin typeface="Arial" charset="0"/>
                    </a:defRPr>
                  </a:lvl7pPr>
                  <a:lvl8pPr marL="3429000" indent="-228600" eaLnBrk="0" fontAlgn="base" hangingPunct="0">
                    <a:spcBef>
                      <a:spcPct val="20000"/>
                    </a:spcBef>
                    <a:spcAft>
                      <a:spcPct val="0"/>
                    </a:spcAft>
                    <a:buChar char="»"/>
                    <a:defRPr sz="2000">
                      <a:solidFill>
                        <a:srgbClr val="0070C0"/>
                      </a:solidFill>
                      <a:latin typeface="Arial" charset="0"/>
                    </a:defRPr>
                  </a:lvl8pPr>
                  <a:lvl9pPr marL="3886200" indent="-228600" eaLnBrk="0" fontAlgn="base" hangingPunct="0">
                    <a:spcBef>
                      <a:spcPct val="20000"/>
                    </a:spcBef>
                    <a:spcAft>
                      <a:spcPct val="0"/>
                    </a:spcAft>
                    <a:buChar char="»"/>
                    <a:defRPr sz="2000">
                      <a:solidFill>
                        <a:srgbClr val="0070C0"/>
                      </a:solidFill>
                      <a:latin typeface="Arial" charset="0"/>
                    </a:defRPr>
                  </a:lvl9pPr>
                </a:lstStyle>
                <a:p>
                  <a:pPr defTabSz="514277" eaLnBrk="1" fontAlgn="base" hangingPunct="1">
                    <a:spcBef>
                      <a:spcPct val="0"/>
                    </a:spcBef>
                    <a:spcAft>
                      <a:spcPct val="0"/>
                    </a:spcAft>
                    <a:defRPr/>
                  </a:pPr>
                  <a:endParaRPr lang="en-US" altLang="en-US" sz="900">
                    <a:latin typeface="Arial" panose="020B0604020202020204" pitchFamily="34" charset="0"/>
                    <a:cs typeface="Arial" panose="020B0604020202020204" pitchFamily="34" charset="0"/>
                  </a:endParaRPr>
                </a:p>
              </p:txBody>
            </p:sp>
            <p:sp>
              <p:nvSpPr>
                <p:cNvPr id="234" name="Oval 137">
                  <a:extLst>
                    <a:ext uri="{FF2B5EF4-FFF2-40B4-BE49-F238E27FC236}">
                      <a16:creationId xmlns:a16="http://schemas.microsoft.com/office/drawing/2014/main" id="{4E3186A0-F462-7C47-9EC9-33FD6CBF721F}"/>
                    </a:ext>
                  </a:extLst>
                </p:cNvPr>
                <p:cNvSpPr>
                  <a:spLocks noChangeArrowheads="1"/>
                </p:cNvSpPr>
                <p:nvPr/>
              </p:nvSpPr>
              <p:spPr bwMode="auto">
                <a:xfrm>
                  <a:off x="2728" y="2660"/>
                  <a:ext cx="40" cy="4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spcBef>
                      <a:spcPct val="20000"/>
                    </a:spcBef>
                    <a:defRPr sz="3200">
                      <a:solidFill>
                        <a:srgbClr val="0070C0"/>
                      </a:solidFill>
                      <a:latin typeface="Arial" charset="0"/>
                    </a:defRPr>
                  </a:lvl1pPr>
                  <a:lvl2pPr marL="742950" indent="-285750" eaLnBrk="0" hangingPunct="0">
                    <a:spcBef>
                      <a:spcPct val="20000"/>
                    </a:spcBef>
                    <a:buChar char="–"/>
                    <a:defRPr sz="2800">
                      <a:solidFill>
                        <a:srgbClr val="0070C0"/>
                      </a:solidFill>
                      <a:latin typeface="Arial" charset="0"/>
                    </a:defRPr>
                  </a:lvl2pPr>
                  <a:lvl3pPr marL="1143000" indent="-228600" eaLnBrk="0" hangingPunct="0">
                    <a:spcBef>
                      <a:spcPct val="20000"/>
                    </a:spcBef>
                    <a:buChar char="•"/>
                    <a:defRPr sz="2400">
                      <a:solidFill>
                        <a:srgbClr val="0070C0"/>
                      </a:solidFill>
                      <a:latin typeface="Arial" charset="0"/>
                    </a:defRPr>
                  </a:lvl3pPr>
                  <a:lvl4pPr marL="1600200" indent="-228600" eaLnBrk="0" hangingPunct="0">
                    <a:spcBef>
                      <a:spcPct val="20000"/>
                    </a:spcBef>
                    <a:buChar char="–"/>
                    <a:defRPr sz="2000">
                      <a:solidFill>
                        <a:srgbClr val="0070C0"/>
                      </a:solidFill>
                      <a:latin typeface="Arial" charset="0"/>
                    </a:defRPr>
                  </a:lvl4pPr>
                  <a:lvl5pPr marL="2057400" indent="-228600" eaLnBrk="0" hangingPunct="0">
                    <a:spcBef>
                      <a:spcPct val="20000"/>
                    </a:spcBef>
                    <a:buChar char="»"/>
                    <a:defRPr sz="2000">
                      <a:solidFill>
                        <a:srgbClr val="0070C0"/>
                      </a:solidFill>
                      <a:latin typeface="Arial" charset="0"/>
                    </a:defRPr>
                  </a:lvl5pPr>
                  <a:lvl6pPr marL="2514600" indent="-228600" eaLnBrk="0" fontAlgn="base" hangingPunct="0">
                    <a:spcBef>
                      <a:spcPct val="20000"/>
                    </a:spcBef>
                    <a:spcAft>
                      <a:spcPct val="0"/>
                    </a:spcAft>
                    <a:buChar char="»"/>
                    <a:defRPr sz="2000">
                      <a:solidFill>
                        <a:srgbClr val="0070C0"/>
                      </a:solidFill>
                      <a:latin typeface="Arial" charset="0"/>
                    </a:defRPr>
                  </a:lvl6pPr>
                  <a:lvl7pPr marL="2971800" indent="-228600" eaLnBrk="0" fontAlgn="base" hangingPunct="0">
                    <a:spcBef>
                      <a:spcPct val="20000"/>
                    </a:spcBef>
                    <a:spcAft>
                      <a:spcPct val="0"/>
                    </a:spcAft>
                    <a:buChar char="»"/>
                    <a:defRPr sz="2000">
                      <a:solidFill>
                        <a:srgbClr val="0070C0"/>
                      </a:solidFill>
                      <a:latin typeface="Arial" charset="0"/>
                    </a:defRPr>
                  </a:lvl7pPr>
                  <a:lvl8pPr marL="3429000" indent="-228600" eaLnBrk="0" fontAlgn="base" hangingPunct="0">
                    <a:spcBef>
                      <a:spcPct val="20000"/>
                    </a:spcBef>
                    <a:spcAft>
                      <a:spcPct val="0"/>
                    </a:spcAft>
                    <a:buChar char="»"/>
                    <a:defRPr sz="2000">
                      <a:solidFill>
                        <a:srgbClr val="0070C0"/>
                      </a:solidFill>
                      <a:latin typeface="Arial" charset="0"/>
                    </a:defRPr>
                  </a:lvl8pPr>
                  <a:lvl9pPr marL="3886200" indent="-228600" eaLnBrk="0" fontAlgn="base" hangingPunct="0">
                    <a:spcBef>
                      <a:spcPct val="20000"/>
                    </a:spcBef>
                    <a:spcAft>
                      <a:spcPct val="0"/>
                    </a:spcAft>
                    <a:buChar char="»"/>
                    <a:defRPr sz="2000">
                      <a:solidFill>
                        <a:srgbClr val="0070C0"/>
                      </a:solidFill>
                      <a:latin typeface="Arial" charset="0"/>
                    </a:defRPr>
                  </a:lvl9pPr>
                </a:lstStyle>
                <a:p>
                  <a:pPr defTabSz="514277" eaLnBrk="1" fontAlgn="base" hangingPunct="1">
                    <a:spcBef>
                      <a:spcPct val="0"/>
                    </a:spcBef>
                    <a:spcAft>
                      <a:spcPct val="0"/>
                    </a:spcAft>
                    <a:defRPr/>
                  </a:pPr>
                  <a:endParaRPr lang="en-US" altLang="en-US" sz="900">
                    <a:latin typeface="Arial" panose="020B0604020202020204" pitchFamily="34" charset="0"/>
                    <a:cs typeface="Arial" panose="020B0604020202020204" pitchFamily="34" charset="0"/>
                  </a:endParaRPr>
                </a:p>
              </p:txBody>
            </p:sp>
            <p:sp>
              <p:nvSpPr>
                <p:cNvPr id="235" name="Oval 138">
                  <a:extLst>
                    <a:ext uri="{FF2B5EF4-FFF2-40B4-BE49-F238E27FC236}">
                      <a16:creationId xmlns:a16="http://schemas.microsoft.com/office/drawing/2014/main" id="{97BFD8BE-BF81-9D4D-B5A3-E87935A46A15}"/>
                    </a:ext>
                  </a:extLst>
                </p:cNvPr>
                <p:cNvSpPr>
                  <a:spLocks noChangeArrowheads="1"/>
                </p:cNvSpPr>
                <p:nvPr/>
              </p:nvSpPr>
              <p:spPr bwMode="auto">
                <a:xfrm>
                  <a:off x="2653" y="2777"/>
                  <a:ext cx="32" cy="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spcBef>
                      <a:spcPct val="20000"/>
                    </a:spcBef>
                    <a:defRPr sz="3200">
                      <a:solidFill>
                        <a:srgbClr val="0070C0"/>
                      </a:solidFill>
                      <a:latin typeface="Arial" charset="0"/>
                    </a:defRPr>
                  </a:lvl1pPr>
                  <a:lvl2pPr marL="742950" indent="-285750" eaLnBrk="0" hangingPunct="0">
                    <a:spcBef>
                      <a:spcPct val="20000"/>
                    </a:spcBef>
                    <a:buChar char="–"/>
                    <a:defRPr sz="2800">
                      <a:solidFill>
                        <a:srgbClr val="0070C0"/>
                      </a:solidFill>
                      <a:latin typeface="Arial" charset="0"/>
                    </a:defRPr>
                  </a:lvl2pPr>
                  <a:lvl3pPr marL="1143000" indent="-228600" eaLnBrk="0" hangingPunct="0">
                    <a:spcBef>
                      <a:spcPct val="20000"/>
                    </a:spcBef>
                    <a:buChar char="•"/>
                    <a:defRPr sz="2400">
                      <a:solidFill>
                        <a:srgbClr val="0070C0"/>
                      </a:solidFill>
                      <a:latin typeface="Arial" charset="0"/>
                    </a:defRPr>
                  </a:lvl3pPr>
                  <a:lvl4pPr marL="1600200" indent="-228600" eaLnBrk="0" hangingPunct="0">
                    <a:spcBef>
                      <a:spcPct val="20000"/>
                    </a:spcBef>
                    <a:buChar char="–"/>
                    <a:defRPr sz="2000">
                      <a:solidFill>
                        <a:srgbClr val="0070C0"/>
                      </a:solidFill>
                      <a:latin typeface="Arial" charset="0"/>
                    </a:defRPr>
                  </a:lvl4pPr>
                  <a:lvl5pPr marL="2057400" indent="-228600" eaLnBrk="0" hangingPunct="0">
                    <a:spcBef>
                      <a:spcPct val="20000"/>
                    </a:spcBef>
                    <a:buChar char="»"/>
                    <a:defRPr sz="2000">
                      <a:solidFill>
                        <a:srgbClr val="0070C0"/>
                      </a:solidFill>
                      <a:latin typeface="Arial" charset="0"/>
                    </a:defRPr>
                  </a:lvl5pPr>
                  <a:lvl6pPr marL="2514600" indent="-228600" eaLnBrk="0" fontAlgn="base" hangingPunct="0">
                    <a:spcBef>
                      <a:spcPct val="20000"/>
                    </a:spcBef>
                    <a:spcAft>
                      <a:spcPct val="0"/>
                    </a:spcAft>
                    <a:buChar char="»"/>
                    <a:defRPr sz="2000">
                      <a:solidFill>
                        <a:srgbClr val="0070C0"/>
                      </a:solidFill>
                      <a:latin typeface="Arial" charset="0"/>
                    </a:defRPr>
                  </a:lvl6pPr>
                  <a:lvl7pPr marL="2971800" indent="-228600" eaLnBrk="0" fontAlgn="base" hangingPunct="0">
                    <a:spcBef>
                      <a:spcPct val="20000"/>
                    </a:spcBef>
                    <a:spcAft>
                      <a:spcPct val="0"/>
                    </a:spcAft>
                    <a:buChar char="»"/>
                    <a:defRPr sz="2000">
                      <a:solidFill>
                        <a:srgbClr val="0070C0"/>
                      </a:solidFill>
                      <a:latin typeface="Arial" charset="0"/>
                    </a:defRPr>
                  </a:lvl7pPr>
                  <a:lvl8pPr marL="3429000" indent="-228600" eaLnBrk="0" fontAlgn="base" hangingPunct="0">
                    <a:spcBef>
                      <a:spcPct val="20000"/>
                    </a:spcBef>
                    <a:spcAft>
                      <a:spcPct val="0"/>
                    </a:spcAft>
                    <a:buChar char="»"/>
                    <a:defRPr sz="2000">
                      <a:solidFill>
                        <a:srgbClr val="0070C0"/>
                      </a:solidFill>
                      <a:latin typeface="Arial" charset="0"/>
                    </a:defRPr>
                  </a:lvl8pPr>
                  <a:lvl9pPr marL="3886200" indent="-228600" eaLnBrk="0" fontAlgn="base" hangingPunct="0">
                    <a:spcBef>
                      <a:spcPct val="20000"/>
                    </a:spcBef>
                    <a:spcAft>
                      <a:spcPct val="0"/>
                    </a:spcAft>
                    <a:buChar char="»"/>
                    <a:defRPr sz="2000">
                      <a:solidFill>
                        <a:srgbClr val="0070C0"/>
                      </a:solidFill>
                      <a:latin typeface="Arial" charset="0"/>
                    </a:defRPr>
                  </a:lvl9pPr>
                </a:lstStyle>
                <a:p>
                  <a:pPr defTabSz="514277" eaLnBrk="1" fontAlgn="base" hangingPunct="1">
                    <a:spcBef>
                      <a:spcPct val="0"/>
                    </a:spcBef>
                    <a:spcAft>
                      <a:spcPct val="0"/>
                    </a:spcAft>
                    <a:defRPr/>
                  </a:pPr>
                  <a:endParaRPr lang="en-US" altLang="en-US" sz="900">
                    <a:latin typeface="Arial" panose="020B0604020202020204" pitchFamily="34" charset="0"/>
                    <a:cs typeface="Arial" panose="020B0604020202020204" pitchFamily="34" charset="0"/>
                  </a:endParaRPr>
                </a:p>
              </p:txBody>
            </p:sp>
          </p:grpSp>
          <p:sp>
            <p:nvSpPr>
              <p:cNvPr id="220" name="Content Placeholder 2">
                <a:extLst>
                  <a:ext uri="{FF2B5EF4-FFF2-40B4-BE49-F238E27FC236}">
                    <a16:creationId xmlns:a16="http://schemas.microsoft.com/office/drawing/2014/main" id="{01890682-2A62-5F49-814A-10A7C80A224B}"/>
                  </a:ext>
                </a:extLst>
              </p:cNvPr>
              <p:cNvSpPr txBox="1">
                <a:spLocks/>
              </p:cNvSpPr>
              <p:nvPr/>
            </p:nvSpPr>
            <p:spPr bwMode="auto">
              <a:xfrm>
                <a:off x="8645887" y="3589171"/>
                <a:ext cx="1362815" cy="591499"/>
              </a:xfrm>
              <a:prstGeom prst="rect">
                <a:avLst/>
              </a:prstGeom>
              <a:noFill/>
              <a:ln w="9525">
                <a:noFill/>
                <a:miter lim="800000"/>
                <a:headEnd/>
                <a:tailEnd/>
              </a:ln>
            </p:spPr>
            <p:txBody>
              <a:bodyPr vert="horz" wrap="square" lIns="51435" tIns="25718" rIns="51435" bIns="25718" numCol="1" anchor="t" anchorCtr="0" compatLnSpc="1">
                <a:prstTxWarp prst="textNoShape">
                  <a:avLst/>
                </a:prstTxWarp>
                <a:noAutofit/>
              </a:bodyPr>
              <a:lstStyle>
                <a:lvl1pPr marL="230188" indent="-230188" algn="l" rtl="0" eaLnBrk="1" fontAlgn="base" hangingPunct="1">
                  <a:spcBef>
                    <a:spcPts val="1200"/>
                  </a:spcBef>
                  <a:spcAft>
                    <a:spcPct val="0"/>
                  </a:spcAft>
                  <a:buClr>
                    <a:schemeClr val="tx2"/>
                  </a:buClr>
                  <a:buChar char="•"/>
                  <a:defRPr sz="2000">
                    <a:solidFill>
                      <a:schemeClr val="tx1"/>
                    </a:solidFill>
                    <a:latin typeface="+mn-lt"/>
                    <a:ea typeface="+mn-ea"/>
                    <a:cs typeface="+mn-cs"/>
                  </a:defRPr>
                </a:lvl1pPr>
                <a:lvl2pPr marL="569913" indent="-227013" algn="l" rtl="0" eaLnBrk="1" fontAlgn="base" hangingPunct="1">
                  <a:spcBef>
                    <a:spcPts val="600"/>
                  </a:spcBef>
                  <a:spcAft>
                    <a:spcPct val="0"/>
                  </a:spcAft>
                  <a:buClr>
                    <a:schemeClr val="tx2"/>
                  </a:buClr>
                  <a:buChar char="–"/>
                  <a:defRPr>
                    <a:solidFill>
                      <a:schemeClr val="tx1"/>
                    </a:solidFill>
                    <a:latin typeface="+mn-lt"/>
                    <a:ea typeface="ＭＳ Ｐゴシック" pitchFamily="-105" charset="-128"/>
                  </a:defRPr>
                </a:lvl2pPr>
                <a:lvl3pPr marL="912813" indent="-227013" algn="l" rtl="0" eaLnBrk="1" fontAlgn="base" hangingPunct="1">
                  <a:spcBef>
                    <a:spcPts val="300"/>
                  </a:spcBef>
                  <a:spcAft>
                    <a:spcPct val="0"/>
                  </a:spcAft>
                  <a:buClr>
                    <a:schemeClr val="tx2"/>
                  </a:buClr>
                  <a:buChar char="•"/>
                  <a:defRPr sz="1600">
                    <a:solidFill>
                      <a:schemeClr val="tx1"/>
                    </a:solidFill>
                    <a:latin typeface="+mn-lt"/>
                    <a:ea typeface="ＭＳ Ｐゴシック" pitchFamily="-105" charset="-128"/>
                  </a:defRPr>
                </a:lvl3pPr>
                <a:lvl4pPr marL="1252538" indent="-220663" algn="l" rtl="0" eaLnBrk="1" fontAlgn="base" hangingPunct="1">
                  <a:spcBef>
                    <a:spcPts val="200"/>
                  </a:spcBef>
                  <a:spcAft>
                    <a:spcPct val="0"/>
                  </a:spcAft>
                  <a:buClr>
                    <a:schemeClr val="tx2"/>
                  </a:buClr>
                  <a:buChar char="–"/>
                  <a:defRPr sz="1400">
                    <a:solidFill>
                      <a:schemeClr val="tx1"/>
                    </a:solidFill>
                    <a:latin typeface="+mn-lt"/>
                    <a:ea typeface="ＭＳ Ｐゴシック" pitchFamily="-105" charset="-128"/>
                  </a:defRPr>
                </a:lvl4pPr>
                <a:lvl5pPr marL="1601788" indent="-230188" algn="l" rtl="0" eaLnBrk="1" fontAlgn="base" hangingPunct="1">
                  <a:spcBef>
                    <a:spcPts val="100"/>
                  </a:spcBef>
                  <a:spcAft>
                    <a:spcPct val="0"/>
                  </a:spcAft>
                  <a:buClr>
                    <a:schemeClr val="tx2"/>
                  </a:buClr>
                  <a:buFont typeface="Arial" pitchFamily="-105" charset="0"/>
                  <a:buChar char="•"/>
                  <a:defRPr sz="1200">
                    <a:solidFill>
                      <a:schemeClr val="tx1"/>
                    </a:solidFill>
                    <a:latin typeface="+mn-lt"/>
                    <a:ea typeface="ＭＳ Ｐゴシック" pitchFamily="-105" charset="-128"/>
                  </a:defRPr>
                </a:lvl5pPr>
                <a:lvl6pPr marL="2060575" indent="-230188" algn="l" rtl="0" eaLnBrk="1" fontAlgn="base" hangingPunct="1">
                  <a:spcBef>
                    <a:spcPct val="25000"/>
                  </a:spcBef>
                  <a:spcAft>
                    <a:spcPct val="0"/>
                  </a:spcAft>
                  <a:buClr>
                    <a:schemeClr val="folHlink"/>
                  </a:buClr>
                  <a:buChar char="»"/>
                  <a:defRPr sz="1200">
                    <a:solidFill>
                      <a:schemeClr val="tx1"/>
                    </a:solidFill>
                    <a:latin typeface="+mn-lt"/>
                  </a:defRPr>
                </a:lvl6pPr>
                <a:lvl7pPr marL="2517775" indent="-230188" algn="l" rtl="0" eaLnBrk="1" fontAlgn="base" hangingPunct="1">
                  <a:spcBef>
                    <a:spcPct val="25000"/>
                  </a:spcBef>
                  <a:spcAft>
                    <a:spcPct val="0"/>
                  </a:spcAft>
                  <a:buClr>
                    <a:schemeClr val="folHlink"/>
                  </a:buClr>
                  <a:buChar char="»"/>
                  <a:defRPr sz="1200">
                    <a:solidFill>
                      <a:schemeClr val="tx1"/>
                    </a:solidFill>
                    <a:latin typeface="+mn-lt"/>
                  </a:defRPr>
                </a:lvl7pPr>
                <a:lvl8pPr marL="2974975" indent="-230188" algn="l" rtl="0" eaLnBrk="1" fontAlgn="base" hangingPunct="1">
                  <a:spcBef>
                    <a:spcPct val="25000"/>
                  </a:spcBef>
                  <a:spcAft>
                    <a:spcPct val="0"/>
                  </a:spcAft>
                  <a:buClr>
                    <a:schemeClr val="folHlink"/>
                  </a:buClr>
                  <a:buChar char="»"/>
                  <a:defRPr sz="1200">
                    <a:solidFill>
                      <a:schemeClr val="tx1"/>
                    </a:solidFill>
                    <a:latin typeface="+mn-lt"/>
                  </a:defRPr>
                </a:lvl8pPr>
                <a:lvl9pPr marL="3432175" indent="-230188" algn="l" rtl="0" eaLnBrk="1" fontAlgn="base" hangingPunct="1">
                  <a:spcBef>
                    <a:spcPct val="25000"/>
                  </a:spcBef>
                  <a:spcAft>
                    <a:spcPct val="0"/>
                  </a:spcAft>
                  <a:buClr>
                    <a:schemeClr val="folHlink"/>
                  </a:buClr>
                  <a:buChar char="»"/>
                  <a:defRPr sz="1200">
                    <a:solidFill>
                      <a:schemeClr val="tx1"/>
                    </a:solidFill>
                    <a:latin typeface="+mn-lt"/>
                  </a:defRPr>
                </a:lvl9pPr>
              </a:lstStyle>
              <a:p>
                <a:pPr marL="0" indent="0" algn="ctr" defTabSz="514277">
                  <a:spcBef>
                    <a:spcPts val="675"/>
                  </a:spcBef>
                  <a:buClr>
                    <a:srgbClr val="505050"/>
                  </a:buClr>
                  <a:buNone/>
                  <a:defRPr/>
                </a:pPr>
                <a:r>
                  <a:rPr lang="en-US" sz="1050" b="1" kern="0">
                    <a:solidFill>
                      <a:srgbClr val="FFFFFF"/>
                    </a:solidFill>
                    <a:latin typeface="Arial" panose="020B0604020202020204" pitchFamily="34" charset="0"/>
                    <a:cs typeface="Arial" panose="020B0604020202020204" pitchFamily="34" charset="0"/>
                  </a:rPr>
                  <a:t>Myeloma cell</a:t>
                </a:r>
              </a:p>
            </p:txBody>
          </p:sp>
        </p:grpSp>
        <p:grpSp>
          <p:nvGrpSpPr>
            <p:cNvPr id="33" name="Group 32">
              <a:extLst>
                <a:ext uri="{FF2B5EF4-FFF2-40B4-BE49-F238E27FC236}">
                  <a16:creationId xmlns:a16="http://schemas.microsoft.com/office/drawing/2014/main" id="{3DFC4856-A7C9-3845-89DA-D9D881E4DF04}"/>
                </a:ext>
              </a:extLst>
            </p:cNvPr>
            <p:cNvGrpSpPr/>
            <p:nvPr/>
          </p:nvGrpSpPr>
          <p:grpSpPr>
            <a:xfrm>
              <a:off x="9858969" y="3504142"/>
              <a:ext cx="1167639" cy="932882"/>
              <a:chOff x="8912291" y="1619837"/>
              <a:chExt cx="905188" cy="979372"/>
            </a:xfrm>
          </p:grpSpPr>
          <p:grpSp>
            <p:nvGrpSpPr>
              <p:cNvPr id="202" name="Group 31">
                <a:extLst>
                  <a:ext uri="{FF2B5EF4-FFF2-40B4-BE49-F238E27FC236}">
                    <a16:creationId xmlns:a16="http://schemas.microsoft.com/office/drawing/2014/main" id="{21E48193-3DE7-5043-97D0-F1B1661A930D}"/>
                  </a:ext>
                </a:extLst>
              </p:cNvPr>
              <p:cNvGrpSpPr>
                <a:grpSpLocks/>
              </p:cNvGrpSpPr>
              <p:nvPr/>
            </p:nvGrpSpPr>
            <p:grpSpPr bwMode="auto">
              <a:xfrm>
                <a:off x="8912291" y="1619837"/>
                <a:ext cx="905188" cy="979372"/>
                <a:chOff x="3767" y="1624"/>
                <a:chExt cx="1132" cy="1040"/>
              </a:xfrm>
            </p:grpSpPr>
            <p:sp>
              <p:nvSpPr>
                <p:cNvPr id="204" name="Freeform 32">
                  <a:extLst>
                    <a:ext uri="{FF2B5EF4-FFF2-40B4-BE49-F238E27FC236}">
                      <a16:creationId xmlns:a16="http://schemas.microsoft.com/office/drawing/2014/main" id="{87BA003C-ACE3-AF4C-B756-6413A044C206}"/>
                    </a:ext>
                  </a:extLst>
                </p:cNvPr>
                <p:cNvSpPr>
                  <a:spLocks/>
                </p:cNvSpPr>
                <p:nvPr/>
              </p:nvSpPr>
              <p:spPr bwMode="auto">
                <a:xfrm>
                  <a:off x="3767" y="1624"/>
                  <a:ext cx="1132" cy="1040"/>
                </a:xfrm>
                <a:custGeom>
                  <a:avLst/>
                  <a:gdLst>
                    <a:gd name="T0" fmla="*/ 1999 w 453"/>
                    <a:gd name="T1" fmla="*/ 797 h 390"/>
                    <a:gd name="T2" fmla="*/ 375 w 453"/>
                    <a:gd name="T3" fmla="*/ 2539 h 390"/>
                    <a:gd name="T4" fmla="*/ 762 w 453"/>
                    <a:gd name="T5" fmla="*/ 5781 h 390"/>
                    <a:gd name="T6" fmla="*/ 3059 w 453"/>
                    <a:gd name="T7" fmla="*/ 6827 h 390"/>
                    <a:gd name="T8" fmla="*/ 4121 w 453"/>
                    <a:gd name="T9" fmla="*/ 7304 h 390"/>
                    <a:gd name="T10" fmla="*/ 5757 w 453"/>
                    <a:gd name="T11" fmla="*/ 6621 h 390"/>
                    <a:gd name="T12" fmla="*/ 6382 w 453"/>
                    <a:gd name="T13" fmla="*/ 2731 h 390"/>
                    <a:gd name="T14" fmla="*/ 4853 w 453"/>
                    <a:gd name="T15" fmla="*/ 888 h 390"/>
                    <a:gd name="T16" fmla="*/ 1999 w 453"/>
                    <a:gd name="T17" fmla="*/ 797 h 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3" h="390">
                      <a:moveTo>
                        <a:pt x="128" y="42"/>
                      </a:moveTo>
                      <a:cubicBezTo>
                        <a:pt x="83" y="62"/>
                        <a:pt x="39" y="94"/>
                        <a:pt x="24" y="134"/>
                      </a:cubicBezTo>
                      <a:cubicBezTo>
                        <a:pt x="0" y="198"/>
                        <a:pt x="5" y="254"/>
                        <a:pt x="49" y="305"/>
                      </a:cubicBezTo>
                      <a:cubicBezTo>
                        <a:pt x="89" y="350"/>
                        <a:pt x="144" y="341"/>
                        <a:pt x="196" y="360"/>
                      </a:cubicBezTo>
                      <a:cubicBezTo>
                        <a:pt x="220" y="368"/>
                        <a:pt x="239" y="382"/>
                        <a:pt x="264" y="385"/>
                      </a:cubicBezTo>
                      <a:cubicBezTo>
                        <a:pt x="302" y="390"/>
                        <a:pt x="342" y="375"/>
                        <a:pt x="369" y="349"/>
                      </a:cubicBezTo>
                      <a:cubicBezTo>
                        <a:pt x="423" y="297"/>
                        <a:pt x="453" y="212"/>
                        <a:pt x="409" y="144"/>
                      </a:cubicBezTo>
                      <a:cubicBezTo>
                        <a:pt x="383" y="104"/>
                        <a:pt x="348" y="77"/>
                        <a:pt x="311" y="47"/>
                      </a:cubicBezTo>
                      <a:cubicBezTo>
                        <a:pt x="254" y="0"/>
                        <a:pt x="189" y="15"/>
                        <a:pt x="128" y="42"/>
                      </a:cubicBezTo>
                      <a:close/>
                    </a:path>
                  </a:pathLst>
                </a:custGeom>
                <a:solidFill>
                  <a:srgbClr val="DFAD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05" name="Freeform 33">
                  <a:extLst>
                    <a:ext uri="{FF2B5EF4-FFF2-40B4-BE49-F238E27FC236}">
                      <a16:creationId xmlns:a16="http://schemas.microsoft.com/office/drawing/2014/main" id="{1D13EEB6-BD5E-F241-899C-875D3B833A1C}"/>
                    </a:ext>
                  </a:extLst>
                </p:cNvPr>
                <p:cNvSpPr>
                  <a:spLocks/>
                </p:cNvSpPr>
                <p:nvPr/>
              </p:nvSpPr>
              <p:spPr bwMode="auto">
                <a:xfrm>
                  <a:off x="4304" y="2405"/>
                  <a:ext cx="240" cy="104"/>
                </a:xfrm>
                <a:custGeom>
                  <a:avLst/>
                  <a:gdLst>
                    <a:gd name="T0" fmla="*/ 1188 w 96"/>
                    <a:gd name="T1" fmla="*/ 0 h 39"/>
                    <a:gd name="T2" fmla="*/ 1083 w 96"/>
                    <a:gd name="T3" fmla="*/ 376 h 39"/>
                    <a:gd name="T4" fmla="*/ 1500 w 96"/>
                    <a:gd name="T5" fmla="*/ 376 h 39"/>
                    <a:gd name="T6" fmla="*/ 958 w 96"/>
                    <a:gd name="T7" fmla="*/ 717 h 39"/>
                    <a:gd name="T8" fmla="*/ 438 w 96"/>
                    <a:gd name="T9" fmla="*/ 35 h 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6" h="39">
                      <a:moveTo>
                        <a:pt x="76" y="0"/>
                      </a:moveTo>
                      <a:cubicBezTo>
                        <a:pt x="73" y="6"/>
                        <a:pt x="64" y="13"/>
                        <a:pt x="69" y="20"/>
                      </a:cubicBezTo>
                      <a:cubicBezTo>
                        <a:pt x="74" y="28"/>
                        <a:pt x="88" y="22"/>
                        <a:pt x="96" y="20"/>
                      </a:cubicBezTo>
                      <a:cubicBezTo>
                        <a:pt x="91" y="37"/>
                        <a:pt x="76" y="39"/>
                        <a:pt x="61" y="38"/>
                      </a:cubicBezTo>
                      <a:cubicBezTo>
                        <a:pt x="43" y="37"/>
                        <a:pt x="0" y="23"/>
                        <a:pt x="28" y="2"/>
                      </a:cubicBezTo>
                    </a:path>
                  </a:pathLst>
                </a:custGeom>
                <a:solidFill>
                  <a:srgbClr val="68C3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06" name="Freeform 34">
                  <a:extLst>
                    <a:ext uri="{FF2B5EF4-FFF2-40B4-BE49-F238E27FC236}">
                      <a16:creationId xmlns:a16="http://schemas.microsoft.com/office/drawing/2014/main" id="{BAD8B2FD-9AAF-6E45-857A-AC0675124439}"/>
                    </a:ext>
                  </a:extLst>
                </p:cNvPr>
                <p:cNvSpPr>
                  <a:spLocks/>
                </p:cNvSpPr>
                <p:nvPr/>
              </p:nvSpPr>
              <p:spPr bwMode="auto">
                <a:xfrm>
                  <a:off x="4084" y="1867"/>
                  <a:ext cx="560" cy="706"/>
                </a:xfrm>
                <a:custGeom>
                  <a:avLst/>
                  <a:gdLst>
                    <a:gd name="T0" fmla="*/ 2595 w 224"/>
                    <a:gd name="T1" fmla="*/ 0 h 265"/>
                    <a:gd name="T2" fmla="*/ 2645 w 224"/>
                    <a:gd name="T3" fmla="*/ 3690 h 265"/>
                    <a:gd name="T4" fmla="*/ 970 w 224"/>
                    <a:gd name="T5" fmla="*/ 4764 h 265"/>
                    <a:gd name="T6" fmla="*/ 345 w 224"/>
                    <a:gd name="T7" fmla="*/ 4081 h 265"/>
                    <a:gd name="T8" fmla="*/ 0 w 224"/>
                    <a:gd name="T9" fmla="*/ 3306 h 26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4" h="265">
                      <a:moveTo>
                        <a:pt x="166" y="0"/>
                      </a:moveTo>
                      <a:cubicBezTo>
                        <a:pt x="224" y="44"/>
                        <a:pt x="199" y="142"/>
                        <a:pt x="169" y="195"/>
                      </a:cubicBezTo>
                      <a:cubicBezTo>
                        <a:pt x="150" y="229"/>
                        <a:pt x="104" y="265"/>
                        <a:pt x="62" y="252"/>
                      </a:cubicBezTo>
                      <a:cubicBezTo>
                        <a:pt x="44" y="246"/>
                        <a:pt x="35" y="228"/>
                        <a:pt x="22" y="216"/>
                      </a:cubicBezTo>
                      <a:cubicBezTo>
                        <a:pt x="10" y="204"/>
                        <a:pt x="0" y="194"/>
                        <a:pt x="0" y="175"/>
                      </a:cubicBezTo>
                    </a:path>
                  </a:pathLst>
                </a:custGeom>
                <a:solidFill>
                  <a:srgbClr val="DFAD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07" name="Freeform 35">
                  <a:extLst>
                    <a:ext uri="{FF2B5EF4-FFF2-40B4-BE49-F238E27FC236}">
                      <a16:creationId xmlns:a16="http://schemas.microsoft.com/office/drawing/2014/main" id="{8D2F79F5-D2F0-E24E-AF36-94789BD13F53}"/>
                    </a:ext>
                  </a:extLst>
                </p:cNvPr>
                <p:cNvSpPr>
                  <a:spLocks/>
                </p:cNvSpPr>
                <p:nvPr/>
              </p:nvSpPr>
              <p:spPr bwMode="auto">
                <a:xfrm>
                  <a:off x="3817" y="1821"/>
                  <a:ext cx="997" cy="800"/>
                </a:xfrm>
                <a:custGeom>
                  <a:avLst/>
                  <a:gdLst>
                    <a:gd name="T0" fmla="*/ 0 w 399"/>
                    <a:gd name="T1" fmla="*/ 2752 h 300"/>
                    <a:gd name="T2" fmla="*/ 780 w 399"/>
                    <a:gd name="T3" fmla="*/ 4437 h 300"/>
                    <a:gd name="T4" fmla="*/ 2416 w 399"/>
                    <a:gd name="T5" fmla="*/ 5085 h 300"/>
                    <a:gd name="T6" fmla="*/ 4090 w 399"/>
                    <a:gd name="T7" fmla="*/ 5667 h 300"/>
                    <a:gd name="T8" fmla="*/ 5632 w 399"/>
                    <a:gd name="T9" fmla="*/ 4493 h 300"/>
                    <a:gd name="T10" fmla="*/ 6099 w 399"/>
                    <a:gd name="T11" fmla="*/ 3392 h 300"/>
                    <a:gd name="T12" fmla="*/ 6182 w 399"/>
                    <a:gd name="T13" fmla="*/ 2104 h 300"/>
                    <a:gd name="T14" fmla="*/ 5662 w 399"/>
                    <a:gd name="T15" fmla="*/ 1059 h 300"/>
                    <a:gd name="T16" fmla="*/ 5257 w 399"/>
                    <a:gd name="T17" fmla="*/ 491 h 300"/>
                    <a:gd name="T18" fmla="*/ 4758 w 399"/>
                    <a:gd name="T19" fmla="*/ 0 h 300"/>
                    <a:gd name="T20" fmla="*/ 5100 w 399"/>
                    <a:gd name="T21" fmla="*/ 512 h 300"/>
                    <a:gd name="T22" fmla="*/ 5370 w 399"/>
                    <a:gd name="T23" fmla="*/ 1365 h 300"/>
                    <a:gd name="T24" fmla="*/ 5475 w 399"/>
                    <a:gd name="T25" fmla="*/ 2333 h 300"/>
                    <a:gd name="T26" fmla="*/ 5245 w 399"/>
                    <a:gd name="T27" fmla="*/ 3187 h 300"/>
                    <a:gd name="T28" fmla="*/ 3541 w 399"/>
                    <a:gd name="T29" fmla="*/ 4629 h 300"/>
                    <a:gd name="T30" fmla="*/ 3291 w 399"/>
                    <a:gd name="T31" fmla="*/ 4344 h 300"/>
                    <a:gd name="T32" fmla="*/ 2779 w 399"/>
                    <a:gd name="T33" fmla="*/ 3869 h 300"/>
                    <a:gd name="T34" fmla="*/ 1499 w 399"/>
                    <a:gd name="T35" fmla="*/ 3661 h 300"/>
                    <a:gd name="T36" fmla="*/ 917 w 399"/>
                    <a:gd name="T37" fmla="*/ 3469 h 300"/>
                    <a:gd name="T38" fmla="*/ 750 w 399"/>
                    <a:gd name="T39" fmla="*/ 2696 h 300"/>
                    <a:gd name="T40" fmla="*/ 792 w 399"/>
                    <a:gd name="T41" fmla="*/ 3811 h 300"/>
                    <a:gd name="T42" fmla="*/ 405 w 399"/>
                    <a:gd name="T43" fmla="*/ 3619 h 300"/>
                    <a:gd name="T44" fmla="*/ 167 w 399"/>
                    <a:gd name="T45" fmla="*/ 3051 h 300"/>
                    <a:gd name="T46" fmla="*/ 12 w 399"/>
                    <a:gd name="T47" fmla="*/ 2675 h 3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99" h="300">
                      <a:moveTo>
                        <a:pt x="0" y="145"/>
                      </a:moveTo>
                      <a:cubicBezTo>
                        <a:pt x="6" y="178"/>
                        <a:pt x="22" y="215"/>
                        <a:pt x="50" y="234"/>
                      </a:cubicBezTo>
                      <a:cubicBezTo>
                        <a:pt x="82" y="257"/>
                        <a:pt x="117" y="260"/>
                        <a:pt x="155" y="268"/>
                      </a:cubicBezTo>
                      <a:cubicBezTo>
                        <a:pt x="192" y="275"/>
                        <a:pt x="223" y="298"/>
                        <a:pt x="262" y="299"/>
                      </a:cubicBezTo>
                      <a:cubicBezTo>
                        <a:pt x="300" y="300"/>
                        <a:pt x="341" y="266"/>
                        <a:pt x="361" y="237"/>
                      </a:cubicBezTo>
                      <a:cubicBezTo>
                        <a:pt x="373" y="221"/>
                        <a:pt x="386" y="200"/>
                        <a:pt x="391" y="179"/>
                      </a:cubicBezTo>
                      <a:cubicBezTo>
                        <a:pt x="396" y="160"/>
                        <a:pt x="399" y="132"/>
                        <a:pt x="396" y="111"/>
                      </a:cubicBezTo>
                      <a:cubicBezTo>
                        <a:pt x="393" y="91"/>
                        <a:pt x="374" y="72"/>
                        <a:pt x="363" y="56"/>
                      </a:cubicBezTo>
                      <a:cubicBezTo>
                        <a:pt x="355" y="46"/>
                        <a:pt x="346" y="36"/>
                        <a:pt x="337" y="26"/>
                      </a:cubicBezTo>
                      <a:cubicBezTo>
                        <a:pt x="329" y="18"/>
                        <a:pt x="316" y="4"/>
                        <a:pt x="305" y="0"/>
                      </a:cubicBezTo>
                      <a:cubicBezTo>
                        <a:pt x="317" y="9"/>
                        <a:pt x="320" y="19"/>
                        <a:pt x="327" y="27"/>
                      </a:cubicBezTo>
                      <a:cubicBezTo>
                        <a:pt x="338" y="41"/>
                        <a:pt x="340" y="54"/>
                        <a:pt x="344" y="72"/>
                      </a:cubicBezTo>
                      <a:cubicBezTo>
                        <a:pt x="349" y="88"/>
                        <a:pt x="353" y="106"/>
                        <a:pt x="351" y="123"/>
                      </a:cubicBezTo>
                      <a:cubicBezTo>
                        <a:pt x="348" y="138"/>
                        <a:pt x="341" y="154"/>
                        <a:pt x="336" y="168"/>
                      </a:cubicBezTo>
                      <a:cubicBezTo>
                        <a:pt x="323" y="206"/>
                        <a:pt x="274" y="275"/>
                        <a:pt x="227" y="244"/>
                      </a:cubicBezTo>
                      <a:cubicBezTo>
                        <a:pt x="221" y="240"/>
                        <a:pt x="216" y="234"/>
                        <a:pt x="211" y="229"/>
                      </a:cubicBezTo>
                      <a:cubicBezTo>
                        <a:pt x="201" y="220"/>
                        <a:pt x="189" y="212"/>
                        <a:pt x="178" y="204"/>
                      </a:cubicBezTo>
                      <a:cubicBezTo>
                        <a:pt x="151" y="186"/>
                        <a:pt x="126" y="193"/>
                        <a:pt x="96" y="193"/>
                      </a:cubicBezTo>
                      <a:cubicBezTo>
                        <a:pt x="83" y="194"/>
                        <a:pt x="67" y="194"/>
                        <a:pt x="59" y="183"/>
                      </a:cubicBezTo>
                      <a:cubicBezTo>
                        <a:pt x="52" y="173"/>
                        <a:pt x="56" y="152"/>
                        <a:pt x="48" y="142"/>
                      </a:cubicBezTo>
                      <a:cubicBezTo>
                        <a:pt x="45" y="157"/>
                        <a:pt x="57" y="186"/>
                        <a:pt x="51" y="201"/>
                      </a:cubicBezTo>
                      <a:cubicBezTo>
                        <a:pt x="45" y="215"/>
                        <a:pt x="32" y="199"/>
                        <a:pt x="26" y="191"/>
                      </a:cubicBezTo>
                      <a:cubicBezTo>
                        <a:pt x="18" y="181"/>
                        <a:pt x="15" y="173"/>
                        <a:pt x="11" y="161"/>
                      </a:cubicBezTo>
                      <a:cubicBezTo>
                        <a:pt x="9" y="155"/>
                        <a:pt x="0" y="147"/>
                        <a:pt x="1" y="141"/>
                      </a:cubicBezTo>
                    </a:path>
                  </a:pathLst>
                </a:custGeom>
                <a:solidFill>
                  <a:srgbClr val="F975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08" name="Freeform 36">
                  <a:extLst>
                    <a:ext uri="{FF2B5EF4-FFF2-40B4-BE49-F238E27FC236}">
                      <a16:creationId xmlns:a16="http://schemas.microsoft.com/office/drawing/2014/main" id="{28FB2EF1-D474-E148-AC2A-8F69B5D6FC38}"/>
                    </a:ext>
                  </a:extLst>
                </p:cNvPr>
                <p:cNvSpPr>
                  <a:spLocks/>
                </p:cNvSpPr>
                <p:nvPr/>
              </p:nvSpPr>
              <p:spPr bwMode="auto">
                <a:xfrm>
                  <a:off x="3914" y="1789"/>
                  <a:ext cx="683" cy="694"/>
                </a:xfrm>
                <a:custGeom>
                  <a:avLst/>
                  <a:gdLst>
                    <a:gd name="T0" fmla="*/ 1271 w 273"/>
                    <a:gd name="T1" fmla="*/ 419 h 260"/>
                    <a:gd name="T2" fmla="*/ 125 w 273"/>
                    <a:gd name="T3" fmla="*/ 2851 h 260"/>
                    <a:gd name="T4" fmla="*/ 1033 w 273"/>
                    <a:gd name="T5" fmla="*/ 4468 h 260"/>
                    <a:gd name="T6" fmla="*/ 1771 w 273"/>
                    <a:gd name="T7" fmla="*/ 4639 h 260"/>
                    <a:gd name="T8" fmla="*/ 2504 w 273"/>
                    <a:gd name="T9" fmla="*/ 4909 h 260"/>
                    <a:gd name="T10" fmla="*/ 3805 w 273"/>
                    <a:gd name="T11" fmla="*/ 3363 h 260"/>
                    <a:gd name="T12" fmla="*/ 4025 w 273"/>
                    <a:gd name="T13" fmla="*/ 1105 h 260"/>
                    <a:gd name="T14" fmla="*/ 2930 w 273"/>
                    <a:gd name="T15" fmla="*/ 93 h 260"/>
                    <a:gd name="T16" fmla="*/ 1271 w 273"/>
                    <a:gd name="T17" fmla="*/ 419 h 2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3" h="260">
                      <a:moveTo>
                        <a:pt x="81" y="22"/>
                      </a:moveTo>
                      <a:cubicBezTo>
                        <a:pt x="32" y="42"/>
                        <a:pt x="0" y="96"/>
                        <a:pt x="8" y="150"/>
                      </a:cubicBezTo>
                      <a:cubicBezTo>
                        <a:pt x="13" y="184"/>
                        <a:pt x="34" y="222"/>
                        <a:pt x="66" y="235"/>
                      </a:cubicBezTo>
                      <a:cubicBezTo>
                        <a:pt x="81" y="241"/>
                        <a:pt x="96" y="242"/>
                        <a:pt x="113" y="244"/>
                      </a:cubicBezTo>
                      <a:cubicBezTo>
                        <a:pt x="129" y="247"/>
                        <a:pt x="143" y="257"/>
                        <a:pt x="160" y="258"/>
                      </a:cubicBezTo>
                      <a:cubicBezTo>
                        <a:pt x="201" y="260"/>
                        <a:pt x="229" y="209"/>
                        <a:pt x="243" y="177"/>
                      </a:cubicBezTo>
                      <a:cubicBezTo>
                        <a:pt x="261" y="139"/>
                        <a:pt x="273" y="98"/>
                        <a:pt x="257" y="58"/>
                      </a:cubicBezTo>
                      <a:cubicBezTo>
                        <a:pt x="243" y="23"/>
                        <a:pt x="222" y="12"/>
                        <a:pt x="187" y="5"/>
                      </a:cubicBezTo>
                      <a:cubicBezTo>
                        <a:pt x="145" y="0"/>
                        <a:pt x="95" y="16"/>
                        <a:pt x="81" y="22"/>
                      </a:cubicBezTo>
                      <a:close/>
                    </a:path>
                  </a:pathLst>
                </a:custGeom>
                <a:solidFill>
                  <a:srgbClr val="F975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09" name="Freeform 37">
                  <a:extLst>
                    <a:ext uri="{FF2B5EF4-FFF2-40B4-BE49-F238E27FC236}">
                      <a16:creationId xmlns:a16="http://schemas.microsoft.com/office/drawing/2014/main" id="{874C9C30-A0AC-1E41-A307-565BCB7945CE}"/>
                    </a:ext>
                  </a:extLst>
                </p:cNvPr>
                <p:cNvSpPr>
                  <a:spLocks/>
                </p:cNvSpPr>
                <p:nvPr/>
              </p:nvSpPr>
              <p:spPr bwMode="auto">
                <a:xfrm>
                  <a:off x="3809" y="1699"/>
                  <a:ext cx="510" cy="424"/>
                </a:xfrm>
                <a:custGeom>
                  <a:avLst/>
                  <a:gdLst>
                    <a:gd name="T0" fmla="*/ 50 w 204"/>
                    <a:gd name="T1" fmla="*/ 3016 h 159"/>
                    <a:gd name="T2" fmla="*/ 1000 w 204"/>
                    <a:gd name="T3" fmla="*/ 909 h 159"/>
                    <a:gd name="T4" fmla="*/ 1925 w 204"/>
                    <a:gd name="T5" fmla="*/ 264 h 159"/>
                    <a:gd name="T6" fmla="*/ 3188 w 204"/>
                    <a:gd name="T7" fmla="*/ 0 h 159"/>
                    <a:gd name="T8" fmla="*/ 1063 w 204"/>
                    <a:gd name="T9" fmla="*/ 1059 h 159"/>
                    <a:gd name="T10" fmla="*/ 408 w 204"/>
                    <a:gd name="T11" fmla="*/ 1933 h 159"/>
                    <a:gd name="T12" fmla="*/ 83 w 204"/>
                    <a:gd name="T13" fmla="*/ 3016 h 15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4" h="159">
                      <a:moveTo>
                        <a:pt x="3" y="159"/>
                      </a:moveTo>
                      <a:cubicBezTo>
                        <a:pt x="0" y="116"/>
                        <a:pt x="26" y="70"/>
                        <a:pt x="64" y="48"/>
                      </a:cubicBezTo>
                      <a:cubicBezTo>
                        <a:pt x="82" y="38"/>
                        <a:pt x="104" y="22"/>
                        <a:pt x="123" y="14"/>
                      </a:cubicBezTo>
                      <a:cubicBezTo>
                        <a:pt x="143" y="6"/>
                        <a:pt x="175" y="0"/>
                        <a:pt x="204" y="0"/>
                      </a:cubicBezTo>
                      <a:cubicBezTo>
                        <a:pt x="158" y="2"/>
                        <a:pt x="106" y="30"/>
                        <a:pt x="68" y="56"/>
                      </a:cubicBezTo>
                      <a:cubicBezTo>
                        <a:pt x="50" y="69"/>
                        <a:pt x="35" y="83"/>
                        <a:pt x="26" y="102"/>
                      </a:cubicBezTo>
                      <a:cubicBezTo>
                        <a:pt x="18" y="120"/>
                        <a:pt x="5" y="134"/>
                        <a:pt x="5" y="159"/>
                      </a:cubicBezTo>
                    </a:path>
                  </a:pathLst>
                </a:custGeom>
                <a:solidFill>
                  <a:srgbClr val="D3EEE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10" name="Freeform 38">
                  <a:extLst>
                    <a:ext uri="{FF2B5EF4-FFF2-40B4-BE49-F238E27FC236}">
                      <a16:creationId xmlns:a16="http://schemas.microsoft.com/office/drawing/2014/main" id="{F8F53F44-5E88-C94B-8E4F-FBBA49FA8222}"/>
                    </a:ext>
                  </a:extLst>
                </p:cNvPr>
                <p:cNvSpPr>
                  <a:spLocks/>
                </p:cNvSpPr>
                <p:nvPr/>
              </p:nvSpPr>
              <p:spPr bwMode="auto">
                <a:xfrm>
                  <a:off x="3839" y="1752"/>
                  <a:ext cx="253" cy="261"/>
                </a:xfrm>
                <a:custGeom>
                  <a:avLst/>
                  <a:gdLst>
                    <a:gd name="T0" fmla="*/ 438 w 101"/>
                    <a:gd name="T1" fmla="*/ 1023 h 98"/>
                    <a:gd name="T2" fmla="*/ 0 w 101"/>
                    <a:gd name="T3" fmla="*/ 1851 h 98"/>
                    <a:gd name="T4" fmla="*/ 363 w 101"/>
                    <a:gd name="T5" fmla="*/ 1001 h 98"/>
                    <a:gd name="T6" fmla="*/ 1588 w 101"/>
                    <a:gd name="T7" fmla="*/ 0 h 98"/>
                    <a:gd name="T8" fmla="*/ 438 w 101"/>
                    <a:gd name="T9" fmla="*/ 1023 h 9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1" h="98">
                      <a:moveTo>
                        <a:pt x="28" y="54"/>
                      </a:moveTo>
                      <a:cubicBezTo>
                        <a:pt x="17" y="67"/>
                        <a:pt x="7" y="81"/>
                        <a:pt x="0" y="98"/>
                      </a:cubicBezTo>
                      <a:cubicBezTo>
                        <a:pt x="5" y="84"/>
                        <a:pt x="11" y="68"/>
                        <a:pt x="23" y="53"/>
                      </a:cubicBezTo>
                      <a:cubicBezTo>
                        <a:pt x="35" y="39"/>
                        <a:pt x="52" y="25"/>
                        <a:pt x="101" y="0"/>
                      </a:cubicBezTo>
                      <a:cubicBezTo>
                        <a:pt x="85" y="8"/>
                        <a:pt x="53" y="26"/>
                        <a:pt x="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11" name="Freeform 39">
                  <a:extLst>
                    <a:ext uri="{FF2B5EF4-FFF2-40B4-BE49-F238E27FC236}">
                      <a16:creationId xmlns:a16="http://schemas.microsoft.com/office/drawing/2014/main" id="{409B7421-039E-F345-8FCD-719F4C4A316B}"/>
                    </a:ext>
                  </a:extLst>
                </p:cNvPr>
                <p:cNvSpPr>
                  <a:spLocks/>
                </p:cNvSpPr>
                <p:nvPr/>
              </p:nvSpPr>
              <p:spPr bwMode="auto">
                <a:xfrm>
                  <a:off x="4139" y="2237"/>
                  <a:ext cx="665" cy="406"/>
                </a:xfrm>
                <a:custGeom>
                  <a:avLst/>
                  <a:gdLst>
                    <a:gd name="T0" fmla="*/ 0 w 266"/>
                    <a:gd name="T1" fmla="*/ 2041 h 152"/>
                    <a:gd name="T2" fmla="*/ 1613 w 266"/>
                    <a:gd name="T3" fmla="*/ 2612 h 152"/>
                    <a:gd name="T4" fmla="*/ 4158 w 266"/>
                    <a:gd name="T5" fmla="*/ 0 h 152"/>
                    <a:gd name="T6" fmla="*/ 2238 w 266"/>
                    <a:gd name="T7" fmla="*/ 2497 h 152"/>
                    <a:gd name="T8" fmla="*/ 1113 w 266"/>
                    <a:gd name="T9" fmla="*/ 2156 h 152"/>
                    <a:gd name="T10" fmla="*/ 0 w 266"/>
                    <a:gd name="T11" fmla="*/ 2041 h 15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6" h="152">
                      <a:moveTo>
                        <a:pt x="0" y="107"/>
                      </a:moveTo>
                      <a:cubicBezTo>
                        <a:pt x="39" y="107"/>
                        <a:pt x="64" y="123"/>
                        <a:pt x="103" y="137"/>
                      </a:cubicBezTo>
                      <a:cubicBezTo>
                        <a:pt x="142" y="152"/>
                        <a:pt x="223" y="139"/>
                        <a:pt x="266" y="0"/>
                      </a:cubicBezTo>
                      <a:cubicBezTo>
                        <a:pt x="255" y="36"/>
                        <a:pt x="183" y="125"/>
                        <a:pt x="143" y="131"/>
                      </a:cubicBezTo>
                      <a:cubicBezTo>
                        <a:pt x="103" y="136"/>
                        <a:pt x="95" y="116"/>
                        <a:pt x="71" y="113"/>
                      </a:cubicBezTo>
                      <a:cubicBezTo>
                        <a:pt x="47" y="111"/>
                        <a:pt x="14" y="105"/>
                        <a:pt x="0" y="107"/>
                      </a:cubicBezTo>
                      <a:close/>
                    </a:path>
                  </a:pathLst>
                </a:custGeom>
                <a:solidFill>
                  <a:srgbClr val="21A6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12" name="Freeform 40">
                  <a:extLst>
                    <a:ext uri="{FF2B5EF4-FFF2-40B4-BE49-F238E27FC236}">
                      <a16:creationId xmlns:a16="http://schemas.microsoft.com/office/drawing/2014/main" id="{3B2FE5D5-A788-CC47-A74E-845AA519F29F}"/>
                    </a:ext>
                  </a:extLst>
                </p:cNvPr>
                <p:cNvSpPr>
                  <a:spLocks/>
                </p:cNvSpPr>
                <p:nvPr/>
              </p:nvSpPr>
              <p:spPr bwMode="auto">
                <a:xfrm>
                  <a:off x="3987" y="1893"/>
                  <a:ext cx="590" cy="576"/>
                </a:xfrm>
                <a:custGeom>
                  <a:avLst/>
                  <a:gdLst>
                    <a:gd name="T0" fmla="*/ 0 w 236"/>
                    <a:gd name="T1" fmla="*/ 2467 h 216"/>
                    <a:gd name="T2" fmla="*/ 770 w 236"/>
                    <a:gd name="T3" fmla="*/ 3584 h 216"/>
                    <a:gd name="T4" fmla="*/ 1675 w 236"/>
                    <a:gd name="T5" fmla="*/ 3811 h 216"/>
                    <a:gd name="T6" fmla="*/ 3063 w 236"/>
                    <a:gd name="T7" fmla="*/ 2957 h 216"/>
                    <a:gd name="T8" fmla="*/ 3208 w 236"/>
                    <a:gd name="T9" fmla="*/ 0 h 216"/>
                    <a:gd name="T10" fmla="*/ 2645 w 236"/>
                    <a:gd name="T11" fmla="*/ 2504 h 216"/>
                    <a:gd name="T12" fmla="*/ 1500 w 236"/>
                    <a:gd name="T13" fmla="*/ 3264 h 216"/>
                    <a:gd name="T14" fmla="*/ 0 w 236"/>
                    <a:gd name="T15" fmla="*/ 2467 h 2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6" h="216">
                      <a:moveTo>
                        <a:pt x="0" y="130"/>
                      </a:moveTo>
                      <a:cubicBezTo>
                        <a:pt x="4" y="158"/>
                        <a:pt x="17" y="181"/>
                        <a:pt x="49" y="189"/>
                      </a:cubicBezTo>
                      <a:cubicBezTo>
                        <a:pt x="81" y="197"/>
                        <a:pt x="87" y="192"/>
                        <a:pt x="107" y="201"/>
                      </a:cubicBezTo>
                      <a:cubicBezTo>
                        <a:pt x="127" y="210"/>
                        <a:pt x="156" y="216"/>
                        <a:pt x="196" y="156"/>
                      </a:cubicBezTo>
                      <a:cubicBezTo>
                        <a:pt x="236" y="96"/>
                        <a:pt x="231" y="26"/>
                        <a:pt x="205" y="0"/>
                      </a:cubicBezTo>
                      <a:cubicBezTo>
                        <a:pt x="223" y="36"/>
                        <a:pt x="195" y="97"/>
                        <a:pt x="169" y="132"/>
                      </a:cubicBezTo>
                      <a:cubicBezTo>
                        <a:pt x="144" y="166"/>
                        <a:pt x="127" y="178"/>
                        <a:pt x="96" y="172"/>
                      </a:cubicBezTo>
                      <a:cubicBezTo>
                        <a:pt x="65" y="165"/>
                        <a:pt x="0" y="160"/>
                        <a:pt x="0" y="13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13" name="Freeform 41">
                  <a:extLst>
                    <a:ext uri="{FF2B5EF4-FFF2-40B4-BE49-F238E27FC236}">
                      <a16:creationId xmlns:a16="http://schemas.microsoft.com/office/drawing/2014/main" id="{6891B48E-10F5-C44C-95B7-D3EA9285FE3B}"/>
                    </a:ext>
                  </a:extLst>
                </p:cNvPr>
                <p:cNvSpPr>
                  <a:spLocks/>
                </p:cNvSpPr>
                <p:nvPr/>
              </p:nvSpPr>
              <p:spPr bwMode="auto">
                <a:xfrm>
                  <a:off x="3974" y="1840"/>
                  <a:ext cx="448" cy="371"/>
                </a:xfrm>
                <a:custGeom>
                  <a:avLst/>
                  <a:gdLst>
                    <a:gd name="T0" fmla="*/ 33 w 179"/>
                    <a:gd name="T1" fmla="*/ 2642 h 139"/>
                    <a:gd name="T2" fmla="*/ 863 w 179"/>
                    <a:gd name="T3" fmla="*/ 534 h 139"/>
                    <a:gd name="T4" fmla="*/ 2806 w 179"/>
                    <a:gd name="T5" fmla="*/ 136 h 139"/>
                    <a:gd name="T6" fmla="*/ 33 w 179"/>
                    <a:gd name="T7" fmla="*/ 2642 h 1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9" h="139">
                      <a:moveTo>
                        <a:pt x="2" y="139"/>
                      </a:moveTo>
                      <a:cubicBezTo>
                        <a:pt x="0" y="106"/>
                        <a:pt x="14" y="57"/>
                        <a:pt x="55" y="28"/>
                      </a:cubicBezTo>
                      <a:cubicBezTo>
                        <a:pt x="84" y="8"/>
                        <a:pt x="127" y="0"/>
                        <a:pt x="179" y="7"/>
                      </a:cubicBezTo>
                      <a:cubicBezTo>
                        <a:pt x="127" y="14"/>
                        <a:pt x="34" y="32"/>
                        <a:pt x="2" y="139"/>
                      </a:cubicBezTo>
                      <a:close/>
                    </a:path>
                  </a:pathLst>
                </a:custGeom>
                <a:solidFill>
                  <a:srgbClr val="DFAD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14" name="Freeform 42">
                  <a:extLst>
                    <a:ext uri="{FF2B5EF4-FFF2-40B4-BE49-F238E27FC236}">
                      <a16:creationId xmlns:a16="http://schemas.microsoft.com/office/drawing/2014/main" id="{9793F877-F9E5-CC45-84AD-083B486870E2}"/>
                    </a:ext>
                  </a:extLst>
                </p:cNvPr>
                <p:cNvSpPr>
                  <a:spLocks/>
                </p:cNvSpPr>
                <p:nvPr/>
              </p:nvSpPr>
              <p:spPr bwMode="auto">
                <a:xfrm>
                  <a:off x="3767" y="1624"/>
                  <a:ext cx="1132" cy="1040"/>
                </a:xfrm>
                <a:custGeom>
                  <a:avLst/>
                  <a:gdLst>
                    <a:gd name="T0" fmla="*/ 1999 w 453"/>
                    <a:gd name="T1" fmla="*/ 797 h 390"/>
                    <a:gd name="T2" fmla="*/ 375 w 453"/>
                    <a:gd name="T3" fmla="*/ 2539 h 390"/>
                    <a:gd name="T4" fmla="*/ 762 w 453"/>
                    <a:gd name="T5" fmla="*/ 5781 h 390"/>
                    <a:gd name="T6" fmla="*/ 3059 w 453"/>
                    <a:gd name="T7" fmla="*/ 6827 h 390"/>
                    <a:gd name="T8" fmla="*/ 4121 w 453"/>
                    <a:gd name="T9" fmla="*/ 7304 h 390"/>
                    <a:gd name="T10" fmla="*/ 5757 w 453"/>
                    <a:gd name="T11" fmla="*/ 6621 h 390"/>
                    <a:gd name="T12" fmla="*/ 6382 w 453"/>
                    <a:gd name="T13" fmla="*/ 2731 h 390"/>
                    <a:gd name="T14" fmla="*/ 4853 w 453"/>
                    <a:gd name="T15" fmla="*/ 888 h 390"/>
                    <a:gd name="T16" fmla="*/ 1999 w 453"/>
                    <a:gd name="T17" fmla="*/ 797 h 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3" h="390">
                      <a:moveTo>
                        <a:pt x="128" y="42"/>
                      </a:moveTo>
                      <a:cubicBezTo>
                        <a:pt x="83" y="62"/>
                        <a:pt x="39" y="94"/>
                        <a:pt x="24" y="134"/>
                      </a:cubicBezTo>
                      <a:cubicBezTo>
                        <a:pt x="0" y="198"/>
                        <a:pt x="5" y="254"/>
                        <a:pt x="49" y="305"/>
                      </a:cubicBezTo>
                      <a:cubicBezTo>
                        <a:pt x="89" y="350"/>
                        <a:pt x="144" y="341"/>
                        <a:pt x="196" y="360"/>
                      </a:cubicBezTo>
                      <a:cubicBezTo>
                        <a:pt x="220" y="368"/>
                        <a:pt x="239" y="382"/>
                        <a:pt x="264" y="385"/>
                      </a:cubicBezTo>
                      <a:cubicBezTo>
                        <a:pt x="302" y="390"/>
                        <a:pt x="342" y="375"/>
                        <a:pt x="369" y="349"/>
                      </a:cubicBezTo>
                      <a:cubicBezTo>
                        <a:pt x="423" y="297"/>
                        <a:pt x="453" y="212"/>
                        <a:pt x="409" y="144"/>
                      </a:cubicBezTo>
                      <a:cubicBezTo>
                        <a:pt x="383" y="104"/>
                        <a:pt x="348" y="77"/>
                        <a:pt x="311" y="47"/>
                      </a:cubicBezTo>
                      <a:cubicBezTo>
                        <a:pt x="254" y="0"/>
                        <a:pt x="189" y="15"/>
                        <a:pt x="128" y="42"/>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15" name="Freeform 43">
                  <a:extLst>
                    <a:ext uri="{FF2B5EF4-FFF2-40B4-BE49-F238E27FC236}">
                      <a16:creationId xmlns:a16="http://schemas.microsoft.com/office/drawing/2014/main" id="{CAC85965-C3A4-3B49-86C6-B558E7C10331}"/>
                    </a:ext>
                  </a:extLst>
                </p:cNvPr>
                <p:cNvSpPr>
                  <a:spLocks/>
                </p:cNvSpPr>
                <p:nvPr/>
              </p:nvSpPr>
              <p:spPr bwMode="auto">
                <a:xfrm>
                  <a:off x="3914" y="1789"/>
                  <a:ext cx="683" cy="694"/>
                </a:xfrm>
                <a:custGeom>
                  <a:avLst/>
                  <a:gdLst>
                    <a:gd name="T0" fmla="*/ 1271 w 273"/>
                    <a:gd name="T1" fmla="*/ 419 h 260"/>
                    <a:gd name="T2" fmla="*/ 125 w 273"/>
                    <a:gd name="T3" fmla="*/ 2851 h 260"/>
                    <a:gd name="T4" fmla="*/ 1033 w 273"/>
                    <a:gd name="T5" fmla="*/ 4468 h 260"/>
                    <a:gd name="T6" fmla="*/ 1771 w 273"/>
                    <a:gd name="T7" fmla="*/ 4639 h 260"/>
                    <a:gd name="T8" fmla="*/ 2504 w 273"/>
                    <a:gd name="T9" fmla="*/ 4909 h 260"/>
                    <a:gd name="T10" fmla="*/ 3805 w 273"/>
                    <a:gd name="T11" fmla="*/ 3363 h 260"/>
                    <a:gd name="T12" fmla="*/ 4025 w 273"/>
                    <a:gd name="T13" fmla="*/ 1105 h 260"/>
                    <a:gd name="T14" fmla="*/ 2930 w 273"/>
                    <a:gd name="T15" fmla="*/ 93 h 260"/>
                    <a:gd name="T16" fmla="*/ 1271 w 273"/>
                    <a:gd name="T17" fmla="*/ 419 h 2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73" h="260">
                      <a:moveTo>
                        <a:pt x="81" y="22"/>
                      </a:moveTo>
                      <a:cubicBezTo>
                        <a:pt x="32" y="42"/>
                        <a:pt x="0" y="96"/>
                        <a:pt x="8" y="150"/>
                      </a:cubicBezTo>
                      <a:cubicBezTo>
                        <a:pt x="13" y="184"/>
                        <a:pt x="34" y="222"/>
                        <a:pt x="66" y="235"/>
                      </a:cubicBezTo>
                      <a:cubicBezTo>
                        <a:pt x="81" y="241"/>
                        <a:pt x="96" y="242"/>
                        <a:pt x="113" y="244"/>
                      </a:cubicBezTo>
                      <a:cubicBezTo>
                        <a:pt x="129" y="247"/>
                        <a:pt x="143" y="257"/>
                        <a:pt x="160" y="258"/>
                      </a:cubicBezTo>
                      <a:cubicBezTo>
                        <a:pt x="201" y="260"/>
                        <a:pt x="229" y="209"/>
                        <a:pt x="243" y="177"/>
                      </a:cubicBezTo>
                      <a:cubicBezTo>
                        <a:pt x="261" y="139"/>
                        <a:pt x="273" y="98"/>
                        <a:pt x="257" y="58"/>
                      </a:cubicBezTo>
                      <a:cubicBezTo>
                        <a:pt x="243" y="23"/>
                        <a:pt x="222" y="12"/>
                        <a:pt x="187" y="5"/>
                      </a:cubicBezTo>
                      <a:cubicBezTo>
                        <a:pt x="145" y="0"/>
                        <a:pt x="95" y="16"/>
                        <a:pt x="81" y="22"/>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16" name="Freeform 44">
                  <a:extLst>
                    <a:ext uri="{FF2B5EF4-FFF2-40B4-BE49-F238E27FC236}">
                      <a16:creationId xmlns:a16="http://schemas.microsoft.com/office/drawing/2014/main" id="{747BBAC8-55BF-D340-9C11-EE64B525CEF4}"/>
                    </a:ext>
                  </a:extLst>
                </p:cNvPr>
                <p:cNvSpPr>
                  <a:spLocks/>
                </p:cNvSpPr>
                <p:nvPr/>
              </p:nvSpPr>
              <p:spPr bwMode="auto">
                <a:xfrm>
                  <a:off x="3984" y="1891"/>
                  <a:ext cx="73" cy="77"/>
                </a:xfrm>
                <a:custGeom>
                  <a:avLst/>
                  <a:gdLst>
                    <a:gd name="T0" fmla="*/ 0 w 29"/>
                    <a:gd name="T1" fmla="*/ 281 h 29"/>
                    <a:gd name="T2" fmla="*/ 209 w 29"/>
                    <a:gd name="T3" fmla="*/ 0 h 29"/>
                    <a:gd name="T4" fmla="*/ 443 w 29"/>
                    <a:gd name="T5" fmla="*/ 260 h 29"/>
                    <a:gd name="T6" fmla="*/ 242 w 29"/>
                    <a:gd name="T7" fmla="*/ 542 h 29"/>
                    <a:gd name="T8" fmla="*/ 0 w 29"/>
                    <a:gd name="T9" fmla="*/ 281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 h="29">
                      <a:moveTo>
                        <a:pt x="0" y="15"/>
                      </a:moveTo>
                      <a:cubicBezTo>
                        <a:pt x="0" y="7"/>
                        <a:pt x="6" y="1"/>
                        <a:pt x="13" y="0"/>
                      </a:cubicBezTo>
                      <a:cubicBezTo>
                        <a:pt x="21" y="0"/>
                        <a:pt x="28" y="6"/>
                        <a:pt x="28" y="14"/>
                      </a:cubicBezTo>
                      <a:cubicBezTo>
                        <a:pt x="29" y="21"/>
                        <a:pt x="23" y="28"/>
                        <a:pt x="15" y="29"/>
                      </a:cubicBezTo>
                      <a:cubicBezTo>
                        <a:pt x="7" y="29"/>
                        <a:pt x="0" y="23"/>
                        <a:pt x="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17" name="Freeform 45">
                  <a:extLst>
                    <a:ext uri="{FF2B5EF4-FFF2-40B4-BE49-F238E27FC236}">
                      <a16:creationId xmlns:a16="http://schemas.microsoft.com/office/drawing/2014/main" id="{B81AF405-CB69-AA46-87B7-957F6A7C9B10}"/>
                    </a:ext>
                  </a:extLst>
                </p:cNvPr>
                <p:cNvSpPr>
                  <a:spLocks/>
                </p:cNvSpPr>
                <p:nvPr/>
              </p:nvSpPr>
              <p:spPr bwMode="auto">
                <a:xfrm>
                  <a:off x="4052" y="1861"/>
                  <a:ext cx="32" cy="35"/>
                </a:xfrm>
                <a:custGeom>
                  <a:avLst/>
                  <a:gdLst>
                    <a:gd name="T0" fmla="*/ 0 w 13"/>
                    <a:gd name="T1" fmla="*/ 137 h 13"/>
                    <a:gd name="T2" fmla="*/ 91 w 13"/>
                    <a:gd name="T3" fmla="*/ 22 h 13"/>
                    <a:gd name="T4" fmla="*/ 194 w 13"/>
                    <a:gd name="T5" fmla="*/ 116 h 13"/>
                    <a:gd name="T6" fmla="*/ 103 w 13"/>
                    <a:gd name="T7" fmla="*/ 253 h 13"/>
                    <a:gd name="T8" fmla="*/ 0 w 13"/>
                    <a:gd name="T9" fmla="*/ 137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3">
                      <a:moveTo>
                        <a:pt x="0" y="7"/>
                      </a:moveTo>
                      <a:cubicBezTo>
                        <a:pt x="0" y="4"/>
                        <a:pt x="3" y="1"/>
                        <a:pt x="6" y="1"/>
                      </a:cubicBezTo>
                      <a:cubicBezTo>
                        <a:pt x="9" y="0"/>
                        <a:pt x="12" y="3"/>
                        <a:pt x="13" y="6"/>
                      </a:cubicBezTo>
                      <a:cubicBezTo>
                        <a:pt x="13" y="10"/>
                        <a:pt x="10" y="13"/>
                        <a:pt x="7" y="13"/>
                      </a:cubicBezTo>
                      <a:cubicBezTo>
                        <a:pt x="3" y="13"/>
                        <a:pt x="0" y="11"/>
                        <a:pt x="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sp>
              <p:nvSpPr>
                <p:cNvPr id="218" name="Freeform 46">
                  <a:extLst>
                    <a:ext uri="{FF2B5EF4-FFF2-40B4-BE49-F238E27FC236}">
                      <a16:creationId xmlns:a16="http://schemas.microsoft.com/office/drawing/2014/main" id="{78EF2A61-94B8-734C-9E4D-8DD2B114790D}"/>
                    </a:ext>
                  </a:extLst>
                </p:cNvPr>
                <p:cNvSpPr>
                  <a:spLocks/>
                </p:cNvSpPr>
                <p:nvPr/>
              </p:nvSpPr>
              <p:spPr bwMode="auto">
                <a:xfrm>
                  <a:off x="3959" y="1965"/>
                  <a:ext cx="45" cy="48"/>
                </a:xfrm>
                <a:custGeom>
                  <a:avLst/>
                  <a:gdLst>
                    <a:gd name="T0" fmla="*/ 20 w 18"/>
                    <a:gd name="T1" fmla="*/ 171 h 18"/>
                    <a:gd name="T2" fmla="*/ 145 w 18"/>
                    <a:gd name="T3" fmla="*/ 0 h 18"/>
                    <a:gd name="T4" fmla="*/ 283 w 18"/>
                    <a:gd name="T5" fmla="*/ 149 h 18"/>
                    <a:gd name="T6" fmla="*/ 158 w 18"/>
                    <a:gd name="T7" fmla="*/ 320 h 18"/>
                    <a:gd name="T8" fmla="*/ 20 w 18"/>
                    <a:gd name="T9" fmla="*/ 171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8">
                      <a:moveTo>
                        <a:pt x="1" y="9"/>
                      </a:moveTo>
                      <a:cubicBezTo>
                        <a:pt x="0" y="4"/>
                        <a:pt x="4" y="0"/>
                        <a:pt x="9" y="0"/>
                      </a:cubicBezTo>
                      <a:cubicBezTo>
                        <a:pt x="14" y="0"/>
                        <a:pt x="18" y="3"/>
                        <a:pt x="18" y="8"/>
                      </a:cubicBezTo>
                      <a:cubicBezTo>
                        <a:pt x="18" y="13"/>
                        <a:pt x="15" y="17"/>
                        <a:pt x="10" y="17"/>
                      </a:cubicBezTo>
                      <a:cubicBezTo>
                        <a:pt x="5" y="18"/>
                        <a:pt x="1" y="14"/>
                        <a:pt x="1"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277" fontAlgn="base">
                    <a:spcBef>
                      <a:spcPct val="0"/>
                    </a:spcBef>
                    <a:spcAft>
                      <a:spcPct val="0"/>
                    </a:spcAft>
                    <a:defRPr/>
                  </a:pPr>
                  <a:endParaRPr lang="en-US" sz="900">
                    <a:solidFill>
                      <a:srgbClr val="000000"/>
                    </a:solidFill>
                    <a:latin typeface="Arial" panose="020B0604020202020204" pitchFamily="34" charset="0"/>
                    <a:cs typeface="Arial" panose="020B0604020202020204" pitchFamily="34" charset="0"/>
                  </a:endParaRPr>
                </a:p>
              </p:txBody>
            </p:sp>
          </p:grpSp>
          <p:sp>
            <p:nvSpPr>
              <p:cNvPr id="203" name="Content Placeholder 2">
                <a:extLst>
                  <a:ext uri="{FF2B5EF4-FFF2-40B4-BE49-F238E27FC236}">
                    <a16:creationId xmlns:a16="http://schemas.microsoft.com/office/drawing/2014/main" id="{1F0F5DC2-EBF5-2347-B71A-82C667253D4D}"/>
                  </a:ext>
                </a:extLst>
              </p:cNvPr>
              <p:cNvSpPr txBox="1">
                <a:spLocks/>
              </p:cNvSpPr>
              <p:nvPr/>
            </p:nvSpPr>
            <p:spPr bwMode="auto">
              <a:xfrm>
                <a:off x="9052600" y="1909756"/>
                <a:ext cx="585412" cy="380045"/>
              </a:xfrm>
              <a:prstGeom prst="rect">
                <a:avLst/>
              </a:prstGeom>
              <a:noFill/>
              <a:ln w="9525">
                <a:noFill/>
                <a:miter lim="800000"/>
                <a:headEnd/>
                <a:tailEnd/>
              </a:ln>
            </p:spPr>
            <p:txBody>
              <a:bodyPr vert="horz" wrap="square" lIns="51435" tIns="25718" rIns="51435" bIns="25718" numCol="1" anchor="t" anchorCtr="0" compatLnSpc="1">
                <a:prstTxWarp prst="textNoShape">
                  <a:avLst/>
                </a:prstTxWarp>
                <a:normAutofit/>
              </a:bodyPr>
              <a:lstStyle>
                <a:lvl1pPr marL="230188" indent="-230188" algn="l" rtl="0" eaLnBrk="1" fontAlgn="base" hangingPunct="1">
                  <a:spcBef>
                    <a:spcPts val="1200"/>
                  </a:spcBef>
                  <a:spcAft>
                    <a:spcPct val="0"/>
                  </a:spcAft>
                  <a:buClr>
                    <a:schemeClr val="tx2"/>
                  </a:buClr>
                  <a:buChar char="•"/>
                  <a:defRPr sz="2000">
                    <a:solidFill>
                      <a:schemeClr val="tx1"/>
                    </a:solidFill>
                    <a:latin typeface="+mn-lt"/>
                    <a:ea typeface="+mn-ea"/>
                    <a:cs typeface="+mn-cs"/>
                  </a:defRPr>
                </a:lvl1pPr>
                <a:lvl2pPr marL="569913" indent="-227013" algn="l" rtl="0" eaLnBrk="1" fontAlgn="base" hangingPunct="1">
                  <a:spcBef>
                    <a:spcPts val="600"/>
                  </a:spcBef>
                  <a:spcAft>
                    <a:spcPct val="0"/>
                  </a:spcAft>
                  <a:buClr>
                    <a:schemeClr val="tx2"/>
                  </a:buClr>
                  <a:buChar char="–"/>
                  <a:defRPr>
                    <a:solidFill>
                      <a:schemeClr val="tx1"/>
                    </a:solidFill>
                    <a:latin typeface="+mn-lt"/>
                    <a:ea typeface="ＭＳ Ｐゴシック" pitchFamily="-105" charset="-128"/>
                  </a:defRPr>
                </a:lvl2pPr>
                <a:lvl3pPr marL="912813" indent="-227013" algn="l" rtl="0" eaLnBrk="1" fontAlgn="base" hangingPunct="1">
                  <a:spcBef>
                    <a:spcPts val="300"/>
                  </a:spcBef>
                  <a:spcAft>
                    <a:spcPct val="0"/>
                  </a:spcAft>
                  <a:buClr>
                    <a:schemeClr val="tx2"/>
                  </a:buClr>
                  <a:buChar char="•"/>
                  <a:defRPr sz="1600">
                    <a:solidFill>
                      <a:schemeClr val="tx1"/>
                    </a:solidFill>
                    <a:latin typeface="+mn-lt"/>
                    <a:ea typeface="ＭＳ Ｐゴシック" pitchFamily="-105" charset="-128"/>
                  </a:defRPr>
                </a:lvl3pPr>
                <a:lvl4pPr marL="1252538" indent="-220663" algn="l" rtl="0" eaLnBrk="1" fontAlgn="base" hangingPunct="1">
                  <a:spcBef>
                    <a:spcPts val="200"/>
                  </a:spcBef>
                  <a:spcAft>
                    <a:spcPct val="0"/>
                  </a:spcAft>
                  <a:buClr>
                    <a:schemeClr val="tx2"/>
                  </a:buClr>
                  <a:buChar char="–"/>
                  <a:defRPr sz="1400">
                    <a:solidFill>
                      <a:schemeClr val="tx1"/>
                    </a:solidFill>
                    <a:latin typeface="+mn-lt"/>
                    <a:ea typeface="ＭＳ Ｐゴシック" pitchFamily="-105" charset="-128"/>
                  </a:defRPr>
                </a:lvl4pPr>
                <a:lvl5pPr marL="1601788" indent="-230188" algn="l" rtl="0" eaLnBrk="1" fontAlgn="base" hangingPunct="1">
                  <a:spcBef>
                    <a:spcPts val="100"/>
                  </a:spcBef>
                  <a:spcAft>
                    <a:spcPct val="0"/>
                  </a:spcAft>
                  <a:buClr>
                    <a:schemeClr val="tx2"/>
                  </a:buClr>
                  <a:buFont typeface="Arial" pitchFamily="-105" charset="0"/>
                  <a:buChar char="•"/>
                  <a:defRPr sz="1200">
                    <a:solidFill>
                      <a:schemeClr val="tx1"/>
                    </a:solidFill>
                    <a:latin typeface="+mn-lt"/>
                    <a:ea typeface="ＭＳ Ｐゴシック" pitchFamily="-105" charset="-128"/>
                  </a:defRPr>
                </a:lvl5pPr>
                <a:lvl6pPr marL="2060575" indent="-230188" algn="l" rtl="0" eaLnBrk="1" fontAlgn="base" hangingPunct="1">
                  <a:spcBef>
                    <a:spcPct val="25000"/>
                  </a:spcBef>
                  <a:spcAft>
                    <a:spcPct val="0"/>
                  </a:spcAft>
                  <a:buClr>
                    <a:schemeClr val="folHlink"/>
                  </a:buClr>
                  <a:buChar char="»"/>
                  <a:defRPr sz="1200">
                    <a:solidFill>
                      <a:schemeClr val="tx1"/>
                    </a:solidFill>
                    <a:latin typeface="+mn-lt"/>
                  </a:defRPr>
                </a:lvl6pPr>
                <a:lvl7pPr marL="2517775" indent="-230188" algn="l" rtl="0" eaLnBrk="1" fontAlgn="base" hangingPunct="1">
                  <a:spcBef>
                    <a:spcPct val="25000"/>
                  </a:spcBef>
                  <a:spcAft>
                    <a:spcPct val="0"/>
                  </a:spcAft>
                  <a:buClr>
                    <a:schemeClr val="folHlink"/>
                  </a:buClr>
                  <a:buChar char="»"/>
                  <a:defRPr sz="1200">
                    <a:solidFill>
                      <a:schemeClr val="tx1"/>
                    </a:solidFill>
                    <a:latin typeface="+mn-lt"/>
                  </a:defRPr>
                </a:lvl7pPr>
                <a:lvl8pPr marL="2974975" indent="-230188" algn="l" rtl="0" eaLnBrk="1" fontAlgn="base" hangingPunct="1">
                  <a:spcBef>
                    <a:spcPct val="25000"/>
                  </a:spcBef>
                  <a:spcAft>
                    <a:spcPct val="0"/>
                  </a:spcAft>
                  <a:buClr>
                    <a:schemeClr val="folHlink"/>
                  </a:buClr>
                  <a:buChar char="»"/>
                  <a:defRPr sz="1200">
                    <a:solidFill>
                      <a:schemeClr val="tx1"/>
                    </a:solidFill>
                    <a:latin typeface="+mn-lt"/>
                  </a:defRPr>
                </a:lvl8pPr>
                <a:lvl9pPr marL="3432175" indent="-230188" algn="l" rtl="0" eaLnBrk="1" fontAlgn="base" hangingPunct="1">
                  <a:spcBef>
                    <a:spcPct val="25000"/>
                  </a:spcBef>
                  <a:spcAft>
                    <a:spcPct val="0"/>
                  </a:spcAft>
                  <a:buClr>
                    <a:schemeClr val="folHlink"/>
                  </a:buClr>
                  <a:buChar char="»"/>
                  <a:defRPr sz="1200">
                    <a:solidFill>
                      <a:schemeClr val="tx1"/>
                    </a:solidFill>
                    <a:latin typeface="+mn-lt"/>
                  </a:defRPr>
                </a:lvl9pPr>
              </a:lstStyle>
              <a:p>
                <a:pPr marL="0" indent="0" defTabSz="514277">
                  <a:spcBef>
                    <a:spcPts val="675"/>
                  </a:spcBef>
                  <a:buClr>
                    <a:srgbClr val="505050"/>
                  </a:buClr>
                  <a:buNone/>
                  <a:defRPr/>
                </a:pPr>
                <a:r>
                  <a:rPr lang="en-US" sz="150" b="1" kern="0">
                    <a:solidFill>
                      <a:srgbClr val="FFFFFF"/>
                    </a:solidFill>
                    <a:latin typeface="Arial" panose="020B0604020202020204" pitchFamily="34" charset="0"/>
                    <a:cs typeface="Arial" panose="020B0604020202020204" pitchFamily="34" charset="0"/>
                  </a:rPr>
                  <a:t>T cell</a:t>
                </a:r>
              </a:p>
            </p:txBody>
          </p:sp>
        </p:grpSp>
        <p:sp>
          <p:nvSpPr>
            <p:cNvPr id="34" name="Plus Sign 198">
              <a:extLst>
                <a:ext uri="{FF2B5EF4-FFF2-40B4-BE49-F238E27FC236}">
                  <a16:creationId xmlns:a16="http://schemas.microsoft.com/office/drawing/2014/main" id="{482C20CF-07F7-F64C-9D77-5CE329CE9016}"/>
                </a:ext>
              </a:extLst>
            </p:cNvPr>
            <p:cNvSpPr/>
            <p:nvPr/>
          </p:nvSpPr>
          <p:spPr>
            <a:xfrm>
              <a:off x="7992691" y="1750337"/>
              <a:ext cx="305581" cy="311853"/>
            </a:xfrm>
            <a:prstGeom prst="mathPlus">
              <a:avLst/>
            </a:prstGeom>
            <a:solidFill>
              <a:srgbClr val="3333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333333"/>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1BE18B48-9AFA-0A43-A29B-DCD8DEB6BF54}"/>
                </a:ext>
              </a:extLst>
            </p:cNvPr>
            <p:cNvGrpSpPr/>
            <p:nvPr/>
          </p:nvGrpSpPr>
          <p:grpSpPr>
            <a:xfrm>
              <a:off x="9176596" y="4152024"/>
              <a:ext cx="765117" cy="606841"/>
              <a:chOff x="9150958" y="4042877"/>
              <a:chExt cx="765117" cy="606841"/>
            </a:xfrm>
          </p:grpSpPr>
          <p:grpSp>
            <p:nvGrpSpPr>
              <p:cNvPr id="116" name="Group 115">
                <a:extLst>
                  <a:ext uri="{FF2B5EF4-FFF2-40B4-BE49-F238E27FC236}">
                    <a16:creationId xmlns:a16="http://schemas.microsoft.com/office/drawing/2014/main" id="{74376A95-8444-C74F-94DB-0DAB63F59D4C}"/>
                  </a:ext>
                </a:extLst>
              </p:cNvPr>
              <p:cNvGrpSpPr/>
              <p:nvPr/>
            </p:nvGrpSpPr>
            <p:grpSpPr>
              <a:xfrm>
                <a:off x="9150958" y="4042877"/>
                <a:ext cx="765117" cy="606841"/>
                <a:chOff x="8741939" y="3988801"/>
                <a:chExt cx="765117" cy="606841"/>
              </a:xfrm>
            </p:grpSpPr>
            <p:grpSp>
              <p:nvGrpSpPr>
                <p:cNvPr id="124" name="Group 123">
                  <a:extLst>
                    <a:ext uri="{FF2B5EF4-FFF2-40B4-BE49-F238E27FC236}">
                      <a16:creationId xmlns:a16="http://schemas.microsoft.com/office/drawing/2014/main" id="{DB8EDDF9-8505-AF44-BBD6-B8BE815DF911}"/>
                    </a:ext>
                  </a:extLst>
                </p:cNvPr>
                <p:cNvGrpSpPr/>
                <p:nvPr/>
              </p:nvGrpSpPr>
              <p:grpSpPr>
                <a:xfrm rot="9796794">
                  <a:off x="8741939" y="3988801"/>
                  <a:ext cx="765117" cy="563955"/>
                  <a:chOff x="8804462" y="4143497"/>
                  <a:chExt cx="765117" cy="563955"/>
                </a:xfrm>
              </p:grpSpPr>
              <p:grpSp>
                <p:nvGrpSpPr>
                  <p:cNvPr id="151" name="Group 150">
                    <a:extLst>
                      <a:ext uri="{FF2B5EF4-FFF2-40B4-BE49-F238E27FC236}">
                        <a16:creationId xmlns:a16="http://schemas.microsoft.com/office/drawing/2014/main" id="{63FE5D72-BBE1-D64A-A39D-9446D20D8301}"/>
                      </a:ext>
                    </a:extLst>
                  </p:cNvPr>
                  <p:cNvGrpSpPr/>
                  <p:nvPr/>
                </p:nvGrpSpPr>
                <p:grpSpPr>
                  <a:xfrm rot="10453029">
                    <a:off x="8804462" y="4303171"/>
                    <a:ext cx="729707" cy="402752"/>
                    <a:chOff x="8851899" y="4612547"/>
                    <a:chExt cx="928641" cy="499829"/>
                  </a:xfrm>
                </p:grpSpPr>
                <p:sp>
                  <p:nvSpPr>
                    <p:cNvPr id="178" name="Oval 177">
                      <a:extLst>
                        <a:ext uri="{FF2B5EF4-FFF2-40B4-BE49-F238E27FC236}">
                          <a16:creationId xmlns:a16="http://schemas.microsoft.com/office/drawing/2014/main" id="{0502EFCE-59A3-404A-8313-0A5E6C995C63}"/>
                        </a:ext>
                      </a:extLst>
                    </p:cNvPr>
                    <p:cNvSpPr/>
                    <p:nvPr/>
                  </p:nvSpPr>
                  <p:spPr>
                    <a:xfrm>
                      <a:off x="9403897" y="4625612"/>
                      <a:ext cx="45719" cy="457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79" name="Oval 178">
                      <a:extLst>
                        <a:ext uri="{FF2B5EF4-FFF2-40B4-BE49-F238E27FC236}">
                          <a16:creationId xmlns:a16="http://schemas.microsoft.com/office/drawing/2014/main" id="{8CF3F14E-469F-9B42-8451-B565D2EBDCFD}"/>
                        </a:ext>
                      </a:extLst>
                    </p:cNvPr>
                    <p:cNvSpPr>
                      <a:spLocks noChangeAspect="1"/>
                    </p:cNvSpPr>
                    <p:nvPr/>
                  </p:nvSpPr>
                  <p:spPr>
                    <a:xfrm>
                      <a:off x="9111130" y="4908638"/>
                      <a:ext cx="62686" cy="6268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0" name="Oval 179">
                      <a:extLst>
                        <a:ext uri="{FF2B5EF4-FFF2-40B4-BE49-F238E27FC236}">
                          <a16:creationId xmlns:a16="http://schemas.microsoft.com/office/drawing/2014/main" id="{C1876560-7CC2-5342-B6DA-60E41B700330}"/>
                        </a:ext>
                      </a:extLst>
                    </p:cNvPr>
                    <p:cNvSpPr>
                      <a:spLocks noChangeAspect="1"/>
                    </p:cNvSpPr>
                    <p:nvPr/>
                  </p:nvSpPr>
                  <p:spPr>
                    <a:xfrm>
                      <a:off x="9029428" y="4852034"/>
                      <a:ext cx="68579" cy="6857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1" name="Oval 180">
                      <a:extLst>
                        <a:ext uri="{FF2B5EF4-FFF2-40B4-BE49-F238E27FC236}">
                          <a16:creationId xmlns:a16="http://schemas.microsoft.com/office/drawing/2014/main" id="{CC86BD76-6E5F-1540-ABAB-D7EB5662D490}"/>
                        </a:ext>
                      </a:extLst>
                    </p:cNvPr>
                    <p:cNvSpPr/>
                    <p:nvPr/>
                  </p:nvSpPr>
                  <p:spPr>
                    <a:xfrm>
                      <a:off x="9565006" y="4612547"/>
                      <a:ext cx="45719" cy="457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2" name="Oval 181">
                      <a:extLst>
                        <a:ext uri="{FF2B5EF4-FFF2-40B4-BE49-F238E27FC236}">
                          <a16:creationId xmlns:a16="http://schemas.microsoft.com/office/drawing/2014/main" id="{C83B88AB-D8CC-7F47-AB39-E26B85D95F17}"/>
                        </a:ext>
                      </a:extLst>
                    </p:cNvPr>
                    <p:cNvSpPr>
                      <a:spLocks noChangeAspect="1"/>
                    </p:cNvSpPr>
                    <p:nvPr/>
                  </p:nvSpPr>
                  <p:spPr>
                    <a:xfrm>
                      <a:off x="9708695" y="4773655"/>
                      <a:ext cx="59080" cy="590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3" name="Oval 182">
                      <a:extLst>
                        <a:ext uri="{FF2B5EF4-FFF2-40B4-BE49-F238E27FC236}">
                          <a16:creationId xmlns:a16="http://schemas.microsoft.com/office/drawing/2014/main" id="{97AA19B4-638E-5547-80AF-5993193884A5}"/>
                        </a:ext>
                      </a:extLst>
                    </p:cNvPr>
                    <p:cNvSpPr>
                      <a:spLocks noChangeAspect="1"/>
                    </p:cNvSpPr>
                    <p:nvPr/>
                  </p:nvSpPr>
                  <p:spPr>
                    <a:xfrm>
                      <a:off x="9547587" y="4734468"/>
                      <a:ext cx="68579" cy="6857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4" name="Oval 183">
                      <a:extLst>
                        <a:ext uri="{FF2B5EF4-FFF2-40B4-BE49-F238E27FC236}">
                          <a16:creationId xmlns:a16="http://schemas.microsoft.com/office/drawing/2014/main" id="{C84F1BBB-F223-2C45-B993-2A7981F5CF17}"/>
                        </a:ext>
                      </a:extLst>
                    </p:cNvPr>
                    <p:cNvSpPr/>
                    <p:nvPr/>
                  </p:nvSpPr>
                  <p:spPr>
                    <a:xfrm>
                      <a:off x="9438730" y="4738822"/>
                      <a:ext cx="45719" cy="45719"/>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5" name="Oval 184">
                      <a:extLst>
                        <a:ext uri="{FF2B5EF4-FFF2-40B4-BE49-F238E27FC236}">
                          <a16:creationId xmlns:a16="http://schemas.microsoft.com/office/drawing/2014/main" id="{1900AC81-D33B-744C-AD1E-87EA571DB3B1}"/>
                        </a:ext>
                      </a:extLst>
                    </p:cNvPr>
                    <p:cNvSpPr>
                      <a:spLocks noChangeAspect="1"/>
                    </p:cNvSpPr>
                    <p:nvPr/>
                  </p:nvSpPr>
                  <p:spPr>
                    <a:xfrm>
                      <a:off x="9251493" y="4687399"/>
                      <a:ext cx="68837" cy="68836"/>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6" name="Oval 185">
                      <a:extLst>
                        <a:ext uri="{FF2B5EF4-FFF2-40B4-BE49-F238E27FC236}">
                          <a16:creationId xmlns:a16="http://schemas.microsoft.com/office/drawing/2014/main" id="{4F21CE51-7979-914D-9653-2039105B2DAB}"/>
                        </a:ext>
                      </a:extLst>
                    </p:cNvPr>
                    <p:cNvSpPr>
                      <a:spLocks noChangeAspect="1"/>
                    </p:cNvSpPr>
                    <p:nvPr/>
                  </p:nvSpPr>
                  <p:spPr>
                    <a:xfrm>
                      <a:off x="9630319" y="4660442"/>
                      <a:ext cx="68579" cy="68579"/>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7" name="Oval 186">
                      <a:extLst>
                        <a:ext uri="{FF2B5EF4-FFF2-40B4-BE49-F238E27FC236}">
                          <a16:creationId xmlns:a16="http://schemas.microsoft.com/office/drawing/2014/main" id="{85F63654-4A76-E347-A8AB-2D0279DBDB35}"/>
                        </a:ext>
                      </a:extLst>
                    </p:cNvPr>
                    <p:cNvSpPr/>
                    <p:nvPr/>
                  </p:nvSpPr>
                  <p:spPr>
                    <a:xfrm>
                      <a:off x="9373413" y="4725757"/>
                      <a:ext cx="45719" cy="45719"/>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8" name="Oval 187">
                      <a:extLst>
                        <a:ext uri="{FF2B5EF4-FFF2-40B4-BE49-F238E27FC236}">
                          <a16:creationId xmlns:a16="http://schemas.microsoft.com/office/drawing/2014/main" id="{09EC046A-5455-5641-8CD3-12D615ADC5F7}"/>
                        </a:ext>
                      </a:extLst>
                    </p:cNvPr>
                    <p:cNvSpPr>
                      <a:spLocks noChangeAspect="1"/>
                    </p:cNvSpPr>
                    <p:nvPr/>
                  </p:nvSpPr>
                  <p:spPr>
                    <a:xfrm>
                      <a:off x="9435684" y="5054194"/>
                      <a:ext cx="58183" cy="58182"/>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89" name="Oval 188">
                      <a:extLst>
                        <a:ext uri="{FF2B5EF4-FFF2-40B4-BE49-F238E27FC236}">
                          <a16:creationId xmlns:a16="http://schemas.microsoft.com/office/drawing/2014/main" id="{FC639482-03C7-DE43-AECB-5A2107713A05}"/>
                        </a:ext>
                      </a:extLst>
                    </p:cNvPr>
                    <p:cNvSpPr>
                      <a:spLocks noChangeAspect="1"/>
                    </p:cNvSpPr>
                    <p:nvPr/>
                  </p:nvSpPr>
                  <p:spPr>
                    <a:xfrm>
                      <a:off x="9486628" y="4804136"/>
                      <a:ext cx="68579" cy="68579"/>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0" name="Oval 189">
                      <a:extLst>
                        <a:ext uri="{FF2B5EF4-FFF2-40B4-BE49-F238E27FC236}">
                          <a16:creationId xmlns:a16="http://schemas.microsoft.com/office/drawing/2014/main" id="{FB375F08-44E0-854B-B4AF-D6DEEEA8EB5A}"/>
                        </a:ext>
                      </a:extLst>
                    </p:cNvPr>
                    <p:cNvSpPr/>
                    <p:nvPr/>
                  </p:nvSpPr>
                  <p:spPr>
                    <a:xfrm>
                      <a:off x="9734821" y="4703987"/>
                      <a:ext cx="45719" cy="45719"/>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1" name="Oval 190">
                      <a:extLst>
                        <a:ext uri="{FF2B5EF4-FFF2-40B4-BE49-F238E27FC236}">
                          <a16:creationId xmlns:a16="http://schemas.microsoft.com/office/drawing/2014/main" id="{43815854-5C1E-0C48-A9EC-8D05563C3896}"/>
                        </a:ext>
                      </a:extLst>
                    </p:cNvPr>
                    <p:cNvSpPr>
                      <a:spLocks noChangeAspect="1"/>
                    </p:cNvSpPr>
                    <p:nvPr/>
                  </p:nvSpPr>
                  <p:spPr>
                    <a:xfrm>
                      <a:off x="9628958" y="4769302"/>
                      <a:ext cx="71025" cy="71025"/>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2" name="Oval 191">
                      <a:extLst>
                        <a:ext uri="{FF2B5EF4-FFF2-40B4-BE49-F238E27FC236}">
                          <a16:creationId xmlns:a16="http://schemas.microsoft.com/office/drawing/2014/main" id="{EE4A6DD0-1FBA-D847-B61C-1E543CFD2FF4}"/>
                        </a:ext>
                      </a:extLst>
                    </p:cNvPr>
                    <p:cNvSpPr>
                      <a:spLocks noChangeAspect="1"/>
                    </p:cNvSpPr>
                    <p:nvPr/>
                  </p:nvSpPr>
                  <p:spPr>
                    <a:xfrm>
                      <a:off x="9264558" y="4773655"/>
                      <a:ext cx="68579" cy="68579"/>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3" name="Oval 192">
                      <a:extLst>
                        <a:ext uri="{FF2B5EF4-FFF2-40B4-BE49-F238E27FC236}">
                          <a16:creationId xmlns:a16="http://schemas.microsoft.com/office/drawing/2014/main" id="{459EEF53-B1ED-744F-B9EC-275AABD50A72}"/>
                        </a:ext>
                      </a:extLst>
                    </p:cNvPr>
                    <p:cNvSpPr/>
                    <p:nvPr/>
                  </p:nvSpPr>
                  <p:spPr>
                    <a:xfrm>
                      <a:off x="9112156" y="4778011"/>
                      <a:ext cx="45719" cy="45719"/>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4" name="Oval 193">
                      <a:extLst>
                        <a:ext uri="{FF2B5EF4-FFF2-40B4-BE49-F238E27FC236}">
                          <a16:creationId xmlns:a16="http://schemas.microsoft.com/office/drawing/2014/main" id="{5C035D11-7694-CB45-A74A-B34C54E81D4D}"/>
                        </a:ext>
                      </a:extLst>
                    </p:cNvPr>
                    <p:cNvSpPr>
                      <a:spLocks noChangeAspect="1"/>
                    </p:cNvSpPr>
                    <p:nvPr/>
                  </p:nvSpPr>
                  <p:spPr>
                    <a:xfrm>
                      <a:off x="9478869" y="4674087"/>
                      <a:ext cx="69086" cy="69086"/>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5" name="Oval 194">
                      <a:extLst>
                        <a:ext uri="{FF2B5EF4-FFF2-40B4-BE49-F238E27FC236}">
                          <a16:creationId xmlns:a16="http://schemas.microsoft.com/office/drawing/2014/main" id="{567FDD1E-19FA-B742-B7C7-B981907BFBBD}"/>
                        </a:ext>
                      </a:extLst>
                    </p:cNvPr>
                    <p:cNvSpPr>
                      <a:spLocks noChangeAspect="1"/>
                    </p:cNvSpPr>
                    <p:nvPr/>
                  </p:nvSpPr>
                  <p:spPr>
                    <a:xfrm>
                      <a:off x="8851899" y="4697005"/>
                      <a:ext cx="68579" cy="68579"/>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6" name="Oval 195">
                      <a:extLst>
                        <a:ext uri="{FF2B5EF4-FFF2-40B4-BE49-F238E27FC236}">
                          <a16:creationId xmlns:a16="http://schemas.microsoft.com/office/drawing/2014/main" id="{82167C46-1CE8-6546-9456-BFAD02B57CA9}"/>
                        </a:ext>
                      </a:extLst>
                    </p:cNvPr>
                    <p:cNvSpPr/>
                    <p:nvPr/>
                  </p:nvSpPr>
                  <p:spPr>
                    <a:xfrm>
                      <a:off x="9578218" y="4848670"/>
                      <a:ext cx="45719" cy="45718"/>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7" name="Oval 196">
                      <a:extLst>
                        <a:ext uri="{FF2B5EF4-FFF2-40B4-BE49-F238E27FC236}">
                          <a16:creationId xmlns:a16="http://schemas.microsoft.com/office/drawing/2014/main" id="{B63B7324-13B6-5547-B513-6637D79DCD03}"/>
                        </a:ext>
                      </a:extLst>
                    </p:cNvPr>
                    <p:cNvSpPr>
                      <a:spLocks noChangeAspect="1"/>
                    </p:cNvSpPr>
                    <p:nvPr/>
                  </p:nvSpPr>
                  <p:spPr>
                    <a:xfrm>
                      <a:off x="8981529" y="4943469"/>
                      <a:ext cx="72075" cy="72075"/>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8" name="Oval 197">
                      <a:extLst>
                        <a:ext uri="{FF2B5EF4-FFF2-40B4-BE49-F238E27FC236}">
                          <a16:creationId xmlns:a16="http://schemas.microsoft.com/office/drawing/2014/main" id="{4F3DC1E3-02D7-4748-AD5A-A4810F347115}"/>
                        </a:ext>
                      </a:extLst>
                    </p:cNvPr>
                    <p:cNvSpPr>
                      <a:spLocks noChangeAspect="1"/>
                    </p:cNvSpPr>
                    <p:nvPr/>
                  </p:nvSpPr>
                  <p:spPr>
                    <a:xfrm>
                      <a:off x="9369059" y="4825907"/>
                      <a:ext cx="68579" cy="68579"/>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99" name="Oval 198">
                      <a:extLst>
                        <a:ext uri="{FF2B5EF4-FFF2-40B4-BE49-F238E27FC236}">
                          <a16:creationId xmlns:a16="http://schemas.microsoft.com/office/drawing/2014/main" id="{E5763DF1-0449-4F49-BDED-EEE38F5A4B22}"/>
                        </a:ext>
                      </a:extLst>
                    </p:cNvPr>
                    <p:cNvSpPr/>
                    <p:nvPr/>
                  </p:nvSpPr>
                  <p:spPr>
                    <a:xfrm>
                      <a:off x="9155699" y="4708341"/>
                      <a:ext cx="45719" cy="45719"/>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200" name="Oval 199">
                      <a:extLst>
                        <a:ext uri="{FF2B5EF4-FFF2-40B4-BE49-F238E27FC236}">
                          <a16:creationId xmlns:a16="http://schemas.microsoft.com/office/drawing/2014/main" id="{C0930E75-D328-894F-B8DB-90EE0F2E2723}"/>
                        </a:ext>
                      </a:extLst>
                    </p:cNvPr>
                    <p:cNvSpPr>
                      <a:spLocks noChangeAspect="1"/>
                    </p:cNvSpPr>
                    <p:nvPr/>
                  </p:nvSpPr>
                  <p:spPr>
                    <a:xfrm>
                      <a:off x="9194888" y="4817191"/>
                      <a:ext cx="62572" cy="62572"/>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201" name="Oval 200">
                      <a:extLst>
                        <a:ext uri="{FF2B5EF4-FFF2-40B4-BE49-F238E27FC236}">
                          <a16:creationId xmlns:a16="http://schemas.microsoft.com/office/drawing/2014/main" id="{A6059046-37D7-3F42-900A-EA2B4116C6EE}"/>
                        </a:ext>
                      </a:extLst>
                    </p:cNvPr>
                    <p:cNvSpPr>
                      <a:spLocks noChangeAspect="1"/>
                    </p:cNvSpPr>
                    <p:nvPr/>
                  </p:nvSpPr>
                  <p:spPr>
                    <a:xfrm>
                      <a:off x="8981528" y="4786715"/>
                      <a:ext cx="68579" cy="68579"/>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grpSp>
              <p:grpSp>
                <p:nvGrpSpPr>
                  <p:cNvPr id="152" name="Group 151">
                    <a:extLst>
                      <a:ext uri="{FF2B5EF4-FFF2-40B4-BE49-F238E27FC236}">
                        <a16:creationId xmlns:a16="http://schemas.microsoft.com/office/drawing/2014/main" id="{87F06DAC-7D34-184C-8A64-21A3736B4A8A}"/>
                      </a:ext>
                    </a:extLst>
                  </p:cNvPr>
                  <p:cNvGrpSpPr/>
                  <p:nvPr/>
                </p:nvGrpSpPr>
                <p:grpSpPr>
                  <a:xfrm rot="2700000">
                    <a:off x="8933791" y="4071664"/>
                    <a:ext cx="563955" cy="707621"/>
                    <a:chOff x="9380974" y="4495490"/>
                    <a:chExt cx="805048" cy="1010134"/>
                  </a:xfrm>
                </p:grpSpPr>
                <p:sp>
                  <p:nvSpPr>
                    <p:cNvPr id="164" name="Oval 163">
                      <a:extLst>
                        <a:ext uri="{FF2B5EF4-FFF2-40B4-BE49-F238E27FC236}">
                          <a16:creationId xmlns:a16="http://schemas.microsoft.com/office/drawing/2014/main" id="{318AAA74-C86E-294C-92A6-BC7BE26862B4}"/>
                        </a:ext>
                      </a:extLst>
                    </p:cNvPr>
                    <p:cNvSpPr/>
                    <p:nvPr/>
                  </p:nvSpPr>
                  <p:spPr>
                    <a:xfrm rot="10453029">
                      <a:off x="9513889" y="5373073"/>
                      <a:ext cx="38260" cy="4252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65" name="Oval 164">
                      <a:extLst>
                        <a:ext uri="{FF2B5EF4-FFF2-40B4-BE49-F238E27FC236}">
                          <a16:creationId xmlns:a16="http://schemas.microsoft.com/office/drawing/2014/main" id="{A5FA1410-502C-954C-9EF4-F9D8A17424AA}"/>
                        </a:ext>
                      </a:extLst>
                    </p:cNvPr>
                    <p:cNvSpPr/>
                    <p:nvPr/>
                  </p:nvSpPr>
                  <p:spPr>
                    <a:xfrm rot="10453029">
                      <a:off x="9380974" y="5398746"/>
                      <a:ext cx="38260" cy="4252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66" name="Oval 165">
                      <a:extLst>
                        <a:ext uri="{FF2B5EF4-FFF2-40B4-BE49-F238E27FC236}">
                          <a16:creationId xmlns:a16="http://schemas.microsoft.com/office/drawing/2014/main" id="{5186FFA8-23C8-9841-B400-483109E5B026}"/>
                        </a:ext>
                      </a:extLst>
                    </p:cNvPr>
                    <p:cNvSpPr>
                      <a:spLocks noChangeAspect="1"/>
                    </p:cNvSpPr>
                    <p:nvPr/>
                  </p:nvSpPr>
                  <p:spPr>
                    <a:xfrm rot="18670">
                      <a:off x="10039279" y="4508764"/>
                      <a:ext cx="49442" cy="54946"/>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67" name="Oval 166">
                      <a:extLst>
                        <a:ext uri="{FF2B5EF4-FFF2-40B4-BE49-F238E27FC236}">
                          <a16:creationId xmlns:a16="http://schemas.microsoft.com/office/drawing/2014/main" id="{660EB4DD-46AA-0D4B-91FF-E3D350276771}"/>
                        </a:ext>
                      </a:extLst>
                    </p:cNvPr>
                    <p:cNvSpPr>
                      <a:spLocks noChangeAspect="1"/>
                    </p:cNvSpPr>
                    <p:nvPr/>
                  </p:nvSpPr>
                  <p:spPr>
                    <a:xfrm rot="10453029">
                      <a:off x="10128631" y="4684270"/>
                      <a:ext cx="57391" cy="63781"/>
                    </a:xfrm>
                    <a:prstGeom prst="ellipse">
                      <a:avLst/>
                    </a:prstGeom>
                    <a:solidFill>
                      <a:srgbClr val="C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68" name="Oval 167">
                      <a:extLst>
                        <a:ext uri="{FF2B5EF4-FFF2-40B4-BE49-F238E27FC236}">
                          <a16:creationId xmlns:a16="http://schemas.microsoft.com/office/drawing/2014/main" id="{F072AD60-A00C-D744-9349-4DB44E7313EA}"/>
                        </a:ext>
                      </a:extLst>
                    </p:cNvPr>
                    <p:cNvSpPr/>
                    <p:nvPr/>
                  </p:nvSpPr>
                  <p:spPr>
                    <a:xfrm rot="10453029">
                      <a:off x="9474279" y="5271257"/>
                      <a:ext cx="38260" cy="42520"/>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69" name="Oval 168">
                      <a:extLst>
                        <a:ext uri="{FF2B5EF4-FFF2-40B4-BE49-F238E27FC236}">
                          <a16:creationId xmlns:a16="http://schemas.microsoft.com/office/drawing/2014/main" id="{2776DB65-5C7B-F54D-A138-81BEDD82005D}"/>
                        </a:ext>
                      </a:extLst>
                    </p:cNvPr>
                    <p:cNvSpPr>
                      <a:spLocks noChangeAspect="1"/>
                    </p:cNvSpPr>
                    <p:nvPr/>
                  </p:nvSpPr>
                  <p:spPr>
                    <a:xfrm rot="18670">
                      <a:off x="10106781" y="4598494"/>
                      <a:ext cx="57391" cy="63781"/>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70" name="Oval 169">
                      <a:extLst>
                        <a:ext uri="{FF2B5EF4-FFF2-40B4-BE49-F238E27FC236}">
                          <a16:creationId xmlns:a16="http://schemas.microsoft.com/office/drawing/2014/main" id="{57FC427D-EAC8-2A49-8AB8-2F15C4B590C4}"/>
                        </a:ext>
                      </a:extLst>
                    </p:cNvPr>
                    <p:cNvSpPr/>
                    <p:nvPr/>
                  </p:nvSpPr>
                  <p:spPr>
                    <a:xfrm rot="10453029">
                      <a:off x="9529886" y="5277838"/>
                      <a:ext cx="38260" cy="42520"/>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71" name="Oval 170">
                      <a:extLst>
                        <a:ext uri="{FF2B5EF4-FFF2-40B4-BE49-F238E27FC236}">
                          <a16:creationId xmlns:a16="http://schemas.microsoft.com/office/drawing/2014/main" id="{7D7F295B-9F24-7142-AF2C-2C28345112B3}"/>
                        </a:ext>
                      </a:extLst>
                    </p:cNvPr>
                    <p:cNvSpPr>
                      <a:spLocks noChangeAspect="1"/>
                    </p:cNvSpPr>
                    <p:nvPr/>
                  </p:nvSpPr>
                  <p:spPr>
                    <a:xfrm rot="10453029">
                      <a:off x="9446499" y="5433579"/>
                      <a:ext cx="64828" cy="72045"/>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72" name="Oval 171">
                      <a:extLst>
                        <a:ext uri="{FF2B5EF4-FFF2-40B4-BE49-F238E27FC236}">
                          <a16:creationId xmlns:a16="http://schemas.microsoft.com/office/drawing/2014/main" id="{FC87A553-0476-D248-91C4-F2D28EB46067}"/>
                        </a:ext>
                      </a:extLst>
                    </p:cNvPr>
                    <p:cNvSpPr>
                      <a:spLocks noChangeAspect="1"/>
                    </p:cNvSpPr>
                    <p:nvPr/>
                  </p:nvSpPr>
                  <p:spPr>
                    <a:xfrm rot="10453029">
                      <a:off x="9408125" y="5194618"/>
                      <a:ext cx="57391" cy="63781"/>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73" name="Oval 172">
                      <a:extLst>
                        <a:ext uri="{FF2B5EF4-FFF2-40B4-BE49-F238E27FC236}">
                          <a16:creationId xmlns:a16="http://schemas.microsoft.com/office/drawing/2014/main" id="{550A5559-F251-7B43-AB6B-A3620B18FE75}"/>
                        </a:ext>
                      </a:extLst>
                    </p:cNvPr>
                    <p:cNvSpPr/>
                    <p:nvPr/>
                  </p:nvSpPr>
                  <p:spPr>
                    <a:xfrm rot="18670">
                      <a:off x="10035836" y="4587265"/>
                      <a:ext cx="38260" cy="42520"/>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74" name="Oval 173">
                      <a:extLst>
                        <a:ext uri="{FF2B5EF4-FFF2-40B4-BE49-F238E27FC236}">
                          <a16:creationId xmlns:a16="http://schemas.microsoft.com/office/drawing/2014/main" id="{52D08164-2324-C44A-9E7E-7BD144355C86}"/>
                        </a:ext>
                      </a:extLst>
                    </p:cNvPr>
                    <p:cNvSpPr>
                      <a:spLocks noChangeAspect="1"/>
                    </p:cNvSpPr>
                    <p:nvPr/>
                  </p:nvSpPr>
                  <p:spPr>
                    <a:xfrm rot="18670">
                      <a:off x="10095538" y="4495490"/>
                      <a:ext cx="59438" cy="66056"/>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75" name="Oval 174">
                      <a:extLst>
                        <a:ext uri="{FF2B5EF4-FFF2-40B4-BE49-F238E27FC236}">
                          <a16:creationId xmlns:a16="http://schemas.microsoft.com/office/drawing/2014/main" id="{6A09126A-1008-204C-B12A-BEE17FFA24C5}"/>
                        </a:ext>
                      </a:extLst>
                    </p:cNvPr>
                    <p:cNvSpPr>
                      <a:spLocks noChangeAspect="1"/>
                    </p:cNvSpPr>
                    <p:nvPr/>
                  </p:nvSpPr>
                  <p:spPr>
                    <a:xfrm rot="10453029">
                      <a:off x="9595877" y="5204097"/>
                      <a:ext cx="57391" cy="63781"/>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76" name="Oval 175">
                      <a:extLst>
                        <a:ext uri="{FF2B5EF4-FFF2-40B4-BE49-F238E27FC236}">
                          <a16:creationId xmlns:a16="http://schemas.microsoft.com/office/drawing/2014/main" id="{8A8D314C-A6D7-EE47-88D3-2CCB3C263D66}"/>
                        </a:ext>
                      </a:extLst>
                    </p:cNvPr>
                    <p:cNvSpPr>
                      <a:spLocks noChangeAspect="1"/>
                    </p:cNvSpPr>
                    <p:nvPr/>
                  </p:nvSpPr>
                  <p:spPr>
                    <a:xfrm rot="10453029">
                      <a:off x="9412894" y="5314527"/>
                      <a:ext cx="72082" cy="80107"/>
                    </a:xfrm>
                    <a:prstGeom prst="ellipse">
                      <a:avLst/>
                    </a:prstGeom>
                    <a:solidFill>
                      <a:srgbClr val="FE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77" name="Oval 176">
                      <a:extLst>
                        <a:ext uri="{FF2B5EF4-FFF2-40B4-BE49-F238E27FC236}">
                          <a16:creationId xmlns:a16="http://schemas.microsoft.com/office/drawing/2014/main" id="{F3163515-B9D2-4C47-A4C4-088A7F569729}"/>
                        </a:ext>
                      </a:extLst>
                    </p:cNvPr>
                    <p:cNvSpPr>
                      <a:spLocks noChangeAspect="1"/>
                    </p:cNvSpPr>
                    <p:nvPr/>
                  </p:nvSpPr>
                  <p:spPr>
                    <a:xfrm rot="10453029">
                      <a:off x="9503973" y="5164560"/>
                      <a:ext cx="57391" cy="63781"/>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grpSp>
              <p:grpSp>
                <p:nvGrpSpPr>
                  <p:cNvPr id="153" name="Group 152">
                    <a:extLst>
                      <a:ext uri="{FF2B5EF4-FFF2-40B4-BE49-F238E27FC236}">
                        <a16:creationId xmlns:a16="http://schemas.microsoft.com/office/drawing/2014/main" id="{92803CE0-7392-B14E-B5F8-3C49BC7C748B}"/>
                      </a:ext>
                    </a:extLst>
                  </p:cNvPr>
                  <p:cNvGrpSpPr/>
                  <p:nvPr/>
                </p:nvGrpSpPr>
                <p:grpSpPr>
                  <a:xfrm rot="1632547">
                    <a:off x="9079796" y="4247487"/>
                    <a:ext cx="229605" cy="243649"/>
                    <a:chOff x="9023934" y="4125233"/>
                    <a:chExt cx="307768" cy="326593"/>
                  </a:xfrm>
                </p:grpSpPr>
                <p:sp>
                  <p:nvSpPr>
                    <p:cNvPr id="154" name="Oval 153">
                      <a:extLst>
                        <a:ext uri="{FF2B5EF4-FFF2-40B4-BE49-F238E27FC236}">
                          <a16:creationId xmlns:a16="http://schemas.microsoft.com/office/drawing/2014/main" id="{8A7BE932-9580-0846-B174-AD597AA877D0}"/>
                        </a:ext>
                      </a:extLst>
                    </p:cNvPr>
                    <p:cNvSpPr>
                      <a:spLocks noChangeAspect="1"/>
                    </p:cNvSpPr>
                    <p:nvPr/>
                  </p:nvSpPr>
                  <p:spPr>
                    <a:xfrm rot="2273755">
                      <a:off x="9125491" y="4176705"/>
                      <a:ext cx="52459" cy="5829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55" name="Oval 154">
                      <a:extLst>
                        <a:ext uri="{FF2B5EF4-FFF2-40B4-BE49-F238E27FC236}">
                          <a16:creationId xmlns:a16="http://schemas.microsoft.com/office/drawing/2014/main" id="{1125BE59-F816-6847-A513-2D8E5CBC0CD8}"/>
                        </a:ext>
                      </a:extLst>
                    </p:cNvPr>
                    <p:cNvSpPr>
                      <a:spLocks noChangeAspect="1"/>
                    </p:cNvSpPr>
                    <p:nvPr/>
                  </p:nvSpPr>
                  <p:spPr>
                    <a:xfrm rot="2273755">
                      <a:off x="9193625" y="4216972"/>
                      <a:ext cx="57391" cy="6378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56" name="Oval 155">
                      <a:extLst>
                        <a:ext uri="{FF2B5EF4-FFF2-40B4-BE49-F238E27FC236}">
                          <a16:creationId xmlns:a16="http://schemas.microsoft.com/office/drawing/2014/main" id="{64EF19EA-73DA-B841-83E6-75DC42B2B389}"/>
                        </a:ext>
                      </a:extLst>
                    </p:cNvPr>
                    <p:cNvSpPr>
                      <a:spLocks noChangeAspect="1"/>
                    </p:cNvSpPr>
                    <p:nvPr/>
                  </p:nvSpPr>
                  <p:spPr>
                    <a:xfrm rot="2273755">
                      <a:off x="9023934" y="4387806"/>
                      <a:ext cx="57607" cy="64020"/>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57" name="Oval 156">
                      <a:extLst>
                        <a:ext uri="{FF2B5EF4-FFF2-40B4-BE49-F238E27FC236}">
                          <a16:creationId xmlns:a16="http://schemas.microsoft.com/office/drawing/2014/main" id="{181A4D6E-5BCB-7E40-A520-CCCA1C567960}"/>
                        </a:ext>
                      </a:extLst>
                    </p:cNvPr>
                    <p:cNvSpPr/>
                    <p:nvPr/>
                  </p:nvSpPr>
                  <p:spPr>
                    <a:xfrm rot="2273755">
                      <a:off x="9151835" y="4312684"/>
                      <a:ext cx="38260" cy="42520"/>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58" name="Oval 157">
                      <a:extLst>
                        <a:ext uri="{FF2B5EF4-FFF2-40B4-BE49-F238E27FC236}">
                          <a16:creationId xmlns:a16="http://schemas.microsoft.com/office/drawing/2014/main" id="{E67D0CDE-C1C9-D040-B375-87CFB2E2FC9B}"/>
                        </a:ext>
                      </a:extLst>
                    </p:cNvPr>
                    <p:cNvSpPr>
                      <a:spLocks noChangeAspect="1"/>
                    </p:cNvSpPr>
                    <p:nvPr/>
                  </p:nvSpPr>
                  <p:spPr>
                    <a:xfrm rot="2273755">
                      <a:off x="9191414" y="4375942"/>
                      <a:ext cx="57391" cy="63781"/>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59" name="Oval 158">
                      <a:extLst>
                        <a:ext uri="{FF2B5EF4-FFF2-40B4-BE49-F238E27FC236}">
                          <a16:creationId xmlns:a16="http://schemas.microsoft.com/office/drawing/2014/main" id="{A957D99D-F0CD-2940-A1FE-24F2B6CE5ABB}"/>
                        </a:ext>
                      </a:extLst>
                    </p:cNvPr>
                    <p:cNvSpPr/>
                    <p:nvPr/>
                  </p:nvSpPr>
                  <p:spPr>
                    <a:xfrm rot="2273755">
                      <a:off x="9293442" y="4155884"/>
                      <a:ext cx="38260" cy="42520"/>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60" name="Oval 159">
                      <a:extLst>
                        <a:ext uri="{FF2B5EF4-FFF2-40B4-BE49-F238E27FC236}">
                          <a16:creationId xmlns:a16="http://schemas.microsoft.com/office/drawing/2014/main" id="{8BBED280-6235-8C4F-B5E8-AD0868A9AF61}"/>
                        </a:ext>
                      </a:extLst>
                    </p:cNvPr>
                    <p:cNvSpPr>
                      <a:spLocks noChangeAspect="1"/>
                    </p:cNvSpPr>
                    <p:nvPr/>
                  </p:nvSpPr>
                  <p:spPr>
                    <a:xfrm rot="2273755">
                      <a:off x="9221855" y="4125233"/>
                      <a:ext cx="60317" cy="67032"/>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61" name="Oval 160">
                      <a:extLst>
                        <a:ext uri="{FF2B5EF4-FFF2-40B4-BE49-F238E27FC236}">
                          <a16:creationId xmlns:a16="http://schemas.microsoft.com/office/drawing/2014/main" id="{EBBF3339-2B0C-2C4C-B8B2-CD16D312408D}"/>
                        </a:ext>
                      </a:extLst>
                    </p:cNvPr>
                    <p:cNvSpPr/>
                    <p:nvPr/>
                  </p:nvSpPr>
                  <p:spPr>
                    <a:xfrm rot="2273755">
                      <a:off x="9122110" y="4380821"/>
                      <a:ext cx="38260" cy="42520"/>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62" name="Oval 161">
                      <a:extLst>
                        <a:ext uri="{FF2B5EF4-FFF2-40B4-BE49-F238E27FC236}">
                          <a16:creationId xmlns:a16="http://schemas.microsoft.com/office/drawing/2014/main" id="{9D0F751A-DA0C-554D-BB41-F12971FAA5E8}"/>
                        </a:ext>
                      </a:extLst>
                    </p:cNvPr>
                    <p:cNvSpPr>
                      <a:spLocks noChangeAspect="1"/>
                    </p:cNvSpPr>
                    <p:nvPr/>
                  </p:nvSpPr>
                  <p:spPr>
                    <a:xfrm rot="2273755">
                      <a:off x="9064424" y="4268483"/>
                      <a:ext cx="52364" cy="58194"/>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63" name="Oval 162">
                      <a:extLst>
                        <a:ext uri="{FF2B5EF4-FFF2-40B4-BE49-F238E27FC236}">
                          <a16:creationId xmlns:a16="http://schemas.microsoft.com/office/drawing/2014/main" id="{91F0A21F-7A77-7E43-923E-C717FB1EAFF3}"/>
                        </a:ext>
                      </a:extLst>
                    </p:cNvPr>
                    <p:cNvSpPr>
                      <a:spLocks noChangeAspect="1"/>
                    </p:cNvSpPr>
                    <p:nvPr/>
                  </p:nvSpPr>
                  <p:spPr>
                    <a:xfrm rot="2273755">
                      <a:off x="9239627" y="4273373"/>
                      <a:ext cx="57391" cy="63781"/>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grpSp>
            </p:grpSp>
            <p:grpSp>
              <p:nvGrpSpPr>
                <p:cNvPr id="125" name="Group 124">
                  <a:extLst>
                    <a:ext uri="{FF2B5EF4-FFF2-40B4-BE49-F238E27FC236}">
                      <a16:creationId xmlns:a16="http://schemas.microsoft.com/office/drawing/2014/main" id="{61EA3F4B-7BB2-514D-A387-D2A0FF8A4884}"/>
                    </a:ext>
                  </a:extLst>
                </p:cNvPr>
                <p:cNvGrpSpPr/>
                <p:nvPr/>
              </p:nvGrpSpPr>
              <p:grpSpPr>
                <a:xfrm rot="1198381">
                  <a:off x="8766985" y="4368461"/>
                  <a:ext cx="323333" cy="227181"/>
                  <a:chOff x="9369059" y="4612547"/>
                  <a:chExt cx="411481" cy="281939"/>
                </a:xfrm>
              </p:grpSpPr>
              <p:sp>
                <p:nvSpPr>
                  <p:cNvPr id="137" name="Oval 136">
                    <a:extLst>
                      <a:ext uri="{FF2B5EF4-FFF2-40B4-BE49-F238E27FC236}">
                        <a16:creationId xmlns:a16="http://schemas.microsoft.com/office/drawing/2014/main" id="{86030055-E1D5-9F4F-8615-6A895A24EC56}"/>
                      </a:ext>
                    </a:extLst>
                  </p:cNvPr>
                  <p:cNvSpPr/>
                  <p:nvPr/>
                </p:nvSpPr>
                <p:spPr>
                  <a:xfrm>
                    <a:off x="9403897" y="4625612"/>
                    <a:ext cx="45719" cy="457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38" name="Oval 137">
                    <a:extLst>
                      <a:ext uri="{FF2B5EF4-FFF2-40B4-BE49-F238E27FC236}">
                        <a16:creationId xmlns:a16="http://schemas.microsoft.com/office/drawing/2014/main" id="{B1B1F83F-10B3-A443-9BFD-D510AA27F124}"/>
                      </a:ext>
                    </a:extLst>
                  </p:cNvPr>
                  <p:cNvSpPr/>
                  <p:nvPr/>
                </p:nvSpPr>
                <p:spPr>
                  <a:xfrm>
                    <a:off x="9565006" y="4612547"/>
                    <a:ext cx="45719" cy="457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39" name="Oval 138">
                    <a:extLst>
                      <a:ext uri="{FF2B5EF4-FFF2-40B4-BE49-F238E27FC236}">
                        <a16:creationId xmlns:a16="http://schemas.microsoft.com/office/drawing/2014/main" id="{DA6697D8-5B6E-EF45-AACA-DD00F3EDC461}"/>
                      </a:ext>
                    </a:extLst>
                  </p:cNvPr>
                  <p:cNvSpPr>
                    <a:spLocks noChangeAspect="1"/>
                  </p:cNvSpPr>
                  <p:nvPr/>
                </p:nvSpPr>
                <p:spPr>
                  <a:xfrm>
                    <a:off x="9708695" y="4773655"/>
                    <a:ext cx="59080" cy="590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0" name="Oval 139">
                    <a:extLst>
                      <a:ext uri="{FF2B5EF4-FFF2-40B4-BE49-F238E27FC236}">
                        <a16:creationId xmlns:a16="http://schemas.microsoft.com/office/drawing/2014/main" id="{34BF6E87-3146-3C40-82B5-340C1FD53B17}"/>
                      </a:ext>
                    </a:extLst>
                  </p:cNvPr>
                  <p:cNvSpPr/>
                  <p:nvPr/>
                </p:nvSpPr>
                <p:spPr>
                  <a:xfrm>
                    <a:off x="9438730" y="4738822"/>
                    <a:ext cx="45719" cy="45719"/>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1" name="Oval 140">
                    <a:extLst>
                      <a:ext uri="{FF2B5EF4-FFF2-40B4-BE49-F238E27FC236}">
                        <a16:creationId xmlns:a16="http://schemas.microsoft.com/office/drawing/2014/main" id="{F7296C1A-990A-A946-A2AC-4353A17C037A}"/>
                      </a:ext>
                    </a:extLst>
                  </p:cNvPr>
                  <p:cNvSpPr>
                    <a:spLocks noChangeAspect="1"/>
                  </p:cNvSpPr>
                  <p:nvPr/>
                </p:nvSpPr>
                <p:spPr>
                  <a:xfrm>
                    <a:off x="9630319" y="4660442"/>
                    <a:ext cx="68579" cy="68579"/>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2" name="Oval 141">
                    <a:extLst>
                      <a:ext uri="{FF2B5EF4-FFF2-40B4-BE49-F238E27FC236}">
                        <a16:creationId xmlns:a16="http://schemas.microsoft.com/office/drawing/2014/main" id="{0B35546C-4C50-3543-9E3D-82045632C9F6}"/>
                      </a:ext>
                    </a:extLst>
                  </p:cNvPr>
                  <p:cNvSpPr>
                    <a:spLocks noChangeAspect="1"/>
                  </p:cNvSpPr>
                  <p:nvPr/>
                </p:nvSpPr>
                <p:spPr>
                  <a:xfrm>
                    <a:off x="9556859" y="4693222"/>
                    <a:ext cx="58183" cy="58182"/>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3" name="Oval 142">
                    <a:extLst>
                      <a:ext uri="{FF2B5EF4-FFF2-40B4-BE49-F238E27FC236}">
                        <a16:creationId xmlns:a16="http://schemas.microsoft.com/office/drawing/2014/main" id="{E51CFEAE-DE95-0A48-A703-AAB7F6B83902}"/>
                      </a:ext>
                    </a:extLst>
                  </p:cNvPr>
                  <p:cNvSpPr/>
                  <p:nvPr/>
                </p:nvSpPr>
                <p:spPr>
                  <a:xfrm>
                    <a:off x="9734821" y="4703987"/>
                    <a:ext cx="45719" cy="45719"/>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4" name="Oval 143">
                    <a:extLst>
                      <a:ext uri="{FF2B5EF4-FFF2-40B4-BE49-F238E27FC236}">
                        <a16:creationId xmlns:a16="http://schemas.microsoft.com/office/drawing/2014/main" id="{43EE3622-3A40-984A-AC41-2290519E8049}"/>
                      </a:ext>
                    </a:extLst>
                  </p:cNvPr>
                  <p:cNvSpPr>
                    <a:spLocks noChangeAspect="1"/>
                  </p:cNvSpPr>
                  <p:nvPr/>
                </p:nvSpPr>
                <p:spPr>
                  <a:xfrm>
                    <a:off x="9628958" y="4769302"/>
                    <a:ext cx="71025" cy="71025"/>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5" name="Oval 144">
                    <a:extLst>
                      <a:ext uri="{FF2B5EF4-FFF2-40B4-BE49-F238E27FC236}">
                        <a16:creationId xmlns:a16="http://schemas.microsoft.com/office/drawing/2014/main" id="{18E720B8-4DAB-844E-B852-8FCA12A733B3}"/>
                      </a:ext>
                    </a:extLst>
                  </p:cNvPr>
                  <p:cNvSpPr>
                    <a:spLocks noChangeAspect="1"/>
                  </p:cNvSpPr>
                  <p:nvPr/>
                </p:nvSpPr>
                <p:spPr>
                  <a:xfrm>
                    <a:off x="9484669" y="4806812"/>
                    <a:ext cx="68579" cy="68579"/>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6" name="Oval 145">
                    <a:extLst>
                      <a:ext uri="{FF2B5EF4-FFF2-40B4-BE49-F238E27FC236}">
                        <a16:creationId xmlns:a16="http://schemas.microsoft.com/office/drawing/2014/main" id="{A26C6005-DEBB-544F-94B0-9832562551B3}"/>
                      </a:ext>
                    </a:extLst>
                  </p:cNvPr>
                  <p:cNvSpPr/>
                  <p:nvPr/>
                </p:nvSpPr>
                <p:spPr>
                  <a:xfrm>
                    <a:off x="9526814" y="4661401"/>
                    <a:ext cx="45719" cy="45718"/>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7" name="Oval 146">
                    <a:extLst>
                      <a:ext uri="{FF2B5EF4-FFF2-40B4-BE49-F238E27FC236}">
                        <a16:creationId xmlns:a16="http://schemas.microsoft.com/office/drawing/2014/main" id="{89269037-3FEC-ED4E-93A9-DDFC36B3C194}"/>
                      </a:ext>
                    </a:extLst>
                  </p:cNvPr>
                  <p:cNvSpPr>
                    <a:spLocks noChangeAspect="1"/>
                  </p:cNvSpPr>
                  <p:nvPr/>
                </p:nvSpPr>
                <p:spPr>
                  <a:xfrm>
                    <a:off x="9444501" y="4672753"/>
                    <a:ext cx="68579" cy="68579"/>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8" name="Oval 147">
                    <a:extLst>
                      <a:ext uri="{FF2B5EF4-FFF2-40B4-BE49-F238E27FC236}">
                        <a16:creationId xmlns:a16="http://schemas.microsoft.com/office/drawing/2014/main" id="{4F189A22-AC03-CD48-92C5-7EDD0C1B053A}"/>
                      </a:ext>
                    </a:extLst>
                  </p:cNvPr>
                  <p:cNvSpPr/>
                  <p:nvPr/>
                </p:nvSpPr>
                <p:spPr>
                  <a:xfrm>
                    <a:off x="9578218" y="4848670"/>
                    <a:ext cx="45719" cy="45718"/>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49" name="Oval 148">
                    <a:extLst>
                      <a:ext uri="{FF2B5EF4-FFF2-40B4-BE49-F238E27FC236}">
                        <a16:creationId xmlns:a16="http://schemas.microsoft.com/office/drawing/2014/main" id="{8968EE9B-65BF-6346-86CC-67DC4E879854}"/>
                      </a:ext>
                    </a:extLst>
                  </p:cNvPr>
                  <p:cNvSpPr>
                    <a:spLocks noChangeAspect="1"/>
                  </p:cNvSpPr>
                  <p:nvPr/>
                </p:nvSpPr>
                <p:spPr>
                  <a:xfrm>
                    <a:off x="9369059" y="4825907"/>
                    <a:ext cx="68579" cy="68579"/>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50" name="Oval 149">
                    <a:extLst>
                      <a:ext uri="{FF2B5EF4-FFF2-40B4-BE49-F238E27FC236}">
                        <a16:creationId xmlns:a16="http://schemas.microsoft.com/office/drawing/2014/main" id="{A03E2FA9-37BE-3945-AD7D-64502172440E}"/>
                      </a:ext>
                    </a:extLst>
                  </p:cNvPr>
                  <p:cNvSpPr/>
                  <p:nvPr/>
                </p:nvSpPr>
                <p:spPr>
                  <a:xfrm>
                    <a:off x="9537898" y="4770881"/>
                    <a:ext cx="45719" cy="45718"/>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grpSp>
            <p:grpSp>
              <p:nvGrpSpPr>
                <p:cNvPr id="126" name="Group 125">
                  <a:extLst>
                    <a:ext uri="{FF2B5EF4-FFF2-40B4-BE49-F238E27FC236}">
                      <a16:creationId xmlns:a16="http://schemas.microsoft.com/office/drawing/2014/main" id="{B2BED0C6-87EB-664D-BF20-9636667B56EF}"/>
                    </a:ext>
                  </a:extLst>
                </p:cNvPr>
                <p:cNvGrpSpPr/>
                <p:nvPr/>
              </p:nvGrpSpPr>
              <p:grpSpPr>
                <a:xfrm rot="11429341">
                  <a:off x="8782771" y="4018428"/>
                  <a:ext cx="180125" cy="191143"/>
                  <a:chOff x="9023934" y="4125233"/>
                  <a:chExt cx="307768" cy="326593"/>
                </a:xfrm>
              </p:grpSpPr>
              <p:sp>
                <p:nvSpPr>
                  <p:cNvPr id="127" name="Oval 126">
                    <a:extLst>
                      <a:ext uri="{FF2B5EF4-FFF2-40B4-BE49-F238E27FC236}">
                        <a16:creationId xmlns:a16="http://schemas.microsoft.com/office/drawing/2014/main" id="{BFECA1F4-35F7-494D-B316-61B2DE2D1FE7}"/>
                      </a:ext>
                    </a:extLst>
                  </p:cNvPr>
                  <p:cNvSpPr>
                    <a:spLocks noChangeAspect="1"/>
                  </p:cNvSpPr>
                  <p:nvPr/>
                </p:nvSpPr>
                <p:spPr>
                  <a:xfrm rot="2273755">
                    <a:off x="9125491" y="4176705"/>
                    <a:ext cx="52459" cy="5829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28" name="Oval 127">
                    <a:extLst>
                      <a:ext uri="{FF2B5EF4-FFF2-40B4-BE49-F238E27FC236}">
                        <a16:creationId xmlns:a16="http://schemas.microsoft.com/office/drawing/2014/main" id="{3C7D2AA7-3037-4E4A-866D-C0EBF7E61275}"/>
                      </a:ext>
                    </a:extLst>
                  </p:cNvPr>
                  <p:cNvSpPr>
                    <a:spLocks noChangeAspect="1"/>
                  </p:cNvSpPr>
                  <p:nvPr/>
                </p:nvSpPr>
                <p:spPr>
                  <a:xfrm rot="2273755">
                    <a:off x="9193625" y="4216972"/>
                    <a:ext cx="57391" cy="6378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29" name="Oval 128">
                    <a:extLst>
                      <a:ext uri="{FF2B5EF4-FFF2-40B4-BE49-F238E27FC236}">
                        <a16:creationId xmlns:a16="http://schemas.microsoft.com/office/drawing/2014/main" id="{89CD5D52-7308-7647-9794-135DEF87468C}"/>
                      </a:ext>
                    </a:extLst>
                  </p:cNvPr>
                  <p:cNvSpPr>
                    <a:spLocks noChangeAspect="1"/>
                  </p:cNvSpPr>
                  <p:nvPr/>
                </p:nvSpPr>
                <p:spPr>
                  <a:xfrm rot="2273755">
                    <a:off x="9023934" y="4387806"/>
                    <a:ext cx="57607" cy="64020"/>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30" name="Oval 129">
                    <a:extLst>
                      <a:ext uri="{FF2B5EF4-FFF2-40B4-BE49-F238E27FC236}">
                        <a16:creationId xmlns:a16="http://schemas.microsoft.com/office/drawing/2014/main" id="{405062BF-3ABE-7640-9CC2-30B838BEBF94}"/>
                      </a:ext>
                    </a:extLst>
                  </p:cNvPr>
                  <p:cNvSpPr/>
                  <p:nvPr/>
                </p:nvSpPr>
                <p:spPr>
                  <a:xfrm rot="2273755">
                    <a:off x="9151835" y="4312684"/>
                    <a:ext cx="38260" cy="42520"/>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31" name="Oval 130">
                    <a:extLst>
                      <a:ext uri="{FF2B5EF4-FFF2-40B4-BE49-F238E27FC236}">
                        <a16:creationId xmlns:a16="http://schemas.microsoft.com/office/drawing/2014/main" id="{16D893FC-0F36-374D-B27B-405FEDCEF937}"/>
                      </a:ext>
                    </a:extLst>
                  </p:cNvPr>
                  <p:cNvSpPr>
                    <a:spLocks noChangeAspect="1"/>
                  </p:cNvSpPr>
                  <p:nvPr/>
                </p:nvSpPr>
                <p:spPr>
                  <a:xfrm rot="2273755">
                    <a:off x="9191414" y="4375942"/>
                    <a:ext cx="57391" cy="63781"/>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32" name="Oval 131">
                    <a:extLst>
                      <a:ext uri="{FF2B5EF4-FFF2-40B4-BE49-F238E27FC236}">
                        <a16:creationId xmlns:a16="http://schemas.microsoft.com/office/drawing/2014/main" id="{00FE98EB-4381-A240-96D6-6C183BCAEA6C}"/>
                      </a:ext>
                    </a:extLst>
                  </p:cNvPr>
                  <p:cNvSpPr/>
                  <p:nvPr/>
                </p:nvSpPr>
                <p:spPr>
                  <a:xfrm rot="2273755">
                    <a:off x="9293442" y="4155884"/>
                    <a:ext cx="38260" cy="42520"/>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33" name="Oval 132">
                    <a:extLst>
                      <a:ext uri="{FF2B5EF4-FFF2-40B4-BE49-F238E27FC236}">
                        <a16:creationId xmlns:a16="http://schemas.microsoft.com/office/drawing/2014/main" id="{3CCE170F-726A-4047-9897-9935CF7C9C80}"/>
                      </a:ext>
                    </a:extLst>
                  </p:cNvPr>
                  <p:cNvSpPr>
                    <a:spLocks noChangeAspect="1"/>
                  </p:cNvSpPr>
                  <p:nvPr/>
                </p:nvSpPr>
                <p:spPr>
                  <a:xfrm rot="2273755">
                    <a:off x="9221855" y="4125233"/>
                    <a:ext cx="60317" cy="67032"/>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34" name="Oval 133">
                    <a:extLst>
                      <a:ext uri="{FF2B5EF4-FFF2-40B4-BE49-F238E27FC236}">
                        <a16:creationId xmlns:a16="http://schemas.microsoft.com/office/drawing/2014/main" id="{7F62B0C1-4CA0-DF48-8DA8-8055EB451248}"/>
                      </a:ext>
                    </a:extLst>
                  </p:cNvPr>
                  <p:cNvSpPr/>
                  <p:nvPr/>
                </p:nvSpPr>
                <p:spPr>
                  <a:xfrm rot="2273755">
                    <a:off x="9122110" y="4380821"/>
                    <a:ext cx="38260" cy="42520"/>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35" name="Oval 134">
                    <a:extLst>
                      <a:ext uri="{FF2B5EF4-FFF2-40B4-BE49-F238E27FC236}">
                        <a16:creationId xmlns:a16="http://schemas.microsoft.com/office/drawing/2014/main" id="{CD1A0091-F695-674F-9828-ACFBBFEED151}"/>
                      </a:ext>
                    </a:extLst>
                  </p:cNvPr>
                  <p:cNvSpPr>
                    <a:spLocks noChangeAspect="1"/>
                  </p:cNvSpPr>
                  <p:nvPr/>
                </p:nvSpPr>
                <p:spPr>
                  <a:xfrm rot="2273755">
                    <a:off x="9064424" y="4268483"/>
                    <a:ext cx="52364" cy="58194"/>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36" name="Oval 135">
                    <a:extLst>
                      <a:ext uri="{FF2B5EF4-FFF2-40B4-BE49-F238E27FC236}">
                        <a16:creationId xmlns:a16="http://schemas.microsoft.com/office/drawing/2014/main" id="{49B2D7DD-EE58-CD4B-AADE-9A6FC499D5D9}"/>
                      </a:ext>
                    </a:extLst>
                  </p:cNvPr>
                  <p:cNvSpPr>
                    <a:spLocks noChangeAspect="1"/>
                  </p:cNvSpPr>
                  <p:nvPr/>
                </p:nvSpPr>
                <p:spPr>
                  <a:xfrm rot="2273755">
                    <a:off x="9239627" y="4273373"/>
                    <a:ext cx="57391" cy="63781"/>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grpSp>
          </p:grpSp>
          <p:sp>
            <p:nvSpPr>
              <p:cNvPr id="117" name="Oval 116">
                <a:extLst>
                  <a:ext uri="{FF2B5EF4-FFF2-40B4-BE49-F238E27FC236}">
                    <a16:creationId xmlns:a16="http://schemas.microsoft.com/office/drawing/2014/main" id="{DBD3EA5B-7A29-FC4B-955C-449DD4D5D9E1}"/>
                  </a:ext>
                </a:extLst>
              </p:cNvPr>
              <p:cNvSpPr/>
              <p:nvPr/>
            </p:nvSpPr>
            <p:spPr>
              <a:xfrm rot="13703096">
                <a:off x="9222966" y="4278386"/>
                <a:ext cx="22392" cy="24885"/>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18" name="Oval 117">
                <a:extLst>
                  <a:ext uri="{FF2B5EF4-FFF2-40B4-BE49-F238E27FC236}">
                    <a16:creationId xmlns:a16="http://schemas.microsoft.com/office/drawing/2014/main" id="{292A4F97-3A11-FA4B-9057-2B5C4034B5E2}"/>
                  </a:ext>
                </a:extLst>
              </p:cNvPr>
              <p:cNvSpPr/>
              <p:nvPr/>
            </p:nvSpPr>
            <p:spPr>
              <a:xfrm rot="13703096">
                <a:off x="9205744" y="4430786"/>
                <a:ext cx="22392" cy="24885"/>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19" name="Oval 118">
                <a:extLst>
                  <a:ext uri="{FF2B5EF4-FFF2-40B4-BE49-F238E27FC236}">
                    <a16:creationId xmlns:a16="http://schemas.microsoft.com/office/drawing/2014/main" id="{24F30E39-CF79-2D46-8103-6ADB194A6A4E}"/>
                  </a:ext>
                </a:extLst>
              </p:cNvPr>
              <p:cNvSpPr/>
              <p:nvPr/>
            </p:nvSpPr>
            <p:spPr>
              <a:xfrm rot="13703096">
                <a:off x="9375366" y="4375131"/>
                <a:ext cx="22392" cy="24885"/>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20" name="Oval 119">
                <a:extLst>
                  <a:ext uri="{FF2B5EF4-FFF2-40B4-BE49-F238E27FC236}">
                    <a16:creationId xmlns:a16="http://schemas.microsoft.com/office/drawing/2014/main" id="{D0726D36-AC62-0C4B-AD6B-8F46C2EA33E6}"/>
                  </a:ext>
                </a:extLst>
              </p:cNvPr>
              <p:cNvSpPr>
                <a:spLocks noChangeAspect="1"/>
              </p:cNvSpPr>
              <p:nvPr/>
            </p:nvSpPr>
            <p:spPr>
              <a:xfrm rot="20249823" flipH="1" flipV="1">
                <a:off x="9267514" y="4347546"/>
                <a:ext cx="22859" cy="23442"/>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21" name="Oval 120">
                <a:extLst>
                  <a:ext uri="{FF2B5EF4-FFF2-40B4-BE49-F238E27FC236}">
                    <a16:creationId xmlns:a16="http://schemas.microsoft.com/office/drawing/2014/main" id="{D0E6010F-191F-EF4D-9C67-ECAA29FBB064}"/>
                  </a:ext>
                </a:extLst>
              </p:cNvPr>
              <p:cNvSpPr>
                <a:spLocks noChangeAspect="1"/>
              </p:cNvSpPr>
              <p:nvPr/>
            </p:nvSpPr>
            <p:spPr>
              <a:xfrm rot="20249823" flipH="1" flipV="1">
                <a:off x="9371503" y="4287385"/>
                <a:ext cx="22859" cy="23442"/>
              </a:xfrm>
              <a:prstGeom prst="ellipse">
                <a:avLst/>
              </a:prstGeom>
              <a:solidFill>
                <a:srgbClr val="FF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22" name="Oval 121">
                <a:extLst>
                  <a:ext uri="{FF2B5EF4-FFF2-40B4-BE49-F238E27FC236}">
                    <a16:creationId xmlns:a16="http://schemas.microsoft.com/office/drawing/2014/main" id="{7A03D53A-AB6B-AD49-91F9-9351894349A5}"/>
                  </a:ext>
                </a:extLst>
              </p:cNvPr>
              <p:cNvSpPr>
                <a:spLocks noChangeAspect="1"/>
              </p:cNvSpPr>
              <p:nvPr/>
            </p:nvSpPr>
            <p:spPr>
              <a:xfrm rot="16468478">
                <a:off x="9192404" y="4321813"/>
                <a:ext cx="55810" cy="57231"/>
              </a:xfrm>
              <a:prstGeom prst="ellipse">
                <a:avLst/>
              </a:prstGeom>
              <a:solidFill>
                <a:srgbClr val="FE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123" name="Oval 122">
                <a:extLst>
                  <a:ext uri="{FF2B5EF4-FFF2-40B4-BE49-F238E27FC236}">
                    <a16:creationId xmlns:a16="http://schemas.microsoft.com/office/drawing/2014/main" id="{039D9DEC-F32F-FF45-A55E-040284135416}"/>
                  </a:ext>
                </a:extLst>
              </p:cNvPr>
              <p:cNvSpPr>
                <a:spLocks noChangeAspect="1"/>
              </p:cNvSpPr>
              <p:nvPr/>
            </p:nvSpPr>
            <p:spPr>
              <a:xfrm rot="1349823">
                <a:off x="9195218" y="4076731"/>
                <a:ext cx="34635" cy="3849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grpSp>
        <p:grpSp>
          <p:nvGrpSpPr>
            <p:cNvPr id="36" name="Group 35">
              <a:extLst>
                <a:ext uri="{FF2B5EF4-FFF2-40B4-BE49-F238E27FC236}">
                  <a16:creationId xmlns:a16="http://schemas.microsoft.com/office/drawing/2014/main" id="{D49BEA3D-DFCD-C240-826F-0DB6C0B2C5A1}"/>
                </a:ext>
              </a:extLst>
            </p:cNvPr>
            <p:cNvGrpSpPr/>
            <p:nvPr/>
          </p:nvGrpSpPr>
          <p:grpSpPr>
            <a:xfrm flipH="1">
              <a:off x="10128708" y="1248354"/>
              <a:ext cx="924176" cy="1103872"/>
              <a:chOff x="5481606" y="2827993"/>
              <a:chExt cx="1093168" cy="1202013"/>
            </a:xfrm>
          </p:grpSpPr>
          <p:sp>
            <p:nvSpPr>
              <p:cNvPr id="99" name="Arc 22">
                <a:extLst>
                  <a:ext uri="{FF2B5EF4-FFF2-40B4-BE49-F238E27FC236}">
                    <a16:creationId xmlns:a16="http://schemas.microsoft.com/office/drawing/2014/main" id="{CB453572-F926-F548-8BB5-DAE907073B5F}"/>
                  </a:ext>
                </a:extLst>
              </p:cNvPr>
              <p:cNvSpPr/>
              <p:nvPr/>
            </p:nvSpPr>
            <p:spPr>
              <a:xfrm rot="11351442" flipH="1">
                <a:off x="5929453" y="3239234"/>
                <a:ext cx="136339" cy="176449"/>
              </a:xfrm>
              <a:custGeom>
                <a:avLst/>
                <a:gdLst>
                  <a:gd name="connsiteX0" fmla="*/ 40460 w 80920"/>
                  <a:gd name="connsiteY0" fmla="*/ 0 h 216193"/>
                  <a:gd name="connsiteX1" fmla="*/ 80720 w 80920"/>
                  <a:gd name="connsiteY1" fmla="*/ 97365 h 216193"/>
                  <a:gd name="connsiteX2" fmla="*/ 74350 w 80920"/>
                  <a:gd name="connsiteY2" fmla="*/ 167147 h 216193"/>
                  <a:gd name="connsiteX3" fmla="*/ 40460 w 80920"/>
                  <a:gd name="connsiteY3" fmla="*/ 108097 h 216193"/>
                  <a:gd name="connsiteX4" fmla="*/ 40460 w 80920"/>
                  <a:gd name="connsiteY4" fmla="*/ 0 h 216193"/>
                  <a:gd name="connsiteX0" fmla="*/ 40460 w 80920"/>
                  <a:gd name="connsiteY0" fmla="*/ 0 h 216193"/>
                  <a:gd name="connsiteX1" fmla="*/ 80720 w 80920"/>
                  <a:gd name="connsiteY1" fmla="*/ 97365 h 216193"/>
                  <a:gd name="connsiteX2" fmla="*/ 74350 w 80920"/>
                  <a:gd name="connsiteY2" fmla="*/ 167147 h 216193"/>
                  <a:gd name="connsiteX0" fmla="*/ 0 w 63853"/>
                  <a:gd name="connsiteY0" fmla="*/ 0 h 167147"/>
                  <a:gd name="connsiteX1" fmla="*/ 40260 w 63853"/>
                  <a:gd name="connsiteY1" fmla="*/ 97365 h 167147"/>
                  <a:gd name="connsiteX2" fmla="*/ 33890 w 63853"/>
                  <a:gd name="connsiteY2" fmla="*/ 167147 h 167147"/>
                  <a:gd name="connsiteX3" fmla="*/ 0 w 63853"/>
                  <a:gd name="connsiteY3" fmla="*/ 108097 h 167147"/>
                  <a:gd name="connsiteX4" fmla="*/ 0 w 63853"/>
                  <a:gd name="connsiteY4" fmla="*/ 0 h 167147"/>
                  <a:gd name="connsiteX0" fmla="*/ 0 w 63853"/>
                  <a:gd name="connsiteY0" fmla="*/ 0 h 167147"/>
                  <a:gd name="connsiteX1" fmla="*/ 40260 w 63853"/>
                  <a:gd name="connsiteY1" fmla="*/ 97365 h 167147"/>
                  <a:gd name="connsiteX2" fmla="*/ 63229 w 63853"/>
                  <a:gd name="connsiteY2" fmla="*/ 154923 h 167147"/>
                  <a:gd name="connsiteX0" fmla="*/ 0 w 63591"/>
                  <a:gd name="connsiteY0" fmla="*/ 0 h 167147"/>
                  <a:gd name="connsiteX1" fmla="*/ 40260 w 63591"/>
                  <a:gd name="connsiteY1" fmla="*/ 97365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23"/>
                  <a:gd name="connsiteY0" fmla="*/ 0 h 167147"/>
                  <a:gd name="connsiteX1" fmla="*/ 18256 w 63523"/>
                  <a:gd name="connsiteY1" fmla="*/ 75360 h 167147"/>
                  <a:gd name="connsiteX2" fmla="*/ 33890 w 63523"/>
                  <a:gd name="connsiteY2" fmla="*/ 167147 h 167147"/>
                  <a:gd name="connsiteX3" fmla="*/ 0 w 63523"/>
                  <a:gd name="connsiteY3" fmla="*/ 108097 h 167147"/>
                  <a:gd name="connsiteX4" fmla="*/ 0 w 63523"/>
                  <a:gd name="connsiteY4" fmla="*/ 0 h 167147"/>
                  <a:gd name="connsiteX0" fmla="*/ 0 w 63523"/>
                  <a:gd name="connsiteY0" fmla="*/ 0 h 167147"/>
                  <a:gd name="connsiteX1" fmla="*/ 6031 w 63523"/>
                  <a:gd name="connsiteY1" fmla="*/ 109589 h 167147"/>
                  <a:gd name="connsiteX2" fmla="*/ 63229 w 63523"/>
                  <a:gd name="connsiteY2" fmla="*/ 154923 h 167147"/>
                  <a:gd name="connsiteX0" fmla="*/ 72795 w 136318"/>
                  <a:gd name="connsiteY0" fmla="*/ 9302 h 176449"/>
                  <a:gd name="connsiteX1" fmla="*/ 91051 w 136318"/>
                  <a:gd name="connsiteY1" fmla="*/ 84662 h 176449"/>
                  <a:gd name="connsiteX2" fmla="*/ 106685 w 136318"/>
                  <a:gd name="connsiteY2" fmla="*/ 176449 h 176449"/>
                  <a:gd name="connsiteX3" fmla="*/ 72795 w 136318"/>
                  <a:gd name="connsiteY3" fmla="*/ 117399 h 176449"/>
                  <a:gd name="connsiteX4" fmla="*/ 72795 w 136318"/>
                  <a:gd name="connsiteY4" fmla="*/ 9302 h 176449"/>
                  <a:gd name="connsiteX0" fmla="*/ 0 w 136318"/>
                  <a:gd name="connsiteY0" fmla="*/ 0 h 176449"/>
                  <a:gd name="connsiteX1" fmla="*/ 78826 w 136318"/>
                  <a:gd name="connsiteY1" fmla="*/ 118891 h 176449"/>
                  <a:gd name="connsiteX2" fmla="*/ 136024 w 136318"/>
                  <a:gd name="connsiteY2" fmla="*/ 164225 h 176449"/>
                  <a:gd name="connsiteX0" fmla="*/ 72795 w 136474"/>
                  <a:gd name="connsiteY0" fmla="*/ 9302 h 176449"/>
                  <a:gd name="connsiteX1" fmla="*/ 91051 w 136474"/>
                  <a:gd name="connsiteY1" fmla="*/ 84662 h 176449"/>
                  <a:gd name="connsiteX2" fmla="*/ 106685 w 136474"/>
                  <a:gd name="connsiteY2" fmla="*/ 176449 h 176449"/>
                  <a:gd name="connsiteX3" fmla="*/ 72795 w 136474"/>
                  <a:gd name="connsiteY3" fmla="*/ 117399 h 176449"/>
                  <a:gd name="connsiteX4" fmla="*/ 72795 w 136474"/>
                  <a:gd name="connsiteY4" fmla="*/ 9302 h 176449"/>
                  <a:gd name="connsiteX0" fmla="*/ 0 w 136474"/>
                  <a:gd name="connsiteY0" fmla="*/ 0 h 176449"/>
                  <a:gd name="connsiteX1" fmla="*/ 101258 w 136474"/>
                  <a:gd name="connsiteY1" fmla="*/ 102706 h 176449"/>
                  <a:gd name="connsiteX2" fmla="*/ 136024 w 136474"/>
                  <a:gd name="connsiteY2" fmla="*/ 164225 h 176449"/>
                  <a:gd name="connsiteX0" fmla="*/ 72795 w 136474"/>
                  <a:gd name="connsiteY0" fmla="*/ 9302 h 176449"/>
                  <a:gd name="connsiteX1" fmla="*/ 88317 w 136474"/>
                  <a:gd name="connsiteY1" fmla="*/ 101556 h 176449"/>
                  <a:gd name="connsiteX2" fmla="*/ 106685 w 136474"/>
                  <a:gd name="connsiteY2" fmla="*/ 176449 h 176449"/>
                  <a:gd name="connsiteX3" fmla="*/ 72795 w 136474"/>
                  <a:gd name="connsiteY3" fmla="*/ 117399 h 176449"/>
                  <a:gd name="connsiteX4" fmla="*/ 72795 w 136474"/>
                  <a:gd name="connsiteY4" fmla="*/ 9302 h 176449"/>
                  <a:gd name="connsiteX0" fmla="*/ 0 w 136474"/>
                  <a:gd name="connsiteY0" fmla="*/ 0 h 176449"/>
                  <a:gd name="connsiteX1" fmla="*/ 101258 w 136474"/>
                  <a:gd name="connsiteY1" fmla="*/ 102706 h 176449"/>
                  <a:gd name="connsiteX2" fmla="*/ 136024 w 136474"/>
                  <a:gd name="connsiteY2" fmla="*/ 164225 h 176449"/>
                  <a:gd name="connsiteX0" fmla="*/ 72795 w 136339"/>
                  <a:gd name="connsiteY0" fmla="*/ 9302 h 176449"/>
                  <a:gd name="connsiteX1" fmla="*/ 88317 w 136339"/>
                  <a:gd name="connsiteY1" fmla="*/ 101556 h 176449"/>
                  <a:gd name="connsiteX2" fmla="*/ 106685 w 136339"/>
                  <a:gd name="connsiteY2" fmla="*/ 176449 h 176449"/>
                  <a:gd name="connsiteX3" fmla="*/ 72795 w 136339"/>
                  <a:gd name="connsiteY3" fmla="*/ 117399 h 176449"/>
                  <a:gd name="connsiteX4" fmla="*/ 72795 w 136339"/>
                  <a:gd name="connsiteY4" fmla="*/ 9302 h 176449"/>
                  <a:gd name="connsiteX0" fmla="*/ 0 w 136339"/>
                  <a:gd name="connsiteY0" fmla="*/ 0 h 176449"/>
                  <a:gd name="connsiteX1" fmla="*/ 83192 w 136339"/>
                  <a:gd name="connsiteY1" fmla="*/ 107213 h 176449"/>
                  <a:gd name="connsiteX2" fmla="*/ 136024 w 136339"/>
                  <a:gd name="connsiteY2" fmla="*/ 164225 h 176449"/>
                </a:gdLst>
                <a:ahLst/>
                <a:cxnLst>
                  <a:cxn ang="0">
                    <a:pos x="connsiteX0" y="connsiteY0"/>
                  </a:cxn>
                  <a:cxn ang="0">
                    <a:pos x="connsiteX1" y="connsiteY1"/>
                  </a:cxn>
                  <a:cxn ang="0">
                    <a:pos x="connsiteX2" y="connsiteY2"/>
                  </a:cxn>
                </a:cxnLst>
                <a:rect l="l" t="t" r="r" b="b"/>
                <a:pathLst>
                  <a:path w="136339" h="176449" stroke="0" extrusionOk="0">
                    <a:moveTo>
                      <a:pt x="72795" y="9302"/>
                    </a:moveTo>
                    <a:cubicBezTo>
                      <a:pt x="93585" y="9302"/>
                      <a:pt x="86253" y="46286"/>
                      <a:pt x="88317" y="101556"/>
                    </a:cubicBezTo>
                    <a:cubicBezTo>
                      <a:pt x="89233" y="126077"/>
                      <a:pt x="111723" y="155808"/>
                      <a:pt x="106685" y="176449"/>
                    </a:cubicBezTo>
                    <a:lnTo>
                      <a:pt x="72795" y="117399"/>
                    </a:lnTo>
                    <a:lnTo>
                      <a:pt x="72795" y="9302"/>
                    </a:lnTo>
                    <a:close/>
                  </a:path>
                  <a:path w="136339" h="176449" fill="none">
                    <a:moveTo>
                      <a:pt x="0" y="0"/>
                    </a:moveTo>
                    <a:cubicBezTo>
                      <a:pt x="20790" y="0"/>
                      <a:pt x="81128" y="51943"/>
                      <a:pt x="83192" y="107213"/>
                    </a:cubicBezTo>
                    <a:cubicBezTo>
                      <a:pt x="84108" y="131734"/>
                      <a:pt x="141062" y="143584"/>
                      <a:pt x="136024" y="164225"/>
                    </a:cubicBezTo>
                  </a:path>
                </a:pathLst>
              </a:cu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endParaRPr lang="en-US" sz="900">
                  <a:solidFill>
                    <a:srgbClr val="333333"/>
                  </a:solidFill>
                  <a:latin typeface="Arial" panose="020B0604020202020204" pitchFamily="34" charset="0"/>
                  <a:cs typeface="Arial" panose="020B0604020202020204" pitchFamily="34" charset="0"/>
                </a:endParaRPr>
              </a:p>
            </p:txBody>
          </p:sp>
          <p:grpSp>
            <p:nvGrpSpPr>
              <p:cNvPr id="100" name="Group 99">
                <a:extLst>
                  <a:ext uri="{FF2B5EF4-FFF2-40B4-BE49-F238E27FC236}">
                    <a16:creationId xmlns:a16="http://schemas.microsoft.com/office/drawing/2014/main" id="{368AD3C1-C52D-6940-BB40-EBC2DAADD803}"/>
                  </a:ext>
                </a:extLst>
              </p:cNvPr>
              <p:cNvGrpSpPr/>
              <p:nvPr/>
            </p:nvGrpSpPr>
            <p:grpSpPr>
              <a:xfrm>
                <a:off x="5481606" y="2827993"/>
                <a:ext cx="1093168" cy="1202013"/>
                <a:chOff x="4315489" y="2753618"/>
                <a:chExt cx="1093168" cy="1202013"/>
              </a:xfrm>
            </p:grpSpPr>
            <p:grpSp>
              <p:nvGrpSpPr>
                <p:cNvPr id="104" name="Group 103">
                  <a:extLst>
                    <a:ext uri="{FF2B5EF4-FFF2-40B4-BE49-F238E27FC236}">
                      <a16:creationId xmlns:a16="http://schemas.microsoft.com/office/drawing/2014/main" id="{AF6AFC35-2205-984D-B674-3B519A40BBA8}"/>
                    </a:ext>
                  </a:extLst>
                </p:cNvPr>
                <p:cNvGrpSpPr/>
                <p:nvPr/>
              </p:nvGrpSpPr>
              <p:grpSpPr>
                <a:xfrm>
                  <a:off x="4315489" y="2753618"/>
                  <a:ext cx="509147" cy="511048"/>
                  <a:chOff x="4315489" y="2753618"/>
                  <a:chExt cx="509147" cy="511048"/>
                </a:xfrm>
              </p:grpSpPr>
              <p:sp>
                <p:nvSpPr>
                  <p:cNvPr id="112" name="Oval 111">
                    <a:extLst>
                      <a:ext uri="{FF2B5EF4-FFF2-40B4-BE49-F238E27FC236}">
                        <a16:creationId xmlns:a16="http://schemas.microsoft.com/office/drawing/2014/main" id="{A9D52689-10D4-6C48-810C-C3353E4BEB5E}"/>
                      </a:ext>
                    </a:extLst>
                  </p:cNvPr>
                  <p:cNvSpPr/>
                  <p:nvPr/>
                </p:nvSpPr>
                <p:spPr>
                  <a:xfrm rot="17425388">
                    <a:off x="4410181" y="2662285"/>
                    <a:ext cx="187949" cy="370615"/>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113" name="Oval 112">
                    <a:extLst>
                      <a:ext uri="{FF2B5EF4-FFF2-40B4-BE49-F238E27FC236}">
                        <a16:creationId xmlns:a16="http://schemas.microsoft.com/office/drawing/2014/main" id="{76DAE6BC-62DA-7348-8990-BE7C37930F73}"/>
                      </a:ext>
                    </a:extLst>
                  </p:cNvPr>
                  <p:cNvSpPr/>
                  <p:nvPr/>
                </p:nvSpPr>
                <p:spPr>
                  <a:xfrm rot="20367603">
                    <a:off x="4636687" y="2871230"/>
                    <a:ext cx="187949" cy="370615"/>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114" name="Oval 113">
                    <a:extLst>
                      <a:ext uri="{FF2B5EF4-FFF2-40B4-BE49-F238E27FC236}">
                        <a16:creationId xmlns:a16="http://schemas.microsoft.com/office/drawing/2014/main" id="{FE0DF741-1639-5640-9326-8D344646F617}"/>
                      </a:ext>
                    </a:extLst>
                  </p:cNvPr>
                  <p:cNvSpPr/>
                  <p:nvPr/>
                </p:nvSpPr>
                <p:spPr>
                  <a:xfrm rot="20262582">
                    <a:off x="4315489" y="2760898"/>
                    <a:ext cx="187949" cy="370615"/>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115" name="Oval 114">
                    <a:extLst>
                      <a:ext uri="{FF2B5EF4-FFF2-40B4-BE49-F238E27FC236}">
                        <a16:creationId xmlns:a16="http://schemas.microsoft.com/office/drawing/2014/main" id="{0103F596-2377-454F-9E4E-7FDBD0B1CAEE}"/>
                      </a:ext>
                    </a:extLst>
                  </p:cNvPr>
                  <p:cNvSpPr/>
                  <p:nvPr/>
                </p:nvSpPr>
                <p:spPr>
                  <a:xfrm rot="17465954">
                    <a:off x="4525647" y="2985384"/>
                    <a:ext cx="187949" cy="370615"/>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grpSp>
              <p:nvGrpSpPr>
                <p:cNvPr id="105" name="Group 104">
                  <a:extLst>
                    <a:ext uri="{FF2B5EF4-FFF2-40B4-BE49-F238E27FC236}">
                      <a16:creationId xmlns:a16="http://schemas.microsoft.com/office/drawing/2014/main" id="{BAD4077F-6AC8-354A-8B9C-8A9D2B499F59}"/>
                    </a:ext>
                  </a:extLst>
                </p:cNvPr>
                <p:cNvGrpSpPr/>
                <p:nvPr/>
              </p:nvGrpSpPr>
              <p:grpSpPr>
                <a:xfrm rot="10800000" flipH="1">
                  <a:off x="4899510" y="2760785"/>
                  <a:ext cx="509147" cy="511048"/>
                  <a:chOff x="4315489" y="2753618"/>
                  <a:chExt cx="509147" cy="511048"/>
                </a:xfrm>
              </p:grpSpPr>
              <p:sp>
                <p:nvSpPr>
                  <p:cNvPr id="108" name="Oval 107">
                    <a:extLst>
                      <a:ext uri="{FF2B5EF4-FFF2-40B4-BE49-F238E27FC236}">
                        <a16:creationId xmlns:a16="http://schemas.microsoft.com/office/drawing/2014/main" id="{B33FFC36-514B-3E42-856B-09646BE80233}"/>
                      </a:ext>
                    </a:extLst>
                  </p:cNvPr>
                  <p:cNvSpPr/>
                  <p:nvPr/>
                </p:nvSpPr>
                <p:spPr>
                  <a:xfrm rot="17425388">
                    <a:off x="4410181" y="2662285"/>
                    <a:ext cx="187949" cy="370615"/>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109" name="Oval 108">
                    <a:extLst>
                      <a:ext uri="{FF2B5EF4-FFF2-40B4-BE49-F238E27FC236}">
                        <a16:creationId xmlns:a16="http://schemas.microsoft.com/office/drawing/2014/main" id="{E0313384-F1ED-FB41-96FA-8DE3EE3B0BEF}"/>
                      </a:ext>
                    </a:extLst>
                  </p:cNvPr>
                  <p:cNvSpPr/>
                  <p:nvPr/>
                </p:nvSpPr>
                <p:spPr>
                  <a:xfrm rot="20262582">
                    <a:off x="4315489" y="2760898"/>
                    <a:ext cx="187949" cy="370615"/>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110" name="Oval 109">
                    <a:extLst>
                      <a:ext uri="{FF2B5EF4-FFF2-40B4-BE49-F238E27FC236}">
                        <a16:creationId xmlns:a16="http://schemas.microsoft.com/office/drawing/2014/main" id="{D56AE006-EF5E-F746-B9A4-E04A71ECE163}"/>
                      </a:ext>
                    </a:extLst>
                  </p:cNvPr>
                  <p:cNvSpPr/>
                  <p:nvPr/>
                </p:nvSpPr>
                <p:spPr>
                  <a:xfrm rot="17465954">
                    <a:off x="4525647" y="2985384"/>
                    <a:ext cx="187949" cy="370615"/>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111" name="Oval 110">
                    <a:extLst>
                      <a:ext uri="{FF2B5EF4-FFF2-40B4-BE49-F238E27FC236}">
                        <a16:creationId xmlns:a16="http://schemas.microsoft.com/office/drawing/2014/main" id="{D4276F13-0E2B-DA49-AAAE-CA4BC5D8B2FF}"/>
                      </a:ext>
                    </a:extLst>
                  </p:cNvPr>
                  <p:cNvSpPr/>
                  <p:nvPr/>
                </p:nvSpPr>
                <p:spPr>
                  <a:xfrm rot="20367603">
                    <a:off x="4636687" y="2871230"/>
                    <a:ext cx="187949" cy="370615"/>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sp>
              <p:nvSpPr>
                <p:cNvPr id="106" name="Oval 105">
                  <a:extLst>
                    <a:ext uri="{FF2B5EF4-FFF2-40B4-BE49-F238E27FC236}">
                      <a16:creationId xmlns:a16="http://schemas.microsoft.com/office/drawing/2014/main" id="{5C30197A-FBBE-1147-B24C-5198D798EB8E}"/>
                    </a:ext>
                  </a:extLst>
                </p:cNvPr>
                <p:cNvSpPr/>
                <p:nvPr/>
              </p:nvSpPr>
              <p:spPr>
                <a:xfrm rot="11867226">
                  <a:off x="4624754" y="3305268"/>
                  <a:ext cx="214155" cy="346879"/>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107" name="Oval 106">
                  <a:extLst>
                    <a:ext uri="{FF2B5EF4-FFF2-40B4-BE49-F238E27FC236}">
                      <a16:creationId xmlns:a16="http://schemas.microsoft.com/office/drawing/2014/main" id="{E07852A6-DDDB-864F-B0CA-914C0F9D3488}"/>
                    </a:ext>
                  </a:extLst>
                </p:cNvPr>
                <p:cNvSpPr/>
                <p:nvPr/>
              </p:nvSpPr>
              <p:spPr>
                <a:xfrm rot="9434721">
                  <a:off x="4626824" y="3602382"/>
                  <a:ext cx="214155" cy="353249"/>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sp>
            <p:nvSpPr>
              <p:cNvPr id="101" name="Arc 22">
                <a:extLst>
                  <a:ext uri="{FF2B5EF4-FFF2-40B4-BE49-F238E27FC236}">
                    <a16:creationId xmlns:a16="http://schemas.microsoft.com/office/drawing/2014/main" id="{B9D1EEE8-8919-274F-A7A1-C37D31C2A380}"/>
                  </a:ext>
                </a:extLst>
              </p:cNvPr>
              <p:cNvSpPr/>
              <p:nvPr/>
            </p:nvSpPr>
            <p:spPr>
              <a:xfrm>
                <a:off x="5992075" y="3271426"/>
                <a:ext cx="63806" cy="167147"/>
              </a:xfrm>
              <a:custGeom>
                <a:avLst/>
                <a:gdLst>
                  <a:gd name="connsiteX0" fmla="*/ 40460 w 80920"/>
                  <a:gd name="connsiteY0" fmla="*/ 0 h 216193"/>
                  <a:gd name="connsiteX1" fmla="*/ 80720 w 80920"/>
                  <a:gd name="connsiteY1" fmla="*/ 97365 h 216193"/>
                  <a:gd name="connsiteX2" fmla="*/ 74350 w 80920"/>
                  <a:gd name="connsiteY2" fmla="*/ 167147 h 216193"/>
                  <a:gd name="connsiteX3" fmla="*/ 40460 w 80920"/>
                  <a:gd name="connsiteY3" fmla="*/ 108097 h 216193"/>
                  <a:gd name="connsiteX4" fmla="*/ 40460 w 80920"/>
                  <a:gd name="connsiteY4" fmla="*/ 0 h 216193"/>
                  <a:gd name="connsiteX0" fmla="*/ 40460 w 80920"/>
                  <a:gd name="connsiteY0" fmla="*/ 0 h 216193"/>
                  <a:gd name="connsiteX1" fmla="*/ 80720 w 80920"/>
                  <a:gd name="connsiteY1" fmla="*/ 97365 h 216193"/>
                  <a:gd name="connsiteX2" fmla="*/ 74350 w 80920"/>
                  <a:gd name="connsiteY2" fmla="*/ 167147 h 216193"/>
                  <a:gd name="connsiteX0" fmla="*/ 0 w 63853"/>
                  <a:gd name="connsiteY0" fmla="*/ 0 h 167147"/>
                  <a:gd name="connsiteX1" fmla="*/ 40260 w 63853"/>
                  <a:gd name="connsiteY1" fmla="*/ 97365 h 167147"/>
                  <a:gd name="connsiteX2" fmla="*/ 33890 w 63853"/>
                  <a:gd name="connsiteY2" fmla="*/ 167147 h 167147"/>
                  <a:gd name="connsiteX3" fmla="*/ 0 w 63853"/>
                  <a:gd name="connsiteY3" fmla="*/ 108097 h 167147"/>
                  <a:gd name="connsiteX4" fmla="*/ 0 w 63853"/>
                  <a:gd name="connsiteY4" fmla="*/ 0 h 167147"/>
                  <a:gd name="connsiteX0" fmla="*/ 0 w 63853"/>
                  <a:gd name="connsiteY0" fmla="*/ 0 h 167147"/>
                  <a:gd name="connsiteX1" fmla="*/ 40260 w 63853"/>
                  <a:gd name="connsiteY1" fmla="*/ 97365 h 167147"/>
                  <a:gd name="connsiteX2" fmla="*/ 63229 w 63853"/>
                  <a:gd name="connsiteY2" fmla="*/ 154923 h 167147"/>
                  <a:gd name="connsiteX0" fmla="*/ 0 w 63591"/>
                  <a:gd name="connsiteY0" fmla="*/ 0 h 167147"/>
                  <a:gd name="connsiteX1" fmla="*/ 40260 w 63591"/>
                  <a:gd name="connsiteY1" fmla="*/ 97365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23"/>
                  <a:gd name="connsiteY0" fmla="*/ 0 h 167147"/>
                  <a:gd name="connsiteX1" fmla="*/ 18256 w 63523"/>
                  <a:gd name="connsiteY1" fmla="*/ 75360 h 167147"/>
                  <a:gd name="connsiteX2" fmla="*/ 33890 w 63523"/>
                  <a:gd name="connsiteY2" fmla="*/ 167147 h 167147"/>
                  <a:gd name="connsiteX3" fmla="*/ 0 w 63523"/>
                  <a:gd name="connsiteY3" fmla="*/ 108097 h 167147"/>
                  <a:gd name="connsiteX4" fmla="*/ 0 w 63523"/>
                  <a:gd name="connsiteY4" fmla="*/ 0 h 167147"/>
                  <a:gd name="connsiteX0" fmla="*/ 0 w 63523"/>
                  <a:gd name="connsiteY0" fmla="*/ 0 h 167147"/>
                  <a:gd name="connsiteX1" fmla="*/ 6031 w 63523"/>
                  <a:gd name="connsiteY1" fmla="*/ 109589 h 167147"/>
                  <a:gd name="connsiteX2" fmla="*/ 63229 w 63523"/>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80250 h 167147"/>
                  <a:gd name="connsiteX2" fmla="*/ 63229 w 63591"/>
                  <a:gd name="connsiteY2" fmla="*/ 154923 h 167147"/>
                  <a:gd name="connsiteX0" fmla="*/ 0 w 63806"/>
                  <a:gd name="connsiteY0" fmla="*/ 0 h 167147"/>
                  <a:gd name="connsiteX1" fmla="*/ 18256 w 63806"/>
                  <a:gd name="connsiteY1" fmla="*/ 75360 h 167147"/>
                  <a:gd name="connsiteX2" fmla="*/ 33890 w 63806"/>
                  <a:gd name="connsiteY2" fmla="*/ 167147 h 167147"/>
                  <a:gd name="connsiteX3" fmla="*/ 0 w 63806"/>
                  <a:gd name="connsiteY3" fmla="*/ 108097 h 167147"/>
                  <a:gd name="connsiteX4" fmla="*/ 0 w 63806"/>
                  <a:gd name="connsiteY4" fmla="*/ 0 h 167147"/>
                  <a:gd name="connsiteX0" fmla="*/ 0 w 63806"/>
                  <a:gd name="connsiteY0" fmla="*/ 0 h 167147"/>
                  <a:gd name="connsiteX1" fmla="*/ 37815 w 63806"/>
                  <a:gd name="connsiteY1" fmla="*/ 60691 h 167147"/>
                  <a:gd name="connsiteX2" fmla="*/ 63229 w 63806"/>
                  <a:gd name="connsiteY2" fmla="*/ 154923 h 167147"/>
                </a:gdLst>
                <a:ahLst/>
                <a:cxnLst>
                  <a:cxn ang="0">
                    <a:pos x="connsiteX0" y="connsiteY0"/>
                  </a:cxn>
                  <a:cxn ang="0">
                    <a:pos x="connsiteX1" y="connsiteY1"/>
                  </a:cxn>
                  <a:cxn ang="0">
                    <a:pos x="connsiteX2" y="connsiteY2"/>
                  </a:cxn>
                </a:cxnLst>
                <a:rect l="l" t="t" r="r" b="b"/>
                <a:pathLst>
                  <a:path w="63806" h="167147" stroke="0" extrusionOk="0">
                    <a:moveTo>
                      <a:pt x="0" y="0"/>
                    </a:moveTo>
                    <a:cubicBezTo>
                      <a:pt x="20790" y="0"/>
                      <a:pt x="16192" y="20090"/>
                      <a:pt x="18256" y="75360"/>
                    </a:cubicBezTo>
                    <a:cubicBezTo>
                      <a:pt x="19172" y="99881"/>
                      <a:pt x="38928" y="146506"/>
                      <a:pt x="33890" y="167147"/>
                    </a:cubicBezTo>
                    <a:lnTo>
                      <a:pt x="0" y="108097"/>
                    </a:lnTo>
                    <a:lnTo>
                      <a:pt x="0" y="0"/>
                    </a:lnTo>
                    <a:close/>
                  </a:path>
                  <a:path w="63806" h="167147" fill="none">
                    <a:moveTo>
                      <a:pt x="0" y="0"/>
                    </a:moveTo>
                    <a:cubicBezTo>
                      <a:pt x="20790" y="0"/>
                      <a:pt x="35751" y="5421"/>
                      <a:pt x="37815" y="60691"/>
                    </a:cubicBezTo>
                    <a:cubicBezTo>
                      <a:pt x="38731" y="85212"/>
                      <a:pt x="68267" y="134282"/>
                      <a:pt x="63229" y="154923"/>
                    </a:cubicBezTo>
                  </a:path>
                </a:pathLst>
              </a:cu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endParaRPr lang="en-US" sz="900">
                  <a:solidFill>
                    <a:srgbClr val="333333"/>
                  </a:solidFill>
                  <a:latin typeface="Arial" panose="020B0604020202020204" pitchFamily="34" charset="0"/>
                  <a:cs typeface="Arial" panose="020B0604020202020204" pitchFamily="34" charset="0"/>
                </a:endParaRPr>
              </a:p>
            </p:txBody>
          </p:sp>
          <p:sp>
            <p:nvSpPr>
              <p:cNvPr id="102" name="Oval 101">
                <a:extLst>
                  <a:ext uri="{FF2B5EF4-FFF2-40B4-BE49-F238E27FC236}">
                    <a16:creationId xmlns:a16="http://schemas.microsoft.com/office/drawing/2014/main" id="{27A2130B-ECBB-1A41-9BB8-8F62DEBB89CF}"/>
                  </a:ext>
                </a:extLst>
              </p:cNvPr>
              <p:cNvSpPr/>
              <p:nvPr/>
            </p:nvSpPr>
            <p:spPr>
              <a:xfrm rot="9732774" flipH="1">
                <a:off x="6012499" y="3377815"/>
                <a:ext cx="214155" cy="346879"/>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103" name="Oval 102">
                <a:extLst>
                  <a:ext uri="{FF2B5EF4-FFF2-40B4-BE49-F238E27FC236}">
                    <a16:creationId xmlns:a16="http://schemas.microsoft.com/office/drawing/2014/main" id="{254AA252-DD30-2440-9EE2-23C2E484D8E9}"/>
                  </a:ext>
                </a:extLst>
              </p:cNvPr>
              <p:cNvSpPr/>
              <p:nvPr/>
            </p:nvSpPr>
            <p:spPr>
              <a:xfrm rot="12165279" flipH="1">
                <a:off x="6014569" y="3674929"/>
                <a:ext cx="214155" cy="353249"/>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id="{03366126-6A7B-7641-BD3C-A9E9019DD177}"/>
                </a:ext>
              </a:extLst>
            </p:cNvPr>
            <p:cNvGrpSpPr/>
            <p:nvPr/>
          </p:nvGrpSpPr>
          <p:grpSpPr>
            <a:xfrm rot="11390673" flipH="1">
              <a:off x="9232016" y="2920014"/>
              <a:ext cx="742857" cy="887298"/>
              <a:chOff x="5481606" y="2827993"/>
              <a:chExt cx="1093168" cy="1202013"/>
            </a:xfrm>
          </p:grpSpPr>
          <p:sp>
            <p:nvSpPr>
              <p:cNvPr id="82" name="Arc 22">
                <a:extLst>
                  <a:ext uri="{FF2B5EF4-FFF2-40B4-BE49-F238E27FC236}">
                    <a16:creationId xmlns:a16="http://schemas.microsoft.com/office/drawing/2014/main" id="{969D5DB6-FF70-EA4B-9E7A-495AAD3DF9E2}"/>
                  </a:ext>
                </a:extLst>
              </p:cNvPr>
              <p:cNvSpPr/>
              <p:nvPr/>
            </p:nvSpPr>
            <p:spPr>
              <a:xfrm rot="11351442" flipH="1">
                <a:off x="5929453" y="3239234"/>
                <a:ext cx="136339" cy="176449"/>
              </a:xfrm>
              <a:custGeom>
                <a:avLst/>
                <a:gdLst>
                  <a:gd name="connsiteX0" fmla="*/ 40460 w 80920"/>
                  <a:gd name="connsiteY0" fmla="*/ 0 h 216193"/>
                  <a:gd name="connsiteX1" fmla="*/ 80720 w 80920"/>
                  <a:gd name="connsiteY1" fmla="*/ 97365 h 216193"/>
                  <a:gd name="connsiteX2" fmla="*/ 74350 w 80920"/>
                  <a:gd name="connsiteY2" fmla="*/ 167147 h 216193"/>
                  <a:gd name="connsiteX3" fmla="*/ 40460 w 80920"/>
                  <a:gd name="connsiteY3" fmla="*/ 108097 h 216193"/>
                  <a:gd name="connsiteX4" fmla="*/ 40460 w 80920"/>
                  <a:gd name="connsiteY4" fmla="*/ 0 h 216193"/>
                  <a:gd name="connsiteX0" fmla="*/ 40460 w 80920"/>
                  <a:gd name="connsiteY0" fmla="*/ 0 h 216193"/>
                  <a:gd name="connsiteX1" fmla="*/ 80720 w 80920"/>
                  <a:gd name="connsiteY1" fmla="*/ 97365 h 216193"/>
                  <a:gd name="connsiteX2" fmla="*/ 74350 w 80920"/>
                  <a:gd name="connsiteY2" fmla="*/ 167147 h 216193"/>
                  <a:gd name="connsiteX0" fmla="*/ 0 w 63853"/>
                  <a:gd name="connsiteY0" fmla="*/ 0 h 167147"/>
                  <a:gd name="connsiteX1" fmla="*/ 40260 w 63853"/>
                  <a:gd name="connsiteY1" fmla="*/ 97365 h 167147"/>
                  <a:gd name="connsiteX2" fmla="*/ 33890 w 63853"/>
                  <a:gd name="connsiteY2" fmla="*/ 167147 h 167147"/>
                  <a:gd name="connsiteX3" fmla="*/ 0 w 63853"/>
                  <a:gd name="connsiteY3" fmla="*/ 108097 h 167147"/>
                  <a:gd name="connsiteX4" fmla="*/ 0 w 63853"/>
                  <a:gd name="connsiteY4" fmla="*/ 0 h 167147"/>
                  <a:gd name="connsiteX0" fmla="*/ 0 w 63853"/>
                  <a:gd name="connsiteY0" fmla="*/ 0 h 167147"/>
                  <a:gd name="connsiteX1" fmla="*/ 40260 w 63853"/>
                  <a:gd name="connsiteY1" fmla="*/ 97365 h 167147"/>
                  <a:gd name="connsiteX2" fmla="*/ 63229 w 63853"/>
                  <a:gd name="connsiteY2" fmla="*/ 154923 h 167147"/>
                  <a:gd name="connsiteX0" fmla="*/ 0 w 63591"/>
                  <a:gd name="connsiteY0" fmla="*/ 0 h 167147"/>
                  <a:gd name="connsiteX1" fmla="*/ 40260 w 63591"/>
                  <a:gd name="connsiteY1" fmla="*/ 97365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23"/>
                  <a:gd name="connsiteY0" fmla="*/ 0 h 167147"/>
                  <a:gd name="connsiteX1" fmla="*/ 18256 w 63523"/>
                  <a:gd name="connsiteY1" fmla="*/ 75360 h 167147"/>
                  <a:gd name="connsiteX2" fmla="*/ 33890 w 63523"/>
                  <a:gd name="connsiteY2" fmla="*/ 167147 h 167147"/>
                  <a:gd name="connsiteX3" fmla="*/ 0 w 63523"/>
                  <a:gd name="connsiteY3" fmla="*/ 108097 h 167147"/>
                  <a:gd name="connsiteX4" fmla="*/ 0 w 63523"/>
                  <a:gd name="connsiteY4" fmla="*/ 0 h 167147"/>
                  <a:gd name="connsiteX0" fmla="*/ 0 w 63523"/>
                  <a:gd name="connsiteY0" fmla="*/ 0 h 167147"/>
                  <a:gd name="connsiteX1" fmla="*/ 6031 w 63523"/>
                  <a:gd name="connsiteY1" fmla="*/ 109589 h 167147"/>
                  <a:gd name="connsiteX2" fmla="*/ 63229 w 63523"/>
                  <a:gd name="connsiteY2" fmla="*/ 154923 h 167147"/>
                  <a:gd name="connsiteX0" fmla="*/ 72795 w 136318"/>
                  <a:gd name="connsiteY0" fmla="*/ 9302 h 176449"/>
                  <a:gd name="connsiteX1" fmla="*/ 91051 w 136318"/>
                  <a:gd name="connsiteY1" fmla="*/ 84662 h 176449"/>
                  <a:gd name="connsiteX2" fmla="*/ 106685 w 136318"/>
                  <a:gd name="connsiteY2" fmla="*/ 176449 h 176449"/>
                  <a:gd name="connsiteX3" fmla="*/ 72795 w 136318"/>
                  <a:gd name="connsiteY3" fmla="*/ 117399 h 176449"/>
                  <a:gd name="connsiteX4" fmla="*/ 72795 w 136318"/>
                  <a:gd name="connsiteY4" fmla="*/ 9302 h 176449"/>
                  <a:gd name="connsiteX0" fmla="*/ 0 w 136318"/>
                  <a:gd name="connsiteY0" fmla="*/ 0 h 176449"/>
                  <a:gd name="connsiteX1" fmla="*/ 78826 w 136318"/>
                  <a:gd name="connsiteY1" fmla="*/ 118891 h 176449"/>
                  <a:gd name="connsiteX2" fmla="*/ 136024 w 136318"/>
                  <a:gd name="connsiteY2" fmla="*/ 164225 h 176449"/>
                  <a:gd name="connsiteX0" fmla="*/ 72795 w 136474"/>
                  <a:gd name="connsiteY0" fmla="*/ 9302 h 176449"/>
                  <a:gd name="connsiteX1" fmla="*/ 91051 w 136474"/>
                  <a:gd name="connsiteY1" fmla="*/ 84662 h 176449"/>
                  <a:gd name="connsiteX2" fmla="*/ 106685 w 136474"/>
                  <a:gd name="connsiteY2" fmla="*/ 176449 h 176449"/>
                  <a:gd name="connsiteX3" fmla="*/ 72795 w 136474"/>
                  <a:gd name="connsiteY3" fmla="*/ 117399 h 176449"/>
                  <a:gd name="connsiteX4" fmla="*/ 72795 w 136474"/>
                  <a:gd name="connsiteY4" fmla="*/ 9302 h 176449"/>
                  <a:gd name="connsiteX0" fmla="*/ 0 w 136474"/>
                  <a:gd name="connsiteY0" fmla="*/ 0 h 176449"/>
                  <a:gd name="connsiteX1" fmla="*/ 101258 w 136474"/>
                  <a:gd name="connsiteY1" fmla="*/ 102706 h 176449"/>
                  <a:gd name="connsiteX2" fmla="*/ 136024 w 136474"/>
                  <a:gd name="connsiteY2" fmla="*/ 164225 h 176449"/>
                  <a:gd name="connsiteX0" fmla="*/ 72795 w 136474"/>
                  <a:gd name="connsiteY0" fmla="*/ 9302 h 176449"/>
                  <a:gd name="connsiteX1" fmla="*/ 88317 w 136474"/>
                  <a:gd name="connsiteY1" fmla="*/ 101556 h 176449"/>
                  <a:gd name="connsiteX2" fmla="*/ 106685 w 136474"/>
                  <a:gd name="connsiteY2" fmla="*/ 176449 h 176449"/>
                  <a:gd name="connsiteX3" fmla="*/ 72795 w 136474"/>
                  <a:gd name="connsiteY3" fmla="*/ 117399 h 176449"/>
                  <a:gd name="connsiteX4" fmla="*/ 72795 w 136474"/>
                  <a:gd name="connsiteY4" fmla="*/ 9302 h 176449"/>
                  <a:gd name="connsiteX0" fmla="*/ 0 w 136474"/>
                  <a:gd name="connsiteY0" fmla="*/ 0 h 176449"/>
                  <a:gd name="connsiteX1" fmla="*/ 101258 w 136474"/>
                  <a:gd name="connsiteY1" fmla="*/ 102706 h 176449"/>
                  <a:gd name="connsiteX2" fmla="*/ 136024 w 136474"/>
                  <a:gd name="connsiteY2" fmla="*/ 164225 h 176449"/>
                  <a:gd name="connsiteX0" fmla="*/ 72795 w 136339"/>
                  <a:gd name="connsiteY0" fmla="*/ 9302 h 176449"/>
                  <a:gd name="connsiteX1" fmla="*/ 88317 w 136339"/>
                  <a:gd name="connsiteY1" fmla="*/ 101556 h 176449"/>
                  <a:gd name="connsiteX2" fmla="*/ 106685 w 136339"/>
                  <a:gd name="connsiteY2" fmla="*/ 176449 h 176449"/>
                  <a:gd name="connsiteX3" fmla="*/ 72795 w 136339"/>
                  <a:gd name="connsiteY3" fmla="*/ 117399 h 176449"/>
                  <a:gd name="connsiteX4" fmla="*/ 72795 w 136339"/>
                  <a:gd name="connsiteY4" fmla="*/ 9302 h 176449"/>
                  <a:gd name="connsiteX0" fmla="*/ 0 w 136339"/>
                  <a:gd name="connsiteY0" fmla="*/ 0 h 176449"/>
                  <a:gd name="connsiteX1" fmla="*/ 83192 w 136339"/>
                  <a:gd name="connsiteY1" fmla="*/ 107213 h 176449"/>
                  <a:gd name="connsiteX2" fmla="*/ 136024 w 136339"/>
                  <a:gd name="connsiteY2" fmla="*/ 164225 h 176449"/>
                </a:gdLst>
                <a:ahLst/>
                <a:cxnLst>
                  <a:cxn ang="0">
                    <a:pos x="connsiteX0" y="connsiteY0"/>
                  </a:cxn>
                  <a:cxn ang="0">
                    <a:pos x="connsiteX1" y="connsiteY1"/>
                  </a:cxn>
                  <a:cxn ang="0">
                    <a:pos x="connsiteX2" y="connsiteY2"/>
                  </a:cxn>
                </a:cxnLst>
                <a:rect l="l" t="t" r="r" b="b"/>
                <a:pathLst>
                  <a:path w="136339" h="176449" stroke="0" extrusionOk="0">
                    <a:moveTo>
                      <a:pt x="72795" y="9302"/>
                    </a:moveTo>
                    <a:cubicBezTo>
                      <a:pt x="93585" y="9302"/>
                      <a:pt x="86253" y="46286"/>
                      <a:pt x="88317" y="101556"/>
                    </a:cubicBezTo>
                    <a:cubicBezTo>
                      <a:pt x="89233" y="126077"/>
                      <a:pt x="111723" y="155808"/>
                      <a:pt x="106685" y="176449"/>
                    </a:cubicBezTo>
                    <a:lnTo>
                      <a:pt x="72795" y="117399"/>
                    </a:lnTo>
                    <a:lnTo>
                      <a:pt x="72795" y="9302"/>
                    </a:lnTo>
                    <a:close/>
                  </a:path>
                  <a:path w="136339" h="176449" fill="none">
                    <a:moveTo>
                      <a:pt x="0" y="0"/>
                    </a:moveTo>
                    <a:cubicBezTo>
                      <a:pt x="20790" y="0"/>
                      <a:pt x="81128" y="51943"/>
                      <a:pt x="83192" y="107213"/>
                    </a:cubicBezTo>
                    <a:cubicBezTo>
                      <a:pt x="84108" y="131734"/>
                      <a:pt x="141062" y="143584"/>
                      <a:pt x="136024" y="164225"/>
                    </a:cubicBezTo>
                  </a:path>
                </a:pathLst>
              </a:cu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endParaRPr lang="en-US" sz="900">
                  <a:solidFill>
                    <a:srgbClr val="333333"/>
                  </a:solidFill>
                  <a:latin typeface="Arial" panose="020B0604020202020204" pitchFamily="34" charset="0"/>
                  <a:cs typeface="Arial" panose="020B0604020202020204" pitchFamily="34" charset="0"/>
                </a:endParaRPr>
              </a:p>
            </p:txBody>
          </p:sp>
          <p:grpSp>
            <p:nvGrpSpPr>
              <p:cNvPr id="83" name="Group 82">
                <a:extLst>
                  <a:ext uri="{FF2B5EF4-FFF2-40B4-BE49-F238E27FC236}">
                    <a16:creationId xmlns:a16="http://schemas.microsoft.com/office/drawing/2014/main" id="{26873C80-C420-1F4D-9AC8-FCA5DD3E988A}"/>
                  </a:ext>
                </a:extLst>
              </p:cNvPr>
              <p:cNvGrpSpPr/>
              <p:nvPr/>
            </p:nvGrpSpPr>
            <p:grpSpPr>
              <a:xfrm>
                <a:off x="5481606" y="2827993"/>
                <a:ext cx="1093168" cy="1202013"/>
                <a:chOff x="4315489" y="2753618"/>
                <a:chExt cx="1093168" cy="1202013"/>
              </a:xfrm>
            </p:grpSpPr>
            <p:grpSp>
              <p:nvGrpSpPr>
                <p:cNvPr id="87" name="Group 86">
                  <a:extLst>
                    <a:ext uri="{FF2B5EF4-FFF2-40B4-BE49-F238E27FC236}">
                      <a16:creationId xmlns:a16="http://schemas.microsoft.com/office/drawing/2014/main" id="{C491C1BB-C4EC-254A-B7AB-B7694E0A32F2}"/>
                    </a:ext>
                  </a:extLst>
                </p:cNvPr>
                <p:cNvGrpSpPr/>
                <p:nvPr/>
              </p:nvGrpSpPr>
              <p:grpSpPr>
                <a:xfrm>
                  <a:off x="4315489" y="2753618"/>
                  <a:ext cx="509147" cy="511048"/>
                  <a:chOff x="4315489" y="2753618"/>
                  <a:chExt cx="509147" cy="511048"/>
                </a:xfrm>
              </p:grpSpPr>
              <p:sp>
                <p:nvSpPr>
                  <p:cNvPr id="95" name="Oval 94">
                    <a:extLst>
                      <a:ext uri="{FF2B5EF4-FFF2-40B4-BE49-F238E27FC236}">
                        <a16:creationId xmlns:a16="http://schemas.microsoft.com/office/drawing/2014/main" id="{5892D1CE-619F-0B47-B4B8-E4B5E278B677}"/>
                      </a:ext>
                    </a:extLst>
                  </p:cNvPr>
                  <p:cNvSpPr/>
                  <p:nvPr/>
                </p:nvSpPr>
                <p:spPr>
                  <a:xfrm rot="17425388">
                    <a:off x="4410181" y="2662285"/>
                    <a:ext cx="187949" cy="370615"/>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96" name="Oval 95">
                    <a:extLst>
                      <a:ext uri="{FF2B5EF4-FFF2-40B4-BE49-F238E27FC236}">
                        <a16:creationId xmlns:a16="http://schemas.microsoft.com/office/drawing/2014/main" id="{7411FD0E-9286-0C4D-A8C5-80473A6C2C66}"/>
                      </a:ext>
                    </a:extLst>
                  </p:cNvPr>
                  <p:cNvSpPr/>
                  <p:nvPr/>
                </p:nvSpPr>
                <p:spPr>
                  <a:xfrm rot="20367603">
                    <a:off x="4636687" y="2871230"/>
                    <a:ext cx="187949" cy="370615"/>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97" name="Oval 96">
                    <a:extLst>
                      <a:ext uri="{FF2B5EF4-FFF2-40B4-BE49-F238E27FC236}">
                        <a16:creationId xmlns:a16="http://schemas.microsoft.com/office/drawing/2014/main" id="{D37B2010-7EE6-B643-8D38-7B5C1121D4EA}"/>
                      </a:ext>
                    </a:extLst>
                  </p:cNvPr>
                  <p:cNvSpPr/>
                  <p:nvPr/>
                </p:nvSpPr>
                <p:spPr>
                  <a:xfrm rot="20262582">
                    <a:off x="4315489" y="2760898"/>
                    <a:ext cx="187949" cy="370615"/>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98" name="Oval 97">
                    <a:extLst>
                      <a:ext uri="{FF2B5EF4-FFF2-40B4-BE49-F238E27FC236}">
                        <a16:creationId xmlns:a16="http://schemas.microsoft.com/office/drawing/2014/main" id="{9C638A8C-B04E-4145-8CF6-D63B9D9E07F5}"/>
                      </a:ext>
                    </a:extLst>
                  </p:cNvPr>
                  <p:cNvSpPr/>
                  <p:nvPr/>
                </p:nvSpPr>
                <p:spPr>
                  <a:xfrm rot="17465954">
                    <a:off x="4525647" y="2985384"/>
                    <a:ext cx="187949" cy="370615"/>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grpSp>
              <p:nvGrpSpPr>
                <p:cNvPr id="88" name="Group 87">
                  <a:extLst>
                    <a:ext uri="{FF2B5EF4-FFF2-40B4-BE49-F238E27FC236}">
                      <a16:creationId xmlns:a16="http://schemas.microsoft.com/office/drawing/2014/main" id="{D3E235E8-D722-4045-A9D8-54B7E395ED65}"/>
                    </a:ext>
                  </a:extLst>
                </p:cNvPr>
                <p:cNvGrpSpPr/>
                <p:nvPr/>
              </p:nvGrpSpPr>
              <p:grpSpPr>
                <a:xfrm rot="10800000" flipH="1">
                  <a:off x="4899510" y="2760785"/>
                  <a:ext cx="509147" cy="511048"/>
                  <a:chOff x="4315489" y="2753618"/>
                  <a:chExt cx="509147" cy="511048"/>
                </a:xfrm>
              </p:grpSpPr>
              <p:sp>
                <p:nvSpPr>
                  <p:cNvPr id="91" name="Oval 90">
                    <a:extLst>
                      <a:ext uri="{FF2B5EF4-FFF2-40B4-BE49-F238E27FC236}">
                        <a16:creationId xmlns:a16="http://schemas.microsoft.com/office/drawing/2014/main" id="{8572BFD4-239F-4D4C-A6DE-AD8552B7E714}"/>
                      </a:ext>
                    </a:extLst>
                  </p:cNvPr>
                  <p:cNvSpPr/>
                  <p:nvPr/>
                </p:nvSpPr>
                <p:spPr>
                  <a:xfrm rot="17425388">
                    <a:off x="4410181" y="2662285"/>
                    <a:ext cx="187949" cy="370615"/>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92" name="Oval 91">
                    <a:extLst>
                      <a:ext uri="{FF2B5EF4-FFF2-40B4-BE49-F238E27FC236}">
                        <a16:creationId xmlns:a16="http://schemas.microsoft.com/office/drawing/2014/main" id="{309CD647-12FE-9B40-801C-4AA28DD435CA}"/>
                      </a:ext>
                    </a:extLst>
                  </p:cNvPr>
                  <p:cNvSpPr/>
                  <p:nvPr/>
                </p:nvSpPr>
                <p:spPr>
                  <a:xfrm rot="20262582">
                    <a:off x="4315489" y="2760898"/>
                    <a:ext cx="187949" cy="370615"/>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93" name="Oval 92">
                    <a:extLst>
                      <a:ext uri="{FF2B5EF4-FFF2-40B4-BE49-F238E27FC236}">
                        <a16:creationId xmlns:a16="http://schemas.microsoft.com/office/drawing/2014/main" id="{6D962513-0CBD-C348-B1F1-E84C125CE114}"/>
                      </a:ext>
                    </a:extLst>
                  </p:cNvPr>
                  <p:cNvSpPr/>
                  <p:nvPr/>
                </p:nvSpPr>
                <p:spPr>
                  <a:xfrm rot="17465954">
                    <a:off x="4525647" y="2985384"/>
                    <a:ext cx="187949" cy="370615"/>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94" name="Oval 93">
                    <a:extLst>
                      <a:ext uri="{FF2B5EF4-FFF2-40B4-BE49-F238E27FC236}">
                        <a16:creationId xmlns:a16="http://schemas.microsoft.com/office/drawing/2014/main" id="{E4D8A210-15CD-C748-81EA-404EA05F3195}"/>
                      </a:ext>
                    </a:extLst>
                  </p:cNvPr>
                  <p:cNvSpPr/>
                  <p:nvPr/>
                </p:nvSpPr>
                <p:spPr>
                  <a:xfrm rot="20367603">
                    <a:off x="4636687" y="2871230"/>
                    <a:ext cx="187949" cy="370615"/>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sp>
              <p:nvSpPr>
                <p:cNvPr id="89" name="Oval 88">
                  <a:extLst>
                    <a:ext uri="{FF2B5EF4-FFF2-40B4-BE49-F238E27FC236}">
                      <a16:creationId xmlns:a16="http://schemas.microsoft.com/office/drawing/2014/main" id="{7C90D7F7-0F6E-EC45-8F4F-DA82E4D3676A}"/>
                    </a:ext>
                  </a:extLst>
                </p:cNvPr>
                <p:cNvSpPr/>
                <p:nvPr/>
              </p:nvSpPr>
              <p:spPr>
                <a:xfrm rot="11867226">
                  <a:off x="4624754" y="3305268"/>
                  <a:ext cx="214155" cy="346879"/>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90" name="Oval 89">
                  <a:extLst>
                    <a:ext uri="{FF2B5EF4-FFF2-40B4-BE49-F238E27FC236}">
                      <a16:creationId xmlns:a16="http://schemas.microsoft.com/office/drawing/2014/main" id="{10B3924A-E850-574F-85B4-BB89395E00B7}"/>
                    </a:ext>
                  </a:extLst>
                </p:cNvPr>
                <p:cNvSpPr/>
                <p:nvPr/>
              </p:nvSpPr>
              <p:spPr>
                <a:xfrm rot="9434721">
                  <a:off x="4626824" y="3602382"/>
                  <a:ext cx="214155" cy="353249"/>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sp>
            <p:nvSpPr>
              <p:cNvPr id="84" name="Arc 22">
                <a:extLst>
                  <a:ext uri="{FF2B5EF4-FFF2-40B4-BE49-F238E27FC236}">
                    <a16:creationId xmlns:a16="http://schemas.microsoft.com/office/drawing/2014/main" id="{75B3A061-AFDB-4C4F-B389-F8AA2843593C}"/>
                  </a:ext>
                </a:extLst>
              </p:cNvPr>
              <p:cNvSpPr/>
              <p:nvPr/>
            </p:nvSpPr>
            <p:spPr>
              <a:xfrm>
                <a:off x="5992075" y="3271426"/>
                <a:ext cx="63806" cy="167147"/>
              </a:xfrm>
              <a:custGeom>
                <a:avLst/>
                <a:gdLst>
                  <a:gd name="connsiteX0" fmla="*/ 40460 w 80920"/>
                  <a:gd name="connsiteY0" fmla="*/ 0 h 216193"/>
                  <a:gd name="connsiteX1" fmla="*/ 80720 w 80920"/>
                  <a:gd name="connsiteY1" fmla="*/ 97365 h 216193"/>
                  <a:gd name="connsiteX2" fmla="*/ 74350 w 80920"/>
                  <a:gd name="connsiteY2" fmla="*/ 167147 h 216193"/>
                  <a:gd name="connsiteX3" fmla="*/ 40460 w 80920"/>
                  <a:gd name="connsiteY3" fmla="*/ 108097 h 216193"/>
                  <a:gd name="connsiteX4" fmla="*/ 40460 w 80920"/>
                  <a:gd name="connsiteY4" fmla="*/ 0 h 216193"/>
                  <a:gd name="connsiteX0" fmla="*/ 40460 w 80920"/>
                  <a:gd name="connsiteY0" fmla="*/ 0 h 216193"/>
                  <a:gd name="connsiteX1" fmla="*/ 80720 w 80920"/>
                  <a:gd name="connsiteY1" fmla="*/ 97365 h 216193"/>
                  <a:gd name="connsiteX2" fmla="*/ 74350 w 80920"/>
                  <a:gd name="connsiteY2" fmla="*/ 167147 h 216193"/>
                  <a:gd name="connsiteX0" fmla="*/ 0 w 63853"/>
                  <a:gd name="connsiteY0" fmla="*/ 0 h 167147"/>
                  <a:gd name="connsiteX1" fmla="*/ 40260 w 63853"/>
                  <a:gd name="connsiteY1" fmla="*/ 97365 h 167147"/>
                  <a:gd name="connsiteX2" fmla="*/ 33890 w 63853"/>
                  <a:gd name="connsiteY2" fmla="*/ 167147 h 167147"/>
                  <a:gd name="connsiteX3" fmla="*/ 0 w 63853"/>
                  <a:gd name="connsiteY3" fmla="*/ 108097 h 167147"/>
                  <a:gd name="connsiteX4" fmla="*/ 0 w 63853"/>
                  <a:gd name="connsiteY4" fmla="*/ 0 h 167147"/>
                  <a:gd name="connsiteX0" fmla="*/ 0 w 63853"/>
                  <a:gd name="connsiteY0" fmla="*/ 0 h 167147"/>
                  <a:gd name="connsiteX1" fmla="*/ 40260 w 63853"/>
                  <a:gd name="connsiteY1" fmla="*/ 97365 h 167147"/>
                  <a:gd name="connsiteX2" fmla="*/ 63229 w 63853"/>
                  <a:gd name="connsiteY2" fmla="*/ 154923 h 167147"/>
                  <a:gd name="connsiteX0" fmla="*/ 0 w 63591"/>
                  <a:gd name="connsiteY0" fmla="*/ 0 h 167147"/>
                  <a:gd name="connsiteX1" fmla="*/ 40260 w 63591"/>
                  <a:gd name="connsiteY1" fmla="*/ 97365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23"/>
                  <a:gd name="connsiteY0" fmla="*/ 0 h 167147"/>
                  <a:gd name="connsiteX1" fmla="*/ 18256 w 63523"/>
                  <a:gd name="connsiteY1" fmla="*/ 75360 h 167147"/>
                  <a:gd name="connsiteX2" fmla="*/ 33890 w 63523"/>
                  <a:gd name="connsiteY2" fmla="*/ 167147 h 167147"/>
                  <a:gd name="connsiteX3" fmla="*/ 0 w 63523"/>
                  <a:gd name="connsiteY3" fmla="*/ 108097 h 167147"/>
                  <a:gd name="connsiteX4" fmla="*/ 0 w 63523"/>
                  <a:gd name="connsiteY4" fmla="*/ 0 h 167147"/>
                  <a:gd name="connsiteX0" fmla="*/ 0 w 63523"/>
                  <a:gd name="connsiteY0" fmla="*/ 0 h 167147"/>
                  <a:gd name="connsiteX1" fmla="*/ 6031 w 63523"/>
                  <a:gd name="connsiteY1" fmla="*/ 109589 h 167147"/>
                  <a:gd name="connsiteX2" fmla="*/ 63229 w 63523"/>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80250 h 167147"/>
                  <a:gd name="connsiteX2" fmla="*/ 63229 w 63591"/>
                  <a:gd name="connsiteY2" fmla="*/ 154923 h 167147"/>
                  <a:gd name="connsiteX0" fmla="*/ 0 w 63806"/>
                  <a:gd name="connsiteY0" fmla="*/ 0 h 167147"/>
                  <a:gd name="connsiteX1" fmla="*/ 18256 w 63806"/>
                  <a:gd name="connsiteY1" fmla="*/ 75360 h 167147"/>
                  <a:gd name="connsiteX2" fmla="*/ 33890 w 63806"/>
                  <a:gd name="connsiteY2" fmla="*/ 167147 h 167147"/>
                  <a:gd name="connsiteX3" fmla="*/ 0 w 63806"/>
                  <a:gd name="connsiteY3" fmla="*/ 108097 h 167147"/>
                  <a:gd name="connsiteX4" fmla="*/ 0 w 63806"/>
                  <a:gd name="connsiteY4" fmla="*/ 0 h 167147"/>
                  <a:gd name="connsiteX0" fmla="*/ 0 w 63806"/>
                  <a:gd name="connsiteY0" fmla="*/ 0 h 167147"/>
                  <a:gd name="connsiteX1" fmla="*/ 37815 w 63806"/>
                  <a:gd name="connsiteY1" fmla="*/ 60691 h 167147"/>
                  <a:gd name="connsiteX2" fmla="*/ 63229 w 63806"/>
                  <a:gd name="connsiteY2" fmla="*/ 154923 h 167147"/>
                </a:gdLst>
                <a:ahLst/>
                <a:cxnLst>
                  <a:cxn ang="0">
                    <a:pos x="connsiteX0" y="connsiteY0"/>
                  </a:cxn>
                  <a:cxn ang="0">
                    <a:pos x="connsiteX1" y="connsiteY1"/>
                  </a:cxn>
                  <a:cxn ang="0">
                    <a:pos x="connsiteX2" y="connsiteY2"/>
                  </a:cxn>
                </a:cxnLst>
                <a:rect l="l" t="t" r="r" b="b"/>
                <a:pathLst>
                  <a:path w="63806" h="167147" stroke="0" extrusionOk="0">
                    <a:moveTo>
                      <a:pt x="0" y="0"/>
                    </a:moveTo>
                    <a:cubicBezTo>
                      <a:pt x="20790" y="0"/>
                      <a:pt x="16192" y="20090"/>
                      <a:pt x="18256" y="75360"/>
                    </a:cubicBezTo>
                    <a:cubicBezTo>
                      <a:pt x="19172" y="99881"/>
                      <a:pt x="38928" y="146506"/>
                      <a:pt x="33890" y="167147"/>
                    </a:cubicBezTo>
                    <a:lnTo>
                      <a:pt x="0" y="108097"/>
                    </a:lnTo>
                    <a:lnTo>
                      <a:pt x="0" y="0"/>
                    </a:lnTo>
                    <a:close/>
                  </a:path>
                  <a:path w="63806" h="167147" fill="none">
                    <a:moveTo>
                      <a:pt x="0" y="0"/>
                    </a:moveTo>
                    <a:cubicBezTo>
                      <a:pt x="20790" y="0"/>
                      <a:pt x="35751" y="5421"/>
                      <a:pt x="37815" y="60691"/>
                    </a:cubicBezTo>
                    <a:cubicBezTo>
                      <a:pt x="38731" y="85212"/>
                      <a:pt x="68267" y="134282"/>
                      <a:pt x="63229" y="154923"/>
                    </a:cubicBezTo>
                  </a:path>
                </a:pathLst>
              </a:cu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endParaRPr lang="en-US" sz="900">
                  <a:solidFill>
                    <a:srgbClr val="333333"/>
                  </a:solidFill>
                  <a:latin typeface="Arial" panose="020B0604020202020204" pitchFamily="34" charset="0"/>
                  <a:cs typeface="Arial" panose="020B0604020202020204" pitchFamily="34" charset="0"/>
                </a:endParaRPr>
              </a:p>
            </p:txBody>
          </p:sp>
          <p:sp>
            <p:nvSpPr>
              <p:cNvPr id="85" name="Oval 84">
                <a:extLst>
                  <a:ext uri="{FF2B5EF4-FFF2-40B4-BE49-F238E27FC236}">
                    <a16:creationId xmlns:a16="http://schemas.microsoft.com/office/drawing/2014/main" id="{A1B67F7B-2226-6C47-ACA3-3ABADAD5B9A1}"/>
                  </a:ext>
                </a:extLst>
              </p:cNvPr>
              <p:cNvSpPr/>
              <p:nvPr/>
            </p:nvSpPr>
            <p:spPr>
              <a:xfrm rot="9732774" flipH="1">
                <a:off x="6012499" y="3377815"/>
                <a:ext cx="214155" cy="346879"/>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86" name="Oval 85">
                <a:extLst>
                  <a:ext uri="{FF2B5EF4-FFF2-40B4-BE49-F238E27FC236}">
                    <a16:creationId xmlns:a16="http://schemas.microsoft.com/office/drawing/2014/main" id="{432E776E-0EA0-3F45-8CD2-48231F6A3DAE}"/>
                  </a:ext>
                </a:extLst>
              </p:cNvPr>
              <p:cNvSpPr/>
              <p:nvPr/>
            </p:nvSpPr>
            <p:spPr>
              <a:xfrm rot="12165279" flipH="1">
                <a:off x="6014569" y="3674929"/>
                <a:ext cx="214155" cy="353249"/>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grpSp>
          <p:nvGrpSpPr>
            <p:cNvPr id="38" name="Group 37">
              <a:extLst>
                <a:ext uri="{FF2B5EF4-FFF2-40B4-BE49-F238E27FC236}">
                  <a16:creationId xmlns:a16="http://schemas.microsoft.com/office/drawing/2014/main" id="{139F3736-B466-6B4A-A009-3A8147ED5C20}"/>
                </a:ext>
              </a:extLst>
            </p:cNvPr>
            <p:cNvGrpSpPr/>
            <p:nvPr/>
          </p:nvGrpSpPr>
          <p:grpSpPr>
            <a:xfrm flipH="1">
              <a:off x="8377209" y="1247749"/>
              <a:ext cx="924176" cy="1103872"/>
              <a:chOff x="5481606" y="2827993"/>
              <a:chExt cx="1093168" cy="1202013"/>
            </a:xfrm>
          </p:grpSpPr>
          <p:sp>
            <p:nvSpPr>
              <p:cNvPr id="65" name="Arc 22">
                <a:extLst>
                  <a:ext uri="{FF2B5EF4-FFF2-40B4-BE49-F238E27FC236}">
                    <a16:creationId xmlns:a16="http://schemas.microsoft.com/office/drawing/2014/main" id="{27619348-5D78-D244-A092-84901F175B20}"/>
                  </a:ext>
                </a:extLst>
              </p:cNvPr>
              <p:cNvSpPr/>
              <p:nvPr/>
            </p:nvSpPr>
            <p:spPr>
              <a:xfrm rot="11351442" flipH="1">
                <a:off x="5929453" y="3239234"/>
                <a:ext cx="136339" cy="176449"/>
              </a:xfrm>
              <a:custGeom>
                <a:avLst/>
                <a:gdLst>
                  <a:gd name="connsiteX0" fmla="*/ 40460 w 80920"/>
                  <a:gd name="connsiteY0" fmla="*/ 0 h 216193"/>
                  <a:gd name="connsiteX1" fmla="*/ 80720 w 80920"/>
                  <a:gd name="connsiteY1" fmla="*/ 97365 h 216193"/>
                  <a:gd name="connsiteX2" fmla="*/ 74350 w 80920"/>
                  <a:gd name="connsiteY2" fmla="*/ 167147 h 216193"/>
                  <a:gd name="connsiteX3" fmla="*/ 40460 w 80920"/>
                  <a:gd name="connsiteY3" fmla="*/ 108097 h 216193"/>
                  <a:gd name="connsiteX4" fmla="*/ 40460 w 80920"/>
                  <a:gd name="connsiteY4" fmla="*/ 0 h 216193"/>
                  <a:gd name="connsiteX0" fmla="*/ 40460 w 80920"/>
                  <a:gd name="connsiteY0" fmla="*/ 0 h 216193"/>
                  <a:gd name="connsiteX1" fmla="*/ 80720 w 80920"/>
                  <a:gd name="connsiteY1" fmla="*/ 97365 h 216193"/>
                  <a:gd name="connsiteX2" fmla="*/ 74350 w 80920"/>
                  <a:gd name="connsiteY2" fmla="*/ 167147 h 216193"/>
                  <a:gd name="connsiteX0" fmla="*/ 0 w 63853"/>
                  <a:gd name="connsiteY0" fmla="*/ 0 h 167147"/>
                  <a:gd name="connsiteX1" fmla="*/ 40260 w 63853"/>
                  <a:gd name="connsiteY1" fmla="*/ 97365 h 167147"/>
                  <a:gd name="connsiteX2" fmla="*/ 33890 w 63853"/>
                  <a:gd name="connsiteY2" fmla="*/ 167147 h 167147"/>
                  <a:gd name="connsiteX3" fmla="*/ 0 w 63853"/>
                  <a:gd name="connsiteY3" fmla="*/ 108097 h 167147"/>
                  <a:gd name="connsiteX4" fmla="*/ 0 w 63853"/>
                  <a:gd name="connsiteY4" fmla="*/ 0 h 167147"/>
                  <a:gd name="connsiteX0" fmla="*/ 0 w 63853"/>
                  <a:gd name="connsiteY0" fmla="*/ 0 h 167147"/>
                  <a:gd name="connsiteX1" fmla="*/ 40260 w 63853"/>
                  <a:gd name="connsiteY1" fmla="*/ 97365 h 167147"/>
                  <a:gd name="connsiteX2" fmla="*/ 63229 w 63853"/>
                  <a:gd name="connsiteY2" fmla="*/ 154923 h 167147"/>
                  <a:gd name="connsiteX0" fmla="*/ 0 w 63591"/>
                  <a:gd name="connsiteY0" fmla="*/ 0 h 167147"/>
                  <a:gd name="connsiteX1" fmla="*/ 40260 w 63591"/>
                  <a:gd name="connsiteY1" fmla="*/ 97365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23"/>
                  <a:gd name="connsiteY0" fmla="*/ 0 h 167147"/>
                  <a:gd name="connsiteX1" fmla="*/ 18256 w 63523"/>
                  <a:gd name="connsiteY1" fmla="*/ 75360 h 167147"/>
                  <a:gd name="connsiteX2" fmla="*/ 33890 w 63523"/>
                  <a:gd name="connsiteY2" fmla="*/ 167147 h 167147"/>
                  <a:gd name="connsiteX3" fmla="*/ 0 w 63523"/>
                  <a:gd name="connsiteY3" fmla="*/ 108097 h 167147"/>
                  <a:gd name="connsiteX4" fmla="*/ 0 w 63523"/>
                  <a:gd name="connsiteY4" fmla="*/ 0 h 167147"/>
                  <a:gd name="connsiteX0" fmla="*/ 0 w 63523"/>
                  <a:gd name="connsiteY0" fmla="*/ 0 h 167147"/>
                  <a:gd name="connsiteX1" fmla="*/ 6031 w 63523"/>
                  <a:gd name="connsiteY1" fmla="*/ 109589 h 167147"/>
                  <a:gd name="connsiteX2" fmla="*/ 63229 w 63523"/>
                  <a:gd name="connsiteY2" fmla="*/ 154923 h 167147"/>
                  <a:gd name="connsiteX0" fmla="*/ 72795 w 136318"/>
                  <a:gd name="connsiteY0" fmla="*/ 9302 h 176449"/>
                  <a:gd name="connsiteX1" fmla="*/ 91051 w 136318"/>
                  <a:gd name="connsiteY1" fmla="*/ 84662 h 176449"/>
                  <a:gd name="connsiteX2" fmla="*/ 106685 w 136318"/>
                  <a:gd name="connsiteY2" fmla="*/ 176449 h 176449"/>
                  <a:gd name="connsiteX3" fmla="*/ 72795 w 136318"/>
                  <a:gd name="connsiteY3" fmla="*/ 117399 h 176449"/>
                  <a:gd name="connsiteX4" fmla="*/ 72795 w 136318"/>
                  <a:gd name="connsiteY4" fmla="*/ 9302 h 176449"/>
                  <a:gd name="connsiteX0" fmla="*/ 0 w 136318"/>
                  <a:gd name="connsiteY0" fmla="*/ 0 h 176449"/>
                  <a:gd name="connsiteX1" fmla="*/ 78826 w 136318"/>
                  <a:gd name="connsiteY1" fmla="*/ 118891 h 176449"/>
                  <a:gd name="connsiteX2" fmla="*/ 136024 w 136318"/>
                  <a:gd name="connsiteY2" fmla="*/ 164225 h 176449"/>
                  <a:gd name="connsiteX0" fmla="*/ 72795 w 136474"/>
                  <a:gd name="connsiteY0" fmla="*/ 9302 h 176449"/>
                  <a:gd name="connsiteX1" fmla="*/ 91051 w 136474"/>
                  <a:gd name="connsiteY1" fmla="*/ 84662 h 176449"/>
                  <a:gd name="connsiteX2" fmla="*/ 106685 w 136474"/>
                  <a:gd name="connsiteY2" fmla="*/ 176449 h 176449"/>
                  <a:gd name="connsiteX3" fmla="*/ 72795 w 136474"/>
                  <a:gd name="connsiteY3" fmla="*/ 117399 h 176449"/>
                  <a:gd name="connsiteX4" fmla="*/ 72795 w 136474"/>
                  <a:gd name="connsiteY4" fmla="*/ 9302 h 176449"/>
                  <a:gd name="connsiteX0" fmla="*/ 0 w 136474"/>
                  <a:gd name="connsiteY0" fmla="*/ 0 h 176449"/>
                  <a:gd name="connsiteX1" fmla="*/ 101258 w 136474"/>
                  <a:gd name="connsiteY1" fmla="*/ 102706 h 176449"/>
                  <a:gd name="connsiteX2" fmla="*/ 136024 w 136474"/>
                  <a:gd name="connsiteY2" fmla="*/ 164225 h 176449"/>
                  <a:gd name="connsiteX0" fmla="*/ 72795 w 136474"/>
                  <a:gd name="connsiteY0" fmla="*/ 9302 h 176449"/>
                  <a:gd name="connsiteX1" fmla="*/ 88317 w 136474"/>
                  <a:gd name="connsiteY1" fmla="*/ 101556 h 176449"/>
                  <a:gd name="connsiteX2" fmla="*/ 106685 w 136474"/>
                  <a:gd name="connsiteY2" fmla="*/ 176449 h 176449"/>
                  <a:gd name="connsiteX3" fmla="*/ 72795 w 136474"/>
                  <a:gd name="connsiteY3" fmla="*/ 117399 h 176449"/>
                  <a:gd name="connsiteX4" fmla="*/ 72795 w 136474"/>
                  <a:gd name="connsiteY4" fmla="*/ 9302 h 176449"/>
                  <a:gd name="connsiteX0" fmla="*/ 0 w 136474"/>
                  <a:gd name="connsiteY0" fmla="*/ 0 h 176449"/>
                  <a:gd name="connsiteX1" fmla="*/ 101258 w 136474"/>
                  <a:gd name="connsiteY1" fmla="*/ 102706 h 176449"/>
                  <a:gd name="connsiteX2" fmla="*/ 136024 w 136474"/>
                  <a:gd name="connsiteY2" fmla="*/ 164225 h 176449"/>
                  <a:gd name="connsiteX0" fmla="*/ 72795 w 136339"/>
                  <a:gd name="connsiteY0" fmla="*/ 9302 h 176449"/>
                  <a:gd name="connsiteX1" fmla="*/ 88317 w 136339"/>
                  <a:gd name="connsiteY1" fmla="*/ 101556 h 176449"/>
                  <a:gd name="connsiteX2" fmla="*/ 106685 w 136339"/>
                  <a:gd name="connsiteY2" fmla="*/ 176449 h 176449"/>
                  <a:gd name="connsiteX3" fmla="*/ 72795 w 136339"/>
                  <a:gd name="connsiteY3" fmla="*/ 117399 h 176449"/>
                  <a:gd name="connsiteX4" fmla="*/ 72795 w 136339"/>
                  <a:gd name="connsiteY4" fmla="*/ 9302 h 176449"/>
                  <a:gd name="connsiteX0" fmla="*/ 0 w 136339"/>
                  <a:gd name="connsiteY0" fmla="*/ 0 h 176449"/>
                  <a:gd name="connsiteX1" fmla="*/ 83192 w 136339"/>
                  <a:gd name="connsiteY1" fmla="*/ 107213 h 176449"/>
                  <a:gd name="connsiteX2" fmla="*/ 136024 w 136339"/>
                  <a:gd name="connsiteY2" fmla="*/ 164225 h 176449"/>
                </a:gdLst>
                <a:ahLst/>
                <a:cxnLst>
                  <a:cxn ang="0">
                    <a:pos x="connsiteX0" y="connsiteY0"/>
                  </a:cxn>
                  <a:cxn ang="0">
                    <a:pos x="connsiteX1" y="connsiteY1"/>
                  </a:cxn>
                  <a:cxn ang="0">
                    <a:pos x="connsiteX2" y="connsiteY2"/>
                  </a:cxn>
                </a:cxnLst>
                <a:rect l="l" t="t" r="r" b="b"/>
                <a:pathLst>
                  <a:path w="136339" h="176449" stroke="0" extrusionOk="0">
                    <a:moveTo>
                      <a:pt x="72795" y="9302"/>
                    </a:moveTo>
                    <a:cubicBezTo>
                      <a:pt x="93585" y="9302"/>
                      <a:pt x="86253" y="46286"/>
                      <a:pt x="88317" y="101556"/>
                    </a:cubicBezTo>
                    <a:cubicBezTo>
                      <a:pt x="89233" y="126077"/>
                      <a:pt x="111723" y="155808"/>
                      <a:pt x="106685" y="176449"/>
                    </a:cubicBezTo>
                    <a:lnTo>
                      <a:pt x="72795" y="117399"/>
                    </a:lnTo>
                    <a:lnTo>
                      <a:pt x="72795" y="9302"/>
                    </a:lnTo>
                    <a:close/>
                  </a:path>
                  <a:path w="136339" h="176449" fill="none">
                    <a:moveTo>
                      <a:pt x="0" y="0"/>
                    </a:moveTo>
                    <a:cubicBezTo>
                      <a:pt x="20790" y="0"/>
                      <a:pt x="81128" y="51943"/>
                      <a:pt x="83192" y="107213"/>
                    </a:cubicBezTo>
                    <a:cubicBezTo>
                      <a:pt x="84108" y="131734"/>
                      <a:pt x="141062" y="143584"/>
                      <a:pt x="136024" y="164225"/>
                    </a:cubicBezTo>
                  </a:path>
                </a:pathLst>
              </a:cu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endParaRPr lang="en-US" sz="900">
                  <a:solidFill>
                    <a:srgbClr val="333333"/>
                  </a:solidFill>
                  <a:latin typeface="Arial" panose="020B0604020202020204" pitchFamily="34" charset="0"/>
                  <a:cs typeface="Arial" panose="020B0604020202020204" pitchFamily="34" charset="0"/>
                </a:endParaRPr>
              </a:p>
            </p:txBody>
          </p:sp>
          <p:grpSp>
            <p:nvGrpSpPr>
              <p:cNvPr id="66" name="Group 65">
                <a:extLst>
                  <a:ext uri="{FF2B5EF4-FFF2-40B4-BE49-F238E27FC236}">
                    <a16:creationId xmlns:a16="http://schemas.microsoft.com/office/drawing/2014/main" id="{DDF7161A-F204-B94D-AF2B-0174ECA9CC19}"/>
                  </a:ext>
                </a:extLst>
              </p:cNvPr>
              <p:cNvGrpSpPr/>
              <p:nvPr/>
            </p:nvGrpSpPr>
            <p:grpSpPr>
              <a:xfrm>
                <a:off x="5481606" y="2827993"/>
                <a:ext cx="1093168" cy="1202013"/>
                <a:chOff x="4315489" y="2753618"/>
                <a:chExt cx="1093168" cy="1202013"/>
              </a:xfrm>
            </p:grpSpPr>
            <p:grpSp>
              <p:nvGrpSpPr>
                <p:cNvPr id="70" name="Group 69">
                  <a:extLst>
                    <a:ext uri="{FF2B5EF4-FFF2-40B4-BE49-F238E27FC236}">
                      <a16:creationId xmlns:a16="http://schemas.microsoft.com/office/drawing/2014/main" id="{B01B5210-C055-A244-8B14-C302D0F18707}"/>
                    </a:ext>
                  </a:extLst>
                </p:cNvPr>
                <p:cNvGrpSpPr/>
                <p:nvPr/>
              </p:nvGrpSpPr>
              <p:grpSpPr>
                <a:xfrm>
                  <a:off x="4315489" y="2753618"/>
                  <a:ext cx="509147" cy="511048"/>
                  <a:chOff x="4315489" y="2753618"/>
                  <a:chExt cx="509147" cy="511048"/>
                </a:xfrm>
              </p:grpSpPr>
              <p:sp>
                <p:nvSpPr>
                  <p:cNvPr id="78" name="Oval 77">
                    <a:extLst>
                      <a:ext uri="{FF2B5EF4-FFF2-40B4-BE49-F238E27FC236}">
                        <a16:creationId xmlns:a16="http://schemas.microsoft.com/office/drawing/2014/main" id="{6B7A4BFF-CEC1-764B-BD6C-3759EEB7862A}"/>
                      </a:ext>
                    </a:extLst>
                  </p:cNvPr>
                  <p:cNvSpPr/>
                  <p:nvPr/>
                </p:nvSpPr>
                <p:spPr>
                  <a:xfrm rot="17425388">
                    <a:off x="4410181" y="2662285"/>
                    <a:ext cx="187949" cy="370615"/>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79" name="Oval 78">
                    <a:extLst>
                      <a:ext uri="{FF2B5EF4-FFF2-40B4-BE49-F238E27FC236}">
                        <a16:creationId xmlns:a16="http://schemas.microsoft.com/office/drawing/2014/main" id="{27DF7FCF-C521-FF4B-95FB-210675516628}"/>
                      </a:ext>
                    </a:extLst>
                  </p:cNvPr>
                  <p:cNvSpPr/>
                  <p:nvPr/>
                </p:nvSpPr>
                <p:spPr>
                  <a:xfrm rot="20367603">
                    <a:off x="4636687" y="2871230"/>
                    <a:ext cx="187949" cy="370615"/>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80" name="Oval 79">
                    <a:extLst>
                      <a:ext uri="{FF2B5EF4-FFF2-40B4-BE49-F238E27FC236}">
                        <a16:creationId xmlns:a16="http://schemas.microsoft.com/office/drawing/2014/main" id="{88412C9C-91C1-A143-B0B4-C7375C6DD179}"/>
                      </a:ext>
                    </a:extLst>
                  </p:cNvPr>
                  <p:cNvSpPr/>
                  <p:nvPr/>
                </p:nvSpPr>
                <p:spPr>
                  <a:xfrm rot="20262582">
                    <a:off x="4315489" y="2760898"/>
                    <a:ext cx="187949" cy="370615"/>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81" name="Oval 80">
                    <a:extLst>
                      <a:ext uri="{FF2B5EF4-FFF2-40B4-BE49-F238E27FC236}">
                        <a16:creationId xmlns:a16="http://schemas.microsoft.com/office/drawing/2014/main" id="{6E473043-525F-2D4E-87B6-C785EFC68986}"/>
                      </a:ext>
                    </a:extLst>
                  </p:cNvPr>
                  <p:cNvSpPr/>
                  <p:nvPr/>
                </p:nvSpPr>
                <p:spPr>
                  <a:xfrm rot="17465954">
                    <a:off x="4525647" y="2985384"/>
                    <a:ext cx="187949" cy="370615"/>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grpSp>
              <p:nvGrpSpPr>
                <p:cNvPr id="71" name="Group 70">
                  <a:extLst>
                    <a:ext uri="{FF2B5EF4-FFF2-40B4-BE49-F238E27FC236}">
                      <a16:creationId xmlns:a16="http://schemas.microsoft.com/office/drawing/2014/main" id="{F3A54CA0-F072-0A41-96E4-54CC18870B6A}"/>
                    </a:ext>
                  </a:extLst>
                </p:cNvPr>
                <p:cNvGrpSpPr/>
                <p:nvPr/>
              </p:nvGrpSpPr>
              <p:grpSpPr>
                <a:xfrm rot="10800000" flipH="1">
                  <a:off x="4899510" y="2760785"/>
                  <a:ext cx="509147" cy="511048"/>
                  <a:chOff x="4315489" y="2753618"/>
                  <a:chExt cx="509147" cy="511048"/>
                </a:xfrm>
              </p:grpSpPr>
              <p:sp>
                <p:nvSpPr>
                  <p:cNvPr id="74" name="Oval 73">
                    <a:extLst>
                      <a:ext uri="{FF2B5EF4-FFF2-40B4-BE49-F238E27FC236}">
                        <a16:creationId xmlns:a16="http://schemas.microsoft.com/office/drawing/2014/main" id="{2B481543-8C96-1147-9006-C904BD0B8FCB}"/>
                      </a:ext>
                    </a:extLst>
                  </p:cNvPr>
                  <p:cNvSpPr/>
                  <p:nvPr/>
                </p:nvSpPr>
                <p:spPr>
                  <a:xfrm rot="17425388">
                    <a:off x="4410181" y="2662285"/>
                    <a:ext cx="187949" cy="370615"/>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75" name="Oval 74">
                    <a:extLst>
                      <a:ext uri="{FF2B5EF4-FFF2-40B4-BE49-F238E27FC236}">
                        <a16:creationId xmlns:a16="http://schemas.microsoft.com/office/drawing/2014/main" id="{02572DF5-EC15-9549-A776-AE35401516E3}"/>
                      </a:ext>
                    </a:extLst>
                  </p:cNvPr>
                  <p:cNvSpPr/>
                  <p:nvPr/>
                </p:nvSpPr>
                <p:spPr>
                  <a:xfrm rot="20262582">
                    <a:off x="4315489" y="2760898"/>
                    <a:ext cx="187949" cy="370615"/>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76" name="Oval 75">
                    <a:extLst>
                      <a:ext uri="{FF2B5EF4-FFF2-40B4-BE49-F238E27FC236}">
                        <a16:creationId xmlns:a16="http://schemas.microsoft.com/office/drawing/2014/main" id="{A8776407-3DCB-9942-BB4D-CFCFFABEB9D5}"/>
                      </a:ext>
                    </a:extLst>
                  </p:cNvPr>
                  <p:cNvSpPr/>
                  <p:nvPr/>
                </p:nvSpPr>
                <p:spPr>
                  <a:xfrm rot="17465954">
                    <a:off x="4525647" y="2985384"/>
                    <a:ext cx="187949" cy="370615"/>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77" name="Oval 76">
                    <a:extLst>
                      <a:ext uri="{FF2B5EF4-FFF2-40B4-BE49-F238E27FC236}">
                        <a16:creationId xmlns:a16="http://schemas.microsoft.com/office/drawing/2014/main" id="{BF641DBB-94DA-B945-A983-8CB00C5338CD}"/>
                      </a:ext>
                    </a:extLst>
                  </p:cNvPr>
                  <p:cNvSpPr/>
                  <p:nvPr/>
                </p:nvSpPr>
                <p:spPr>
                  <a:xfrm rot="20367603">
                    <a:off x="4636687" y="2871230"/>
                    <a:ext cx="187949" cy="370615"/>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sp>
              <p:nvSpPr>
                <p:cNvPr id="72" name="Oval 71">
                  <a:extLst>
                    <a:ext uri="{FF2B5EF4-FFF2-40B4-BE49-F238E27FC236}">
                      <a16:creationId xmlns:a16="http://schemas.microsoft.com/office/drawing/2014/main" id="{F3A180D9-1CE7-774B-8423-1D519149BD21}"/>
                    </a:ext>
                  </a:extLst>
                </p:cNvPr>
                <p:cNvSpPr/>
                <p:nvPr/>
              </p:nvSpPr>
              <p:spPr>
                <a:xfrm rot="11867226">
                  <a:off x="4624754" y="3305268"/>
                  <a:ext cx="214155" cy="346879"/>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73" name="Oval 72">
                  <a:extLst>
                    <a:ext uri="{FF2B5EF4-FFF2-40B4-BE49-F238E27FC236}">
                      <a16:creationId xmlns:a16="http://schemas.microsoft.com/office/drawing/2014/main" id="{CFA2AAC9-7667-9947-B70C-20F04E28B1F7}"/>
                    </a:ext>
                  </a:extLst>
                </p:cNvPr>
                <p:cNvSpPr/>
                <p:nvPr/>
              </p:nvSpPr>
              <p:spPr>
                <a:xfrm rot="9434721">
                  <a:off x="4626824" y="3602382"/>
                  <a:ext cx="214155" cy="353249"/>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sp>
            <p:nvSpPr>
              <p:cNvPr id="67" name="Arc 22">
                <a:extLst>
                  <a:ext uri="{FF2B5EF4-FFF2-40B4-BE49-F238E27FC236}">
                    <a16:creationId xmlns:a16="http://schemas.microsoft.com/office/drawing/2014/main" id="{B480F77D-06C8-FE44-99A1-AFC4E3264CB9}"/>
                  </a:ext>
                </a:extLst>
              </p:cNvPr>
              <p:cNvSpPr/>
              <p:nvPr/>
            </p:nvSpPr>
            <p:spPr>
              <a:xfrm>
                <a:off x="5992075" y="3271426"/>
                <a:ext cx="63806" cy="167147"/>
              </a:xfrm>
              <a:custGeom>
                <a:avLst/>
                <a:gdLst>
                  <a:gd name="connsiteX0" fmla="*/ 40460 w 80920"/>
                  <a:gd name="connsiteY0" fmla="*/ 0 h 216193"/>
                  <a:gd name="connsiteX1" fmla="*/ 80720 w 80920"/>
                  <a:gd name="connsiteY1" fmla="*/ 97365 h 216193"/>
                  <a:gd name="connsiteX2" fmla="*/ 74350 w 80920"/>
                  <a:gd name="connsiteY2" fmla="*/ 167147 h 216193"/>
                  <a:gd name="connsiteX3" fmla="*/ 40460 w 80920"/>
                  <a:gd name="connsiteY3" fmla="*/ 108097 h 216193"/>
                  <a:gd name="connsiteX4" fmla="*/ 40460 w 80920"/>
                  <a:gd name="connsiteY4" fmla="*/ 0 h 216193"/>
                  <a:gd name="connsiteX0" fmla="*/ 40460 w 80920"/>
                  <a:gd name="connsiteY0" fmla="*/ 0 h 216193"/>
                  <a:gd name="connsiteX1" fmla="*/ 80720 w 80920"/>
                  <a:gd name="connsiteY1" fmla="*/ 97365 h 216193"/>
                  <a:gd name="connsiteX2" fmla="*/ 74350 w 80920"/>
                  <a:gd name="connsiteY2" fmla="*/ 167147 h 216193"/>
                  <a:gd name="connsiteX0" fmla="*/ 0 w 63853"/>
                  <a:gd name="connsiteY0" fmla="*/ 0 h 167147"/>
                  <a:gd name="connsiteX1" fmla="*/ 40260 w 63853"/>
                  <a:gd name="connsiteY1" fmla="*/ 97365 h 167147"/>
                  <a:gd name="connsiteX2" fmla="*/ 33890 w 63853"/>
                  <a:gd name="connsiteY2" fmla="*/ 167147 h 167147"/>
                  <a:gd name="connsiteX3" fmla="*/ 0 w 63853"/>
                  <a:gd name="connsiteY3" fmla="*/ 108097 h 167147"/>
                  <a:gd name="connsiteX4" fmla="*/ 0 w 63853"/>
                  <a:gd name="connsiteY4" fmla="*/ 0 h 167147"/>
                  <a:gd name="connsiteX0" fmla="*/ 0 w 63853"/>
                  <a:gd name="connsiteY0" fmla="*/ 0 h 167147"/>
                  <a:gd name="connsiteX1" fmla="*/ 40260 w 63853"/>
                  <a:gd name="connsiteY1" fmla="*/ 97365 h 167147"/>
                  <a:gd name="connsiteX2" fmla="*/ 63229 w 63853"/>
                  <a:gd name="connsiteY2" fmla="*/ 154923 h 167147"/>
                  <a:gd name="connsiteX0" fmla="*/ 0 w 63591"/>
                  <a:gd name="connsiteY0" fmla="*/ 0 h 167147"/>
                  <a:gd name="connsiteX1" fmla="*/ 40260 w 63591"/>
                  <a:gd name="connsiteY1" fmla="*/ 97365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23"/>
                  <a:gd name="connsiteY0" fmla="*/ 0 h 167147"/>
                  <a:gd name="connsiteX1" fmla="*/ 18256 w 63523"/>
                  <a:gd name="connsiteY1" fmla="*/ 75360 h 167147"/>
                  <a:gd name="connsiteX2" fmla="*/ 33890 w 63523"/>
                  <a:gd name="connsiteY2" fmla="*/ 167147 h 167147"/>
                  <a:gd name="connsiteX3" fmla="*/ 0 w 63523"/>
                  <a:gd name="connsiteY3" fmla="*/ 108097 h 167147"/>
                  <a:gd name="connsiteX4" fmla="*/ 0 w 63523"/>
                  <a:gd name="connsiteY4" fmla="*/ 0 h 167147"/>
                  <a:gd name="connsiteX0" fmla="*/ 0 w 63523"/>
                  <a:gd name="connsiteY0" fmla="*/ 0 h 167147"/>
                  <a:gd name="connsiteX1" fmla="*/ 6031 w 63523"/>
                  <a:gd name="connsiteY1" fmla="*/ 109589 h 167147"/>
                  <a:gd name="connsiteX2" fmla="*/ 63229 w 63523"/>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80250 h 167147"/>
                  <a:gd name="connsiteX2" fmla="*/ 63229 w 63591"/>
                  <a:gd name="connsiteY2" fmla="*/ 154923 h 167147"/>
                  <a:gd name="connsiteX0" fmla="*/ 0 w 63806"/>
                  <a:gd name="connsiteY0" fmla="*/ 0 h 167147"/>
                  <a:gd name="connsiteX1" fmla="*/ 18256 w 63806"/>
                  <a:gd name="connsiteY1" fmla="*/ 75360 h 167147"/>
                  <a:gd name="connsiteX2" fmla="*/ 33890 w 63806"/>
                  <a:gd name="connsiteY2" fmla="*/ 167147 h 167147"/>
                  <a:gd name="connsiteX3" fmla="*/ 0 w 63806"/>
                  <a:gd name="connsiteY3" fmla="*/ 108097 h 167147"/>
                  <a:gd name="connsiteX4" fmla="*/ 0 w 63806"/>
                  <a:gd name="connsiteY4" fmla="*/ 0 h 167147"/>
                  <a:gd name="connsiteX0" fmla="*/ 0 w 63806"/>
                  <a:gd name="connsiteY0" fmla="*/ 0 h 167147"/>
                  <a:gd name="connsiteX1" fmla="*/ 37815 w 63806"/>
                  <a:gd name="connsiteY1" fmla="*/ 60691 h 167147"/>
                  <a:gd name="connsiteX2" fmla="*/ 63229 w 63806"/>
                  <a:gd name="connsiteY2" fmla="*/ 154923 h 167147"/>
                </a:gdLst>
                <a:ahLst/>
                <a:cxnLst>
                  <a:cxn ang="0">
                    <a:pos x="connsiteX0" y="connsiteY0"/>
                  </a:cxn>
                  <a:cxn ang="0">
                    <a:pos x="connsiteX1" y="connsiteY1"/>
                  </a:cxn>
                  <a:cxn ang="0">
                    <a:pos x="connsiteX2" y="connsiteY2"/>
                  </a:cxn>
                </a:cxnLst>
                <a:rect l="l" t="t" r="r" b="b"/>
                <a:pathLst>
                  <a:path w="63806" h="167147" stroke="0" extrusionOk="0">
                    <a:moveTo>
                      <a:pt x="0" y="0"/>
                    </a:moveTo>
                    <a:cubicBezTo>
                      <a:pt x="20790" y="0"/>
                      <a:pt x="16192" y="20090"/>
                      <a:pt x="18256" y="75360"/>
                    </a:cubicBezTo>
                    <a:cubicBezTo>
                      <a:pt x="19172" y="99881"/>
                      <a:pt x="38928" y="146506"/>
                      <a:pt x="33890" y="167147"/>
                    </a:cubicBezTo>
                    <a:lnTo>
                      <a:pt x="0" y="108097"/>
                    </a:lnTo>
                    <a:lnTo>
                      <a:pt x="0" y="0"/>
                    </a:lnTo>
                    <a:close/>
                  </a:path>
                  <a:path w="63806" h="167147" fill="none">
                    <a:moveTo>
                      <a:pt x="0" y="0"/>
                    </a:moveTo>
                    <a:cubicBezTo>
                      <a:pt x="20790" y="0"/>
                      <a:pt x="35751" y="5421"/>
                      <a:pt x="37815" y="60691"/>
                    </a:cubicBezTo>
                    <a:cubicBezTo>
                      <a:pt x="38731" y="85212"/>
                      <a:pt x="68267" y="134282"/>
                      <a:pt x="63229" y="154923"/>
                    </a:cubicBezTo>
                  </a:path>
                </a:pathLst>
              </a:cu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endParaRPr lang="en-US" sz="900">
                  <a:solidFill>
                    <a:srgbClr val="333333"/>
                  </a:solidFill>
                  <a:latin typeface="Arial" panose="020B0604020202020204" pitchFamily="34" charset="0"/>
                  <a:cs typeface="Arial" panose="020B0604020202020204" pitchFamily="34" charset="0"/>
                </a:endParaRPr>
              </a:p>
            </p:txBody>
          </p:sp>
          <p:sp>
            <p:nvSpPr>
              <p:cNvPr id="68" name="Oval 67">
                <a:extLst>
                  <a:ext uri="{FF2B5EF4-FFF2-40B4-BE49-F238E27FC236}">
                    <a16:creationId xmlns:a16="http://schemas.microsoft.com/office/drawing/2014/main" id="{312D1C51-3485-6249-ADD8-63D9F8AB5B0C}"/>
                  </a:ext>
                </a:extLst>
              </p:cNvPr>
              <p:cNvSpPr/>
              <p:nvPr/>
            </p:nvSpPr>
            <p:spPr>
              <a:xfrm rot="9732774" flipH="1">
                <a:off x="6012499" y="3377815"/>
                <a:ext cx="214155" cy="346879"/>
              </a:xfrm>
              <a:prstGeom prst="ellipse">
                <a:avLst/>
              </a:prstGeom>
              <a:solidFill>
                <a:srgbClr val="1C70B6"/>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69" name="Oval 68">
                <a:extLst>
                  <a:ext uri="{FF2B5EF4-FFF2-40B4-BE49-F238E27FC236}">
                    <a16:creationId xmlns:a16="http://schemas.microsoft.com/office/drawing/2014/main" id="{1E0963A2-CF8F-4243-AB89-2792C4780BA4}"/>
                  </a:ext>
                </a:extLst>
              </p:cNvPr>
              <p:cNvSpPr/>
              <p:nvPr/>
            </p:nvSpPr>
            <p:spPr>
              <a:xfrm rot="12165279" flipH="1">
                <a:off x="6014569" y="3674929"/>
                <a:ext cx="214155" cy="353249"/>
              </a:xfrm>
              <a:prstGeom prst="ellipse">
                <a:avLst/>
              </a:prstGeom>
              <a:solidFill>
                <a:srgbClr val="1C70B6"/>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grpSp>
          <p:nvGrpSpPr>
            <p:cNvPr id="39" name="Group 38">
              <a:extLst>
                <a:ext uri="{FF2B5EF4-FFF2-40B4-BE49-F238E27FC236}">
                  <a16:creationId xmlns:a16="http://schemas.microsoft.com/office/drawing/2014/main" id="{19FF1686-8821-2D47-B7F1-79C1F1759909}"/>
                </a:ext>
              </a:extLst>
            </p:cNvPr>
            <p:cNvGrpSpPr/>
            <p:nvPr/>
          </p:nvGrpSpPr>
          <p:grpSpPr>
            <a:xfrm flipH="1">
              <a:off x="7007400" y="1250316"/>
              <a:ext cx="924176" cy="1103872"/>
              <a:chOff x="5481606" y="2827993"/>
              <a:chExt cx="1093168" cy="1202013"/>
            </a:xfrm>
          </p:grpSpPr>
          <p:sp>
            <p:nvSpPr>
              <p:cNvPr id="48" name="Arc 22">
                <a:extLst>
                  <a:ext uri="{FF2B5EF4-FFF2-40B4-BE49-F238E27FC236}">
                    <a16:creationId xmlns:a16="http://schemas.microsoft.com/office/drawing/2014/main" id="{13A5FD09-4D5A-2343-9ACA-2D505BEA52F6}"/>
                  </a:ext>
                </a:extLst>
              </p:cNvPr>
              <p:cNvSpPr/>
              <p:nvPr/>
            </p:nvSpPr>
            <p:spPr>
              <a:xfrm rot="11351442" flipH="1">
                <a:off x="5929453" y="3239234"/>
                <a:ext cx="136339" cy="176449"/>
              </a:xfrm>
              <a:custGeom>
                <a:avLst/>
                <a:gdLst>
                  <a:gd name="connsiteX0" fmla="*/ 40460 w 80920"/>
                  <a:gd name="connsiteY0" fmla="*/ 0 h 216193"/>
                  <a:gd name="connsiteX1" fmla="*/ 80720 w 80920"/>
                  <a:gd name="connsiteY1" fmla="*/ 97365 h 216193"/>
                  <a:gd name="connsiteX2" fmla="*/ 74350 w 80920"/>
                  <a:gd name="connsiteY2" fmla="*/ 167147 h 216193"/>
                  <a:gd name="connsiteX3" fmla="*/ 40460 w 80920"/>
                  <a:gd name="connsiteY3" fmla="*/ 108097 h 216193"/>
                  <a:gd name="connsiteX4" fmla="*/ 40460 w 80920"/>
                  <a:gd name="connsiteY4" fmla="*/ 0 h 216193"/>
                  <a:gd name="connsiteX0" fmla="*/ 40460 w 80920"/>
                  <a:gd name="connsiteY0" fmla="*/ 0 h 216193"/>
                  <a:gd name="connsiteX1" fmla="*/ 80720 w 80920"/>
                  <a:gd name="connsiteY1" fmla="*/ 97365 h 216193"/>
                  <a:gd name="connsiteX2" fmla="*/ 74350 w 80920"/>
                  <a:gd name="connsiteY2" fmla="*/ 167147 h 216193"/>
                  <a:gd name="connsiteX0" fmla="*/ 0 w 63853"/>
                  <a:gd name="connsiteY0" fmla="*/ 0 h 167147"/>
                  <a:gd name="connsiteX1" fmla="*/ 40260 w 63853"/>
                  <a:gd name="connsiteY1" fmla="*/ 97365 h 167147"/>
                  <a:gd name="connsiteX2" fmla="*/ 33890 w 63853"/>
                  <a:gd name="connsiteY2" fmla="*/ 167147 h 167147"/>
                  <a:gd name="connsiteX3" fmla="*/ 0 w 63853"/>
                  <a:gd name="connsiteY3" fmla="*/ 108097 h 167147"/>
                  <a:gd name="connsiteX4" fmla="*/ 0 w 63853"/>
                  <a:gd name="connsiteY4" fmla="*/ 0 h 167147"/>
                  <a:gd name="connsiteX0" fmla="*/ 0 w 63853"/>
                  <a:gd name="connsiteY0" fmla="*/ 0 h 167147"/>
                  <a:gd name="connsiteX1" fmla="*/ 40260 w 63853"/>
                  <a:gd name="connsiteY1" fmla="*/ 97365 h 167147"/>
                  <a:gd name="connsiteX2" fmla="*/ 63229 w 63853"/>
                  <a:gd name="connsiteY2" fmla="*/ 154923 h 167147"/>
                  <a:gd name="connsiteX0" fmla="*/ 0 w 63591"/>
                  <a:gd name="connsiteY0" fmla="*/ 0 h 167147"/>
                  <a:gd name="connsiteX1" fmla="*/ 40260 w 63591"/>
                  <a:gd name="connsiteY1" fmla="*/ 97365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23"/>
                  <a:gd name="connsiteY0" fmla="*/ 0 h 167147"/>
                  <a:gd name="connsiteX1" fmla="*/ 18256 w 63523"/>
                  <a:gd name="connsiteY1" fmla="*/ 75360 h 167147"/>
                  <a:gd name="connsiteX2" fmla="*/ 33890 w 63523"/>
                  <a:gd name="connsiteY2" fmla="*/ 167147 h 167147"/>
                  <a:gd name="connsiteX3" fmla="*/ 0 w 63523"/>
                  <a:gd name="connsiteY3" fmla="*/ 108097 h 167147"/>
                  <a:gd name="connsiteX4" fmla="*/ 0 w 63523"/>
                  <a:gd name="connsiteY4" fmla="*/ 0 h 167147"/>
                  <a:gd name="connsiteX0" fmla="*/ 0 w 63523"/>
                  <a:gd name="connsiteY0" fmla="*/ 0 h 167147"/>
                  <a:gd name="connsiteX1" fmla="*/ 6031 w 63523"/>
                  <a:gd name="connsiteY1" fmla="*/ 109589 h 167147"/>
                  <a:gd name="connsiteX2" fmla="*/ 63229 w 63523"/>
                  <a:gd name="connsiteY2" fmla="*/ 154923 h 167147"/>
                  <a:gd name="connsiteX0" fmla="*/ 72795 w 136318"/>
                  <a:gd name="connsiteY0" fmla="*/ 9302 h 176449"/>
                  <a:gd name="connsiteX1" fmla="*/ 91051 w 136318"/>
                  <a:gd name="connsiteY1" fmla="*/ 84662 h 176449"/>
                  <a:gd name="connsiteX2" fmla="*/ 106685 w 136318"/>
                  <a:gd name="connsiteY2" fmla="*/ 176449 h 176449"/>
                  <a:gd name="connsiteX3" fmla="*/ 72795 w 136318"/>
                  <a:gd name="connsiteY3" fmla="*/ 117399 h 176449"/>
                  <a:gd name="connsiteX4" fmla="*/ 72795 w 136318"/>
                  <a:gd name="connsiteY4" fmla="*/ 9302 h 176449"/>
                  <a:gd name="connsiteX0" fmla="*/ 0 w 136318"/>
                  <a:gd name="connsiteY0" fmla="*/ 0 h 176449"/>
                  <a:gd name="connsiteX1" fmla="*/ 78826 w 136318"/>
                  <a:gd name="connsiteY1" fmla="*/ 118891 h 176449"/>
                  <a:gd name="connsiteX2" fmla="*/ 136024 w 136318"/>
                  <a:gd name="connsiteY2" fmla="*/ 164225 h 176449"/>
                  <a:gd name="connsiteX0" fmla="*/ 72795 w 136474"/>
                  <a:gd name="connsiteY0" fmla="*/ 9302 h 176449"/>
                  <a:gd name="connsiteX1" fmla="*/ 91051 w 136474"/>
                  <a:gd name="connsiteY1" fmla="*/ 84662 h 176449"/>
                  <a:gd name="connsiteX2" fmla="*/ 106685 w 136474"/>
                  <a:gd name="connsiteY2" fmla="*/ 176449 h 176449"/>
                  <a:gd name="connsiteX3" fmla="*/ 72795 w 136474"/>
                  <a:gd name="connsiteY3" fmla="*/ 117399 h 176449"/>
                  <a:gd name="connsiteX4" fmla="*/ 72795 w 136474"/>
                  <a:gd name="connsiteY4" fmla="*/ 9302 h 176449"/>
                  <a:gd name="connsiteX0" fmla="*/ 0 w 136474"/>
                  <a:gd name="connsiteY0" fmla="*/ 0 h 176449"/>
                  <a:gd name="connsiteX1" fmla="*/ 101258 w 136474"/>
                  <a:gd name="connsiteY1" fmla="*/ 102706 h 176449"/>
                  <a:gd name="connsiteX2" fmla="*/ 136024 w 136474"/>
                  <a:gd name="connsiteY2" fmla="*/ 164225 h 176449"/>
                  <a:gd name="connsiteX0" fmla="*/ 72795 w 136474"/>
                  <a:gd name="connsiteY0" fmla="*/ 9302 h 176449"/>
                  <a:gd name="connsiteX1" fmla="*/ 88317 w 136474"/>
                  <a:gd name="connsiteY1" fmla="*/ 101556 h 176449"/>
                  <a:gd name="connsiteX2" fmla="*/ 106685 w 136474"/>
                  <a:gd name="connsiteY2" fmla="*/ 176449 h 176449"/>
                  <a:gd name="connsiteX3" fmla="*/ 72795 w 136474"/>
                  <a:gd name="connsiteY3" fmla="*/ 117399 h 176449"/>
                  <a:gd name="connsiteX4" fmla="*/ 72795 w 136474"/>
                  <a:gd name="connsiteY4" fmla="*/ 9302 h 176449"/>
                  <a:gd name="connsiteX0" fmla="*/ 0 w 136474"/>
                  <a:gd name="connsiteY0" fmla="*/ 0 h 176449"/>
                  <a:gd name="connsiteX1" fmla="*/ 101258 w 136474"/>
                  <a:gd name="connsiteY1" fmla="*/ 102706 h 176449"/>
                  <a:gd name="connsiteX2" fmla="*/ 136024 w 136474"/>
                  <a:gd name="connsiteY2" fmla="*/ 164225 h 176449"/>
                  <a:gd name="connsiteX0" fmla="*/ 72795 w 136339"/>
                  <a:gd name="connsiteY0" fmla="*/ 9302 h 176449"/>
                  <a:gd name="connsiteX1" fmla="*/ 88317 w 136339"/>
                  <a:gd name="connsiteY1" fmla="*/ 101556 h 176449"/>
                  <a:gd name="connsiteX2" fmla="*/ 106685 w 136339"/>
                  <a:gd name="connsiteY2" fmla="*/ 176449 h 176449"/>
                  <a:gd name="connsiteX3" fmla="*/ 72795 w 136339"/>
                  <a:gd name="connsiteY3" fmla="*/ 117399 h 176449"/>
                  <a:gd name="connsiteX4" fmla="*/ 72795 w 136339"/>
                  <a:gd name="connsiteY4" fmla="*/ 9302 h 176449"/>
                  <a:gd name="connsiteX0" fmla="*/ 0 w 136339"/>
                  <a:gd name="connsiteY0" fmla="*/ 0 h 176449"/>
                  <a:gd name="connsiteX1" fmla="*/ 83192 w 136339"/>
                  <a:gd name="connsiteY1" fmla="*/ 107213 h 176449"/>
                  <a:gd name="connsiteX2" fmla="*/ 136024 w 136339"/>
                  <a:gd name="connsiteY2" fmla="*/ 164225 h 176449"/>
                </a:gdLst>
                <a:ahLst/>
                <a:cxnLst>
                  <a:cxn ang="0">
                    <a:pos x="connsiteX0" y="connsiteY0"/>
                  </a:cxn>
                  <a:cxn ang="0">
                    <a:pos x="connsiteX1" y="connsiteY1"/>
                  </a:cxn>
                  <a:cxn ang="0">
                    <a:pos x="connsiteX2" y="connsiteY2"/>
                  </a:cxn>
                </a:cxnLst>
                <a:rect l="l" t="t" r="r" b="b"/>
                <a:pathLst>
                  <a:path w="136339" h="176449" stroke="0" extrusionOk="0">
                    <a:moveTo>
                      <a:pt x="72795" y="9302"/>
                    </a:moveTo>
                    <a:cubicBezTo>
                      <a:pt x="93585" y="9302"/>
                      <a:pt x="86253" y="46286"/>
                      <a:pt x="88317" y="101556"/>
                    </a:cubicBezTo>
                    <a:cubicBezTo>
                      <a:pt x="89233" y="126077"/>
                      <a:pt x="111723" y="155808"/>
                      <a:pt x="106685" y="176449"/>
                    </a:cubicBezTo>
                    <a:lnTo>
                      <a:pt x="72795" y="117399"/>
                    </a:lnTo>
                    <a:lnTo>
                      <a:pt x="72795" y="9302"/>
                    </a:lnTo>
                    <a:close/>
                  </a:path>
                  <a:path w="136339" h="176449" fill="none">
                    <a:moveTo>
                      <a:pt x="0" y="0"/>
                    </a:moveTo>
                    <a:cubicBezTo>
                      <a:pt x="20790" y="0"/>
                      <a:pt x="81128" y="51943"/>
                      <a:pt x="83192" y="107213"/>
                    </a:cubicBezTo>
                    <a:cubicBezTo>
                      <a:pt x="84108" y="131734"/>
                      <a:pt x="141062" y="143584"/>
                      <a:pt x="136024" y="164225"/>
                    </a:cubicBezTo>
                  </a:path>
                </a:pathLst>
              </a:cu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endParaRPr lang="en-US" sz="900">
                  <a:solidFill>
                    <a:srgbClr val="333333"/>
                  </a:solidFill>
                  <a:latin typeface="Arial" panose="020B0604020202020204" pitchFamily="34" charset="0"/>
                  <a:cs typeface="Arial" panose="020B0604020202020204" pitchFamily="34" charset="0"/>
                </a:endParaRPr>
              </a:p>
            </p:txBody>
          </p:sp>
          <p:grpSp>
            <p:nvGrpSpPr>
              <p:cNvPr id="49" name="Group 48">
                <a:extLst>
                  <a:ext uri="{FF2B5EF4-FFF2-40B4-BE49-F238E27FC236}">
                    <a16:creationId xmlns:a16="http://schemas.microsoft.com/office/drawing/2014/main" id="{301BC13E-0501-4640-BA9A-3BCFB8D24E1C}"/>
                  </a:ext>
                </a:extLst>
              </p:cNvPr>
              <p:cNvGrpSpPr/>
              <p:nvPr/>
            </p:nvGrpSpPr>
            <p:grpSpPr>
              <a:xfrm>
                <a:off x="5481606" y="2827993"/>
                <a:ext cx="1093168" cy="1202013"/>
                <a:chOff x="4315489" y="2753618"/>
                <a:chExt cx="1093168" cy="1202013"/>
              </a:xfrm>
            </p:grpSpPr>
            <p:grpSp>
              <p:nvGrpSpPr>
                <p:cNvPr id="53" name="Group 52">
                  <a:extLst>
                    <a:ext uri="{FF2B5EF4-FFF2-40B4-BE49-F238E27FC236}">
                      <a16:creationId xmlns:a16="http://schemas.microsoft.com/office/drawing/2014/main" id="{5C0C4CD7-8FA4-1C4E-9A3E-81CCB8860945}"/>
                    </a:ext>
                  </a:extLst>
                </p:cNvPr>
                <p:cNvGrpSpPr/>
                <p:nvPr/>
              </p:nvGrpSpPr>
              <p:grpSpPr>
                <a:xfrm>
                  <a:off x="4315489" y="2753618"/>
                  <a:ext cx="509147" cy="511048"/>
                  <a:chOff x="4315489" y="2753618"/>
                  <a:chExt cx="509147" cy="511048"/>
                </a:xfrm>
              </p:grpSpPr>
              <p:sp>
                <p:nvSpPr>
                  <p:cNvPr id="61" name="Oval 60">
                    <a:extLst>
                      <a:ext uri="{FF2B5EF4-FFF2-40B4-BE49-F238E27FC236}">
                        <a16:creationId xmlns:a16="http://schemas.microsoft.com/office/drawing/2014/main" id="{E4A517A5-5467-5745-A9E0-D54F78020039}"/>
                      </a:ext>
                    </a:extLst>
                  </p:cNvPr>
                  <p:cNvSpPr/>
                  <p:nvPr/>
                </p:nvSpPr>
                <p:spPr>
                  <a:xfrm rot="17425388">
                    <a:off x="4410181" y="2662285"/>
                    <a:ext cx="187949" cy="370615"/>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62" name="Oval 61">
                    <a:extLst>
                      <a:ext uri="{FF2B5EF4-FFF2-40B4-BE49-F238E27FC236}">
                        <a16:creationId xmlns:a16="http://schemas.microsoft.com/office/drawing/2014/main" id="{C975C073-D8FE-BF40-8EE8-43021DB82BDB}"/>
                      </a:ext>
                    </a:extLst>
                  </p:cNvPr>
                  <p:cNvSpPr/>
                  <p:nvPr/>
                </p:nvSpPr>
                <p:spPr>
                  <a:xfrm rot="20367603">
                    <a:off x="4636687" y="2871230"/>
                    <a:ext cx="187949" cy="370615"/>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63" name="Oval 62">
                    <a:extLst>
                      <a:ext uri="{FF2B5EF4-FFF2-40B4-BE49-F238E27FC236}">
                        <a16:creationId xmlns:a16="http://schemas.microsoft.com/office/drawing/2014/main" id="{F90A10CC-1CBD-E848-B6E5-1A94FCB66820}"/>
                      </a:ext>
                    </a:extLst>
                  </p:cNvPr>
                  <p:cNvSpPr/>
                  <p:nvPr/>
                </p:nvSpPr>
                <p:spPr>
                  <a:xfrm rot="20262582">
                    <a:off x="4315489" y="2760898"/>
                    <a:ext cx="187949" cy="370615"/>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64" name="Oval 63">
                    <a:extLst>
                      <a:ext uri="{FF2B5EF4-FFF2-40B4-BE49-F238E27FC236}">
                        <a16:creationId xmlns:a16="http://schemas.microsoft.com/office/drawing/2014/main" id="{F5641752-8D3D-884C-B3D4-A0DC56C5EB35}"/>
                      </a:ext>
                    </a:extLst>
                  </p:cNvPr>
                  <p:cNvSpPr/>
                  <p:nvPr/>
                </p:nvSpPr>
                <p:spPr>
                  <a:xfrm rot="17465954">
                    <a:off x="4525647" y="2985384"/>
                    <a:ext cx="187949" cy="370615"/>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grpSp>
              <p:nvGrpSpPr>
                <p:cNvPr id="54" name="Group 53">
                  <a:extLst>
                    <a:ext uri="{FF2B5EF4-FFF2-40B4-BE49-F238E27FC236}">
                      <a16:creationId xmlns:a16="http://schemas.microsoft.com/office/drawing/2014/main" id="{AA7631D7-580B-2E49-B9F5-578C561B9F11}"/>
                    </a:ext>
                  </a:extLst>
                </p:cNvPr>
                <p:cNvGrpSpPr/>
                <p:nvPr/>
              </p:nvGrpSpPr>
              <p:grpSpPr>
                <a:xfrm rot="10800000" flipH="1">
                  <a:off x="4899510" y="2760785"/>
                  <a:ext cx="509147" cy="511048"/>
                  <a:chOff x="4315489" y="2753618"/>
                  <a:chExt cx="509147" cy="511048"/>
                </a:xfrm>
              </p:grpSpPr>
              <p:sp>
                <p:nvSpPr>
                  <p:cNvPr id="57" name="Oval 56">
                    <a:extLst>
                      <a:ext uri="{FF2B5EF4-FFF2-40B4-BE49-F238E27FC236}">
                        <a16:creationId xmlns:a16="http://schemas.microsoft.com/office/drawing/2014/main" id="{F6B99071-9ED4-F74E-8582-CEE63CF4AE39}"/>
                      </a:ext>
                    </a:extLst>
                  </p:cNvPr>
                  <p:cNvSpPr/>
                  <p:nvPr/>
                </p:nvSpPr>
                <p:spPr>
                  <a:xfrm rot="17425388">
                    <a:off x="4410181" y="2662285"/>
                    <a:ext cx="187949" cy="370615"/>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58" name="Oval 57">
                    <a:extLst>
                      <a:ext uri="{FF2B5EF4-FFF2-40B4-BE49-F238E27FC236}">
                        <a16:creationId xmlns:a16="http://schemas.microsoft.com/office/drawing/2014/main" id="{8C7F6E8B-9E7C-4147-91F9-813C764B05FC}"/>
                      </a:ext>
                    </a:extLst>
                  </p:cNvPr>
                  <p:cNvSpPr/>
                  <p:nvPr/>
                </p:nvSpPr>
                <p:spPr>
                  <a:xfrm rot="20262582">
                    <a:off x="4315489" y="2760898"/>
                    <a:ext cx="187949" cy="370615"/>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59" name="Oval 58">
                    <a:extLst>
                      <a:ext uri="{FF2B5EF4-FFF2-40B4-BE49-F238E27FC236}">
                        <a16:creationId xmlns:a16="http://schemas.microsoft.com/office/drawing/2014/main" id="{D1D53061-2A61-234B-BD3B-93AC95E10ABB}"/>
                      </a:ext>
                    </a:extLst>
                  </p:cNvPr>
                  <p:cNvSpPr/>
                  <p:nvPr/>
                </p:nvSpPr>
                <p:spPr>
                  <a:xfrm rot="17465954">
                    <a:off x="4525647" y="2985384"/>
                    <a:ext cx="187949" cy="370615"/>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60" name="Oval 59">
                    <a:extLst>
                      <a:ext uri="{FF2B5EF4-FFF2-40B4-BE49-F238E27FC236}">
                        <a16:creationId xmlns:a16="http://schemas.microsoft.com/office/drawing/2014/main" id="{33043578-AC96-424F-96C8-E31EBFBC3622}"/>
                      </a:ext>
                    </a:extLst>
                  </p:cNvPr>
                  <p:cNvSpPr/>
                  <p:nvPr/>
                </p:nvSpPr>
                <p:spPr>
                  <a:xfrm rot="20367603">
                    <a:off x="4636687" y="2871230"/>
                    <a:ext cx="187949" cy="370615"/>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sp>
              <p:nvSpPr>
                <p:cNvPr id="55" name="Oval 54">
                  <a:extLst>
                    <a:ext uri="{FF2B5EF4-FFF2-40B4-BE49-F238E27FC236}">
                      <a16:creationId xmlns:a16="http://schemas.microsoft.com/office/drawing/2014/main" id="{CCAD13E2-86F9-8340-BA7A-6D6B401F88AB}"/>
                    </a:ext>
                  </a:extLst>
                </p:cNvPr>
                <p:cNvSpPr/>
                <p:nvPr/>
              </p:nvSpPr>
              <p:spPr>
                <a:xfrm rot="11867226">
                  <a:off x="4624754" y="3305268"/>
                  <a:ext cx="214155" cy="346879"/>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56" name="Oval 55">
                  <a:extLst>
                    <a:ext uri="{FF2B5EF4-FFF2-40B4-BE49-F238E27FC236}">
                      <a16:creationId xmlns:a16="http://schemas.microsoft.com/office/drawing/2014/main" id="{AC9CF0E2-7509-D74A-ABC6-43E0B24EFF0D}"/>
                    </a:ext>
                  </a:extLst>
                </p:cNvPr>
                <p:cNvSpPr/>
                <p:nvPr/>
              </p:nvSpPr>
              <p:spPr>
                <a:xfrm rot="9434721">
                  <a:off x="4626824" y="3602382"/>
                  <a:ext cx="214155" cy="353249"/>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sp>
            <p:nvSpPr>
              <p:cNvPr id="50" name="Arc 22">
                <a:extLst>
                  <a:ext uri="{FF2B5EF4-FFF2-40B4-BE49-F238E27FC236}">
                    <a16:creationId xmlns:a16="http://schemas.microsoft.com/office/drawing/2014/main" id="{60BEE1D5-7D9D-B94F-BE0E-680F12E2CFE3}"/>
                  </a:ext>
                </a:extLst>
              </p:cNvPr>
              <p:cNvSpPr/>
              <p:nvPr/>
            </p:nvSpPr>
            <p:spPr>
              <a:xfrm>
                <a:off x="5992075" y="3271426"/>
                <a:ext cx="63806" cy="167147"/>
              </a:xfrm>
              <a:custGeom>
                <a:avLst/>
                <a:gdLst>
                  <a:gd name="connsiteX0" fmla="*/ 40460 w 80920"/>
                  <a:gd name="connsiteY0" fmla="*/ 0 h 216193"/>
                  <a:gd name="connsiteX1" fmla="*/ 80720 w 80920"/>
                  <a:gd name="connsiteY1" fmla="*/ 97365 h 216193"/>
                  <a:gd name="connsiteX2" fmla="*/ 74350 w 80920"/>
                  <a:gd name="connsiteY2" fmla="*/ 167147 h 216193"/>
                  <a:gd name="connsiteX3" fmla="*/ 40460 w 80920"/>
                  <a:gd name="connsiteY3" fmla="*/ 108097 h 216193"/>
                  <a:gd name="connsiteX4" fmla="*/ 40460 w 80920"/>
                  <a:gd name="connsiteY4" fmla="*/ 0 h 216193"/>
                  <a:gd name="connsiteX0" fmla="*/ 40460 w 80920"/>
                  <a:gd name="connsiteY0" fmla="*/ 0 h 216193"/>
                  <a:gd name="connsiteX1" fmla="*/ 80720 w 80920"/>
                  <a:gd name="connsiteY1" fmla="*/ 97365 h 216193"/>
                  <a:gd name="connsiteX2" fmla="*/ 74350 w 80920"/>
                  <a:gd name="connsiteY2" fmla="*/ 167147 h 216193"/>
                  <a:gd name="connsiteX0" fmla="*/ 0 w 63853"/>
                  <a:gd name="connsiteY0" fmla="*/ 0 h 167147"/>
                  <a:gd name="connsiteX1" fmla="*/ 40260 w 63853"/>
                  <a:gd name="connsiteY1" fmla="*/ 97365 h 167147"/>
                  <a:gd name="connsiteX2" fmla="*/ 33890 w 63853"/>
                  <a:gd name="connsiteY2" fmla="*/ 167147 h 167147"/>
                  <a:gd name="connsiteX3" fmla="*/ 0 w 63853"/>
                  <a:gd name="connsiteY3" fmla="*/ 108097 h 167147"/>
                  <a:gd name="connsiteX4" fmla="*/ 0 w 63853"/>
                  <a:gd name="connsiteY4" fmla="*/ 0 h 167147"/>
                  <a:gd name="connsiteX0" fmla="*/ 0 w 63853"/>
                  <a:gd name="connsiteY0" fmla="*/ 0 h 167147"/>
                  <a:gd name="connsiteX1" fmla="*/ 40260 w 63853"/>
                  <a:gd name="connsiteY1" fmla="*/ 97365 h 167147"/>
                  <a:gd name="connsiteX2" fmla="*/ 63229 w 63853"/>
                  <a:gd name="connsiteY2" fmla="*/ 154923 h 167147"/>
                  <a:gd name="connsiteX0" fmla="*/ 0 w 63591"/>
                  <a:gd name="connsiteY0" fmla="*/ 0 h 167147"/>
                  <a:gd name="connsiteX1" fmla="*/ 40260 w 63591"/>
                  <a:gd name="connsiteY1" fmla="*/ 97365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102254 h 167147"/>
                  <a:gd name="connsiteX2" fmla="*/ 63229 w 63591"/>
                  <a:gd name="connsiteY2" fmla="*/ 154923 h 167147"/>
                  <a:gd name="connsiteX0" fmla="*/ 0 w 63523"/>
                  <a:gd name="connsiteY0" fmla="*/ 0 h 167147"/>
                  <a:gd name="connsiteX1" fmla="*/ 18256 w 63523"/>
                  <a:gd name="connsiteY1" fmla="*/ 75360 h 167147"/>
                  <a:gd name="connsiteX2" fmla="*/ 33890 w 63523"/>
                  <a:gd name="connsiteY2" fmla="*/ 167147 h 167147"/>
                  <a:gd name="connsiteX3" fmla="*/ 0 w 63523"/>
                  <a:gd name="connsiteY3" fmla="*/ 108097 h 167147"/>
                  <a:gd name="connsiteX4" fmla="*/ 0 w 63523"/>
                  <a:gd name="connsiteY4" fmla="*/ 0 h 167147"/>
                  <a:gd name="connsiteX0" fmla="*/ 0 w 63523"/>
                  <a:gd name="connsiteY0" fmla="*/ 0 h 167147"/>
                  <a:gd name="connsiteX1" fmla="*/ 6031 w 63523"/>
                  <a:gd name="connsiteY1" fmla="*/ 109589 h 167147"/>
                  <a:gd name="connsiteX2" fmla="*/ 63229 w 63523"/>
                  <a:gd name="connsiteY2" fmla="*/ 154923 h 167147"/>
                  <a:gd name="connsiteX0" fmla="*/ 0 w 63591"/>
                  <a:gd name="connsiteY0" fmla="*/ 0 h 167147"/>
                  <a:gd name="connsiteX1" fmla="*/ 18256 w 63591"/>
                  <a:gd name="connsiteY1" fmla="*/ 75360 h 167147"/>
                  <a:gd name="connsiteX2" fmla="*/ 33890 w 63591"/>
                  <a:gd name="connsiteY2" fmla="*/ 167147 h 167147"/>
                  <a:gd name="connsiteX3" fmla="*/ 0 w 63591"/>
                  <a:gd name="connsiteY3" fmla="*/ 108097 h 167147"/>
                  <a:gd name="connsiteX4" fmla="*/ 0 w 63591"/>
                  <a:gd name="connsiteY4" fmla="*/ 0 h 167147"/>
                  <a:gd name="connsiteX0" fmla="*/ 0 w 63591"/>
                  <a:gd name="connsiteY0" fmla="*/ 0 h 167147"/>
                  <a:gd name="connsiteX1" fmla="*/ 18256 w 63591"/>
                  <a:gd name="connsiteY1" fmla="*/ 80250 h 167147"/>
                  <a:gd name="connsiteX2" fmla="*/ 63229 w 63591"/>
                  <a:gd name="connsiteY2" fmla="*/ 154923 h 167147"/>
                  <a:gd name="connsiteX0" fmla="*/ 0 w 63806"/>
                  <a:gd name="connsiteY0" fmla="*/ 0 h 167147"/>
                  <a:gd name="connsiteX1" fmla="*/ 18256 w 63806"/>
                  <a:gd name="connsiteY1" fmla="*/ 75360 h 167147"/>
                  <a:gd name="connsiteX2" fmla="*/ 33890 w 63806"/>
                  <a:gd name="connsiteY2" fmla="*/ 167147 h 167147"/>
                  <a:gd name="connsiteX3" fmla="*/ 0 w 63806"/>
                  <a:gd name="connsiteY3" fmla="*/ 108097 h 167147"/>
                  <a:gd name="connsiteX4" fmla="*/ 0 w 63806"/>
                  <a:gd name="connsiteY4" fmla="*/ 0 h 167147"/>
                  <a:gd name="connsiteX0" fmla="*/ 0 w 63806"/>
                  <a:gd name="connsiteY0" fmla="*/ 0 h 167147"/>
                  <a:gd name="connsiteX1" fmla="*/ 37815 w 63806"/>
                  <a:gd name="connsiteY1" fmla="*/ 60691 h 167147"/>
                  <a:gd name="connsiteX2" fmla="*/ 63229 w 63806"/>
                  <a:gd name="connsiteY2" fmla="*/ 154923 h 167147"/>
                </a:gdLst>
                <a:ahLst/>
                <a:cxnLst>
                  <a:cxn ang="0">
                    <a:pos x="connsiteX0" y="connsiteY0"/>
                  </a:cxn>
                  <a:cxn ang="0">
                    <a:pos x="connsiteX1" y="connsiteY1"/>
                  </a:cxn>
                  <a:cxn ang="0">
                    <a:pos x="connsiteX2" y="connsiteY2"/>
                  </a:cxn>
                </a:cxnLst>
                <a:rect l="l" t="t" r="r" b="b"/>
                <a:pathLst>
                  <a:path w="63806" h="167147" stroke="0" extrusionOk="0">
                    <a:moveTo>
                      <a:pt x="0" y="0"/>
                    </a:moveTo>
                    <a:cubicBezTo>
                      <a:pt x="20790" y="0"/>
                      <a:pt x="16192" y="20090"/>
                      <a:pt x="18256" y="75360"/>
                    </a:cubicBezTo>
                    <a:cubicBezTo>
                      <a:pt x="19172" y="99881"/>
                      <a:pt x="38928" y="146506"/>
                      <a:pt x="33890" y="167147"/>
                    </a:cubicBezTo>
                    <a:lnTo>
                      <a:pt x="0" y="108097"/>
                    </a:lnTo>
                    <a:lnTo>
                      <a:pt x="0" y="0"/>
                    </a:lnTo>
                    <a:close/>
                  </a:path>
                  <a:path w="63806" h="167147" fill="none">
                    <a:moveTo>
                      <a:pt x="0" y="0"/>
                    </a:moveTo>
                    <a:cubicBezTo>
                      <a:pt x="20790" y="0"/>
                      <a:pt x="35751" y="5421"/>
                      <a:pt x="37815" y="60691"/>
                    </a:cubicBezTo>
                    <a:cubicBezTo>
                      <a:pt x="38731" y="85212"/>
                      <a:pt x="68267" y="134282"/>
                      <a:pt x="63229" y="154923"/>
                    </a:cubicBezTo>
                  </a:path>
                </a:pathLst>
              </a:cu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4337"/>
                <a:endParaRPr lang="en-US" sz="900">
                  <a:solidFill>
                    <a:srgbClr val="333333"/>
                  </a:solidFill>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79876431-3D62-C544-9176-7807B0775532}"/>
                  </a:ext>
                </a:extLst>
              </p:cNvPr>
              <p:cNvSpPr/>
              <p:nvPr/>
            </p:nvSpPr>
            <p:spPr>
              <a:xfrm rot="9732774" flipH="1">
                <a:off x="6012499" y="3377815"/>
                <a:ext cx="214155" cy="346879"/>
              </a:xfrm>
              <a:prstGeom prst="ellipse">
                <a:avLst/>
              </a:prstGeom>
              <a:solidFill>
                <a:schemeClr val="accent4">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F0980707-EBDB-5D4D-BCE6-79201E6DA247}"/>
                  </a:ext>
                </a:extLst>
              </p:cNvPr>
              <p:cNvSpPr/>
              <p:nvPr/>
            </p:nvSpPr>
            <p:spPr>
              <a:xfrm rot="12165279" flipH="1">
                <a:off x="6014569" y="3674929"/>
                <a:ext cx="214155" cy="353249"/>
              </a:xfrm>
              <a:prstGeom prst="ellipse">
                <a:avLst/>
              </a:prstGeom>
              <a:solidFill>
                <a:schemeClr val="accent4">
                  <a:lumMod val="75000"/>
                </a:schemeClr>
              </a:solidFill>
              <a:ln w="3175">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1050">
                  <a:solidFill>
                    <a:srgbClr val="FFFFFF"/>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211A1658-9B9C-B446-B4AF-94D447CB9E9E}"/>
                </a:ext>
              </a:extLst>
            </p:cNvPr>
            <p:cNvGrpSpPr/>
            <p:nvPr/>
          </p:nvGrpSpPr>
          <p:grpSpPr>
            <a:xfrm rot="13713060">
              <a:off x="6535249" y="4740970"/>
              <a:ext cx="718719" cy="475520"/>
              <a:chOff x="7800312" y="5332575"/>
              <a:chExt cx="522239" cy="230598"/>
            </a:xfrm>
          </p:grpSpPr>
          <p:sp>
            <p:nvSpPr>
              <p:cNvPr id="45" name="Isosceles Triangle 259">
                <a:extLst>
                  <a:ext uri="{FF2B5EF4-FFF2-40B4-BE49-F238E27FC236}">
                    <a16:creationId xmlns:a16="http://schemas.microsoft.com/office/drawing/2014/main" id="{E9E16814-3A7D-FC42-908F-44D86994DDF9}"/>
                  </a:ext>
                </a:extLst>
              </p:cNvPr>
              <p:cNvSpPr/>
              <p:nvPr/>
            </p:nvSpPr>
            <p:spPr>
              <a:xfrm>
                <a:off x="7848874" y="5332575"/>
                <a:ext cx="395638" cy="84339"/>
              </a:xfrm>
              <a:prstGeom prst="triangle">
                <a:avLst/>
              </a:prstGeom>
              <a:solidFill>
                <a:srgbClr val="D34C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46" name="Isosceles Triangle 260">
                <a:extLst>
                  <a:ext uri="{FF2B5EF4-FFF2-40B4-BE49-F238E27FC236}">
                    <a16:creationId xmlns:a16="http://schemas.microsoft.com/office/drawing/2014/main" id="{D3B2C1D4-4BAF-BA42-881B-FCD21F62398D}"/>
                  </a:ext>
                </a:extLst>
              </p:cNvPr>
              <p:cNvSpPr>
                <a:spLocks noChangeAspect="1"/>
              </p:cNvSpPr>
              <p:nvPr/>
            </p:nvSpPr>
            <p:spPr>
              <a:xfrm>
                <a:off x="7818523" y="5371627"/>
                <a:ext cx="474762" cy="124196"/>
              </a:xfrm>
              <a:prstGeom prst="triangle">
                <a:avLst/>
              </a:prstGeom>
              <a:solidFill>
                <a:srgbClr val="C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47" name="Isosceles Triangle 261">
                <a:extLst>
                  <a:ext uri="{FF2B5EF4-FFF2-40B4-BE49-F238E27FC236}">
                    <a16:creationId xmlns:a16="http://schemas.microsoft.com/office/drawing/2014/main" id="{270860E8-293D-7A42-BBFC-97986CD2E938}"/>
                  </a:ext>
                </a:extLst>
              </p:cNvPr>
              <p:cNvSpPr>
                <a:spLocks noChangeAspect="1"/>
              </p:cNvSpPr>
              <p:nvPr/>
            </p:nvSpPr>
            <p:spPr>
              <a:xfrm>
                <a:off x="7800312" y="5426558"/>
                <a:ext cx="522239" cy="136615"/>
              </a:xfrm>
              <a:prstGeom prst="triangle">
                <a:avLst/>
              </a:prstGeom>
              <a:solidFill>
                <a:srgbClr val="C000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grpSp>
        <p:grpSp>
          <p:nvGrpSpPr>
            <p:cNvPr id="41" name="Group 40">
              <a:extLst>
                <a:ext uri="{FF2B5EF4-FFF2-40B4-BE49-F238E27FC236}">
                  <a16:creationId xmlns:a16="http://schemas.microsoft.com/office/drawing/2014/main" id="{B1844661-BE14-184D-BA19-33B3140A2D02}"/>
                </a:ext>
              </a:extLst>
            </p:cNvPr>
            <p:cNvGrpSpPr/>
            <p:nvPr/>
          </p:nvGrpSpPr>
          <p:grpSpPr>
            <a:xfrm rot="10800000">
              <a:off x="10165319" y="4589689"/>
              <a:ext cx="718719" cy="475520"/>
              <a:chOff x="7800312" y="5332575"/>
              <a:chExt cx="522239" cy="230598"/>
            </a:xfrm>
          </p:grpSpPr>
          <p:sp>
            <p:nvSpPr>
              <p:cNvPr id="42" name="Isosceles Triangle 256">
                <a:extLst>
                  <a:ext uri="{FF2B5EF4-FFF2-40B4-BE49-F238E27FC236}">
                    <a16:creationId xmlns:a16="http://schemas.microsoft.com/office/drawing/2014/main" id="{D09D341D-7D16-9646-B382-103E20E1BAFA}"/>
                  </a:ext>
                </a:extLst>
              </p:cNvPr>
              <p:cNvSpPr/>
              <p:nvPr/>
            </p:nvSpPr>
            <p:spPr>
              <a:xfrm>
                <a:off x="7862302" y="5332575"/>
                <a:ext cx="395638" cy="84339"/>
              </a:xfrm>
              <a:prstGeom prst="triangle">
                <a:avLst/>
              </a:prstGeom>
              <a:solidFill>
                <a:srgbClr val="6EBD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43" name="Isosceles Triangle 257">
                <a:extLst>
                  <a:ext uri="{FF2B5EF4-FFF2-40B4-BE49-F238E27FC236}">
                    <a16:creationId xmlns:a16="http://schemas.microsoft.com/office/drawing/2014/main" id="{01F1C625-A9A5-0B46-8CA2-E698D85F932D}"/>
                  </a:ext>
                </a:extLst>
              </p:cNvPr>
              <p:cNvSpPr>
                <a:spLocks noChangeAspect="1"/>
              </p:cNvSpPr>
              <p:nvPr/>
            </p:nvSpPr>
            <p:spPr>
              <a:xfrm>
                <a:off x="7820760" y="5371627"/>
                <a:ext cx="474762" cy="124196"/>
              </a:xfrm>
              <a:prstGeom prst="triangle">
                <a:avLst/>
              </a:prstGeom>
              <a:solidFill>
                <a:srgbClr val="349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sp>
            <p:nvSpPr>
              <p:cNvPr id="44" name="Isosceles Triangle 258">
                <a:extLst>
                  <a:ext uri="{FF2B5EF4-FFF2-40B4-BE49-F238E27FC236}">
                    <a16:creationId xmlns:a16="http://schemas.microsoft.com/office/drawing/2014/main" id="{61F38873-F49D-4B41-9492-59DE3838FC43}"/>
                  </a:ext>
                </a:extLst>
              </p:cNvPr>
              <p:cNvSpPr>
                <a:spLocks noChangeAspect="1"/>
              </p:cNvSpPr>
              <p:nvPr/>
            </p:nvSpPr>
            <p:spPr>
              <a:xfrm>
                <a:off x="7800312" y="5426558"/>
                <a:ext cx="522239" cy="136615"/>
              </a:xfrm>
              <a:prstGeom prst="triangl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37"/>
                <a:endParaRPr lang="en-US" sz="900">
                  <a:solidFill>
                    <a:srgbClr val="FFFFFF"/>
                  </a:solidFill>
                  <a:latin typeface="Arial" panose="020B0604020202020204" pitchFamily="34" charset="0"/>
                  <a:cs typeface="Arial" panose="020B0604020202020204" pitchFamily="34" charset="0"/>
                </a:endParaRPr>
              </a:p>
            </p:txBody>
          </p:sp>
        </p:grpSp>
      </p:grpSp>
      <p:sp>
        <p:nvSpPr>
          <p:cNvPr id="237" name="TextBox 236">
            <a:extLst>
              <a:ext uri="{FF2B5EF4-FFF2-40B4-BE49-F238E27FC236}">
                <a16:creationId xmlns:a16="http://schemas.microsoft.com/office/drawing/2014/main" id="{DCCA4107-E7DF-4477-84DB-02D7D501106D}"/>
              </a:ext>
            </a:extLst>
          </p:cNvPr>
          <p:cNvSpPr txBox="1"/>
          <p:nvPr/>
        </p:nvSpPr>
        <p:spPr>
          <a:xfrm>
            <a:off x="114300" y="4918197"/>
            <a:ext cx="9029700" cy="246221"/>
          </a:xfrm>
          <a:prstGeom prst="rect">
            <a:avLst/>
          </a:prstGeom>
          <a:noFill/>
        </p:spPr>
        <p:txBody>
          <a:bodyPr wrap="square" rtlCol="0">
            <a:spAutoFit/>
          </a:bodyPr>
          <a:lstStyle/>
          <a:p>
            <a:pPr algn="r" defTabSz="685800"/>
            <a:r>
              <a:rPr lang="en-US" sz="1000">
                <a:solidFill>
                  <a:prstClr val="black"/>
                </a:solidFill>
                <a:latin typeface="Arial" panose="020B0604020202020204" pitchFamily="34" charset="0"/>
                <a:cs typeface="Arial" panose="020B0604020202020204" pitchFamily="34" charset="0"/>
              </a:rPr>
              <a:t>ClinicalTrials.gov identifier: NCT04775550.</a:t>
            </a:r>
          </a:p>
        </p:txBody>
      </p:sp>
      <p:sp>
        <p:nvSpPr>
          <p:cNvPr id="239" name="Rectangle 238">
            <a:extLst>
              <a:ext uri="{FF2B5EF4-FFF2-40B4-BE49-F238E27FC236}">
                <a16:creationId xmlns:a16="http://schemas.microsoft.com/office/drawing/2014/main" id="{E517D352-3080-40E7-B5EF-8639AFAAF7D5}"/>
              </a:ext>
            </a:extLst>
          </p:cNvPr>
          <p:cNvSpPr/>
          <p:nvPr/>
        </p:nvSpPr>
        <p:spPr>
          <a:xfrm>
            <a:off x="36716" y="2891199"/>
            <a:ext cx="3202918" cy="1546577"/>
          </a:xfrm>
          <a:prstGeom prst="rect">
            <a:avLst/>
          </a:prstGeom>
        </p:spPr>
        <p:txBody>
          <a:bodyPr wrap="square">
            <a:noAutofit/>
          </a:bodyPr>
          <a:lstStyle/>
          <a:p>
            <a:pPr defTabSz="685800" fontAlgn="base"/>
            <a:r>
              <a:rPr lang="nl-BE" sz="900" b="1" u="sng">
                <a:solidFill>
                  <a:srgbClr val="000000"/>
                </a:solidFill>
                <a:latin typeface="Arial" panose="020B0604020202020204" pitchFamily="34" charset="0"/>
                <a:cs typeface="Arial" panose="020B0604020202020204" pitchFamily="34" charset="0"/>
              </a:rPr>
              <a:t>Inclusion criteria</a:t>
            </a:r>
            <a:r>
              <a:rPr lang="nl-BE" sz="900" b="1">
                <a:solidFill>
                  <a:srgbClr val="000000"/>
                </a:solidFill>
                <a:latin typeface="Arial" panose="020B0604020202020204" pitchFamily="34" charset="0"/>
                <a:cs typeface="Arial" panose="020B0604020202020204" pitchFamily="34" charset="0"/>
              </a:rPr>
              <a:t> </a:t>
            </a:r>
          </a:p>
          <a:p>
            <a:pPr defTabSz="685800" fontAlgn="base"/>
            <a:r>
              <a:rPr lang="nl-BE" sz="900" b="1">
                <a:solidFill>
                  <a:srgbClr val="000000"/>
                </a:solidFill>
                <a:latin typeface="Arial" panose="020B0604020202020204" pitchFamily="34" charset="0"/>
                <a:cs typeface="Arial" panose="020B0604020202020204" pitchFamily="34" charset="0"/>
              </a:rPr>
              <a:t>High-risk SMM defined as having 1 of the </a:t>
            </a:r>
          </a:p>
          <a:p>
            <a:pPr defTabSz="685800" fontAlgn="base"/>
            <a:r>
              <a:rPr lang="nl-BE" sz="900" b="1">
                <a:solidFill>
                  <a:srgbClr val="000000"/>
                </a:solidFill>
                <a:latin typeface="Arial" panose="020B0604020202020204" pitchFamily="34" charset="0"/>
                <a:cs typeface="Arial" panose="020B0604020202020204" pitchFamily="34" charset="0"/>
              </a:rPr>
              <a:t>following 2 criteria:</a:t>
            </a:r>
            <a:r>
              <a:rPr lang="nl-BE" sz="900">
                <a:solidFill>
                  <a:srgbClr val="000000"/>
                </a:solidFill>
                <a:latin typeface="Arial" panose="020B0604020202020204" pitchFamily="34" charset="0"/>
                <a:cs typeface="Arial" panose="020B0604020202020204" pitchFamily="34" charset="0"/>
              </a:rPr>
              <a:t> </a:t>
            </a:r>
          </a:p>
          <a:p>
            <a:pPr defTabSz="685800" fontAlgn="base"/>
            <a:r>
              <a:rPr lang="nl-BE" sz="825">
                <a:solidFill>
                  <a:srgbClr val="000000"/>
                </a:solidFill>
                <a:latin typeface="Arial" panose="020B0604020202020204" pitchFamily="34" charset="0"/>
                <a:cs typeface="Arial" panose="020B0604020202020204" pitchFamily="34" charset="0"/>
              </a:rPr>
              <a:t> </a:t>
            </a:r>
          </a:p>
          <a:p>
            <a:pPr marL="171450" indent="-171450" defTabSz="685800" fontAlgn="base">
              <a:buFont typeface="+mj-lt"/>
              <a:buAutoNum type="arabicPeriod"/>
            </a:pPr>
            <a:r>
              <a:rPr lang="nl-BE" sz="825" b="1">
                <a:solidFill>
                  <a:srgbClr val="000000"/>
                </a:solidFill>
                <a:latin typeface="Arial" panose="020B0604020202020204" pitchFamily="34" charset="0"/>
                <a:cs typeface="Arial" panose="020B0604020202020204" pitchFamily="34" charset="0"/>
              </a:rPr>
              <a:t>High risk per "20-2-20" criteria defined as presence of any 2 of the following  </a:t>
            </a:r>
          </a:p>
          <a:p>
            <a:pPr marL="303610" lvl="1" indent="-128588"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Serum M-spike ≥2 g/dL </a:t>
            </a:r>
          </a:p>
          <a:p>
            <a:pPr marL="303610" lvl="1" indent="-128588"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Involved to uninvolved free light chain (FLC) ratio ≥20 </a:t>
            </a:r>
          </a:p>
          <a:p>
            <a:pPr marL="303610" lvl="1" indent="-128588"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Bone marrow PC% ≥20%  </a:t>
            </a:r>
          </a:p>
          <a:p>
            <a:pPr defTabSz="685800" fontAlgn="base"/>
            <a:r>
              <a:rPr lang="nl-BE" sz="825">
                <a:solidFill>
                  <a:srgbClr val="000000"/>
                </a:solidFill>
                <a:latin typeface="Arial" panose="020B0604020202020204" pitchFamily="34" charset="0"/>
                <a:cs typeface="Arial" panose="020B0604020202020204" pitchFamily="34" charset="0"/>
              </a:rPr>
              <a:t> </a:t>
            </a:r>
          </a:p>
          <a:p>
            <a:pPr defTabSz="685800" fontAlgn="base"/>
            <a:r>
              <a:rPr lang="nl-BE" sz="825">
                <a:solidFill>
                  <a:srgbClr val="000000"/>
                </a:solidFill>
                <a:latin typeface="Arial" panose="020B0604020202020204" pitchFamily="34" charset="0"/>
                <a:cs typeface="Arial" panose="020B0604020202020204" pitchFamily="34" charset="0"/>
              </a:rPr>
              <a:t>OR</a:t>
            </a:r>
            <a:r>
              <a:rPr lang="nl-BE" sz="825" b="1">
                <a:solidFill>
                  <a:srgbClr val="000000"/>
                </a:solidFill>
                <a:latin typeface="Arial" panose="020B0604020202020204" pitchFamily="34" charset="0"/>
                <a:cs typeface="Arial" panose="020B0604020202020204" pitchFamily="34" charset="0"/>
              </a:rPr>
              <a:t> total score </a:t>
            </a:r>
            <a:r>
              <a:rPr lang="nl-BE" sz="825">
                <a:solidFill>
                  <a:srgbClr val="000000"/>
                </a:solidFill>
                <a:latin typeface="Arial" panose="020B0604020202020204" pitchFamily="34" charset="0"/>
                <a:cs typeface="Arial" panose="020B0604020202020204" pitchFamily="34" charset="0"/>
              </a:rPr>
              <a:t>of 9 using the following scoring system </a:t>
            </a:r>
          </a:p>
          <a:p>
            <a:pPr marL="303610" lvl="1" indent="-127397"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FLC ratio: &gt;10-25 = 2, &gt;25-40 = 3, &gt; 40 = 5 </a:t>
            </a:r>
          </a:p>
          <a:p>
            <a:pPr marL="303610" lvl="1" indent="-127397"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Serum M-protein (g/dL): &gt;1.5-3 = 3, &gt;3 = 4 </a:t>
            </a:r>
          </a:p>
          <a:p>
            <a:pPr marL="303610" lvl="1" indent="-127397"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BMPC%: &gt;15-20 = 2, &gt;20-30 = 3, &gt;30-40 = 5, &gt;40 = 6 </a:t>
            </a:r>
          </a:p>
          <a:p>
            <a:pPr marL="303610" lvl="1" indent="-127397" defTabSz="685800" fontAlgn="base">
              <a:buFont typeface="Arial" panose="020B0604020202020204" pitchFamily="34" charset="0"/>
              <a:buChar char="•"/>
            </a:pPr>
            <a:r>
              <a:rPr lang="nl-BE" sz="825">
                <a:solidFill>
                  <a:srgbClr val="000000"/>
                </a:solidFill>
                <a:latin typeface="Arial" panose="020B0604020202020204" pitchFamily="34" charset="0"/>
                <a:cs typeface="Arial" panose="020B0604020202020204" pitchFamily="34" charset="0"/>
              </a:rPr>
              <a:t>FISH abnormality (t(4,14), t(14,16), 1q gain, or del13q = 2 </a:t>
            </a:r>
            <a:br>
              <a:rPr lang="nl-BE" sz="825">
                <a:solidFill>
                  <a:srgbClr val="000000"/>
                </a:solidFill>
                <a:latin typeface="Arial" panose="020B0604020202020204" pitchFamily="34" charset="0"/>
                <a:cs typeface="Arial" panose="020B0604020202020204" pitchFamily="34" charset="0"/>
              </a:rPr>
            </a:br>
            <a:r>
              <a:rPr lang="nl-BE" sz="825">
                <a:solidFill>
                  <a:srgbClr val="000000"/>
                </a:solidFill>
                <a:latin typeface="Arial" panose="020B0604020202020204" pitchFamily="34" charset="0"/>
                <a:cs typeface="Arial" panose="020B0604020202020204" pitchFamily="34" charset="0"/>
              </a:rPr>
              <a:t> </a:t>
            </a:r>
          </a:p>
          <a:p>
            <a:pPr defTabSz="514337" fontAlgn="base"/>
            <a:endParaRPr lang="en-US" sz="825">
              <a:solidFill>
                <a:srgbClr val="000000"/>
              </a:solidFill>
              <a:latin typeface="Arial" panose="020B0604020202020204" pitchFamily="34" charset="0"/>
              <a:cs typeface="Arial" panose="020B0604020202020204" pitchFamily="34" charset="0"/>
            </a:endParaRPr>
          </a:p>
        </p:txBody>
      </p:sp>
      <p:sp>
        <p:nvSpPr>
          <p:cNvPr id="240" name="Rectangle 239">
            <a:extLst>
              <a:ext uri="{FF2B5EF4-FFF2-40B4-BE49-F238E27FC236}">
                <a16:creationId xmlns:a16="http://schemas.microsoft.com/office/drawing/2014/main" id="{66E89D53-2B54-4A5A-B024-E8F7E22BD412}"/>
              </a:ext>
            </a:extLst>
          </p:cNvPr>
          <p:cNvSpPr/>
          <p:nvPr/>
        </p:nvSpPr>
        <p:spPr>
          <a:xfrm>
            <a:off x="2962365" y="3428233"/>
            <a:ext cx="2955061" cy="854080"/>
          </a:xfrm>
          <a:prstGeom prst="rect">
            <a:avLst/>
          </a:prstGeom>
        </p:spPr>
        <p:txBody>
          <a:bodyPr wrap="square">
            <a:noAutofit/>
          </a:bodyPr>
          <a:lstStyle/>
          <a:p>
            <a:pPr marL="175022" indent="-175022" defTabSz="685800" fontAlgn="base">
              <a:buFont typeface="+mj-lt"/>
              <a:buAutoNum type="arabicPeriod" startAt="2"/>
            </a:pPr>
            <a:r>
              <a:rPr lang="nl-BE" sz="825" b="1" spc="-15">
                <a:solidFill>
                  <a:srgbClr val="000000"/>
                </a:solidFill>
                <a:latin typeface="Arial" panose="020B0604020202020204" pitchFamily="34" charset="0"/>
                <a:cs typeface="Arial" panose="020B0604020202020204" pitchFamily="34" charset="0"/>
              </a:rPr>
              <a:t>Presence of ≥10% BMPC and at least 1 of the following</a:t>
            </a:r>
          </a:p>
          <a:p>
            <a:pPr marL="303610" lvl="1" indent="-127397" defTabSz="685800" fontAlgn="base">
              <a:buFont typeface="Arial" panose="020B0604020202020204" pitchFamily="34" charset="0"/>
              <a:buChar char="•"/>
            </a:pPr>
            <a:r>
              <a:rPr lang="nl-BE" sz="825" b="1">
                <a:solidFill>
                  <a:srgbClr val="000000"/>
                </a:solidFill>
                <a:latin typeface="Arial" panose="020B0604020202020204" pitchFamily="34" charset="0"/>
                <a:cs typeface="Arial" panose="020B0604020202020204" pitchFamily="34" charset="0"/>
              </a:rPr>
              <a:t>Evolving pattern </a:t>
            </a:r>
            <a:endParaRPr lang="nl-BE" sz="825">
              <a:solidFill>
                <a:srgbClr val="000000"/>
              </a:solidFill>
              <a:latin typeface="Arial" panose="020B0604020202020204" pitchFamily="34" charset="0"/>
              <a:cs typeface="Arial" panose="020B0604020202020204" pitchFamily="34" charset="0"/>
            </a:endParaRPr>
          </a:p>
          <a:p>
            <a:pPr marL="303610" lvl="1" indent="-127397" defTabSz="685800" fontAlgn="base">
              <a:buFont typeface="Arial" panose="020B0604020202020204" pitchFamily="34" charset="0"/>
              <a:buChar char="•"/>
            </a:pPr>
            <a:r>
              <a:rPr lang="nl-BE" sz="825" b="1">
                <a:solidFill>
                  <a:srgbClr val="000000"/>
                </a:solidFill>
                <a:latin typeface="Arial" panose="020B0604020202020204" pitchFamily="34" charset="0"/>
                <a:cs typeface="Arial" panose="020B0604020202020204" pitchFamily="34" charset="0"/>
              </a:rPr>
              <a:t>Abnormal PC immunophenotype </a:t>
            </a:r>
            <a:r>
              <a:rPr lang="nl-BE" sz="825">
                <a:solidFill>
                  <a:srgbClr val="000000"/>
                </a:solidFill>
                <a:latin typeface="Arial" panose="020B0604020202020204" pitchFamily="34" charset="0"/>
                <a:cs typeface="Arial" panose="020B0604020202020204" pitchFamily="34" charset="0"/>
              </a:rPr>
              <a:t>(≥95% of BMPCs are clonal) and reduction of ≥1 uninvolved immunoglobin isotope (only IgG, IgA, and IgMwill be  considered) </a:t>
            </a:r>
          </a:p>
          <a:p>
            <a:pPr marL="303610" lvl="1" indent="-127397" defTabSz="685800" fontAlgn="base">
              <a:buFont typeface="Arial" panose="020B0604020202020204" pitchFamily="34" charset="0"/>
              <a:buChar char="•"/>
            </a:pPr>
            <a:r>
              <a:rPr lang="nl-BE" sz="825" b="1">
                <a:solidFill>
                  <a:srgbClr val="000000"/>
                </a:solidFill>
                <a:latin typeface="Arial" panose="020B0604020202020204" pitchFamily="34" charset="0"/>
                <a:cs typeface="Arial" panose="020B0604020202020204" pitchFamily="34" charset="0"/>
              </a:rPr>
              <a:t>High-risk cytogenetics </a:t>
            </a:r>
            <a:r>
              <a:rPr lang="nl-BE" sz="825">
                <a:solidFill>
                  <a:srgbClr val="000000"/>
                </a:solidFill>
                <a:latin typeface="Arial" panose="020B0604020202020204" pitchFamily="34" charset="0"/>
                <a:cs typeface="Arial" panose="020B0604020202020204" pitchFamily="34" charset="0"/>
              </a:rPr>
              <a:t>defined as presence of t(4;14),   t(14;16), t(14;20), 17p deletion,</a:t>
            </a:r>
            <a:r>
              <a:rPr lang="nl-BE" sz="825" i="1">
                <a:solidFill>
                  <a:srgbClr val="000000"/>
                </a:solidFill>
                <a:latin typeface="Arial" panose="020B0604020202020204" pitchFamily="34" charset="0"/>
                <a:cs typeface="Arial" panose="020B0604020202020204" pitchFamily="34" charset="0"/>
              </a:rPr>
              <a:t>TP53 </a:t>
            </a:r>
            <a:r>
              <a:rPr lang="nl-BE" sz="825">
                <a:solidFill>
                  <a:srgbClr val="000000"/>
                </a:solidFill>
                <a:latin typeface="Arial" panose="020B0604020202020204" pitchFamily="34" charset="0"/>
                <a:cs typeface="Arial" panose="020B0604020202020204" pitchFamily="34" charset="0"/>
              </a:rPr>
              <a:t> mutation, 1q21 gain </a:t>
            </a:r>
          </a:p>
          <a:p>
            <a:pPr defTabSz="685800" fontAlgn="base"/>
            <a:endParaRPr lang="en-US" sz="60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558007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1A98C-DF35-1146-8319-473DA591BA86}"/>
              </a:ext>
            </a:extLst>
          </p:cNvPr>
          <p:cNvSpPr>
            <a:spLocks noGrp="1"/>
          </p:cNvSpPr>
          <p:nvPr>
            <p:ph type="title"/>
          </p:nvPr>
        </p:nvSpPr>
        <p:spPr>
          <a:xfrm>
            <a:off x="457200" y="70410"/>
            <a:ext cx="8229600" cy="527668"/>
          </a:xfrm>
        </p:spPr>
        <p:txBody>
          <a:bodyPr>
            <a:normAutofit/>
          </a:bodyPr>
          <a:lstStyle/>
          <a:p>
            <a:r>
              <a:rPr lang="en-US" sz="2400" b="1" noProof="0">
                <a:solidFill>
                  <a:srgbClr val="0070C0"/>
                </a:solidFill>
                <a:latin typeface="Arial" panose="020B0604020202020204" pitchFamily="34" charset="0"/>
                <a:cs typeface="Arial" panose="020B0604020202020204" pitchFamily="34" charset="0"/>
              </a:rPr>
              <a:t>Conclusions: The tipping point!</a:t>
            </a:r>
          </a:p>
        </p:txBody>
      </p:sp>
      <p:sp>
        <p:nvSpPr>
          <p:cNvPr id="3" name="Content Placeholder 2">
            <a:extLst>
              <a:ext uri="{FF2B5EF4-FFF2-40B4-BE49-F238E27FC236}">
                <a16:creationId xmlns:a16="http://schemas.microsoft.com/office/drawing/2014/main" id="{4FC4B058-D6EE-1844-9A34-68BF4037D6A2}"/>
              </a:ext>
            </a:extLst>
          </p:cNvPr>
          <p:cNvSpPr>
            <a:spLocks noGrp="1"/>
          </p:cNvSpPr>
          <p:nvPr>
            <p:ph idx="1"/>
          </p:nvPr>
        </p:nvSpPr>
        <p:spPr>
          <a:xfrm>
            <a:off x="369479" y="786794"/>
            <a:ext cx="8625665" cy="3394472"/>
          </a:xfrm>
        </p:spPr>
        <p:txBody>
          <a:bodyPr>
            <a:normAutofit/>
          </a:bodyPr>
          <a:lstStyle/>
          <a:p>
            <a:pPr>
              <a:spcBef>
                <a:spcPts val="1800"/>
              </a:spcBef>
            </a:pPr>
            <a:r>
              <a:rPr lang="en-US" sz="1800" noProof="0">
                <a:latin typeface="Arial" panose="020B0604020202020204" pitchFamily="34" charset="0"/>
                <a:cs typeface="Arial" panose="020B0604020202020204" pitchFamily="34" charset="0"/>
              </a:rPr>
              <a:t>If you believe you can cure patients with early interception, should we </a:t>
            </a:r>
            <a:r>
              <a:rPr lang="en-US" sz="1800" b="1" noProof="0">
                <a:latin typeface="Arial" panose="020B0604020202020204" pitchFamily="34" charset="0"/>
                <a:cs typeface="Arial" panose="020B0604020202020204" pitchFamily="34" charset="0"/>
              </a:rPr>
              <a:t>screen high-risk individuals? The first tipping point</a:t>
            </a:r>
          </a:p>
          <a:p>
            <a:pPr>
              <a:spcBef>
                <a:spcPts val="1800"/>
              </a:spcBef>
            </a:pPr>
            <a:r>
              <a:rPr lang="en-US" sz="1800" b="1" noProof="0">
                <a:latin typeface="Arial" panose="020B0604020202020204" pitchFamily="34" charset="0"/>
                <a:cs typeface="Arial" panose="020B0604020202020204" pitchFamily="34" charset="0"/>
              </a:rPr>
              <a:t>Better risk-stratification </a:t>
            </a:r>
            <a:r>
              <a:rPr lang="en-US" sz="1800" noProof="0">
                <a:latin typeface="Arial" panose="020B0604020202020204" pitchFamily="34" charset="0"/>
                <a:cs typeface="Arial" panose="020B0604020202020204" pitchFamily="34" charset="0"/>
              </a:rPr>
              <a:t>will identify patients who have “asymptomatic myeloma” but have all the characteristics of myeloma: </a:t>
            </a:r>
            <a:r>
              <a:rPr lang="en-US" sz="1800" b="1" noProof="0">
                <a:latin typeface="Arial" panose="020B0604020202020204" pitchFamily="34" charset="0"/>
                <a:cs typeface="Arial" panose="020B0604020202020204" pitchFamily="34" charset="0"/>
              </a:rPr>
              <a:t>the second tipping point</a:t>
            </a:r>
          </a:p>
          <a:p>
            <a:pPr>
              <a:spcBef>
                <a:spcPts val="1800"/>
              </a:spcBef>
            </a:pPr>
            <a:r>
              <a:rPr lang="en-US" sz="1800" noProof="0">
                <a:latin typeface="Arial" panose="020B0604020202020204" pitchFamily="34" charset="0"/>
                <a:cs typeface="Arial" panose="020B0604020202020204" pitchFamily="34" charset="0"/>
              </a:rPr>
              <a:t>Better therapeutic interventions: </a:t>
            </a:r>
            <a:r>
              <a:rPr lang="en-US" sz="1800" b="1" noProof="0">
                <a:latin typeface="Arial" panose="020B0604020202020204" pitchFamily="34" charset="0"/>
                <a:cs typeface="Arial" panose="020B0604020202020204" pitchFamily="34" charset="0"/>
              </a:rPr>
              <a:t>precision interception</a:t>
            </a:r>
          </a:p>
          <a:p>
            <a:pPr>
              <a:spcBef>
                <a:spcPts val="1800"/>
              </a:spcBef>
            </a:pPr>
            <a:r>
              <a:rPr lang="en-US" sz="1800" b="1" noProof="0">
                <a:latin typeface="Arial" panose="020B0604020202020204" pitchFamily="34" charset="0"/>
                <a:cs typeface="Arial" panose="020B0604020202020204" pitchFamily="34" charset="0"/>
              </a:rPr>
              <a:t>Early immunotherapy can possibly be the cure</a:t>
            </a:r>
          </a:p>
          <a:p>
            <a:pPr marL="0" indent="0">
              <a:spcBef>
                <a:spcPts val="1800"/>
              </a:spcBef>
              <a:buNone/>
            </a:pPr>
            <a:endParaRPr lang="en-US" sz="1800" noProof="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18135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73E00-07D3-D044-B14F-DEAE36CF7811}"/>
              </a:ext>
            </a:extLst>
          </p:cNvPr>
          <p:cNvSpPr>
            <a:spLocks noGrp="1"/>
          </p:cNvSpPr>
          <p:nvPr>
            <p:ph type="title"/>
          </p:nvPr>
        </p:nvSpPr>
        <p:spPr>
          <a:xfrm>
            <a:off x="457200" y="30538"/>
            <a:ext cx="8229600" cy="607412"/>
          </a:xfrm>
        </p:spPr>
        <p:txBody>
          <a:bodyPr>
            <a:normAutofit/>
          </a:bodyPr>
          <a:lstStyle/>
          <a:p>
            <a:r>
              <a:rPr lang="en-US" sz="2400" b="1" noProof="0">
                <a:solidFill>
                  <a:srgbClr val="0070C0"/>
                </a:solidFill>
                <a:latin typeface="Arial" panose="020B0604020202020204" pitchFamily="34" charset="0"/>
                <a:cs typeface="Arial" panose="020B0604020202020204" pitchFamily="34" charset="0"/>
              </a:rPr>
              <a:t>Multiple-choice question 1</a:t>
            </a:r>
          </a:p>
        </p:txBody>
      </p:sp>
      <p:sp>
        <p:nvSpPr>
          <p:cNvPr id="3" name="Content Placeholder 2">
            <a:extLst>
              <a:ext uri="{FF2B5EF4-FFF2-40B4-BE49-F238E27FC236}">
                <a16:creationId xmlns:a16="http://schemas.microsoft.com/office/drawing/2014/main" id="{3EB6CFBF-A7B7-AC4A-9975-C433A1E484DD}"/>
              </a:ext>
            </a:extLst>
          </p:cNvPr>
          <p:cNvSpPr>
            <a:spLocks noGrp="1"/>
          </p:cNvSpPr>
          <p:nvPr>
            <p:ph idx="1"/>
          </p:nvPr>
        </p:nvSpPr>
        <p:spPr>
          <a:xfrm>
            <a:off x="369481" y="890663"/>
            <a:ext cx="8450225" cy="3394472"/>
          </a:xfrm>
        </p:spPr>
        <p:txBody>
          <a:bodyPr vert="horz" lIns="91440" tIns="45720" rIns="91440" bIns="45720" rtlCol="0" anchor="t">
            <a:normAutofit/>
          </a:bodyPr>
          <a:lstStyle/>
          <a:p>
            <a:pPr marL="0" indent="0">
              <a:buNone/>
            </a:pPr>
            <a:r>
              <a:rPr lang="en-US" sz="1800" noProof="0">
                <a:latin typeface="Arial"/>
                <a:cs typeface="Arial"/>
              </a:rPr>
              <a:t>A patient comes to see you with a kappa light chain of 500 and a ratio &gt;110. He has normal creatinine and no evidence of anemia or lytic lesions. His marrow shows 10% plasma cells kappa restricted and he has no high-risk cytogenetics. He has no M-spike. On further evaluation, you notice that he has had a K/L ratio &gt;100 for the last 5 years with no evidence of progression. What do you do next?</a:t>
            </a:r>
          </a:p>
          <a:p>
            <a:endParaRPr lang="en-US" sz="1500" noProof="0">
              <a:latin typeface="Arial" panose="020B0604020202020204" pitchFamily="34" charset="0"/>
              <a:cs typeface="Arial" panose="020B0604020202020204" pitchFamily="34" charset="0"/>
            </a:endParaRPr>
          </a:p>
          <a:p>
            <a:pPr marL="342900" indent="-342900">
              <a:lnSpc>
                <a:spcPct val="90000"/>
              </a:lnSpc>
              <a:spcBef>
                <a:spcPts val="600"/>
              </a:spcBef>
              <a:buClr>
                <a:schemeClr val="accent1"/>
              </a:buClr>
              <a:buFont typeface="+mj-lt"/>
              <a:buAutoNum type="arabicPeriod"/>
            </a:pPr>
            <a:r>
              <a:rPr lang="en-US" sz="1800" noProof="0">
                <a:solidFill>
                  <a:schemeClr val="tx1">
                    <a:lumMod val="85000"/>
                    <a:lumOff val="15000"/>
                  </a:schemeClr>
                </a:solidFill>
                <a:latin typeface="Arial"/>
                <a:cs typeface="Arial"/>
              </a:rPr>
              <a:t>Treat him as overt myeloma on the basis of SLIM CRAB criteria</a:t>
            </a:r>
          </a:p>
          <a:p>
            <a:pPr marL="342900" indent="-342900">
              <a:lnSpc>
                <a:spcPct val="90000"/>
              </a:lnSpc>
              <a:spcBef>
                <a:spcPts val="600"/>
              </a:spcBef>
              <a:buClr>
                <a:schemeClr val="accent1"/>
              </a:buClr>
              <a:buFont typeface="+mj-lt"/>
              <a:buAutoNum type="arabicPeriod"/>
            </a:pPr>
            <a:r>
              <a:rPr lang="en-US" sz="1800" noProof="0">
                <a:solidFill>
                  <a:schemeClr val="tx1">
                    <a:lumMod val="85000"/>
                    <a:lumOff val="15000"/>
                  </a:schemeClr>
                </a:solidFill>
                <a:latin typeface="Arial"/>
                <a:cs typeface="Arial"/>
              </a:rPr>
              <a:t>Consider him smoldering myeloma, intermediate risk by 20/2/20</a:t>
            </a:r>
          </a:p>
          <a:p>
            <a:pPr marL="342900" indent="-342900">
              <a:lnSpc>
                <a:spcPct val="90000"/>
              </a:lnSpc>
              <a:spcBef>
                <a:spcPts val="600"/>
              </a:spcBef>
              <a:buClr>
                <a:schemeClr val="accent1"/>
              </a:buClr>
              <a:buFont typeface="+mj-lt"/>
              <a:buAutoNum type="arabicPeriod"/>
            </a:pPr>
            <a:r>
              <a:rPr lang="en-US" sz="1800" noProof="0">
                <a:solidFill>
                  <a:schemeClr val="tx1">
                    <a:lumMod val="85000"/>
                    <a:lumOff val="15000"/>
                  </a:schemeClr>
                </a:solidFill>
                <a:latin typeface="Arial"/>
                <a:cs typeface="Arial"/>
              </a:rPr>
              <a:t>He has light chain MGUS</a:t>
            </a:r>
          </a:p>
          <a:p>
            <a:pPr marL="342900" indent="-342900">
              <a:lnSpc>
                <a:spcPct val="90000"/>
              </a:lnSpc>
              <a:spcBef>
                <a:spcPts val="600"/>
              </a:spcBef>
              <a:buClr>
                <a:schemeClr val="accent1"/>
              </a:buClr>
              <a:buFont typeface="+mj-lt"/>
              <a:buAutoNum type="arabicPeriod"/>
            </a:pPr>
            <a:r>
              <a:rPr lang="en-US" sz="1800" noProof="0">
                <a:solidFill>
                  <a:schemeClr val="tx1">
                    <a:lumMod val="85000"/>
                    <a:lumOff val="15000"/>
                  </a:schemeClr>
                </a:solidFill>
                <a:latin typeface="Arial"/>
                <a:cs typeface="Arial"/>
              </a:rPr>
              <a:t>He has high-risk smoldering myeloma</a:t>
            </a:r>
          </a:p>
        </p:txBody>
      </p:sp>
      <p:grpSp>
        <p:nvGrpSpPr>
          <p:cNvPr id="7" name="Group 6">
            <a:extLst>
              <a:ext uri="{FF2B5EF4-FFF2-40B4-BE49-F238E27FC236}">
                <a16:creationId xmlns:a16="http://schemas.microsoft.com/office/drawing/2014/main" id="{39AB3F02-2B1E-417E-9C0F-C6E91CC699E0}"/>
              </a:ext>
            </a:extLst>
          </p:cNvPr>
          <p:cNvGrpSpPr/>
          <p:nvPr/>
        </p:nvGrpSpPr>
        <p:grpSpPr>
          <a:xfrm>
            <a:off x="179109" y="151296"/>
            <a:ext cx="720000" cy="720000"/>
            <a:chOff x="8151603" y="218984"/>
            <a:chExt cx="720000" cy="720000"/>
          </a:xfrm>
        </p:grpSpPr>
        <p:sp>
          <p:nvSpPr>
            <p:cNvPr id="8" name="Teardrop 7">
              <a:extLst>
                <a:ext uri="{FF2B5EF4-FFF2-40B4-BE49-F238E27FC236}">
                  <a16:creationId xmlns:a16="http://schemas.microsoft.com/office/drawing/2014/main" id="{F5B0C19F-D9EB-436E-9825-C290EF0BDA10}"/>
                </a:ext>
              </a:extLst>
            </p:cNvPr>
            <p:cNvSpPr/>
            <p:nvPr/>
          </p:nvSpPr>
          <p:spPr bwMode="auto">
            <a:xfrm rot="5400000">
              <a:off x="8151603" y="218984"/>
              <a:ext cx="720000" cy="720000"/>
            </a:xfrm>
            <a:prstGeom prst="teardrop">
              <a:avLst/>
            </a:prstGeom>
            <a:solidFill>
              <a:srgbClr val="00A9B7"/>
            </a:solidFill>
            <a:ln w="12700" cap="flat" cmpd="sng" algn="ctr">
              <a:solidFill>
                <a:srgbClr val="00A9B7">
                  <a:shade val="50000"/>
                </a:srgbClr>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NL" sz="2800" b="1" i="0" u="none" strike="noStrike" kern="0" cap="none" spc="0" normalizeH="0" baseline="0" noProof="0">
                <a:ln>
                  <a:noFill/>
                </a:ln>
                <a:solidFill>
                  <a:srgbClr val="FFFF00"/>
                </a:solidFill>
                <a:effectLst/>
                <a:uLnTx/>
                <a:uFillTx/>
                <a:latin typeface="Arial" pitchFamily="34" charset="0"/>
                <a:ea typeface="+mn-ea"/>
                <a:cs typeface="+mn-cs"/>
              </a:endParaRPr>
            </a:p>
          </p:txBody>
        </p:sp>
        <p:sp>
          <p:nvSpPr>
            <p:cNvPr id="9" name="TextBox 8">
              <a:extLst>
                <a:ext uri="{FF2B5EF4-FFF2-40B4-BE49-F238E27FC236}">
                  <a16:creationId xmlns:a16="http://schemas.microsoft.com/office/drawing/2014/main" id="{C107182A-488D-44DC-B68E-26A840ED41F9}"/>
                </a:ext>
              </a:extLst>
            </p:cNvPr>
            <p:cNvSpPr txBox="1"/>
            <p:nvPr/>
          </p:nvSpPr>
          <p:spPr>
            <a:xfrm>
              <a:off x="8348761" y="255260"/>
              <a:ext cx="325684" cy="64633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a:t>
              </a:r>
              <a:endParaRPr kumimoji="0" lang="en-NL" sz="36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9686639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82E0BC-60A1-E645-B2D5-701223DF0765}"/>
              </a:ext>
            </a:extLst>
          </p:cNvPr>
          <p:cNvSpPr>
            <a:spLocks noGrp="1"/>
          </p:cNvSpPr>
          <p:nvPr>
            <p:ph idx="1"/>
          </p:nvPr>
        </p:nvSpPr>
        <p:spPr>
          <a:xfrm>
            <a:off x="369481" y="889351"/>
            <a:ext cx="8458199" cy="3394472"/>
          </a:xfrm>
        </p:spPr>
        <p:txBody>
          <a:bodyPr>
            <a:normAutofit/>
          </a:bodyPr>
          <a:lstStyle/>
          <a:p>
            <a:pPr marL="0" indent="0">
              <a:buNone/>
            </a:pPr>
            <a:r>
              <a:rPr lang="en-US" sz="1800" noProof="0">
                <a:latin typeface="Arial" panose="020B0604020202020204" pitchFamily="34" charset="0"/>
                <a:cs typeface="Arial" panose="020B0604020202020204" pitchFamily="34" charset="0"/>
              </a:rPr>
              <a:t>ST is a 35-year-old woman who has no CRAB criteria. She has 30% plasma cells with 1q+, 13q, t4;14, and p53 deletion. Her light chains are rising after follow-up for the last 6 months. What do you want to do?</a:t>
            </a:r>
          </a:p>
          <a:p>
            <a:endParaRPr lang="en-US" sz="1800" noProof="0">
              <a:latin typeface="Arial" panose="020B0604020202020204" pitchFamily="34" charset="0"/>
              <a:cs typeface="Arial" panose="020B0604020202020204" pitchFamily="34" charset="0"/>
            </a:endParaRPr>
          </a:p>
          <a:p>
            <a:pPr marL="342900" indent="-342900">
              <a:lnSpc>
                <a:spcPct val="90000"/>
              </a:lnSpc>
              <a:spcBef>
                <a:spcPts val="600"/>
              </a:spcBef>
              <a:buClr>
                <a:schemeClr val="accent1"/>
              </a:buClr>
              <a:buFont typeface="+mj-lt"/>
              <a:buAutoNum type="arabicPeriod"/>
            </a:pPr>
            <a:r>
              <a:rPr lang="en-US" sz="1800" noProof="0">
                <a:solidFill>
                  <a:schemeClr val="tx1">
                    <a:lumMod val="85000"/>
                    <a:lumOff val="15000"/>
                  </a:schemeClr>
                </a:solidFill>
                <a:latin typeface="Arial" panose="020B0604020202020204" pitchFamily="34" charset="0"/>
                <a:cs typeface="Arial" panose="020B0604020202020204" pitchFamily="34" charset="0"/>
              </a:rPr>
              <a:t>Wait until she develops CRAB criteria</a:t>
            </a:r>
          </a:p>
          <a:p>
            <a:pPr marL="342900" indent="-342900">
              <a:lnSpc>
                <a:spcPct val="90000"/>
              </a:lnSpc>
              <a:spcBef>
                <a:spcPts val="600"/>
              </a:spcBef>
              <a:buClr>
                <a:schemeClr val="accent1"/>
              </a:buClr>
              <a:buFont typeface="+mj-lt"/>
              <a:buAutoNum type="arabicPeriod"/>
            </a:pPr>
            <a:r>
              <a:rPr lang="en-US" sz="1800" noProof="0">
                <a:solidFill>
                  <a:schemeClr val="tx1">
                    <a:lumMod val="85000"/>
                    <a:lumOff val="15000"/>
                  </a:schemeClr>
                </a:solidFill>
                <a:latin typeface="Arial" panose="020B0604020202020204" pitchFamily="34" charset="0"/>
                <a:cs typeface="Arial" panose="020B0604020202020204" pitchFamily="34" charset="0"/>
              </a:rPr>
              <a:t>Treat her with lenalidomide alone </a:t>
            </a:r>
          </a:p>
          <a:p>
            <a:pPr marL="342900" indent="-342900">
              <a:lnSpc>
                <a:spcPct val="90000"/>
              </a:lnSpc>
              <a:spcBef>
                <a:spcPts val="600"/>
              </a:spcBef>
              <a:buClr>
                <a:schemeClr val="accent1"/>
              </a:buClr>
              <a:buFont typeface="+mj-lt"/>
              <a:buAutoNum type="arabicPeriod"/>
            </a:pPr>
            <a:r>
              <a:rPr lang="en-US" sz="1800" noProof="0">
                <a:solidFill>
                  <a:schemeClr val="tx1">
                    <a:lumMod val="85000"/>
                    <a:lumOff val="15000"/>
                  </a:schemeClr>
                </a:solidFill>
                <a:latin typeface="Arial" panose="020B0604020202020204" pitchFamily="34" charset="0"/>
                <a:cs typeface="Arial" panose="020B0604020202020204" pitchFamily="34" charset="0"/>
              </a:rPr>
              <a:t>Consider a clinical trial with Dara-RVd</a:t>
            </a:r>
          </a:p>
          <a:p>
            <a:pPr marL="342900" indent="-342900">
              <a:lnSpc>
                <a:spcPct val="90000"/>
              </a:lnSpc>
              <a:spcBef>
                <a:spcPts val="600"/>
              </a:spcBef>
              <a:buClr>
                <a:schemeClr val="accent1"/>
              </a:buClr>
              <a:buFont typeface="+mj-lt"/>
              <a:buAutoNum type="arabicPeriod"/>
            </a:pPr>
            <a:r>
              <a:rPr lang="en-US" sz="1800" noProof="0">
                <a:solidFill>
                  <a:schemeClr val="tx1">
                    <a:lumMod val="85000"/>
                    <a:lumOff val="15000"/>
                  </a:schemeClr>
                </a:solidFill>
                <a:latin typeface="Arial" panose="020B0604020202020204" pitchFamily="34" charset="0"/>
                <a:cs typeface="Arial" panose="020B0604020202020204" pitchFamily="34" charset="0"/>
              </a:rPr>
              <a:t>Treat her as overt myeloma with RVd and transplant</a:t>
            </a:r>
          </a:p>
        </p:txBody>
      </p:sp>
      <p:sp>
        <p:nvSpPr>
          <p:cNvPr id="6" name="Title 1">
            <a:extLst>
              <a:ext uri="{FF2B5EF4-FFF2-40B4-BE49-F238E27FC236}">
                <a16:creationId xmlns:a16="http://schemas.microsoft.com/office/drawing/2014/main" id="{5391B095-4881-4C22-BB6C-BD6BC9FC275B}"/>
              </a:ext>
            </a:extLst>
          </p:cNvPr>
          <p:cNvSpPr>
            <a:spLocks noGrp="1"/>
          </p:cNvSpPr>
          <p:nvPr>
            <p:ph type="title"/>
          </p:nvPr>
        </p:nvSpPr>
        <p:spPr>
          <a:xfrm>
            <a:off x="457200" y="30538"/>
            <a:ext cx="8229600" cy="607412"/>
          </a:xfrm>
        </p:spPr>
        <p:txBody>
          <a:bodyPr>
            <a:normAutofit/>
          </a:bodyPr>
          <a:lstStyle/>
          <a:p>
            <a:r>
              <a:rPr lang="en-US" sz="2400" b="1" noProof="0">
                <a:solidFill>
                  <a:srgbClr val="0070C0"/>
                </a:solidFill>
                <a:latin typeface="Arial" panose="020B0604020202020204" pitchFamily="34" charset="0"/>
                <a:cs typeface="Arial" panose="020B0604020202020204" pitchFamily="34" charset="0"/>
              </a:rPr>
              <a:t>Multiple-choice question 2</a:t>
            </a:r>
          </a:p>
        </p:txBody>
      </p:sp>
      <p:grpSp>
        <p:nvGrpSpPr>
          <p:cNvPr id="4" name="Group 3">
            <a:extLst>
              <a:ext uri="{FF2B5EF4-FFF2-40B4-BE49-F238E27FC236}">
                <a16:creationId xmlns:a16="http://schemas.microsoft.com/office/drawing/2014/main" id="{B08C2EEE-A0F9-44C1-931C-2CE1FAEAABB5}"/>
              </a:ext>
            </a:extLst>
          </p:cNvPr>
          <p:cNvGrpSpPr/>
          <p:nvPr/>
        </p:nvGrpSpPr>
        <p:grpSpPr>
          <a:xfrm>
            <a:off x="179109" y="151296"/>
            <a:ext cx="720000" cy="720000"/>
            <a:chOff x="8151603" y="218984"/>
            <a:chExt cx="720000" cy="720000"/>
          </a:xfrm>
        </p:grpSpPr>
        <p:sp>
          <p:nvSpPr>
            <p:cNvPr id="5" name="Teardrop 4">
              <a:extLst>
                <a:ext uri="{FF2B5EF4-FFF2-40B4-BE49-F238E27FC236}">
                  <a16:creationId xmlns:a16="http://schemas.microsoft.com/office/drawing/2014/main" id="{6EFB61C3-97E7-4EDD-B718-B1967679AA68}"/>
                </a:ext>
              </a:extLst>
            </p:cNvPr>
            <p:cNvSpPr/>
            <p:nvPr/>
          </p:nvSpPr>
          <p:spPr bwMode="auto">
            <a:xfrm rot="5400000">
              <a:off x="8151603" y="218984"/>
              <a:ext cx="720000" cy="720000"/>
            </a:xfrm>
            <a:prstGeom prst="teardrop">
              <a:avLst/>
            </a:prstGeom>
            <a:solidFill>
              <a:srgbClr val="00A9B7"/>
            </a:solidFill>
            <a:ln w="12700" cap="flat" cmpd="sng" algn="ctr">
              <a:solidFill>
                <a:srgbClr val="00A9B7">
                  <a:shade val="50000"/>
                </a:srgbClr>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NL" sz="2800" b="1" i="0" u="none" strike="noStrike" kern="0" cap="none" spc="0" normalizeH="0" baseline="0" noProof="0">
                <a:ln>
                  <a:noFill/>
                </a:ln>
                <a:solidFill>
                  <a:srgbClr val="FFFF00"/>
                </a:solidFill>
                <a:effectLst/>
                <a:uLnTx/>
                <a:uFillTx/>
                <a:latin typeface="Arial" pitchFamily="34" charset="0"/>
                <a:ea typeface="+mn-ea"/>
                <a:cs typeface="+mn-cs"/>
              </a:endParaRPr>
            </a:p>
          </p:txBody>
        </p:sp>
        <p:sp>
          <p:nvSpPr>
            <p:cNvPr id="7" name="TextBox 6">
              <a:extLst>
                <a:ext uri="{FF2B5EF4-FFF2-40B4-BE49-F238E27FC236}">
                  <a16:creationId xmlns:a16="http://schemas.microsoft.com/office/drawing/2014/main" id="{46248E75-70AC-4F2D-A011-79FABCA1AD9E}"/>
                </a:ext>
              </a:extLst>
            </p:cNvPr>
            <p:cNvSpPr txBox="1"/>
            <p:nvPr/>
          </p:nvSpPr>
          <p:spPr>
            <a:xfrm>
              <a:off x="8348761" y="255260"/>
              <a:ext cx="325684" cy="646331"/>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a:t>
              </a:r>
              <a:endParaRPr kumimoji="0" lang="en-NL" sz="36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879684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30" name="Picture 10" descr="Image result for john hopkins hospital logo">
            <a:extLst>
              <a:ext uri="{FF2B5EF4-FFF2-40B4-BE49-F238E27FC236}">
                <a16:creationId xmlns:a16="http://schemas.microsoft.com/office/drawing/2014/main" id="{C480D919-96AE-4623-9A2C-6A132550C05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164126" y="3843688"/>
            <a:ext cx="1779041" cy="1276654"/>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409C6721-3164-42AA-9954-4099ED795EC8}"/>
              </a:ext>
            </a:extLst>
          </p:cNvPr>
          <p:cNvSpPr>
            <a:spLocks noGrp="1"/>
          </p:cNvSpPr>
          <p:nvPr>
            <p:ph type="title"/>
          </p:nvPr>
        </p:nvSpPr>
        <p:spPr>
          <a:xfrm>
            <a:off x="499442" y="224735"/>
            <a:ext cx="3257550" cy="696054"/>
          </a:xfrm>
          <a:ln w="28575"/>
        </p:spPr>
        <p:style>
          <a:lnRef idx="2">
            <a:schemeClr val="accent2"/>
          </a:lnRef>
          <a:fillRef idx="1">
            <a:schemeClr val="lt1"/>
          </a:fillRef>
          <a:effectRef idx="0">
            <a:schemeClr val="accent2"/>
          </a:effectRef>
          <a:fontRef idx="minor">
            <a:schemeClr val="dk1"/>
          </a:fontRef>
        </p:style>
        <p:txBody>
          <a:bodyPr/>
          <a:lstStyle/>
          <a:p>
            <a:r>
              <a:rPr lang="en-US" sz="2400" b="1" spc="8" noProof="0">
                <a:solidFill>
                  <a:schemeClr val="dk1"/>
                </a:solidFill>
                <a:latin typeface="Arial" panose="020B0604020202020204" pitchFamily="34" charset="0"/>
                <a:cs typeface="Arial" panose="020B0604020202020204" pitchFamily="34" charset="0"/>
              </a:rPr>
              <a:t>COLLABORATORS</a:t>
            </a:r>
          </a:p>
        </p:txBody>
      </p:sp>
      <p:pic>
        <p:nvPicPr>
          <p:cNvPr id="5124" name="Picture 4" descr="Image result for stand up to cancer">
            <a:extLst>
              <a:ext uri="{FF2B5EF4-FFF2-40B4-BE49-F238E27FC236}">
                <a16:creationId xmlns:a16="http://schemas.microsoft.com/office/drawing/2014/main" id="{7560B740-1471-4F6A-8251-3E347D40379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5977" y="2519372"/>
            <a:ext cx="3964378" cy="2279517"/>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mage result for lls">
            <a:extLst>
              <a:ext uri="{FF2B5EF4-FFF2-40B4-BE49-F238E27FC236}">
                <a16:creationId xmlns:a16="http://schemas.microsoft.com/office/drawing/2014/main" id="{546994D8-0E30-49A5-875A-620C83384E2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946652" y="1017916"/>
            <a:ext cx="4123811" cy="1114718"/>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mmrf">
            <a:extLst>
              <a:ext uri="{FF2B5EF4-FFF2-40B4-BE49-F238E27FC236}">
                <a16:creationId xmlns:a16="http://schemas.microsoft.com/office/drawing/2014/main" id="{C0DFBD2C-0562-493E-B033-55DA9FCF6A6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053646" y="3150947"/>
            <a:ext cx="2673096" cy="702419"/>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Image result for mayo clinic">
            <a:extLst>
              <a:ext uri="{FF2B5EF4-FFF2-40B4-BE49-F238E27FC236}">
                <a16:creationId xmlns:a16="http://schemas.microsoft.com/office/drawing/2014/main" id="{F18CDE40-9B7E-45FA-9270-2CE9E33CFDC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626927" y="2202797"/>
            <a:ext cx="1294520" cy="1456334"/>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Image result for quest">
            <a:extLst>
              <a:ext uri="{FF2B5EF4-FFF2-40B4-BE49-F238E27FC236}">
                <a16:creationId xmlns:a16="http://schemas.microsoft.com/office/drawing/2014/main" id="{EEDD24DC-E063-4820-92EE-8049ABF5D06C}"/>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0" y="1053653"/>
            <a:ext cx="4463521" cy="1278613"/>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Image result for harvard school of public health logo">
            <a:extLst>
              <a:ext uri="{FF2B5EF4-FFF2-40B4-BE49-F238E27FC236}">
                <a16:creationId xmlns:a16="http://schemas.microsoft.com/office/drawing/2014/main" id="{C731DBE1-3793-4E21-B1A0-AE4F74F652CA}"/>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556879" y="1744566"/>
            <a:ext cx="1571625" cy="1021556"/>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Image result for the broad institute logo">
            <a:extLst>
              <a:ext uri="{FF2B5EF4-FFF2-40B4-BE49-F238E27FC236}">
                <a16:creationId xmlns:a16="http://schemas.microsoft.com/office/drawing/2014/main" id="{275D87FD-CBFF-4AA4-BCE5-1DE824721E3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209693" y="4125584"/>
            <a:ext cx="1918811" cy="485217"/>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Image result for jimmy fund">
            <a:extLst>
              <a:ext uri="{FF2B5EF4-FFF2-40B4-BE49-F238E27FC236}">
                <a16:creationId xmlns:a16="http://schemas.microsoft.com/office/drawing/2014/main" id="{B8B7DDE4-8A4C-4C2B-8C8B-C4235377E2C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053647" y="1867473"/>
            <a:ext cx="1294519" cy="129451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1EFC3A5-1A06-429A-BD59-47AB8B10A4B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066335" y="263364"/>
            <a:ext cx="2286715" cy="560298"/>
          </a:xfrm>
          <a:prstGeom prst="rect">
            <a:avLst/>
          </a:prstGeom>
        </p:spPr>
      </p:pic>
    </p:spTree>
    <p:extLst>
      <p:ext uri="{BB962C8B-B14F-4D97-AF65-F5344CB8AC3E}">
        <p14:creationId xmlns:p14="http://schemas.microsoft.com/office/powerpoint/2010/main" val="29159515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871EA-1F01-48C4-B482-CB79F20CA107}"/>
              </a:ext>
            </a:extLst>
          </p:cNvPr>
          <p:cNvSpPr>
            <a:spLocks noGrp="1"/>
          </p:cNvSpPr>
          <p:nvPr>
            <p:ph type="ctrTitle"/>
          </p:nvPr>
        </p:nvSpPr>
        <p:spPr/>
        <p:txBody>
          <a:bodyPr>
            <a:normAutofit/>
          </a:bodyPr>
          <a:lstStyle/>
          <a:p>
            <a:r>
              <a:rPr lang="en-US" sz="3200" noProof="0"/>
              <a:t>Discussion</a:t>
            </a:r>
          </a:p>
        </p:txBody>
      </p:sp>
    </p:spTree>
    <p:extLst>
      <p:ext uri="{BB962C8B-B14F-4D97-AF65-F5344CB8AC3E}">
        <p14:creationId xmlns:p14="http://schemas.microsoft.com/office/powerpoint/2010/main" val="29047005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a:xfrm>
            <a:off x="4285365" y="1267296"/>
            <a:ext cx="4534294" cy="1548390"/>
          </a:xfrm>
        </p:spPr>
        <p:txBody>
          <a:bodyPr>
            <a:normAutofit fontScale="90000"/>
          </a:bodyPr>
          <a:lstStyle/>
          <a:p>
            <a:pPr algn="l">
              <a:lnSpc>
                <a:spcPct val="100000"/>
              </a:lnSpc>
              <a:spcBef>
                <a:spcPts val="0"/>
              </a:spcBef>
              <a:spcAft>
                <a:spcPts val="0"/>
              </a:spcAft>
            </a:pPr>
            <a:r>
              <a:rPr lang="en-US" sz="2800" b="1" u="none" kern="1200" noProof="0">
                <a:effectLst/>
                <a:latin typeface="Arial" panose="020B0604020202020204" pitchFamily="34" charset="0"/>
                <a:cs typeface="Arial" panose="020B0604020202020204" pitchFamily="34" charset="0"/>
              </a:rPr>
              <a:t>Importance of Minimal Residual Disease and Genetic Testing in Multiple Myeloma</a:t>
            </a:r>
            <a:endParaRPr lang="en-US" sz="2800" b="1" u="none" noProof="0">
              <a:effectLst/>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5B1A592A-AF74-0E4A-BEBF-BA3B930B790E}"/>
              </a:ext>
            </a:extLst>
          </p:cNvPr>
          <p:cNvSpPr>
            <a:spLocks noGrp="1"/>
          </p:cNvSpPr>
          <p:nvPr>
            <p:ph type="subTitle" idx="1"/>
          </p:nvPr>
        </p:nvSpPr>
        <p:spPr>
          <a:xfrm>
            <a:off x="4270617" y="2962618"/>
            <a:ext cx="4534294" cy="1073784"/>
          </a:xfrm>
        </p:spPr>
        <p:txBody>
          <a:bodyPr>
            <a:normAutofit/>
          </a:bodyPr>
          <a:lstStyle/>
          <a:p>
            <a:pPr marL="0" marR="0" algn="l">
              <a:lnSpc>
                <a:spcPct val="100000"/>
              </a:lnSpc>
              <a:spcBef>
                <a:spcPts val="0"/>
              </a:spcBef>
              <a:spcAft>
                <a:spcPts val="0"/>
              </a:spcAft>
            </a:pPr>
            <a:r>
              <a:rPr lang="en-US" noProof="0">
                <a:latin typeface="Arial" panose="020B0604020202020204" pitchFamily="34" charset="0"/>
                <a:cs typeface="Arial" panose="020B0604020202020204" pitchFamily="34" charset="0"/>
              </a:rPr>
              <a:t>Bruno Paiva, PharmD, PhD</a:t>
            </a:r>
            <a:endParaRPr lang="en-US" b="0" strike="noStrike" noProof="0">
              <a:effectLst/>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13A56A47-3F55-465A-B59E-39F6FC413E3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85365" y="3409744"/>
            <a:ext cx="1179576" cy="1179576"/>
          </a:xfrm>
          <a:prstGeom prst="teardrop">
            <a:avLst/>
          </a:prstGeom>
          <a:solidFill>
            <a:schemeClr val="tx2"/>
          </a:solidFill>
        </p:spPr>
      </p:pic>
    </p:spTree>
    <p:extLst>
      <p:ext uri="{BB962C8B-B14F-4D97-AF65-F5344CB8AC3E}">
        <p14:creationId xmlns:p14="http://schemas.microsoft.com/office/powerpoint/2010/main" val="19167169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D91EE9-65C0-4F21-840F-9B9DF1BF9F5F}"/>
              </a:ext>
            </a:extLst>
          </p:cNvPr>
          <p:cNvSpPr txBox="1">
            <a:spLocks noChangeArrowheads="1"/>
          </p:cNvSpPr>
          <p:nvPr/>
        </p:nvSpPr>
        <p:spPr bwMode="auto">
          <a:xfrm>
            <a:off x="3282260" y="3569426"/>
            <a:ext cx="2579481" cy="187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435" tIns="25718" rIns="51435" bIns="25718" numCol="1" anchor="t" anchorCtr="0" compatLnSpc="1">
            <a:prstTxWarp prst="textNoShape">
              <a:avLst/>
            </a:prstTxWarp>
          </a:bodyPr>
          <a:lstStyle>
            <a:lvl1pPr marL="0" indent="0" algn="ctr" rtl="0" eaLnBrk="0" fontAlgn="base" hangingPunct="0">
              <a:spcBef>
                <a:spcPct val="20000"/>
              </a:spcBef>
              <a:spcAft>
                <a:spcPct val="0"/>
              </a:spcAft>
              <a:buNone/>
              <a:defRPr sz="3200">
                <a:solidFill>
                  <a:schemeClr val="tx1"/>
                </a:solidFill>
                <a:latin typeface="+mn-lt"/>
                <a:ea typeface="+mn-ea"/>
                <a:cs typeface="ＭＳ Ｐゴシック"/>
              </a:defRPr>
            </a:lvl1pPr>
            <a:lvl2pPr marL="457200" indent="0" algn="ctr" rtl="0" eaLnBrk="0" fontAlgn="base" hangingPunct="0">
              <a:spcBef>
                <a:spcPct val="20000"/>
              </a:spcBef>
              <a:spcAft>
                <a:spcPct val="0"/>
              </a:spcAft>
              <a:buNone/>
              <a:defRPr sz="2800">
                <a:solidFill>
                  <a:schemeClr val="tx1"/>
                </a:solidFill>
                <a:latin typeface="+mn-lt"/>
                <a:ea typeface="+mn-ea"/>
                <a:cs typeface="ＭＳ Ｐゴシック"/>
              </a:defRPr>
            </a:lvl2pPr>
            <a:lvl3pPr marL="914400" indent="0" algn="ctr" rtl="0" eaLnBrk="0" fontAlgn="base" hangingPunct="0">
              <a:spcBef>
                <a:spcPct val="20000"/>
              </a:spcBef>
              <a:spcAft>
                <a:spcPct val="0"/>
              </a:spcAft>
              <a:buNone/>
              <a:defRPr sz="2400">
                <a:solidFill>
                  <a:schemeClr val="tx1"/>
                </a:solidFill>
                <a:latin typeface="+mn-lt"/>
                <a:ea typeface="+mn-ea"/>
                <a:cs typeface="ＭＳ Ｐゴシック"/>
              </a:defRPr>
            </a:lvl3pPr>
            <a:lvl4pPr marL="1371600" indent="0" algn="ctr" rtl="0" eaLnBrk="0" fontAlgn="base" hangingPunct="0">
              <a:spcBef>
                <a:spcPct val="20000"/>
              </a:spcBef>
              <a:spcAft>
                <a:spcPct val="0"/>
              </a:spcAft>
              <a:buNone/>
              <a:defRPr sz="2000">
                <a:solidFill>
                  <a:schemeClr val="tx1"/>
                </a:solidFill>
                <a:latin typeface="+mn-lt"/>
                <a:ea typeface="+mn-ea"/>
                <a:cs typeface="ＭＳ Ｐゴシック"/>
              </a:defRPr>
            </a:lvl4pPr>
            <a:lvl5pPr marL="1828800" indent="0" algn="ctr" rtl="0" eaLnBrk="0" fontAlgn="base" hangingPunct="0">
              <a:spcBef>
                <a:spcPct val="20000"/>
              </a:spcBef>
              <a:spcAft>
                <a:spcPct val="0"/>
              </a:spcAft>
              <a:buNone/>
              <a:defRPr sz="2000">
                <a:solidFill>
                  <a:schemeClr val="tx1"/>
                </a:solidFill>
                <a:latin typeface="+mn-lt"/>
                <a:ea typeface="+mn-ea"/>
                <a:cs typeface="ＭＳ Ｐゴシック"/>
              </a:defRPr>
            </a:lvl5pPr>
            <a:lvl6pPr marL="2286000" indent="0" algn="ctr" rtl="0" fontAlgn="base">
              <a:spcBef>
                <a:spcPct val="20000"/>
              </a:spcBef>
              <a:spcAft>
                <a:spcPct val="0"/>
              </a:spcAft>
              <a:buNone/>
              <a:defRPr sz="2000">
                <a:solidFill>
                  <a:schemeClr val="tx1"/>
                </a:solidFill>
                <a:latin typeface="+mn-lt"/>
                <a:ea typeface="+mn-ea"/>
              </a:defRPr>
            </a:lvl6pPr>
            <a:lvl7pPr marL="2743200" indent="0" algn="ctr" rtl="0" fontAlgn="base">
              <a:spcBef>
                <a:spcPct val="20000"/>
              </a:spcBef>
              <a:spcAft>
                <a:spcPct val="0"/>
              </a:spcAft>
              <a:buNone/>
              <a:defRPr sz="2000">
                <a:solidFill>
                  <a:schemeClr val="tx1"/>
                </a:solidFill>
                <a:latin typeface="+mn-lt"/>
                <a:ea typeface="+mn-ea"/>
              </a:defRPr>
            </a:lvl7pPr>
            <a:lvl8pPr marL="3200400" indent="0" algn="ctr" rtl="0" fontAlgn="base">
              <a:spcBef>
                <a:spcPct val="20000"/>
              </a:spcBef>
              <a:spcAft>
                <a:spcPct val="0"/>
              </a:spcAft>
              <a:buNone/>
              <a:defRPr sz="2000">
                <a:solidFill>
                  <a:schemeClr val="tx1"/>
                </a:solidFill>
                <a:latin typeface="+mn-lt"/>
                <a:ea typeface="+mn-ea"/>
              </a:defRPr>
            </a:lvl8pPr>
            <a:lvl9pPr marL="3657600" indent="0" algn="ctr" rtl="0" fontAlgn="base">
              <a:spcBef>
                <a:spcPct val="20000"/>
              </a:spcBef>
              <a:spcAft>
                <a:spcPct val="0"/>
              </a:spcAft>
              <a:buNone/>
              <a:defRPr sz="2000">
                <a:solidFill>
                  <a:schemeClr val="tx1"/>
                </a:solidFill>
                <a:latin typeface="+mn-lt"/>
                <a:ea typeface="+mn-ea"/>
              </a:defRPr>
            </a:lvl9pPr>
          </a:lstStyle>
          <a:p>
            <a:pPr defTabSz="685800" eaLnBrk="1" hangingPunct="1">
              <a:defRPr/>
            </a:pPr>
            <a:r>
              <a:rPr lang="es-ES" sz="1350" b="1" kern="0">
                <a:solidFill>
                  <a:prstClr val="black"/>
                </a:solidFill>
                <a:latin typeface="Arial" panose="020B0604020202020204" pitchFamily="34" charset="0"/>
                <a:cs typeface="Arial" panose="020B0604020202020204" pitchFamily="34" charset="0"/>
              </a:rPr>
              <a:t>Bruno Paiva, PharmD, PhD</a:t>
            </a:r>
            <a:endParaRPr lang="nl-NL" sz="1350" b="1" kern="0" baseline="30000">
              <a:solidFill>
                <a:prstClr val="black"/>
              </a:solidFill>
              <a:latin typeface="Arial" panose="020B0604020202020204" pitchFamily="34" charset="0"/>
              <a:cs typeface="Arial" panose="020B0604020202020204" pitchFamily="34" charset="0"/>
            </a:endParaRPr>
          </a:p>
        </p:txBody>
      </p:sp>
      <p:sp>
        <p:nvSpPr>
          <p:cNvPr id="5" name="7 CuadroTexto">
            <a:extLst>
              <a:ext uri="{FF2B5EF4-FFF2-40B4-BE49-F238E27FC236}">
                <a16:creationId xmlns:a16="http://schemas.microsoft.com/office/drawing/2014/main" id="{38CA0E32-733D-4417-9FC6-1F6A4B984DAE}"/>
              </a:ext>
            </a:extLst>
          </p:cNvPr>
          <p:cNvSpPr txBox="1">
            <a:spLocks noChangeArrowheads="1"/>
          </p:cNvSpPr>
          <p:nvPr/>
        </p:nvSpPr>
        <p:spPr bwMode="auto">
          <a:xfrm>
            <a:off x="2024015" y="3791285"/>
            <a:ext cx="522409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685800">
              <a:defRPr/>
            </a:pPr>
            <a:r>
              <a:rPr lang="es-ES" sz="1200">
                <a:solidFill>
                  <a:srgbClr val="000000"/>
                </a:solidFill>
                <a:latin typeface="Arial" panose="020B0604020202020204" pitchFamily="34" charset="0"/>
                <a:cs typeface="Arial" panose="020B0604020202020204" pitchFamily="34" charset="0"/>
              </a:rPr>
              <a:t>Flow </a:t>
            </a:r>
            <a:r>
              <a:rPr lang="es-ES" sz="1200" err="1">
                <a:solidFill>
                  <a:srgbClr val="000000"/>
                </a:solidFill>
                <a:latin typeface="Arial" panose="020B0604020202020204" pitchFamily="34" charset="0"/>
                <a:cs typeface="Arial" panose="020B0604020202020204" pitchFamily="34" charset="0"/>
              </a:rPr>
              <a:t>Cytometry</a:t>
            </a:r>
            <a:r>
              <a:rPr lang="es-ES" sz="1200">
                <a:solidFill>
                  <a:srgbClr val="000000"/>
                </a:solidFill>
                <a:latin typeface="Arial" panose="020B0604020202020204" pitchFamily="34" charset="0"/>
                <a:cs typeface="Arial" panose="020B0604020202020204" pitchFamily="34" charset="0"/>
              </a:rPr>
              <a:t> Core – CIMA LAB </a:t>
            </a:r>
            <a:r>
              <a:rPr lang="es-ES" sz="1200" err="1">
                <a:solidFill>
                  <a:srgbClr val="000000"/>
                </a:solidFill>
                <a:latin typeface="Arial" panose="020B0604020202020204" pitchFamily="34" charset="0"/>
                <a:cs typeface="Arial" panose="020B0604020202020204" pitchFamily="34" charset="0"/>
              </a:rPr>
              <a:t>Diagnostics</a:t>
            </a:r>
            <a:endParaRPr lang="es-ES" sz="1200">
              <a:solidFill>
                <a:srgbClr val="000000"/>
              </a:solidFill>
              <a:latin typeface="Arial" panose="020B0604020202020204" pitchFamily="34" charset="0"/>
              <a:cs typeface="Arial" panose="020B0604020202020204" pitchFamily="34" charset="0"/>
            </a:endParaRPr>
          </a:p>
          <a:p>
            <a:pPr algn="ctr" defTabSz="685800">
              <a:defRPr/>
            </a:pPr>
            <a:r>
              <a:rPr lang="es-ES" sz="1200">
                <a:solidFill>
                  <a:srgbClr val="000000"/>
                </a:solidFill>
                <a:latin typeface="Arial" panose="020B0604020202020204" pitchFamily="34" charset="0"/>
                <a:cs typeface="Arial" panose="020B0604020202020204" pitchFamily="34" charset="0"/>
              </a:rPr>
              <a:t>Hematology </a:t>
            </a:r>
            <a:r>
              <a:rPr lang="es-ES" sz="1200" err="1">
                <a:solidFill>
                  <a:srgbClr val="000000"/>
                </a:solidFill>
                <a:latin typeface="Arial" panose="020B0604020202020204" pitchFamily="34" charset="0"/>
                <a:cs typeface="Arial" panose="020B0604020202020204" pitchFamily="34" charset="0"/>
              </a:rPr>
              <a:t>Department</a:t>
            </a:r>
            <a:r>
              <a:rPr lang="es-ES" sz="1200">
                <a:solidFill>
                  <a:srgbClr val="000000"/>
                </a:solidFill>
                <a:latin typeface="Arial" panose="020B0604020202020204" pitchFamily="34" charset="0"/>
                <a:cs typeface="Arial" panose="020B0604020202020204" pitchFamily="34" charset="0"/>
              </a:rPr>
              <a:t> – Clinica Universidad de Navarra</a:t>
            </a:r>
          </a:p>
          <a:p>
            <a:pPr algn="ctr" defTabSz="685800">
              <a:defRPr/>
            </a:pPr>
            <a:r>
              <a:rPr lang="es-ES" sz="1200">
                <a:solidFill>
                  <a:srgbClr val="000000"/>
                </a:solidFill>
                <a:latin typeface="Arial" panose="020B0604020202020204" pitchFamily="34" charset="0"/>
                <a:cs typeface="Arial" panose="020B0604020202020204" pitchFamily="34" charset="0"/>
              </a:rPr>
              <a:t>Onco-Hematology Research </a:t>
            </a:r>
            <a:r>
              <a:rPr lang="es-ES" sz="1200" err="1">
                <a:solidFill>
                  <a:srgbClr val="000000"/>
                </a:solidFill>
                <a:latin typeface="Arial" panose="020B0604020202020204" pitchFamily="34" charset="0"/>
                <a:cs typeface="Arial" panose="020B0604020202020204" pitchFamily="34" charset="0"/>
              </a:rPr>
              <a:t>Group</a:t>
            </a:r>
            <a:r>
              <a:rPr lang="es-ES" sz="1200">
                <a:solidFill>
                  <a:srgbClr val="000000"/>
                </a:solidFill>
                <a:latin typeface="Arial" panose="020B0604020202020204" pitchFamily="34" charset="0"/>
                <a:cs typeface="Arial" panose="020B0604020202020204" pitchFamily="34" charset="0"/>
              </a:rPr>
              <a:t> – CIMA Universidad de Navarra</a:t>
            </a:r>
          </a:p>
          <a:p>
            <a:pPr algn="ctr" defTabSz="685800">
              <a:defRPr/>
            </a:pPr>
            <a:r>
              <a:rPr lang="es-ES" sz="1200">
                <a:solidFill>
                  <a:srgbClr val="000000"/>
                </a:solidFill>
                <a:latin typeface="Arial" panose="020B0604020202020204" pitchFamily="34" charset="0"/>
                <a:cs typeface="Arial" panose="020B0604020202020204" pitchFamily="34" charset="0"/>
              </a:rPr>
              <a:t>Spanish Myeloma </a:t>
            </a:r>
            <a:r>
              <a:rPr lang="es-ES" sz="1200" err="1">
                <a:solidFill>
                  <a:srgbClr val="000000"/>
                </a:solidFill>
                <a:latin typeface="Arial" panose="020B0604020202020204" pitchFamily="34" charset="0"/>
                <a:cs typeface="Arial" panose="020B0604020202020204" pitchFamily="34" charset="0"/>
              </a:rPr>
              <a:t>Group</a:t>
            </a:r>
            <a:r>
              <a:rPr lang="es-ES" sz="1200">
                <a:solidFill>
                  <a:srgbClr val="000000"/>
                </a:solidFill>
                <a:latin typeface="Arial" panose="020B0604020202020204" pitchFamily="34" charset="0"/>
                <a:cs typeface="Arial" panose="020B0604020202020204" pitchFamily="34" charset="0"/>
              </a:rPr>
              <a:t> (GEM)</a:t>
            </a:r>
          </a:p>
          <a:p>
            <a:pPr algn="ctr" defTabSz="685800">
              <a:defRPr/>
            </a:pPr>
            <a:r>
              <a:rPr lang="es-ES" sz="1200">
                <a:solidFill>
                  <a:srgbClr val="000000"/>
                </a:solidFill>
                <a:latin typeface="Arial" panose="020B0604020202020204" pitchFamily="34" charset="0"/>
                <a:cs typeface="Arial" panose="020B0604020202020204" pitchFamily="34" charset="0"/>
              </a:rPr>
              <a:t>EuroFlow </a:t>
            </a:r>
            <a:r>
              <a:rPr lang="es-ES" sz="1200" err="1">
                <a:solidFill>
                  <a:srgbClr val="000000"/>
                </a:solidFill>
                <a:latin typeface="Arial" panose="020B0604020202020204" pitchFamily="34" charset="0"/>
                <a:cs typeface="Arial" panose="020B0604020202020204" pitchFamily="34" charset="0"/>
              </a:rPr>
              <a:t>Consortium</a:t>
            </a:r>
            <a:endParaRPr lang="es-ES" sz="1200">
              <a:solidFill>
                <a:srgbClr val="000000"/>
              </a:solidFill>
              <a:latin typeface="Arial" panose="020B0604020202020204" pitchFamily="34" charset="0"/>
              <a:cs typeface="Arial" panose="020B0604020202020204" pitchFamily="34" charset="0"/>
            </a:endParaRPr>
          </a:p>
        </p:txBody>
      </p:sp>
      <p:pic>
        <p:nvPicPr>
          <p:cNvPr id="6" name="Picture 2">
            <a:extLst>
              <a:ext uri="{FF2B5EF4-FFF2-40B4-BE49-F238E27FC236}">
                <a16:creationId xmlns:a16="http://schemas.microsoft.com/office/drawing/2014/main" id="{1E0F44BC-A507-46A5-AE35-DCAFF588C232}"/>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153808" y="2550849"/>
            <a:ext cx="3036941" cy="737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descr="GEM-Azul Ciano">
            <a:extLst>
              <a:ext uri="{FF2B5EF4-FFF2-40B4-BE49-F238E27FC236}">
                <a16:creationId xmlns:a16="http://schemas.microsoft.com/office/drawing/2014/main" id="{9B9428F6-567B-4345-B269-3F461A53623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368045" y="2552861"/>
            <a:ext cx="1399916" cy="761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a:extLst>
              <a:ext uri="{FF2B5EF4-FFF2-40B4-BE49-F238E27FC236}">
                <a16:creationId xmlns:a16="http://schemas.microsoft.com/office/drawing/2014/main" id="{CEF70ECC-546B-47C6-A292-19FD9F116E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9325" y="2582059"/>
            <a:ext cx="1385965" cy="732707"/>
          </a:xfrm>
          <a:prstGeom prst="rect">
            <a:avLst/>
          </a:prstGeom>
        </p:spPr>
      </p:pic>
      <p:sp>
        <p:nvSpPr>
          <p:cNvPr id="9" name="Título 1"/>
          <p:cNvSpPr>
            <a:spLocks noGrp="1"/>
          </p:cNvSpPr>
          <p:nvPr>
            <p:ph type="ctrTitle"/>
          </p:nvPr>
        </p:nvSpPr>
        <p:spPr>
          <a:xfrm>
            <a:off x="386541" y="364440"/>
            <a:ext cx="8396974" cy="1209635"/>
          </a:xfrm>
        </p:spPr>
        <p:txBody>
          <a:bodyPr>
            <a:noAutofit/>
          </a:bodyPr>
          <a:lstStyle/>
          <a:p>
            <a:pPr algn="l">
              <a:lnSpc>
                <a:spcPct val="100000"/>
              </a:lnSpc>
            </a:pPr>
            <a:r>
              <a:rPr lang="en-US" sz="3300" noProof="0"/>
              <a:t>Importance of Minimal Residual Disease and Genetic Testing in Multiple Myeloma </a:t>
            </a:r>
            <a:endParaRPr lang="en-US" sz="3300" noProof="0">
              <a:solidFill>
                <a:schemeClr val="bg2">
                  <a:lumMod val="50000"/>
                </a:schemeClr>
              </a:solidFill>
            </a:endParaRPr>
          </a:p>
        </p:txBody>
      </p:sp>
    </p:spTree>
    <p:extLst>
      <p:ext uri="{BB962C8B-B14F-4D97-AF65-F5344CB8AC3E}">
        <p14:creationId xmlns:p14="http://schemas.microsoft.com/office/powerpoint/2010/main" val="3717012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txBox="1">
            <a:spLocks/>
          </p:cNvSpPr>
          <p:nvPr/>
        </p:nvSpPr>
        <p:spPr>
          <a:xfrm>
            <a:off x="156891" y="92266"/>
            <a:ext cx="8937718"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783">
              <a:defRPr/>
            </a:pPr>
            <a:r>
              <a:rPr lang="en-US" sz="2100">
                <a:solidFill>
                  <a:srgbClr val="800000"/>
                </a:solidFill>
                <a:latin typeface="Arial" panose="020B0604020202020204" pitchFamily="34" charset="0"/>
                <a:cs typeface="Arial" panose="020B0604020202020204" pitchFamily="34" charset="0"/>
              </a:rPr>
              <a:t>Disclosures</a:t>
            </a:r>
          </a:p>
        </p:txBody>
      </p:sp>
      <p:graphicFrame>
        <p:nvGraphicFramePr>
          <p:cNvPr id="5" name="Tabla 4"/>
          <p:cNvGraphicFramePr>
            <a:graphicFrameLocks noGrp="1"/>
          </p:cNvGraphicFramePr>
          <p:nvPr/>
        </p:nvGraphicFramePr>
        <p:xfrm>
          <a:off x="649002" y="1002602"/>
          <a:ext cx="6863869" cy="3179660"/>
        </p:xfrm>
        <a:graphic>
          <a:graphicData uri="http://schemas.openxmlformats.org/drawingml/2006/table">
            <a:tbl>
              <a:tblPr/>
              <a:tblGrid>
                <a:gridCol w="1301869">
                  <a:extLst>
                    <a:ext uri="{9D8B030D-6E8A-4147-A177-3AD203B41FA5}">
                      <a16:colId xmlns:a16="http://schemas.microsoft.com/office/drawing/2014/main" val="230691569"/>
                    </a:ext>
                  </a:extLst>
                </a:gridCol>
                <a:gridCol w="5562000">
                  <a:extLst>
                    <a:ext uri="{9D8B030D-6E8A-4147-A177-3AD203B41FA5}">
                      <a16:colId xmlns:a16="http://schemas.microsoft.com/office/drawing/2014/main" val="3507037889"/>
                    </a:ext>
                  </a:extLst>
                </a:gridCol>
              </a:tblGrid>
              <a:tr h="317966">
                <a:tc>
                  <a:txBody>
                    <a:bodyPr/>
                    <a:lstStyle/>
                    <a:p>
                      <a:pPr algn="l" fontAlgn="b"/>
                      <a:r>
                        <a:rPr lang="en-US" sz="1200" b="1" noProof="0">
                          <a:solidFill>
                            <a:schemeClr val="tx1"/>
                          </a:solidFill>
                          <a:effectLst/>
                          <a:latin typeface="Arial" panose="020B0604020202020204" pitchFamily="34" charset="0"/>
                          <a:cs typeface="Arial" panose="020B0604020202020204" pitchFamily="34" charset="0"/>
                        </a:rPr>
                        <a:t>Company</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b="1" noProof="0">
                          <a:solidFill>
                            <a:schemeClr val="tx1"/>
                          </a:solidFill>
                          <a:effectLst/>
                          <a:latin typeface="Arial" panose="020B0604020202020204" pitchFamily="34" charset="0"/>
                          <a:cs typeface="Arial" panose="020B0604020202020204" pitchFamily="34" charset="0"/>
                        </a:rPr>
                        <a:t>Relationship</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5935907"/>
                  </a:ext>
                </a:extLst>
              </a:tr>
              <a:tr h="317966">
                <a:tc>
                  <a:txBody>
                    <a:bodyPr/>
                    <a:lstStyle/>
                    <a:p>
                      <a:pPr algn="l"/>
                      <a:r>
                        <a:rPr lang="en-US" sz="1200" noProof="0">
                          <a:effectLst/>
                          <a:latin typeface="Arial" panose="020B0604020202020204" pitchFamily="34" charset="0"/>
                          <a:cs typeface="Arial" panose="020B0604020202020204" pitchFamily="34" charset="0"/>
                        </a:rPr>
                        <a:t>Adaptive</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noProof="0">
                          <a:effectLst/>
                          <a:latin typeface="Arial" panose="020B0604020202020204" pitchFamily="34" charset="0"/>
                          <a:cs typeface="Arial" panose="020B0604020202020204" pitchFamily="34" charset="0"/>
                        </a:rPr>
                        <a:t>Honoraria</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9878780"/>
                  </a:ext>
                </a:extLst>
              </a:tr>
              <a:tr h="317966">
                <a:tc>
                  <a:txBody>
                    <a:bodyPr/>
                    <a:lstStyle/>
                    <a:p>
                      <a:pPr algn="l"/>
                      <a:r>
                        <a:rPr lang="en-US" sz="1200" noProof="0">
                          <a:effectLst/>
                          <a:latin typeface="Arial" panose="020B0604020202020204" pitchFamily="34" charset="0"/>
                          <a:cs typeface="Arial" panose="020B0604020202020204" pitchFamily="34" charset="0"/>
                        </a:rPr>
                        <a:t>Amgen</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noProof="0">
                          <a:effectLst/>
                          <a:latin typeface="Arial" panose="020B0604020202020204" pitchFamily="34" charset="0"/>
                          <a:cs typeface="Arial" panose="020B0604020202020204" pitchFamily="34" charset="0"/>
                        </a:rPr>
                        <a:t>Honoraria</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106402"/>
                  </a:ext>
                </a:extLst>
              </a:tr>
              <a:tr h="317966">
                <a:tc>
                  <a:txBody>
                    <a:bodyPr/>
                    <a:lstStyle/>
                    <a:p>
                      <a:pPr algn="l"/>
                      <a:r>
                        <a:rPr lang="en-US" sz="1200" noProof="0">
                          <a:effectLst/>
                          <a:latin typeface="Arial" panose="020B0604020202020204" pitchFamily="34" charset="0"/>
                          <a:cs typeface="Arial" panose="020B0604020202020204" pitchFamily="34" charset="0"/>
                        </a:rPr>
                        <a:t>Becton Dickinson</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noProof="0">
                          <a:effectLst/>
                          <a:latin typeface="Arial" panose="020B0604020202020204" pitchFamily="34" charset="0"/>
                          <a:cs typeface="Arial" panose="020B0604020202020204" pitchFamily="34" charset="0"/>
                        </a:rPr>
                        <a:t>Honoraria</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1877047"/>
                  </a:ext>
                </a:extLst>
              </a:tr>
              <a:tr h="317966">
                <a:tc>
                  <a:txBody>
                    <a:bodyPr/>
                    <a:lstStyle/>
                    <a:p>
                      <a:pPr algn="l"/>
                      <a:r>
                        <a:rPr lang="en-US" sz="1200" noProof="0">
                          <a:effectLst/>
                          <a:latin typeface="Arial" panose="020B0604020202020204" pitchFamily="34" charset="0"/>
                          <a:cs typeface="Arial" panose="020B0604020202020204" pitchFamily="34" charset="0"/>
                        </a:rPr>
                        <a:t>BMS-Celgene</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effectLst/>
                          <a:latin typeface="Arial" panose="020B0604020202020204" pitchFamily="34" charset="0"/>
                          <a:cs typeface="Arial" panose="020B0604020202020204" pitchFamily="34" charset="0"/>
                        </a:rPr>
                        <a:t>Consultant, Honoraria, Research Grant,</a:t>
                      </a:r>
                      <a:r>
                        <a:rPr lang="en-US" sz="1200" baseline="0" noProof="0">
                          <a:effectLst/>
                          <a:latin typeface="Arial" panose="020B0604020202020204" pitchFamily="34" charset="0"/>
                          <a:cs typeface="Arial" panose="020B0604020202020204" pitchFamily="34" charset="0"/>
                        </a:rPr>
                        <a:t> </a:t>
                      </a:r>
                      <a:r>
                        <a:rPr lang="en-US" sz="1200" noProof="0">
                          <a:effectLst/>
                          <a:latin typeface="Arial" panose="020B0604020202020204" pitchFamily="34" charset="0"/>
                          <a:cs typeface="Arial" panose="020B0604020202020204" pitchFamily="34" charset="0"/>
                        </a:rPr>
                        <a:t>Scientific Advisory Board</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9139166"/>
                  </a:ext>
                </a:extLst>
              </a:tr>
              <a:tr h="317966">
                <a:tc>
                  <a:txBody>
                    <a:bodyPr/>
                    <a:lstStyle/>
                    <a:p>
                      <a:pPr algn="l"/>
                      <a:r>
                        <a:rPr lang="en-US" sz="1200" noProof="0">
                          <a:effectLst/>
                          <a:latin typeface="Arial" panose="020B0604020202020204" pitchFamily="34" charset="0"/>
                          <a:cs typeface="Arial" panose="020B0604020202020204" pitchFamily="34" charset="0"/>
                        </a:rPr>
                        <a:t>GSK</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effectLst/>
                          <a:latin typeface="Arial" panose="020B0604020202020204" pitchFamily="34" charset="0"/>
                          <a:cs typeface="Arial" panose="020B0604020202020204" pitchFamily="34" charset="0"/>
                        </a:rPr>
                        <a:t>Honoraria, Research Grant,</a:t>
                      </a:r>
                      <a:r>
                        <a:rPr lang="en-US" sz="1200" baseline="0" noProof="0">
                          <a:effectLst/>
                          <a:latin typeface="Arial" panose="020B0604020202020204" pitchFamily="34" charset="0"/>
                          <a:cs typeface="Arial" panose="020B0604020202020204" pitchFamily="34" charset="0"/>
                        </a:rPr>
                        <a:t> </a:t>
                      </a:r>
                      <a:r>
                        <a:rPr lang="en-US" sz="1200" noProof="0">
                          <a:effectLst/>
                          <a:latin typeface="Arial" panose="020B0604020202020204" pitchFamily="34" charset="0"/>
                          <a:cs typeface="Arial" panose="020B0604020202020204" pitchFamily="34" charset="0"/>
                        </a:rPr>
                        <a:t>Scientific Advisory Board</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2985572"/>
                  </a:ext>
                </a:extLst>
              </a:tr>
              <a:tr h="317966">
                <a:tc>
                  <a:txBody>
                    <a:bodyPr/>
                    <a:lstStyle/>
                    <a:p>
                      <a:pPr algn="l"/>
                      <a:r>
                        <a:rPr lang="en-US" sz="1200" noProof="0">
                          <a:effectLst/>
                          <a:latin typeface="Arial" panose="020B0604020202020204" pitchFamily="34" charset="0"/>
                          <a:cs typeface="Arial" panose="020B0604020202020204" pitchFamily="34" charset="0"/>
                        </a:rPr>
                        <a:t>Janssen</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effectLst/>
                          <a:latin typeface="Arial" panose="020B0604020202020204" pitchFamily="34" charset="0"/>
                          <a:cs typeface="Arial" panose="020B0604020202020204" pitchFamily="34" charset="0"/>
                        </a:rPr>
                        <a:t>Consultant, Honoraria,</a:t>
                      </a:r>
                      <a:r>
                        <a:rPr lang="en-US" sz="1200" baseline="0" noProof="0">
                          <a:effectLst/>
                          <a:latin typeface="Arial" panose="020B0604020202020204" pitchFamily="34" charset="0"/>
                          <a:cs typeface="Arial" panose="020B0604020202020204" pitchFamily="34" charset="0"/>
                        </a:rPr>
                        <a:t> </a:t>
                      </a:r>
                      <a:r>
                        <a:rPr lang="en-US" sz="1200" noProof="0">
                          <a:effectLst/>
                          <a:latin typeface="Arial" panose="020B0604020202020204" pitchFamily="34" charset="0"/>
                          <a:cs typeface="Arial" panose="020B0604020202020204" pitchFamily="34" charset="0"/>
                        </a:rPr>
                        <a:t>Scientific Advisory Board</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441092"/>
                  </a:ext>
                </a:extLst>
              </a:tr>
              <a:tr h="317966">
                <a:tc>
                  <a:txBody>
                    <a:bodyPr/>
                    <a:lstStyle/>
                    <a:p>
                      <a:pPr algn="l"/>
                      <a:r>
                        <a:rPr lang="en-US" sz="1200" noProof="0">
                          <a:effectLst/>
                          <a:latin typeface="Arial" panose="020B0604020202020204" pitchFamily="34" charset="0"/>
                          <a:cs typeface="Arial" panose="020B0604020202020204" pitchFamily="34" charset="0"/>
                        </a:rPr>
                        <a:t>Roche</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noProof="0">
                          <a:effectLst/>
                          <a:latin typeface="Arial" panose="020B0604020202020204" pitchFamily="34" charset="0"/>
                          <a:cs typeface="Arial" panose="020B0604020202020204" pitchFamily="34" charset="0"/>
                        </a:rPr>
                        <a:t>Research Grant</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7271145"/>
                  </a:ext>
                </a:extLst>
              </a:tr>
              <a:tr h="317966">
                <a:tc>
                  <a:txBody>
                    <a:bodyPr/>
                    <a:lstStyle/>
                    <a:p>
                      <a:pPr algn="l"/>
                      <a:r>
                        <a:rPr lang="en-US" sz="1200" noProof="0">
                          <a:effectLst/>
                          <a:latin typeface="Arial" panose="020B0604020202020204" pitchFamily="34" charset="0"/>
                          <a:cs typeface="Arial" panose="020B0604020202020204" pitchFamily="34" charset="0"/>
                        </a:rPr>
                        <a:t>Sanofi</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effectLst/>
                          <a:latin typeface="Arial" panose="020B0604020202020204" pitchFamily="34" charset="0"/>
                          <a:cs typeface="Arial" panose="020B0604020202020204" pitchFamily="34" charset="0"/>
                        </a:rPr>
                        <a:t>Consultant, Honoraria, Research Grant,</a:t>
                      </a:r>
                      <a:r>
                        <a:rPr lang="en-US" sz="1200" baseline="0" noProof="0">
                          <a:effectLst/>
                          <a:latin typeface="Arial" panose="020B0604020202020204" pitchFamily="34" charset="0"/>
                          <a:cs typeface="Arial" panose="020B0604020202020204" pitchFamily="34" charset="0"/>
                        </a:rPr>
                        <a:t> </a:t>
                      </a:r>
                      <a:r>
                        <a:rPr lang="en-US" sz="1200" noProof="0">
                          <a:effectLst/>
                          <a:latin typeface="Arial" panose="020B0604020202020204" pitchFamily="34" charset="0"/>
                          <a:cs typeface="Arial" panose="020B0604020202020204" pitchFamily="34" charset="0"/>
                        </a:rPr>
                        <a:t>Scientific Advisory Board</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5647479"/>
                  </a:ext>
                </a:extLst>
              </a:tr>
              <a:tr h="317966">
                <a:tc>
                  <a:txBody>
                    <a:bodyPr/>
                    <a:lstStyle/>
                    <a:p>
                      <a:pPr algn="l"/>
                      <a:r>
                        <a:rPr lang="en-US" sz="1200" noProof="0">
                          <a:effectLst/>
                          <a:latin typeface="Arial" panose="020B0604020202020204" pitchFamily="34" charset="0"/>
                          <a:cs typeface="Arial" panose="020B0604020202020204" pitchFamily="34" charset="0"/>
                        </a:rPr>
                        <a:t>Takeda</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noProof="0">
                          <a:effectLst/>
                          <a:latin typeface="Arial" panose="020B0604020202020204" pitchFamily="34" charset="0"/>
                          <a:cs typeface="Arial" panose="020B0604020202020204" pitchFamily="34" charset="0"/>
                        </a:rPr>
                        <a:t>Consultant</a:t>
                      </a:r>
                    </a:p>
                  </a:txBody>
                  <a:tcPr marL="41930" marR="41930" marT="20965" marB="2096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8290919"/>
                  </a:ext>
                </a:extLst>
              </a:tr>
            </a:tbl>
          </a:graphicData>
        </a:graphic>
      </p:graphicFrame>
    </p:spTree>
    <p:extLst>
      <p:ext uri="{BB962C8B-B14F-4D97-AF65-F5344CB8AC3E}">
        <p14:creationId xmlns:p14="http://schemas.microsoft.com/office/powerpoint/2010/main" val="21151198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862BB7B-BB6B-491D-98EC-0C37DE96AE2A}"/>
              </a:ext>
            </a:extLst>
          </p:cNvPr>
          <p:cNvSpPr>
            <a:spLocks noGrp="1"/>
          </p:cNvSpPr>
          <p:nvPr>
            <p:ph type="title"/>
          </p:nvPr>
        </p:nvSpPr>
        <p:spPr>
          <a:xfrm>
            <a:off x="186144" y="225160"/>
            <a:ext cx="8766928" cy="568794"/>
          </a:xfrm>
        </p:spPr>
        <p:txBody>
          <a:bodyPr anchor="t">
            <a:normAutofit fontScale="90000"/>
          </a:bodyPr>
          <a:lstStyle/>
          <a:p>
            <a:r>
              <a:rPr lang="en-US" sz="2700" noProof="0"/>
              <a:t>Proposed Agenda Day 2 – Europe</a:t>
            </a:r>
            <a:br>
              <a:rPr lang="en-US" sz="2400" noProof="0"/>
            </a:br>
            <a:r>
              <a:rPr lang="en-US" sz="1300" noProof="0"/>
              <a:t>17.00 – 20.00 (CET)/10.00 – 13.00 (MST)</a:t>
            </a:r>
            <a:endParaRPr lang="en-US" sz="2400" noProof="0"/>
          </a:p>
        </p:txBody>
      </p:sp>
      <p:graphicFrame>
        <p:nvGraphicFramePr>
          <p:cNvPr id="6" name="Table 4">
            <a:extLst>
              <a:ext uri="{FF2B5EF4-FFF2-40B4-BE49-F238E27FC236}">
                <a16:creationId xmlns:a16="http://schemas.microsoft.com/office/drawing/2014/main" id="{0FE28B0C-4D56-4DE7-9CB2-6021B7785162}"/>
              </a:ext>
            </a:extLst>
          </p:cNvPr>
          <p:cNvGraphicFramePr>
            <a:graphicFrameLocks noGrp="1"/>
          </p:cNvGraphicFramePr>
          <p:nvPr>
            <p:extLst>
              <p:ext uri="{D42A27DB-BD31-4B8C-83A1-F6EECF244321}">
                <p14:modId xmlns:p14="http://schemas.microsoft.com/office/powerpoint/2010/main" val="729924983"/>
              </p:ext>
            </p:extLst>
          </p:nvPr>
        </p:nvGraphicFramePr>
        <p:xfrm>
          <a:off x="182880" y="888880"/>
          <a:ext cx="8778240" cy="2651760"/>
        </p:xfrm>
        <a:graphic>
          <a:graphicData uri="http://schemas.openxmlformats.org/drawingml/2006/table">
            <a:tbl>
              <a:tblPr firstRow="1" bandRow="1">
                <a:tableStyleId>{5C22544A-7EE6-4342-B048-85BDC9FD1C3A}</a:tableStyleId>
              </a:tblPr>
              <a:tblGrid>
                <a:gridCol w="1033862">
                  <a:extLst>
                    <a:ext uri="{9D8B030D-6E8A-4147-A177-3AD203B41FA5}">
                      <a16:colId xmlns:a16="http://schemas.microsoft.com/office/drawing/2014/main" val="2109553782"/>
                    </a:ext>
                  </a:extLst>
                </a:gridCol>
                <a:gridCol w="4847628">
                  <a:extLst>
                    <a:ext uri="{9D8B030D-6E8A-4147-A177-3AD203B41FA5}">
                      <a16:colId xmlns:a16="http://schemas.microsoft.com/office/drawing/2014/main" val="3035314657"/>
                    </a:ext>
                  </a:extLst>
                </a:gridCol>
                <a:gridCol w="2896750">
                  <a:extLst>
                    <a:ext uri="{9D8B030D-6E8A-4147-A177-3AD203B41FA5}">
                      <a16:colId xmlns:a16="http://schemas.microsoft.com/office/drawing/2014/main" val="1523985630"/>
                    </a:ext>
                  </a:extLst>
                </a:gridCol>
              </a:tblGrid>
              <a:tr h="0">
                <a:tc>
                  <a:txBody>
                    <a:bodyPr/>
                    <a:lstStyle/>
                    <a:p>
                      <a:pPr marL="0" marR="0" algn="l">
                        <a:lnSpc>
                          <a:spcPct val="100000"/>
                        </a:lnSpc>
                        <a:spcBef>
                          <a:spcPts val="0"/>
                        </a:spcBef>
                        <a:spcAft>
                          <a:spcPts val="0"/>
                        </a:spcAft>
                      </a:pPr>
                      <a:r>
                        <a:rPr lang="en-US" sz="1000" b="1" noProof="0">
                          <a:effectLst/>
                          <a:latin typeface="Arial" panose="020B0604020202020204" pitchFamily="34" charset="0"/>
                          <a:cs typeface="Arial" panose="020B0604020202020204" pitchFamily="34" charset="0"/>
                        </a:rPr>
                        <a:t>Time</a:t>
                      </a:r>
                      <a:endParaRPr lang="en-US" sz="1000" noProof="0">
                        <a:effectLst/>
                        <a:latin typeface="Arial" panose="020B0604020202020204" pitchFamily="34" charset="0"/>
                        <a:ea typeface="Arial" panose="020B0604020202020204" pitchFamily="34" charset="0"/>
                        <a:cs typeface="Arial" panose="020B0604020202020204" pitchFamily="34" charset="0"/>
                      </a:endParaRPr>
                    </a:p>
                  </a:txBody>
                  <a:tcPr anchor="ctr"/>
                </a:tc>
                <a:tc>
                  <a:txBody>
                    <a:bodyPr/>
                    <a:lstStyle/>
                    <a:p>
                      <a:pPr marL="0" marR="0" algn="l">
                        <a:lnSpc>
                          <a:spcPct val="100000"/>
                        </a:lnSpc>
                        <a:spcBef>
                          <a:spcPts val="0"/>
                        </a:spcBef>
                        <a:spcAft>
                          <a:spcPts val="0"/>
                        </a:spcAft>
                      </a:pPr>
                      <a:r>
                        <a:rPr lang="en-US" sz="1000" b="1" kern="1200" noProof="0">
                          <a:solidFill>
                            <a:schemeClr val="bg1"/>
                          </a:solidFill>
                          <a:effectLst/>
                          <a:latin typeface="Arial" panose="020B0604020202020204" pitchFamily="34" charset="0"/>
                          <a:cs typeface="Arial" panose="020B0604020202020204" pitchFamily="34" charset="0"/>
                        </a:rPr>
                        <a:t>Topic</a:t>
                      </a:r>
                      <a:endParaRPr lang="en-US" sz="1000" noProof="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anchor="ctr"/>
                </a:tc>
                <a:tc>
                  <a:txBody>
                    <a:bodyPr/>
                    <a:lstStyle/>
                    <a:p>
                      <a:pPr marL="0" marR="0" algn="l">
                        <a:lnSpc>
                          <a:spcPct val="100000"/>
                        </a:lnSpc>
                        <a:spcBef>
                          <a:spcPts val="0"/>
                        </a:spcBef>
                        <a:spcAft>
                          <a:spcPts val="0"/>
                        </a:spcAft>
                      </a:pPr>
                      <a:r>
                        <a:rPr lang="en-US" sz="1000" noProof="0">
                          <a:solidFill>
                            <a:schemeClr val="bg1"/>
                          </a:solidFill>
                          <a:effectLst/>
                          <a:latin typeface="Arial" panose="020B0604020202020204" pitchFamily="34" charset="0"/>
                          <a:cs typeface="Arial" panose="020B0604020202020204" pitchFamily="34" charset="0"/>
                        </a:rPr>
                        <a:t>Speaker</a:t>
                      </a:r>
                      <a:endParaRPr lang="en-US" sz="1000" noProof="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824397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bg2">
                              <a:lumMod val="10000"/>
                            </a:schemeClr>
                          </a:solidFill>
                          <a:effectLst/>
                          <a:latin typeface="Arial" panose="020B0604020202020204" pitchFamily="34" charset="0"/>
                          <a:cs typeface="Arial" panose="020B0604020202020204" pitchFamily="34" charset="0"/>
                        </a:rPr>
                        <a:t>17.00 – 17.10</a:t>
                      </a:r>
                    </a:p>
                  </a:txBody>
                  <a:tcPr anchor="ctr"/>
                </a:tc>
                <a:tc>
                  <a:txBody>
                    <a:bodyPr/>
                    <a:lstStyle/>
                    <a:p>
                      <a:pPr>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Session Open</a:t>
                      </a:r>
                      <a:r>
                        <a:rPr lang="en-US" sz="1000" b="0" u="none" strike="noStrike" kern="1200" noProof="0">
                          <a:solidFill>
                            <a:schemeClr val="bg2">
                              <a:lumMod val="10000"/>
                            </a:schemeClr>
                          </a:solidFill>
                          <a:effectLst/>
                          <a:latin typeface="Arial" panose="020B0604020202020204" pitchFamily="34" charset="0"/>
                          <a:cs typeface="Arial" panose="020B0604020202020204" pitchFamily="34" charset="0"/>
                        </a:rPr>
                        <a:t> </a:t>
                      </a:r>
                      <a:endParaRPr lang="en-US" sz="1000" b="0" i="0" u="none" strike="noStrike" noProof="0">
                        <a:solidFill>
                          <a:schemeClr val="bg2">
                            <a:lumMod val="10000"/>
                          </a:schemeClr>
                        </a:solidFill>
                        <a:effectLst/>
                        <a:latin typeface="Arial" panose="020B0604020202020204" pitchFamily="34" charset="0"/>
                        <a:cs typeface="Arial" panose="020B0604020202020204" pitchFamily="34" charset="0"/>
                      </a:endParaRPr>
                    </a:p>
                  </a:txBody>
                  <a:tcPr anchor="ctr"/>
                </a:tc>
                <a:tc>
                  <a:txBody>
                    <a:bodyPr/>
                    <a:lstStyle/>
                    <a:p>
                      <a:pPr marL="0" marR="0" algn="l">
                        <a:lnSpc>
                          <a:spcPct val="100000"/>
                        </a:lnSpc>
                        <a:spcBef>
                          <a:spcPts val="0"/>
                        </a:spcBef>
                        <a:spcAft>
                          <a:spcPts val="0"/>
                        </a:spcAft>
                      </a:pPr>
                      <a:r>
                        <a:rPr lang="en-US" sz="1000" b="0" u="none" noProof="0">
                          <a:solidFill>
                            <a:schemeClr val="bg2">
                              <a:lumMod val="10000"/>
                            </a:schemeClr>
                          </a:solidFill>
                          <a:effectLst/>
                          <a:latin typeface="Arial" panose="020B0604020202020204" pitchFamily="34" charset="0"/>
                          <a:cs typeface="Arial" panose="020B0604020202020204" pitchFamily="34" charset="0"/>
                        </a:rPr>
                        <a:t>Rafael Fonseca, MD</a:t>
                      </a:r>
                    </a:p>
                  </a:txBody>
                  <a:tcPr anchor="ctr"/>
                </a:tc>
                <a:extLst>
                  <a:ext uri="{0D108BD9-81ED-4DB2-BD59-A6C34878D82A}">
                    <a16:rowId xmlns:a16="http://schemas.microsoft.com/office/drawing/2014/main" val="167821165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bg2">
                              <a:lumMod val="10000"/>
                            </a:schemeClr>
                          </a:solidFill>
                          <a:effectLst/>
                          <a:latin typeface="Arial" panose="020B0604020202020204" pitchFamily="34" charset="0"/>
                          <a:cs typeface="Arial" panose="020B0604020202020204" pitchFamily="34" charset="0"/>
                        </a:rPr>
                        <a:t>17.10 – 17.30</a:t>
                      </a:r>
                    </a:p>
                  </a:txBody>
                  <a:tcPr anchor="ctr"/>
                </a:tc>
                <a:tc>
                  <a:txBody>
                    <a:bodyPr/>
                    <a:lstStyle/>
                    <a:p>
                      <a:pPr>
                        <a:lnSpc>
                          <a:spcPct val="100000"/>
                        </a:lnSpc>
                        <a:spcBef>
                          <a:spcPts val="0"/>
                        </a:spcBef>
                        <a:spcAft>
                          <a:spcPts val="0"/>
                        </a:spcAft>
                      </a:pPr>
                      <a:r>
                        <a:rPr lang="en-US" sz="1000" b="1" u="none" noProof="0">
                          <a:solidFill>
                            <a:schemeClr val="bg2">
                              <a:lumMod val="10000"/>
                            </a:schemeClr>
                          </a:solidFill>
                          <a:effectLst/>
                          <a:latin typeface="Arial" panose="020B0604020202020204" pitchFamily="34" charset="0"/>
                          <a:cs typeface="Arial" panose="020B0604020202020204" pitchFamily="34" charset="0"/>
                        </a:rPr>
                        <a:t>Identification and Special Considerations for High-Risk Multiple Myeloma</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noProof="0">
                          <a:solidFill>
                            <a:schemeClr val="tx1"/>
                          </a:solidFill>
                          <a:latin typeface="Arial" panose="020B0604020202020204" pitchFamily="34" charset="0"/>
                          <a:cs typeface="Arial" panose="020B0604020202020204" pitchFamily="34" charset="0"/>
                        </a:rPr>
                        <a:t>Meletios A. Dimopoulos, MD</a:t>
                      </a:r>
                      <a:endParaRPr lang="en-US" sz="1000" strike="sngStrike" noProof="0">
                        <a:solidFill>
                          <a:srgbClr val="FF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51184477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bg2">
                              <a:lumMod val="10000"/>
                            </a:schemeClr>
                          </a:solidFill>
                          <a:effectLst/>
                          <a:latin typeface="Arial" panose="020B0604020202020204" pitchFamily="34" charset="0"/>
                          <a:cs typeface="Arial" panose="020B0604020202020204" pitchFamily="34" charset="0"/>
                        </a:rPr>
                        <a:t>17.30 – 17.55</a:t>
                      </a:r>
                    </a:p>
                  </a:txBody>
                  <a:tcPr anchor="ctr"/>
                </a:tc>
                <a:tc>
                  <a:txBody>
                    <a:bodyPr/>
                    <a:lstStyle/>
                    <a:p>
                      <a:pPr marL="0" marR="0">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Management of Early Relapse of Multiple Myeloma</a:t>
                      </a:r>
                      <a:endParaRPr lang="en-US" sz="1000" b="1" u="none" noProof="0">
                        <a:solidFill>
                          <a:schemeClr val="bg2">
                            <a:lumMod val="10000"/>
                          </a:schemeClr>
                        </a:solidFill>
                        <a:effectLst/>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u="none" noProof="0">
                          <a:solidFill>
                            <a:schemeClr val="bg2">
                              <a:lumMod val="10000"/>
                            </a:schemeClr>
                          </a:solidFill>
                          <a:effectLst/>
                          <a:latin typeface="Arial" panose="020B0604020202020204" pitchFamily="34" charset="0"/>
                          <a:cs typeface="Arial" panose="020B0604020202020204" pitchFamily="34" charset="0"/>
                        </a:rPr>
                        <a:t>Rafael Fonseca, MD</a:t>
                      </a:r>
                    </a:p>
                  </a:txBody>
                  <a:tcPr anchor="ctr"/>
                </a:tc>
                <a:extLst>
                  <a:ext uri="{0D108BD9-81ED-4DB2-BD59-A6C34878D82A}">
                    <a16:rowId xmlns:a16="http://schemas.microsoft.com/office/drawing/2014/main" val="3696692457"/>
                  </a:ext>
                </a:extLst>
              </a:tr>
              <a:tr h="1454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bg2">
                              <a:lumMod val="10000"/>
                            </a:schemeClr>
                          </a:solidFill>
                          <a:effectLst/>
                          <a:latin typeface="Arial" panose="020B0604020202020204" pitchFamily="34" charset="0"/>
                          <a:cs typeface="Arial" panose="020B0604020202020204" pitchFamily="34" charset="0"/>
                        </a:rPr>
                        <a:t>17.55 – 18.20</a:t>
                      </a:r>
                    </a:p>
                  </a:txBody>
                  <a:tcPr anchor="ctr"/>
                </a:tc>
                <a:tc>
                  <a:txBody>
                    <a:bodyPr/>
                    <a:lstStyle/>
                    <a:p>
                      <a:pPr marL="0" marR="0">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Management of Heavily Pretreated Multiple</a:t>
                      </a:r>
                      <a:r>
                        <a:rPr lang="en-US" sz="1000" b="1" u="none" noProof="0">
                          <a:solidFill>
                            <a:schemeClr val="bg2">
                              <a:lumMod val="10000"/>
                            </a:schemeClr>
                          </a:solidFill>
                          <a:effectLst/>
                          <a:latin typeface="Arial" panose="020B0604020202020204" pitchFamily="34" charset="0"/>
                          <a:cs typeface="Arial" panose="020B0604020202020204" pitchFamily="34" charset="0"/>
                        </a:rPr>
                        <a:t> Myeloma</a:t>
                      </a:r>
                    </a:p>
                  </a:txBody>
                  <a:tcPr anchor="ctr"/>
                </a:tc>
                <a:tc>
                  <a:txBody>
                    <a:bodyPr/>
                    <a:lstStyle/>
                    <a:p>
                      <a:pPr algn="l">
                        <a:lnSpc>
                          <a:spcPct val="100000"/>
                        </a:lnSpc>
                        <a:spcBef>
                          <a:spcPts val="0"/>
                        </a:spcBef>
                        <a:spcAft>
                          <a:spcPts val="0"/>
                        </a:spcAft>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Keith Stewart, MBChB, MBA</a:t>
                      </a:r>
                    </a:p>
                  </a:txBody>
                  <a:tcPr anchor="ctr"/>
                </a:tc>
                <a:extLst>
                  <a:ext uri="{0D108BD9-81ED-4DB2-BD59-A6C34878D82A}">
                    <a16:rowId xmlns:a16="http://schemas.microsoft.com/office/drawing/2014/main" val="15147318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8.20 – 18.30</a:t>
                      </a:r>
                    </a:p>
                  </a:txBody>
                  <a:tcPr anchor="ctr"/>
                </a:tc>
                <a:tc>
                  <a:txBody>
                    <a:bodyPr/>
                    <a:lstStyle/>
                    <a:p>
                      <a:pPr marL="0" marR="0">
                        <a:lnSpc>
                          <a:spcPct val="100000"/>
                        </a:lnSpc>
                        <a:spcBef>
                          <a:spcPts val="0"/>
                        </a:spcBef>
                        <a:spcAft>
                          <a:spcPts val="0"/>
                        </a:spcAft>
                      </a:pPr>
                      <a:r>
                        <a:rPr lang="en-US" sz="1000" b="1" u="none" noProof="0">
                          <a:solidFill>
                            <a:schemeClr val="bg2">
                              <a:lumMod val="10000"/>
                            </a:schemeClr>
                          </a:solidFill>
                          <a:effectLst/>
                          <a:latin typeface="Arial" panose="020B0604020202020204" pitchFamily="34" charset="0"/>
                          <a:cs typeface="Arial" panose="020B0604020202020204" pitchFamily="34" charset="0"/>
                        </a:rPr>
                        <a:t>Break</a:t>
                      </a:r>
                      <a:endParaRPr lang="en-US" sz="1000" b="1" i="0" u="none" noProof="0">
                        <a:solidFill>
                          <a:schemeClr val="bg2">
                            <a:lumMod val="10000"/>
                          </a:schemeClr>
                        </a:solidFill>
                        <a:effectLst/>
                        <a:latin typeface="Arial" panose="020B0604020202020204" pitchFamily="34" charset="0"/>
                        <a:ea typeface="Arial" panose="020B0604020202020204" pitchFamily="34" charset="0"/>
                        <a:cs typeface="Arial" panose="020B0604020202020204" pitchFamily="34" charset="0"/>
                      </a:endParaRPr>
                    </a:p>
                  </a:txBody>
                  <a:tcPr anchor="ctr"/>
                </a:tc>
                <a:tc>
                  <a:txBody>
                    <a:bodyPr/>
                    <a:lstStyle/>
                    <a:p>
                      <a:pPr algn="l">
                        <a:lnSpc>
                          <a:spcPct val="100000"/>
                        </a:lnSpc>
                        <a:spcBef>
                          <a:spcPts val="0"/>
                        </a:spcBef>
                        <a:spcAft>
                          <a:spcPts val="0"/>
                        </a:spcAft>
                      </a:pPr>
                      <a:endParaRPr lang="en-US" sz="1000" b="0" i="0" u="none" kern="1200" noProof="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305751381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8.30 – 19.25</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u="none" kern="1200" noProof="0">
                          <a:solidFill>
                            <a:schemeClr val="tx1"/>
                          </a:solidFill>
                          <a:effectLst/>
                          <a:latin typeface="Arial" panose="020B0604020202020204" pitchFamily="34" charset="0"/>
                          <a:ea typeface="+mn-ea"/>
                          <a:cs typeface="Arial" panose="020B0604020202020204" pitchFamily="34" charset="0"/>
                        </a:rPr>
                        <a:t>Bispecifics in </a:t>
                      </a:r>
                      <a:r>
                        <a:rPr lang="en-US" sz="1000" b="1" u="none" kern="1200" noProof="0">
                          <a:solidFill>
                            <a:schemeClr val="tx1"/>
                          </a:solidFill>
                          <a:effectLst/>
                          <a:latin typeface="Arial" panose="020B0604020202020204" pitchFamily="34" charset="0"/>
                          <a:cs typeface="Arial" panose="020B0604020202020204" pitchFamily="34" charset="0"/>
                        </a:rPr>
                        <a:t>Multiple</a:t>
                      </a:r>
                      <a:r>
                        <a:rPr lang="en-US" sz="1000" b="1" u="none" noProof="0">
                          <a:solidFill>
                            <a:schemeClr val="tx1"/>
                          </a:solidFill>
                          <a:effectLst/>
                          <a:latin typeface="Arial" panose="020B0604020202020204" pitchFamily="34" charset="0"/>
                          <a:cs typeface="Arial" panose="020B0604020202020204" pitchFamily="34" charset="0"/>
                        </a:rPr>
                        <a:t> Myeloma and CAR Ts in Multiple Myeloma</a:t>
                      </a:r>
                    </a:p>
                  </a:txBody>
                  <a:tcPr anchor="ctr"/>
                </a:tc>
                <a:tc>
                  <a:txBody>
                    <a:bodyPr/>
                    <a:lstStyle/>
                    <a:p>
                      <a:pPr algn="l">
                        <a:lnSpc>
                          <a:spcPct val="100000"/>
                        </a:lnSpc>
                        <a:spcBef>
                          <a:spcPts val="0"/>
                        </a:spcBef>
                        <a:spcAft>
                          <a:spcPts val="0"/>
                        </a:spcAft>
                      </a:pPr>
                      <a:r>
                        <a:rPr lang="en-US" sz="1000" b="0" u="none" kern="1200" noProof="0">
                          <a:solidFill>
                            <a:schemeClr val="tx1"/>
                          </a:solidFill>
                          <a:effectLst/>
                          <a:latin typeface="Arial" panose="020B0604020202020204" pitchFamily="34" charset="0"/>
                          <a:cs typeface="Arial" panose="020B0604020202020204" pitchFamily="34" charset="0"/>
                        </a:rPr>
                        <a:t>María-Victoria Mateos, MD, PhD (bispecifics);</a:t>
                      </a:r>
                    </a:p>
                    <a:p>
                      <a:pPr marL="0" marR="0" lvl="0" indent="0" algn="l" rtl="0" eaLnBrk="1" fontAlgn="auto" latinLnBrk="0" hangingPunct="1">
                        <a:lnSpc>
                          <a:spcPct val="100000"/>
                        </a:lnSpc>
                        <a:spcBef>
                          <a:spcPts val="0"/>
                        </a:spcBef>
                        <a:spcAft>
                          <a:spcPts val="0"/>
                        </a:spcAft>
                        <a:buClrTx/>
                        <a:buSzTx/>
                        <a:buFontTx/>
                        <a:buNone/>
                      </a:pPr>
                      <a:r>
                        <a:rPr lang="en-US" sz="1000" noProof="0">
                          <a:solidFill>
                            <a:schemeClr val="tx1"/>
                          </a:solidFill>
                          <a:latin typeface="Arial"/>
                          <a:cs typeface="Arial"/>
                        </a:rPr>
                        <a:t>Hermann Einsele, MD (CAR Ts) </a:t>
                      </a:r>
                      <a:endParaRPr lang="en-US" sz="1000" b="0" u="none" kern="1200" noProof="0">
                        <a:solidFill>
                          <a:schemeClr val="tx1"/>
                        </a:solidFill>
                        <a:effectLst/>
                        <a:latin typeface="Arial"/>
                        <a:cs typeface="Arial"/>
                      </a:endParaRPr>
                    </a:p>
                  </a:txBody>
                  <a:tcPr anchor="ctr"/>
                </a:tc>
                <a:extLst>
                  <a:ext uri="{0D108BD9-81ED-4DB2-BD59-A6C34878D82A}">
                    <a16:rowId xmlns:a16="http://schemas.microsoft.com/office/drawing/2014/main" val="325257476"/>
                  </a:ext>
                </a:extLst>
              </a:tr>
              <a:tr h="2818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9.25 – 19.55</a:t>
                      </a:r>
                    </a:p>
                  </a:txBody>
                  <a:tcPr anchor="ctr"/>
                </a:tc>
                <a:tc>
                  <a:txBody>
                    <a:bodyPr/>
                    <a:lstStyle/>
                    <a:p>
                      <a:pPr marL="0" marR="0">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Patient Case Discussion: Relapsed/Refractory Multiple Myeloma</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Cases from 2 regions will be presented by </a:t>
                      </a:r>
                      <a:r>
                        <a:rPr lang="en-US" sz="1000" b="0" u="none" kern="1200" noProof="0">
                          <a:solidFill>
                            <a:schemeClr val="tx1"/>
                          </a:solidFill>
                          <a:effectLst/>
                          <a:latin typeface="Arial" panose="020B0604020202020204" pitchFamily="34" charset="0"/>
                          <a:ea typeface="+mn-ea"/>
                          <a:cs typeface="Arial" panose="020B0604020202020204" pitchFamily="34" charset="0"/>
                        </a:rPr>
                        <a:t>Borja Puertas Martínez (</a:t>
                      </a:r>
                      <a:r>
                        <a:rPr lang="en-US" sz="1000" noProof="0">
                          <a:solidFill>
                            <a:schemeClr val="tx1"/>
                          </a:solidFill>
                          <a:latin typeface="Arial" panose="020B0604020202020204" pitchFamily="34" charset="0"/>
                          <a:cs typeface="Arial" panose="020B0604020202020204" pitchFamily="34" charset="0"/>
                        </a:rPr>
                        <a:t>University of Salamanca, Spain)</a:t>
                      </a:r>
                      <a:r>
                        <a:rPr lang="en-US" sz="1000" b="0" u="none" kern="1200" noProof="0">
                          <a:solidFill>
                            <a:schemeClr val="tx1"/>
                          </a:solidFill>
                          <a:effectLst/>
                          <a:latin typeface="Arial" panose="020B0604020202020204" pitchFamily="34" charset="0"/>
                          <a:ea typeface="+mn-ea"/>
                          <a:cs typeface="Arial" panose="020B0604020202020204" pitchFamily="34" charset="0"/>
                        </a:rPr>
                        <a:t> and </a:t>
                      </a:r>
                      <a:r>
                        <a:rPr lang="en-US" sz="1000" kern="1200" noProof="0">
                          <a:solidFill>
                            <a:schemeClr val="dk1"/>
                          </a:solidFill>
                          <a:effectLst/>
                          <a:latin typeface="Arial" panose="020B0604020202020204" pitchFamily="34" charset="0"/>
                          <a:ea typeface="+mn-ea"/>
                          <a:cs typeface="Arial" panose="020B0604020202020204" pitchFamily="34" charset="0"/>
                        </a:rPr>
                        <a:t>Despoina Fotiou</a:t>
                      </a:r>
                      <a:r>
                        <a:rPr lang="en-US" sz="1000" b="0" u="none" kern="1200" noProof="0">
                          <a:solidFill>
                            <a:schemeClr val="tx1"/>
                          </a:solidFill>
                          <a:effectLst/>
                          <a:latin typeface="Arial" panose="020B0604020202020204" pitchFamily="34" charset="0"/>
                          <a:ea typeface="+mn-ea"/>
                          <a:cs typeface="Arial" panose="020B0604020202020204" pitchFamily="34" charset="0"/>
                        </a:rPr>
                        <a:t> (University </a:t>
                      </a:r>
                      <a:r>
                        <a:rPr lang="en-US" sz="1000" b="0" i="0" noProof="0">
                          <a:solidFill>
                            <a:schemeClr val="tx1"/>
                          </a:solidFill>
                          <a:effectLst/>
                          <a:latin typeface="Arial" panose="020B0604020202020204" pitchFamily="34" charset="0"/>
                          <a:cs typeface="Arial" panose="020B0604020202020204" pitchFamily="34" charset="0"/>
                        </a:rPr>
                        <a:t>of Athens, Greece</a:t>
                      </a:r>
                      <a:r>
                        <a:rPr lang="en-US" sz="1000" b="0" u="none" kern="1200" noProof="0">
                          <a:solidFill>
                            <a:schemeClr val="tx1"/>
                          </a:solidFill>
                          <a:effectLst/>
                          <a:latin typeface="Arial" panose="020B0604020202020204" pitchFamily="34" charset="0"/>
                          <a:ea typeface="+mn-ea"/>
                          <a:cs typeface="Arial" panose="020B0604020202020204" pitchFamily="34" charset="0"/>
                        </a:rPr>
                        <a:t>)</a:t>
                      </a:r>
                    </a:p>
                  </a:txBody>
                  <a:tcPr anchor="ctr"/>
                </a:tc>
                <a:tc>
                  <a:txBody>
                    <a:bodyPr/>
                    <a:lstStyle/>
                    <a:p>
                      <a:pPr marL="0" marR="0" algn="l">
                        <a:lnSpc>
                          <a:spcPct val="100000"/>
                        </a:lnSpc>
                        <a:spcBef>
                          <a:spcPts val="0"/>
                        </a:spcBef>
                        <a:spcAft>
                          <a:spcPts val="0"/>
                        </a:spcAft>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Regional case presenter</a:t>
                      </a:r>
                      <a:endParaRPr lang="en-US" sz="1000" b="0" u="none" strike="sngStrike" kern="1200" noProof="0">
                        <a:solidFill>
                          <a:schemeClr val="bg2">
                            <a:lumMod val="10000"/>
                          </a:schemeClr>
                        </a:solidFill>
                        <a:effectLst/>
                        <a:latin typeface="Arial" panose="020B0604020202020204" pitchFamily="34" charset="0"/>
                        <a:cs typeface="Arial" panose="020B0604020202020204" pitchFamily="34" charset="0"/>
                      </a:endParaRPr>
                    </a:p>
                    <a:p>
                      <a:pPr marL="0" marR="0" algn="l">
                        <a:lnSpc>
                          <a:spcPct val="100000"/>
                        </a:lnSpc>
                        <a:spcBef>
                          <a:spcPts val="0"/>
                        </a:spcBef>
                        <a:spcAft>
                          <a:spcPts val="0"/>
                        </a:spcAft>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All faculty</a:t>
                      </a:r>
                    </a:p>
                  </a:txBody>
                  <a:tcPr anchor="ctr"/>
                </a:tc>
                <a:extLst>
                  <a:ext uri="{0D108BD9-81ED-4DB2-BD59-A6C34878D82A}">
                    <a16:rowId xmlns:a16="http://schemas.microsoft.com/office/drawing/2014/main" val="371514996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a:solidFill>
                            <a:schemeClr val="tx1"/>
                          </a:solidFill>
                          <a:effectLst/>
                          <a:latin typeface="Arial" panose="020B0604020202020204" pitchFamily="34" charset="0"/>
                          <a:cs typeface="Arial" panose="020B0604020202020204" pitchFamily="34" charset="0"/>
                        </a:rPr>
                        <a:t>19.55 – 20.00</a:t>
                      </a:r>
                    </a:p>
                  </a:txBody>
                  <a:tcPr anchor="ctr"/>
                </a:tc>
                <a:tc>
                  <a:txBody>
                    <a:bodyPr/>
                    <a:lstStyle/>
                    <a:p>
                      <a:pPr marL="0" marR="0">
                        <a:lnSpc>
                          <a:spcPct val="100000"/>
                        </a:lnSpc>
                        <a:spcBef>
                          <a:spcPts val="0"/>
                        </a:spcBef>
                        <a:spcAft>
                          <a:spcPts val="0"/>
                        </a:spcAft>
                      </a:pPr>
                      <a:r>
                        <a:rPr lang="en-US" sz="1000" b="1" u="none" kern="1200" noProof="0">
                          <a:solidFill>
                            <a:schemeClr val="bg2">
                              <a:lumMod val="10000"/>
                            </a:schemeClr>
                          </a:solidFill>
                          <a:effectLst/>
                          <a:latin typeface="Arial" panose="020B0604020202020204" pitchFamily="34" charset="0"/>
                          <a:cs typeface="Arial" panose="020B0604020202020204" pitchFamily="34" charset="0"/>
                        </a:rPr>
                        <a:t>Session Close</a:t>
                      </a:r>
                    </a:p>
                  </a:txBody>
                  <a:tcPr anchor="ctr"/>
                </a:tc>
                <a:tc>
                  <a:txBody>
                    <a:bodyPr/>
                    <a:lstStyle/>
                    <a:p>
                      <a:pPr marL="0" marR="0" algn="l">
                        <a:lnSpc>
                          <a:spcPct val="100000"/>
                        </a:lnSpc>
                        <a:spcBef>
                          <a:spcPts val="0"/>
                        </a:spcBef>
                        <a:spcAft>
                          <a:spcPts val="0"/>
                        </a:spcAft>
                      </a:pPr>
                      <a:r>
                        <a:rPr lang="en-US" sz="1000" b="0" u="none" kern="1200" noProof="0">
                          <a:solidFill>
                            <a:schemeClr val="bg2">
                              <a:lumMod val="10000"/>
                            </a:schemeClr>
                          </a:solidFill>
                          <a:effectLst/>
                          <a:latin typeface="Arial" panose="020B0604020202020204" pitchFamily="34" charset="0"/>
                          <a:cs typeface="Arial" panose="020B0604020202020204" pitchFamily="34" charset="0"/>
                        </a:rPr>
                        <a:t>Rafael Fonseca, MD</a:t>
                      </a:r>
                    </a:p>
                  </a:txBody>
                  <a:tcPr anchor="ctr"/>
                </a:tc>
                <a:extLst>
                  <a:ext uri="{0D108BD9-81ED-4DB2-BD59-A6C34878D82A}">
                    <a16:rowId xmlns:a16="http://schemas.microsoft.com/office/drawing/2014/main" val="3914838558"/>
                  </a:ext>
                </a:extLst>
              </a:tr>
            </a:tbl>
          </a:graphicData>
        </a:graphic>
      </p:graphicFrame>
    </p:spTree>
    <p:extLst>
      <p:ext uri="{BB962C8B-B14F-4D97-AF65-F5344CB8AC3E}">
        <p14:creationId xmlns:p14="http://schemas.microsoft.com/office/powerpoint/2010/main" val="36329764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646255" y="205979"/>
            <a:ext cx="8243746" cy="857250"/>
          </a:xfrm>
        </p:spPr>
        <p:txBody>
          <a:bodyPr/>
          <a:lstStyle/>
          <a:p>
            <a:r>
              <a:rPr lang="en-US" b="1" u="sng" noProof="0"/>
              <a:t>Do</a:t>
            </a:r>
            <a:r>
              <a:rPr lang="en-US" noProof="0"/>
              <a:t> you perform MRD and genetic testing in routine practice? </a:t>
            </a:r>
          </a:p>
        </p:txBody>
      </p:sp>
      <p:sp>
        <p:nvSpPr>
          <p:cNvPr id="3" name="Marcador de contenido 2"/>
          <p:cNvSpPr>
            <a:spLocks noGrp="1"/>
          </p:cNvSpPr>
          <p:nvPr>
            <p:ph idx="1"/>
          </p:nvPr>
        </p:nvSpPr>
        <p:spPr/>
        <p:txBody>
          <a:bodyPr vert="horz" lIns="91440" tIns="45720" rIns="91440" bIns="45720" rtlCol="0" anchor="t">
            <a:normAutofit/>
          </a:bodyPr>
          <a:lstStyle/>
          <a:p>
            <a:endParaRPr lang="en-US" noProof="0"/>
          </a:p>
          <a:p>
            <a:pPr marL="342900" indent="-342900">
              <a:lnSpc>
                <a:spcPct val="90000"/>
              </a:lnSpc>
              <a:spcBef>
                <a:spcPts val="600"/>
              </a:spcBef>
              <a:buClr>
                <a:schemeClr val="accent1"/>
              </a:buClr>
              <a:buFont typeface="+mj-lt"/>
              <a:buAutoNum type="arabicPeriod"/>
            </a:pPr>
            <a:r>
              <a:rPr lang="en-US" sz="2000" noProof="0">
                <a:solidFill>
                  <a:schemeClr val="tx1">
                    <a:lumMod val="85000"/>
                    <a:lumOff val="15000"/>
                  </a:schemeClr>
                </a:solidFill>
                <a:latin typeface="Arial"/>
                <a:cs typeface="Arial"/>
              </a:rPr>
              <a:t>Yes</a:t>
            </a:r>
          </a:p>
          <a:p>
            <a:pPr marL="342900" indent="-342900">
              <a:lnSpc>
                <a:spcPct val="90000"/>
              </a:lnSpc>
              <a:spcBef>
                <a:spcPts val="600"/>
              </a:spcBef>
              <a:buClr>
                <a:schemeClr val="accent1"/>
              </a:buClr>
              <a:buFont typeface="+mj-lt"/>
              <a:buAutoNum type="arabicPeriod"/>
            </a:pPr>
            <a:r>
              <a:rPr lang="en-US" sz="2000" noProof="0">
                <a:solidFill>
                  <a:schemeClr val="tx1">
                    <a:lumMod val="85000"/>
                    <a:lumOff val="15000"/>
                  </a:schemeClr>
                </a:solidFill>
                <a:latin typeface="Arial"/>
                <a:cs typeface="Arial"/>
              </a:rPr>
              <a:t>No</a:t>
            </a:r>
          </a:p>
        </p:txBody>
      </p:sp>
      <p:grpSp>
        <p:nvGrpSpPr>
          <p:cNvPr id="4" name="Group 3">
            <a:extLst>
              <a:ext uri="{FF2B5EF4-FFF2-40B4-BE49-F238E27FC236}">
                <a16:creationId xmlns:a16="http://schemas.microsoft.com/office/drawing/2014/main" id="{A7B4F080-079B-4E1E-A33F-C0A22EE869D6}"/>
              </a:ext>
            </a:extLst>
          </p:cNvPr>
          <p:cNvGrpSpPr/>
          <p:nvPr/>
        </p:nvGrpSpPr>
        <p:grpSpPr>
          <a:xfrm>
            <a:off x="52855" y="53355"/>
            <a:ext cx="720000" cy="720000"/>
            <a:chOff x="8151603" y="218984"/>
            <a:chExt cx="720000" cy="720000"/>
          </a:xfrm>
        </p:grpSpPr>
        <p:sp>
          <p:nvSpPr>
            <p:cNvPr id="5" name="Teardrop 4">
              <a:extLst>
                <a:ext uri="{FF2B5EF4-FFF2-40B4-BE49-F238E27FC236}">
                  <a16:creationId xmlns:a16="http://schemas.microsoft.com/office/drawing/2014/main" id="{634FE6A3-A62F-4134-AC78-0C7C6D7ED7A2}"/>
                </a:ext>
              </a:extLst>
            </p:cNvPr>
            <p:cNvSpPr/>
            <p:nvPr/>
          </p:nvSpPr>
          <p:spPr bwMode="auto">
            <a:xfrm rot="5400000">
              <a:off x="8151603" y="218984"/>
              <a:ext cx="720000" cy="720000"/>
            </a:xfrm>
            <a:prstGeom prst="teardrop">
              <a:avLst/>
            </a:prstGeom>
            <a:solidFill>
              <a:srgbClr val="00AAB8"/>
            </a:solidFill>
            <a:ln>
              <a:solidFill>
                <a:srgbClr val="00AAB8"/>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defRPr/>
              </a:pPr>
              <a:endParaRPr lang="en-NL" sz="2100" b="1">
                <a:solidFill>
                  <a:srgbClr val="FFFF00"/>
                </a:solidFill>
                <a:latin typeface="Arial" pitchFamily="34" charset="0"/>
              </a:endParaRPr>
            </a:p>
          </p:txBody>
        </p:sp>
        <p:sp>
          <p:nvSpPr>
            <p:cNvPr id="6" name="TextBox 5">
              <a:extLst>
                <a:ext uri="{FF2B5EF4-FFF2-40B4-BE49-F238E27FC236}">
                  <a16:creationId xmlns:a16="http://schemas.microsoft.com/office/drawing/2014/main" id="{3316C73E-637B-4A11-8D1B-B98EF997AD05}"/>
                </a:ext>
              </a:extLst>
            </p:cNvPr>
            <p:cNvSpPr txBox="1"/>
            <p:nvPr/>
          </p:nvSpPr>
          <p:spPr>
            <a:xfrm>
              <a:off x="8278208" y="240432"/>
              <a:ext cx="466795" cy="677108"/>
            </a:xfrm>
            <a:prstGeom prst="rect">
              <a:avLst/>
            </a:prstGeom>
            <a:noFill/>
            <a:ln>
              <a:noFill/>
            </a:ln>
          </p:spPr>
          <p:txBody>
            <a:bodyPr wrap="square" rtlCol="0" anchor="ctr">
              <a:spAutoFit/>
            </a:bodyPr>
            <a:lstStyle/>
            <a:p>
              <a:pPr algn="ctr" defTabSz="342900">
                <a:defRPr/>
              </a:pPr>
              <a:r>
                <a:rPr lang="en-US" sz="2700" b="1">
                  <a:solidFill>
                    <a:srgbClr val="FFFFFF"/>
                  </a:solidFill>
                  <a:latin typeface="Arial" panose="020B0604020202020204" pitchFamily="34" charset="0"/>
                  <a:cs typeface="Arial" panose="020B0604020202020204" pitchFamily="34" charset="0"/>
                </a:rPr>
                <a:t>?</a:t>
              </a:r>
              <a:endParaRPr lang="en-NL" sz="2700" b="1">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6191905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txBox="1">
            <a:spLocks/>
          </p:cNvSpPr>
          <p:nvPr/>
        </p:nvSpPr>
        <p:spPr>
          <a:xfrm>
            <a:off x="297782" y="2234574"/>
            <a:ext cx="8494295" cy="782946"/>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ctr" defTabSz="685783">
              <a:defRPr/>
            </a:pPr>
            <a:r>
              <a:rPr lang="en-US" i="1">
                <a:solidFill>
                  <a:srgbClr val="800000"/>
                </a:solidFill>
                <a:latin typeface="Arial" panose="020B0604020202020204" pitchFamily="34" charset="0"/>
                <a:cs typeface="Arial" panose="020B0604020202020204" pitchFamily="34" charset="0"/>
              </a:rPr>
              <a:t>Genetic Testing</a:t>
            </a:r>
          </a:p>
        </p:txBody>
      </p:sp>
    </p:spTree>
    <p:extLst>
      <p:ext uri="{BB962C8B-B14F-4D97-AF65-F5344CB8AC3E}">
        <p14:creationId xmlns:p14="http://schemas.microsoft.com/office/powerpoint/2010/main" val="6839538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ángulo 152">
            <a:extLst>
              <a:ext uri="{FF2B5EF4-FFF2-40B4-BE49-F238E27FC236}">
                <a16:creationId xmlns:a16="http://schemas.microsoft.com/office/drawing/2014/main" id="{A94D26F4-917E-4275-9D7C-571889C7AA9B}"/>
              </a:ext>
            </a:extLst>
          </p:cNvPr>
          <p:cNvSpPr>
            <a:spLocks noChangeArrowheads="1"/>
          </p:cNvSpPr>
          <p:nvPr/>
        </p:nvSpPr>
        <p:spPr bwMode="auto">
          <a:xfrm>
            <a:off x="6479898" y="4936080"/>
            <a:ext cx="266410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algn="r" defTabSz="685800">
              <a:buNone/>
              <a:defRPr/>
            </a:pPr>
            <a:r>
              <a:rPr lang="it-IT" sz="750">
                <a:solidFill>
                  <a:prstClr val="black"/>
                </a:solidFill>
                <a:latin typeface="Arial" panose="020B0604020202020204" pitchFamily="34" charset="0"/>
                <a:cs typeface="Arial" panose="020B0604020202020204" pitchFamily="34" charset="0"/>
              </a:rPr>
              <a:t>Palumbo A, et al. </a:t>
            </a:r>
            <a:r>
              <a:rPr lang="it-IT" sz="750" i="1">
                <a:solidFill>
                  <a:prstClr val="black"/>
                </a:solidFill>
                <a:latin typeface="Arial" panose="020B0604020202020204" pitchFamily="34" charset="0"/>
                <a:cs typeface="Arial" panose="020B0604020202020204" pitchFamily="34" charset="0"/>
              </a:rPr>
              <a:t>J Clin Oncol</a:t>
            </a:r>
            <a:r>
              <a:rPr lang="it-IT" sz="750">
                <a:solidFill>
                  <a:prstClr val="black"/>
                </a:solidFill>
                <a:latin typeface="Arial" panose="020B0604020202020204" pitchFamily="34" charset="0"/>
                <a:cs typeface="Arial" panose="020B0604020202020204" pitchFamily="34" charset="0"/>
              </a:rPr>
              <a:t>. 2015;33:2863-2869.</a:t>
            </a:r>
          </a:p>
        </p:txBody>
      </p:sp>
      <p:sp>
        <p:nvSpPr>
          <p:cNvPr id="45" name="Título 2"/>
          <p:cNvSpPr txBox="1">
            <a:spLocks/>
          </p:cNvSpPr>
          <p:nvPr/>
        </p:nvSpPr>
        <p:spPr>
          <a:xfrm>
            <a:off x="142843" y="92266"/>
            <a:ext cx="9001157"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r>
              <a:rPr lang="en-US" sz="2100">
                <a:latin typeface="Arial" panose="020B0604020202020204" pitchFamily="34" charset="0"/>
                <a:cs typeface="Arial" panose="020B0604020202020204" pitchFamily="34" charset="0"/>
              </a:rPr>
              <a:t>The Revised International Staging System</a:t>
            </a:r>
          </a:p>
          <a:p>
            <a:pPr defTabSz="685800"/>
            <a:r>
              <a:rPr lang="en-US" sz="2100">
                <a:latin typeface="Arial" panose="020B0604020202020204" pitchFamily="34" charset="0"/>
                <a:cs typeface="Arial" panose="020B0604020202020204" pitchFamily="34" charset="0"/>
              </a:rPr>
              <a:t> </a:t>
            </a:r>
          </a:p>
        </p:txBody>
      </p:sp>
      <p:sp>
        <p:nvSpPr>
          <p:cNvPr id="6"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t(4;14), t(14;16), and/or del(17p)</a:t>
            </a:r>
          </a:p>
        </p:txBody>
      </p:sp>
      <p:pic>
        <p:nvPicPr>
          <p:cNvPr id="8" name="Picture 3"/>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145320" y="936024"/>
            <a:ext cx="4553192" cy="411451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6984708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7062981" y="4936228"/>
            <a:ext cx="2081019" cy="207749"/>
          </a:xfrm>
          <a:prstGeom prst="rect">
            <a:avLst/>
          </a:prstGeom>
        </p:spPr>
        <p:txBody>
          <a:bodyPr wrap="none">
            <a:spAutoFit/>
          </a:bodyPr>
          <a:lstStyle/>
          <a:p>
            <a:pPr algn="r" defTabSz="685800">
              <a:defRPr/>
            </a:pPr>
            <a:r>
              <a:rPr lang="it-IT" sz="750">
                <a:solidFill>
                  <a:srgbClr val="000000"/>
                </a:solidFill>
                <a:latin typeface="arial" panose="020B0604020202020204" pitchFamily="34" charset="0"/>
                <a:ea typeface="ＭＳ Ｐゴシック"/>
              </a:rPr>
              <a:t>Walker B, et al. </a:t>
            </a:r>
            <a:r>
              <a:rPr lang="it-IT" sz="750" i="1">
                <a:solidFill>
                  <a:srgbClr val="000000"/>
                </a:solidFill>
                <a:latin typeface="arial" panose="020B0604020202020204" pitchFamily="34" charset="0"/>
                <a:ea typeface="ＭＳ Ｐゴシック"/>
              </a:rPr>
              <a:t>Leukemia</a:t>
            </a:r>
            <a:r>
              <a:rPr lang="it-IT" sz="750">
                <a:solidFill>
                  <a:srgbClr val="000000"/>
                </a:solidFill>
                <a:latin typeface="arial" panose="020B0604020202020204" pitchFamily="34" charset="0"/>
                <a:ea typeface="ＭＳ Ｐゴシック"/>
              </a:rPr>
              <a:t>. 2019;33:159-170.</a:t>
            </a:r>
            <a:endParaRPr lang="en-US" sz="750">
              <a:solidFill>
                <a:prstClr val="black"/>
              </a:solidFill>
              <a:latin typeface="Calibri" panose="020F0502020204030204"/>
              <a:ea typeface="ＭＳ Ｐゴシック"/>
            </a:endParaRPr>
          </a:p>
        </p:txBody>
      </p:sp>
      <p:sp>
        <p:nvSpPr>
          <p:cNvPr id="7" name="Título 2"/>
          <p:cNvSpPr txBox="1">
            <a:spLocks/>
          </p:cNvSpPr>
          <p:nvPr/>
        </p:nvSpPr>
        <p:spPr>
          <a:xfrm>
            <a:off x="142844" y="92266"/>
            <a:ext cx="8587618"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solidFill>
                  <a:srgbClr val="800000"/>
                </a:solidFill>
                <a:latin typeface="Arial" panose="020B0604020202020204" pitchFamily="34" charset="0"/>
                <a:ea typeface="ＭＳ Ｐゴシック"/>
                <a:cs typeface="Arial" panose="020B0604020202020204" pitchFamily="34" charset="0"/>
              </a:rPr>
              <a:t>A High-Risk, Double-Hit Group Identified by Genomic Analysis</a:t>
            </a:r>
          </a:p>
        </p:txBody>
      </p:sp>
      <p:sp>
        <p:nvSpPr>
          <p:cNvPr id="8"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ea typeface="ＭＳ Ｐゴシック"/>
              </a:rPr>
              <a:t>Dire prognosis despite modern therapies</a:t>
            </a:r>
            <a:endParaRPr lang="es-ES" sz="1800" b="1">
              <a:solidFill>
                <a:prstClr val="black">
                  <a:lumMod val="65000"/>
                  <a:lumOff val="35000"/>
                </a:prstClr>
              </a:solidFill>
              <a:ea typeface="ＭＳ Ｐゴシック"/>
            </a:endParaRPr>
          </a:p>
        </p:txBody>
      </p:sp>
      <p:pic>
        <p:nvPicPr>
          <p:cNvPr id="5" name="Picture 4" descr="Chart&#10;&#10;Description automatically generated">
            <a:extLst>
              <a:ext uri="{FF2B5EF4-FFF2-40B4-BE49-F238E27FC236}">
                <a16:creationId xmlns:a16="http://schemas.microsoft.com/office/drawing/2014/main" id="{4519DF5C-E883-42B4-85D0-34A0C78FB30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1313"/>
          <a:stretch/>
        </p:blipFill>
        <p:spPr>
          <a:xfrm>
            <a:off x="390747" y="967955"/>
            <a:ext cx="4045906" cy="3997769"/>
          </a:xfrm>
          <a:prstGeom prst="rect">
            <a:avLst/>
          </a:prstGeom>
        </p:spPr>
      </p:pic>
      <p:grpSp>
        <p:nvGrpSpPr>
          <p:cNvPr id="10" name="Group 9">
            <a:extLst>
              <a:ext uri="{FF2B5EF4-FFF2-40B4-BE49-F238E27FC236}">
                <a16:creationId xmlns:a16="http://schemas.microsoft.com/office/drawing/2014/main" id="{98AAB16F-1FC0-458B-8331-E0E9093A8D92}"/>
              </a:ext>
            </a:extLst>
          </p:cNvPr>
          <p:cNvGrpSpPr/>
          <p:nvPr/>
        </p:nvGrpSpPr>
        <p:grpSpPr>
          <a:xfrm>
            <a:off x="4246405" y="1115748"/>
            <a:ext cx="4683314" cy="3311032"/>
            <a:chOff x="5661873" y="1771328"/>
            <a:chExt cx="5978742" cy="4131045"/>
          </a:xfrm>
        </p:grpSpPr>
        <p:pic>
          <p:nvPicPr>
            <p:cNvPr id="9" name="Picture 8">
              <a:extLst>
                <a:ext uri="{FF2B5EF4-FFF2-40B4-BE49-F238E27FC236}">
                  <a16:creationId xmlns:a16="http://schemas.microsoft.com/office/drawing/2014/main" id="{7C3DAE0B-46BF-4A70-9FF2-5C3A26013CF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61873" y="1771328"/>
              <a:ext cx="5978742" cy="4131045"/>
            </a:xfrm>
            <a:prstGeom prst="rect">
              <a:avLst/>
            </a:prstGeom>
          </p:spPr>
        </p:pic>
        <p:sp>
          <p:nvSpPr>
            <p:cNvPr id="2" name="Rectangle 1">
              <a:extLst>
                <a:ext uri="{FF2B5EF4-FFF2-40B4-BE49-F238E27FC236}">
                  <a16:creationId xmlns:a16="http://schemas.microsoft.com/office/drawing/2014/main" id="{6D9F3830-3CFD-4AC1-8440-B84CC20168F1}"/>
                </a:ext>
              </a:extLst>
            </p:cNvPr>
            <p:cNvSpPr/>
            <p:nvPr/>
          </p:nvSpPr>
          <p:spPr bwMode="auto">
            <a:xfrm>
              <a:off x="5661873" y="1837509"/>
              <a:ext cx="320916" cy="31350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fontAlgn="base">
                <a:spcBef>
                  <a:spcPct val="0"/>
                </a:spcBef>
                <a:spcAft>
                  <a:spcPct val="0"/>
                </a:spcAft>
              </a:pPr>
              <a:endParaRPr lang="en-NL" sz="225" b="1">
                <a:solidFill>
                  <a:srgbClr val="000000"/>
                </a:solidFill>
                <a:latin typeface="Arial" charset="0"/>
                <a:ea typeface="ＭＳ Ｐゴシック" charset="0"/>
              </a:endParaRPr>
            </a:p>
          </p:txBody>
        </p:sp>
      </p:grpSp>
    </p:spTree>
    <p:extLst>
      <p:ext uri="{BB962C8B-B14F-4D97-AF65-F5344CB8AC3E}">
        <p14:creationId xmlns:p14="http://schemas.microsoft.com/office/powerpoint/2010/main" val="32615686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ángulo 152">
            <a:extLst>
              <a:ext uri="{FF2B5EF4-FFF2-40B4-BE49-F238E27FC236}">
                <a16:creationId xmlns:a16="http://schemas.microsoft.com/office/drawing/2014/main" id="{A94D26F4-917E-4275-9D7C-571889C7AA9B}"/>
              </a:ext>
            </a:extLst>
          </p:cNvPr>
          <p:cNvSpPr>
            <a:spLocks noChangeArrowheads="1"/>
          </p:cNvSpPr>
          <p:nvPr/>
        </p:nvSpPr>
        <p:spPr bwMode="auto">
          <a:xfrm>
            <a:off x="6479898" y="4936080"/>
            <a:ext cx="266410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algn="r" defTabSz="685800">
              <a:buNone/>
              <a:defRPr/>
            </a:pPr>
            <a:r>
              <a:rPr lang="it-IT" sz="750">
                <a:solidFill>
                  <a:prstClr val="black"/>
                </a:solidFill>
                <a:latin typeface="Arial" panose="020B0604020202020204" pitchFamily="34" charset="0"/>
                <a:cs typeface="Arial" panose="020B0604020202020204" pitchFamily="34" charset="0"/>
              </a:rPr>
              <a:t>Perrot A, et al. </a:t>
            </a:r>
            <a:r>
              <a:rPr lang="it-IT" sz="750" i="1">
                <a:solidFill>
                  <a:prstClr val="black"/>
                </a:solidFill>
                <a:latin typeface="Arial" panose="020B0604020202020204" pitchFamily="34" charset="0"/>
                <a:cs typeface="Arial" panose="020B0604020202020204" pitchFamily="34" charset="0"/>
              </a:rPr>
              <a:t>J Clin Oncol</a:t>
            </a:r>
            <a:r>
              <a:rPr lang="it-IT" sz="750">
                <a:solidFill>
                  <a:prstClr val="black"/>
                </a:solidFill>
                <a:latin typeface="Arial" panose="020B0604020202020204" pitchFamily="34" charset="0"/>
                <a:cs typeface="Arial" panose="020B0604020202020204" pitchFamily="34" charset="0"/>
              </a:rPr>
              <a:t>. 2019;37:1657-1665.</a:t>
            </a:r>
          </a:p>
        </p:txBody>
      </p:sp>
      <p:sp>
        <p:nvSpPr>
          <p:cNvPr id="45" name="Título 2"/>
          <p:cNvSpPr txBox="1">
            <a:spLocks/>
          </p:cNvSpPr>
          <p:nvPr/>
        </p:nvSpPr>
        <p:spPr>
          <a:xfrm>
            <a:off x="142843" y="92266"/>
            <a:ext cx="9001157"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r>
              <a:rPr lang="en-US" sz="2100">
                <a:latin typeface="Arial" panose="020B0604020202020204" pitchFamily="34" charset="0"/>
                <a:cs typeface="Arial" panose="020B0604020202020204" pitchFamily="34" charset="0"/>
              </a:rPr>
              <a:t>Cytogenetic Prognostic Index </a:t>
            </a:r>
          </a:p>
        </p:txBody>
      </p:sp>
      <p:sp>
        <p:nvSpPr>
          <p:cNvPr id="6"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Del(17p), t(4;14), del(1p32), 1q21 gain, and trisomies 3, 5, and 21</a:t>
            </a:r>
          </a:p>
        </p:txBody>
      </p:sp>
      <p:pic>
        <p:nvPicPr>
          <p:cNvPr id="2050" name="Picture 2" descr="https://ascopubs.org/na101/home/literatum/publisher/asco/journals/content/jco/2019/jco.2019.37.issue-19/jco.18.00776/20190617/images/large/jco.18.00776f1.jpe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239866" y="966625"/>
            <a:ext cx="5737750" cy="393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03616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6994052" y="4936228"/>
            <a:ext cx="2149948" cy="207749"/>
          </a:xfrm>
          <a:prstGeom prst="rect">
            <a:avLst/>
          </a:prstGeom>
        </p:spPr>
        <p:txBody>
          <a:bodyPr wrap="none">
            <a:spAutoFit/>
          </a:bodyPr>
          <a:lstStyle/>
          <a:p>
            <a:pPr algn="r" defTabSz="685800">
              <a:defRPr/>
            </a:pPr>
            <a:r>
              <a:rPr lang="it-IT" sz="750">
                <a:solidFill>
                  <a:srgbClr val="000000"/>
                </a:solidFill>
                <a:latin typeface="arial" panose="020B0604020202020204" pitchFamily="34" charset="0"/>
                <a:ea typeface="ＭＳ Ｐゴシック"/>
              </a:rPr>
              <a:t>Thakurta A, et al. </a:t>
            </a:r>
            <a:r>
              <a:rPr lang="es-ES" sz="750" i="1">
                <a:solidFill>
                  <a:srgbClr val="000000"/>
                </a:solidFill>
                <a:latin typeface="arial" panose="020B0604020202020204" pitchFamily="34" charset="0"/>
                <a:ea typeface="ＭＳ Ｐゴシック"/>
              </a:rPr>
              <a:t>Blood</a:t>
            </a:r>
            <a:r>
              <a:rPr lang="es-ES" sz="750">
                <a:solidFill>
                  <a:srgbClr val="000000"/>
                </a:solidFill>
                <a:latin typeface="arial" panose="020B0604020202020204" pitchFamily="34" charset="0"/>
                <a:ea typeface="ＭＳ Ｐゴシック"/>
              </a:rPr>
              <a:t>. 2019;133:1217-1221.</a:t>
            </a:r>
            <a:endParaRPr lang="en-US" sz="750">
              <a:solidFill>
                <a:prstClr val="black"/>
              </a:solidFill>
              <a:latin typeface="Calibri" panose="020F0502020204030204"/>
              <a:ea typeface="ＭＳ Ｐゴシック"/>
            </a:endParaRPr>
          </a:p>
        </p:txBody>
      </p:sp>
      <p:sp>
        <p:nvSpPr>
          <p:cNvPr id="7" name="Título 2"/>
          <p:cNvSpPr txBox="1">
            <a:spLocks/>
          </p:cNvSpPr>
          <p:nvPr/>
        </p:nvSpPr>
        <p:spPr>
          <a:xfrm>
            <a:off x="142843" y="92266"/>
            <a:ext cx="9146630"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solidFill>
                  <a:srgbClr val="800000"/>
                </a:solidFill>
                <a:latin typeface="Arial" panose="020B0604020202020204" pitchFamily="34" charset="0"/>
                <a:ea typeface="ＭＳ Ｐゴシック"/>
                <a:cs typeface="Arial" panose="020B0604020202020204" pitchFamily="34" charset="0"/>
              </a:rPr>
              <a:t>High Subclonality of 17p Deletion Is Associated With Poor Prognosis</a:t>
            </a:r>
          </a:p>
        </p:txBody>
      </p:sp>
      <p:sp>
        <p:nvSpPr>
          <p:cNvPr id="8"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ea typeface="ＭＳ Ｐゴシック"/>
              </a:rPr>
              <a:t>Added value of analyzing CNA and mutations of </a:t>
            </a:r>
            <a:r>
              <a:rPr lang="en-US" sz="1800" b="1" i="1">
                <a:solidFill>
                  <a:prstClr val="black">
                    <a:lumMod val="65000"/>
                    <a:lumOff val="35000"/>
                  </a:prstClr>
                </a:solidFill>
                <a:ea typeface="ＭＳ Ｐゴシック"/>
              </a:rPr>
              <a:t>TP53</a:t>
            </a:r>
            <a:r>
              <a:rPr lang="en-US" sz="1800" b="1">
                <a:solidFill>
                  <a:prstClr val="black">
                    <a:lumMod val="65000"/>
                    <a:lumOff val="35000"/>
                  </a:prstClr>
                </a:solidFill>
                <a:ea typeface="ＭＳ Ｐゴシック"/>
              </a:rPr>
              <a:t> </a:t>
            </a:r>
          </a:p>
        </p:txBody>
      </p:sp>
      <p:pic>
        <p:nvPicPr>
          <p:cNvPr id="11" name="Imagen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37546" y="948108"/>
            <a:ext cx="5651712" cy="3859059"/>
          </a:xfrm>
          <a:prstGeom prst="rect">
            <a:avLst/>
          </a:prstGeom>
        </p:spPr>
      </p:pic>
    </p:spTree>
    <p:extLst>
      <p:ext uri="{BB962C8B-B14F-4D97-AF65-F5344CB8AC3E}">
        <p14:creationId xmlns:p14="http://schemas.microsoft.com/office/powerpoint/2010/main" val="2234596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22"/>
          <p:cNvGrpSpPr/>
          <p:nvPr/>
        </p:nvGrpSpPr>
        <p:grpSpPr>
          <a:xfrm>
            <a:off x="57742" y="1573611"/>
            <a:ext cx="9018776" cy="2680951"/>
            <a:chOff x="-57826" y="1608574"/>
            <a:chExt cx="12025035" cy="3574601"/>
          </a:xfrm>
        </p:grpSpPr>
        <p:graphicFrame>
          <p:nvGraphicFramePr>
            <p:cNvPr id="3" name="Objet 2"/>
            <p:cNvGraphicFramePr>
              <a:graphicFrameLocks noChangeAspect="1"/>
            </p:cNvGraphicFramePr>
            <p:nvPr/>
          </p:nvGraphicFramePr>
          <p:xfrm>
            <a:off x="-57826" y="2341613"/>
            <a:ext cx="3708082" cy="2841562"/>
          </p:xfrm>
          <a:graphic>
            <a:graphicData uri="http://schemas.openxmlformats.org/presentationml/2006/ole">
              <mc:AlternateContent xmlns:mc="http://schemas.openxmlformats.org/markup-compatibility/2006">
                <mc:Choice xmlns:v="urn:schemas-microsoft-com:vml" Requires="v">
                  <p:oleObj name="Acrobat Document" r:id="rId2" imgW="4524186" imgH="3467070" progId="AcroExch.Document.11">
                    <p:embed/>
                  </p:oleObj>
                </mc:Choice>
                <mc:Fallback>
                  <p:oleObj name="Acrobat Document" r:id="rId2" imgW="4524186" imgH="3467070" progId="AcroExch.Document.11">
                    <p:embed/>
                    <p:pic>
                      <p:nvPicPr>
                        <p:cNvPr id="3" name="Objet 2"/>
                        <p:cNvPicPr/>
                        <p:nvPr/>
                      </p:nvPicPr>
                      <p:blipFill>
                        <a:blip r:embed="rId3"/>
                        <a:stretch>
                          <a:fillRect/>
                        </a:stretch>
                      </p:blipFill>
                      <p:spPr>
                        <a:xfrm>
                          <a:off x="-57826" y="2341613"/>
                          <a:ext cx="3708082" cy="2841562"/>
                        </a:xfrm>
                        <a:prstGeom prst="rect">
                          <a:avLst/>
                        </a:prstGeom>
                      </p:spPr>
                    </p:pic>
                  </p:oleObj>
                </mc:Fallback>
              </mc:AlternateContent>
            </a:graphicData>
          </a:graphic>
        </p:graphicFrame>
        <p:graphicFrame>
          <p:nvGraphicFramePr>
            <p:cNvPr id="4" name="Objet 3"/>
            <p:cNvGraphicFramePr>
              <a:graphicFrameLocks noChangeAspect="1"/>
            </p:cNvGraphicFramePr>
            <p:nvPr/>
          </p:nvGraphicFramePr>
          <p:xfrm>
            <a:off x="3504881" y="2300466"/>
            <a:ext cx="4161967" cy="2882709"/>
          </p:xfrm>
          <a:graphic>
            <a:graphicData uri="http://schemas.openxmlformats.org/presentationml/2006/ole">
              <mc:AlternateContent xmlns:mc="http://schemas.openxmlformats.org/markup-compatibility/2006">
                <mc:Choice xmlns:v="urn:schemas-microsoft-com:vml" Requires="v">
                  <p:oleObj name="Acrobat Document" r:id="rId4" imgW="4524186" imgH="3133620" progId="AcroExch.Document.11">
                    <p:embed/>
                  </p:oleObj>
                </mc:Choice>
                <mc:Fallback>
                  <p:oleObj name="Acrobat Document" r:id="rId4" imgW="4524186" imgH="3133620" progId="AcroExch.Document.11">
                    <p:embed/>
                    <p:pic>
                      <p:nvPicPr>
                        <p:cNvPr id="4" name="Objet 3"/>
                        <p:cNvPicPr/>
                        <p:nvPr/>
                      </p:nvPicPr>
                      <p:blipFill>
                        <a:blip r:embed="rId5"/>
                        <a:stretch>
                          <a:fillRect/>
                        </a:stretch>
                      </p:blipFill>
                      <p:spPr>
                        <a:xfrm>
                          <a:off x="3504881" y="2300466"/>
                          <a:ext cx="4161967" cy="2882709"/>
                        </a:xfrm>
                        <a:prstGeom prst="rect">
                          <a:avLst/>
                        </a:prstGeom>
                      </p:spPr>
                    </p:pic>
                  </p:oleObj>
                </mc:Fallback>
              </mc:AlternateContent>
            </a:graphicData>
          </a:graphic>
        </p:graphicFrame>
        <p:sp>
          <p:nvSpPr>
            <p:cNvPr id="5" name="Flèche vers le bas 4"/>
            <p:cNvSpPr/>
            <p:nvPr/>
          </p:nvSpPr>
          <p:spPr>
            <a:xfrm>
              <a:off x="363421" y="2274571"/>
              <a:ext cx="197416" cy="327494"/>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sz="1200">
                <a:solidFill>
                  <a:prstClr val="white"/>
                </a:solidFill>
                <a:latin typeface="Arial" panose="020B0604020202020204" pitchFamily="34" charset="0"/>
                <a:cs typeface="Arial" panose="020B0604020202020204" pitchFamily="34" charset="0"/>
              </a:endParaRPr>
            </a:p>
          </p:txBody>
        </p:sp>
        <p:pic>
          <p:nvPicPr>
            <p:cNvPr id="6" name="Picture 2"/>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972842" y="2499074"/>
              <a:ext cx="3994367" cy="25698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ZoneTexte 11"/>
            <p:cNvSpPr txBox="1"/>
            <p:nvPr/>
          </p:nvSpPr>
          <p:spPr>
            <a:xfrm>
              <a:off x="1043607" y="1608574"/>
              <a:ext cx="9924084" cy="430887"/>
            </a:xfrm>
            <a:prstGeom prst="rect">
              <a:avLst/>
            </a:prstGeom>
            <a:noFill/>
          </p:spPr>
          <p:txBody>
            <a:bodyPr wrap="none" rtlCol="0">
              <a:spAutoFit/>
            </a:bodyPr>
            <a:lstStyle/>
            <a:p>
              <a:pPr defTabSz="685800"/>
              <a:r>
                <a:rPr lang="fr-FR" sz="1500">
                  <a:solidFill>
                    <a:prstClr val="black"/>
                  </a:solidFill>
                  <a:latin typeface="Arial" panose="020B0604020202020204" pitchFamily="34" charset="0"/>
                  <a:cs typeface="Arial" panose="020B0604020202020204" pitchFamily="34" charset="0"/>
                </a:rPr>
                <a:t>Diagnosis		           Post-induction		        		      Relapse</a:t>
              </a:r>
            </a:p>
          </p:txBody>
        </p:sp>
        <p:sp>
          <p:nvSpPr>
            <p:cNvPr id="8" name="Flèche vers le bas 12"/>
            <p:cNvSpPr/>
            <p:nvPr/>
          </p:nvSpPr>
          <p:spPr>
            <a:xfrm>
              <a:off x="3956251" y="2266951"/>
              <a:ext cx="197416" cy="327494"/>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sz="1200">
                <a:solidFill>
                  <a:prstClr val="white"/>
                </a:solidFill>
                <a:latin typeface="Arial" panose="020B0604020202020204" pitchFamily="34" charset="0"/>
                <a:cs typeface="Arial" panose="020B0604020202020204" pitchFamily="34" charset="0"/>
              </a:endParaRPr>
            </a:p>
          </p:txBody>
        </p:sp>
        <p:sp>
          <p:nvSpPr>
            <p:cNvPr id="9" name="Flèche vers le bas 13"/>
            <p:cNvSpPr/>
            <p:nvPr/>
          </p:nvSpPr>
          <p:spPr>
            <a:xfrm>
              <a:off x="8726371" y="2259331"/>
              <a:ext cx="197416" cy="327494"/>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sz="1200">
                <a:solidFill>
                  <a:prstClr val="white"/>
                </a:solidFill>
                <a:latin typeface="Arial" panose="020B0604020202020204" pitchFamily="34" charset="0"/>
                <a:cs typeface="Arial" panose="020B0604020202020204" pitchFamily="34" charset="0"/>
              </a:endParaRPr>
            </a:p>
          </p:txBody>
        </p:sp>
        <p:sp>
          <p:nvSpPr>
            <p:cNvPr id="10" name="ZoneTexte 14"/>
            <p:cNvSpPr txBox="1"/>
            <p:nvPr/>
          </p:nvSpPr>
          <p:spPr>
            <a:xfrm>
              <a:off x="194959" y="1960365"/>
              <a:ext cx="654453" cy="369332"/>
            </a:xfrm>
            <a:prstGeom prst="rect">
              <a:avLst/>
            </a:prstGeom>
            <a:noFill/>
          </p:spPr>
          <p:txBody>
            <a:bodyPr wrap="none" rtlCol="0">
              <a:spAutoFit/>
            </a:bodyPr>
            <a:lstStyle/>
            <a:p>
              <a:pPr defTabSz="685800"/>
              <a:r>
                <a:rPr lang="fr-FR" sz="1200">
                  <a:solidFill>
                    <a:srgbClr val="FF0000"/>
                  </a:solidFill>
                  <a:latin typeface="Arial" panose="020B0604020202020204" pitchFamily="34" charset="0"/>
                  <a:cs typeface="Arial" panose="020B0604020202020204" pitchFamily="34" charset="0"/>
                </a:rPr>
                <a:t>16%</a:t>
              </a:r>
            </a:p>
          </p:txBody>
        </p:sp>
        <p:sp>
          <p:nvSpPr>
            <p:cNvPr id="11" name="ZoneTexte 15"/>
            <p:cNvSpPr txBox="1"/>
            <p:nvPr/>
          </p:nvSpPr>
          <p:spPr>
            <a:xfrm>
              <a:off x="3833510" y="1964175"/>
              <a:ext cx="654453" cy="369332"/>
            </a:xfrm>
            <a:prstGeom prst="rect">
              <a:avLst/>
            </a:prstGeom>
            <a:noFill/>
          </p:spPr>
          <p:txBody>
            <a:bodyPr wrap="none" rtlCol="0">
              <a:spAutoFit/>
            </a:bodyPr>
            <a:lstStyle/>
            <a:p>
              <a:pPr defTabSz="685800"/>
              <a:r>
                <a:rPr lang="fr-FR" sz="1200">
                  <a:solidFill>
                    <a:srgbClr val="FF0000"/>
                  </a:solidFill>
                  <a:latin typeface="Arial" panose="020B0604020202020204" pitchFamily="34" charset="0"/>
                  <a:cs typeface="Arial" panose="020B0604020202020204" pitchFamily="34" charset="0"/>
                </a:rPr>
                <a:t>70%</a:t>
              </a:r>
            </a:p>
          </p:txBody>
        </p:sp>
        <p:sp>
          <p:nvSpPr>
            <p:cNvPr id="12" name="ZoneTexte 16"/>
            <p:cNvSpPr txBox="1"/>
            <p:nvPr/>
          </p:nvSpPr>
          <p:spPr>
            <a:xfrm>
              <a:off x="8535050" y="1967985"/>
              <a:ext cx="654453" cy="369332"/>
            </a:xfrm>
            <a:prstGeom prst="rect">
              <a:avLst/>
            </a:prstGeom>
            <a:noFill/>
          </p:spPr>
          <p:txBody>
            <a:bodyPr wrap="none" rtlCol="0">
              <a:spAutoFit/>
            </a:bodyPr>
            <a:lstStyle/>
            <a:p>
              <a:pPr defTabSz="685800"/>
              <a:r>
                <a:rPr lang="fr-FR" sz="1200">
                  <a:solidFill>
                    <a:srgbClr val="FF0000"/>
                  </a:solidFill>
                  <a:latin typeface="Arial" panose="020B0604020202020204" pitchFamily="34" charset="0"/>
                  <a:cs typeface="Arial" panose="020B0604020202020204" pitchFamily="34" charset="0"/>
                </a:rPr>
                <a:t>92%</a:t>
              </a:r>
            </a:p>
          </p:txBody>
        </p:sp>
        <p:sp>
          <p:nvSpPr>
            <p:cNvPr id="13" name="Rectangle 21"/>
            <p:cNvSpPr/>
            <p:nvPr/>
          </p:nvSpPr>
          <p:spPr>
            <a:xfrm>
              <a:off x="8127999" y="2499074"/>
              <a:ext cx="450593" cy="26841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sz="1200">
                <a:solidFill>
                  <a:prstClr val="white"/>
                </a:solidFill>
                <a:latin typeface="Arial" panose="020B0604020202020204" pitchFamily="34" charset="0"/>
                <a:cs typeface="Arial" panose="020B0604020202020204" pitchFamily="34" charset="0"/>
              </a:endParaRPr>
            </a:p>
          </p:txBody>
        </p:sp>
      </p:grpSp>
      <p:sp>
        <p:nvSpPr>
          <p:cNvPr id="14" name="Título 2"/>
          <p:cNvSpPr txBox="1">
            <a:spLocks/>
          </p:cNvSpPr>
          <p:nvPr/>
        </p:nvSpPr>
        <p:spPr>
          <a:xfrm>
            <a:off x="142843" y="92266"/>
            <a:ext cx="9001157"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r>
              <a:rPr lang="en-US" sz="2100">
                <a:latin typeface="Arial" panose="020B0604020202020204" pitchFamily="34" charset="0"/>
                <a:cs typeface="Arial" panose="020B0604020202020204" pitchFamily="34" charset="0"/>
              </a:rPr>
              <a:t>High-Risk Abnormalities Present in Tiny Subclones at Diagnosis</a:t>
            </a:r>
          </a:p>
          <a:p>
            <a:pPr defTabSz="685800"/>
            <a:r>
              <a:rPr lang="en-US" sz="2100">
                <a:latin typeface="Arial" panose="020B0604020202020204" pitchFamily="34" charset="0"/>
                <a:cs typeface="Arial" panose="020B0604020202020204" pitchFamily="34" charset="0"/>
              </a:rPr>
              <a:t> </a:t>
            </a:r>
          </a:p>
        </p:txBody>
      </p:sp>
      <p:sp>
        <p:nvSpPr>
          <p:cNvPr id="15"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Reinforce treatment to prevent expansion of these aggressive subclones?</a:t>
            </a:r>
          </a:p>
        </p:txBody>
      </p:sp>
      <p:sp>
        <p:nvSpPr>
          <p:cNvPr id="16" name="Rectángulo 152">
            <a:extLst>
              <a:ext uri="{FF2B5EF4-FFF2-40B4-BE49-F238E27FC236}">
                <a16:creationId xmlns:a16="http://schemas.microsoft.com/office/drawing/2014/main" id="{A94D26F4-917E-4275-9D7C-571889C7AA9B}"/>
              </a:ext>
            </a:extLst>
          </p:cNvPr>
          <p:cNvSpPr>
            <a:spLocks noChangeArrowheads="1"/>
          </p:cNvSpPr>
          <p:nvPr/>
        </p:nvSpPr>
        <p:spPr bwMode="auto">
          <a:xfrm>
            <a:off x="5983255" y="4936080"/>
            <a:ext cx="3160745"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algn="r" defTabSz="685800">
              <a:buNone/>
              <a:defRPr/>
            </a:pPr>
            <a:r>
              <a:rPr lang="it-IT" sz="750">
                <a:solidFill>
                  <a:prstClr val="black"/>
                </a:solidFill>
                <a:latin typeface="Arial" panose="020B0604020202020204" pitchFamily="34" charset="0"/>
                <a:cs typeface="Arial" panose="020B0604020202020204" pitchFamily="34" charset="0"/>
              </a:rPr>
              <a:t>Avet-Loiseau H, et al. </a:t>
            </a:r>
            <a:r>
              <a:rPr lang="en-US" sz="750" i="1">
                <a:solidFill>
                  <a:prstClr val="black"/>
                </a:solidFill>
                <a:latin typeface="Arial" panose="020B0604020202020204" pitchFamily="34" charset="0"/>
                <a:cs typeface="Arial" panose="020B0604020202020204" pitchFamily="34" charset="0"/>
              </a:rPr>
              <a:t>Blood. </a:t>
            </a:r>
            <a:r>
              <a:rPr lang="en-US" sz="750">
                <a:solidFill>
                  <a:prstClr val="black"/>
                </a:solidFill>
                <a:latin typeface="Arial" panose="020B0604020202020204" pitchFamily="34" charset="0"/>
                <a:cs typeface="Arial" panose="020B0604020202020204" pitchFamily="34" charset="0"/>
              </a:rPr>
              <a:t>2021;138(suppl 1): abstract 77.</a:t>
            </a:r>
            <a:endParaRPr lang="it-IT" sz="75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720994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Supplemental_Figure_6"/>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934365" y="1488283"/>
            <a:ext cx="3331369" cy="2415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Supplemental_Figure_6"/>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838151" y="1488283"/>
            <a:ext cx="3331369" cy="247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ítulo 2"/>
          <p:cNvSpPr txBox="1">
            <a:spLocks/>
          </p:cNvSpPr>
          <p:nvPr/>
        </p:nvSpPr>
        <p:spPr>
          <a:xfrm>
            <a:off x="142844" y="92266"/>
            <a:ext cx="8640671"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solidFill>
                  <a:srgbClr val="800000"/>
                </a:solidFill>
                <a:latin typeface="Arial" panose="020B0604020202020204" pitchFamily="34" charset="0"/>
                <a:cs typeface="Arial" panose="020B0604020202020204" pitchFamily="34" charset="0"/>
              </a:rPr>
              <a:t>Volatility in Potentially Actionable Mutations</a:t>
            </a:r>
          </a:p>
        </p:txBody>
      </p:sp>
      <p:sp>
        <p:nvSpPr>
          <p:cNvPr id="7" name="Marcador de texto 3"/>
          <p:cNvSpPr txBox="1">
            <a:spLocks/>
          </p:cNvSpPr>
          <p:nvPr/>
        </p:nvSpPr>
        <p:spPr>
          <a:xfrm>
            <a:off x="142844" y="467298"/>
            <a:ext cx="8786874" cy="578987"/>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Targeted therapies for MRD-positive patients may require reassessment of genetic alterations in sorted chemo-resistant tumor cells</a:t>
            </a:r>
          </a:p>
        </p:txBody>
      </p:sp>
      <p:sp>
        <p:nvSpPr>
          <p:cNvPr id="8" name="Rectángulo 152">
            <a:extLst>
              <a:ext uri="{FF2B5EF4-FFF2-40B4-BE49-F238E27FC236}">
                <a16:creationId xmlns:a16="http://schemas.microsoft.com/office/drawing/2014/main" id="{A94D26F4-917E-4275-9D7C-571889C7AA9B}"/>
              </a:ext>
            </a:extLst>
          </p:cNvPr>
          <p:cNvSpPr>
            <a:spLocks noChangeArrowheads="1"/>
          </p:cNvSpPr>
          <p:nvPr/>
        </p:nvSpPr>
        <p:spPr bwMode="auto">
          <a:xfrm>
            <a:off x="6479898" y="4936080"/>
            <a:ext cx="266410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algn="r" defTabSz="685800">
              <a:buNone/>
              <a:defRPr/>
            </a:pPr>
            <a:r>
              <a:rPr lang="it-IT" sz="750">
                <a:solidFill>
                  <a:prstClr val="black"/>
                </a:solidFill>
                <a:latin typeface="Arial" panose="020B0604020202020204" pitchFamily="34" charset="0"/>
                <a:cs typeface="Arial" panose="020B0604020202020204" pitchFamily="34" charset="0"/>
              </a:rPr>
              <a:t>Goicoechea I, et al. </a:t>
            </a:r>
            <a:r>
              <a:rPr lang="nl-NL" sz="750" i="1">
                <a:solidFill>
                  <a:prstClr val="black"/>
                </a:solidFill>
                <a:latin typeface="Arial" panose="020B0604020202020204" pitchFamily="34" charset="0"/>
                <a:cs typeface="Arial" panose="020B0604020202020204" pitchFamily="34" charset="0"/>
              </a:rPr>
              <a:t>Blood.</a:t>
            </a:r>
            <a:r>
              <a:rPr lang="nl-NL" sz="750">
                <a:solidFill>
                  <a:prstClr val="black"/>
                </a:solidFill>
                <a:latin typeface="Arial" panose="020B0604020202020204" pitchFamily="34" charset="0"/>
                <a:cs typeface="Arial" panose="020B0604020202020204" pitchFamily="34" charset="0"/>
              </a:rPr>
              <a:t> 2021;137:49-60. </a:t>
            </a:r>
            <a:endParaRPr lang="it-IT" sz="750">
              <a:solidFill>
                <a:prstClr val="black"/>
              </a:solidFill>
              <a:latin typeface="Arial" panose="020B0604020202020204" pitchFamily="34" charset="0"/>
              <a:cs typeface="Arial" panose="020B0604020202020204" pitchFamily="34" charset="0"/>
            </a:endParaRPr>
          </a:p>
        </p:txBody>
      </p:sp>
      <p:sp>
        <p:nvSpPr>
          <p:cNvPr id="4" name="Rayo 3"/>
          <p:cNvSpPr/>
          <p:nvPr/>
        </p:nvSpPr>
        <p:spPr>
          <a:xfrm flipH="1">
            <a:off x="2699239" y="1899139"/>
            <a:ext cx="114300" cy="180243"/>
          </a:xfrm>
          <a:prstGeom prst="lightningBol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0" name="Rayo 9"/>
          <p:cNvSpPr/>
          <p:nvPr/>
        </p:nvSpPr>
        <p:spPr>
          <a:xfrm flipH="1">
            <a:off x="4075235" y="2693633"/>
            <a:ext cx="114300" cy="180243"/>
          </a:xfrm>
          <a:prstGeom prst="lightningBol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1" name="Rayo 10"/>
          <p:cNvSpPr/>
          <p:nvPr/>
        </p:nvSpPr>
        <p:spPr>
          <a:xfrm flipH="1">
            <a:off x="6317273" y="1921121"/>
            <a:ext cx="114300" cy="180243"/>
          </a:xfrm>
          <a:prstGeom prst="lightningBol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Tree>
    <p:extLst>
      <p:ext uri="{BB962C8B-B14F-4D97-AF65-F5344CB8AC3E}">
        <p14:creationId xmlns:p14="http://schemas.microsoft.com/office/powerpoint/2010/main" val="1974099301"/>
      </p:ext>
    </p:extLst>
  </p:cSld>
  <p:clrMapOvr>
    <a:masterClrMapping/>
  </p:clrMapOvr>
  <p:extLst>
    <p:ext uri="{3A86A75C-4F4B-4683-9AE1-C65F6400EC91}">
      <p14:laserTraceLst xmlns:p14="http://schemas.microsoft.com/office/powerpoint/2010/main">
        <p14:tracePtLst>
          <p14:tracePt t="2351" x="5133975" y="5086350"/>
          <p14:tracePt t="2359" x="5114925" y="5076825"/>
          <p14:tracePt t="2372" x="5086350" y="5067300"/>
          <p14:tracePt t="2385" x="5067300" y="5062538"/>
          <p14:tracePt t="2402" x="4981575" y="5057775"/>
          <p14:tracePt t="2420" x="4919663" y="5081588"/>
          <p14:tracePt t="2453" x="4738688" y="5224463"/>
          <p14:tracePt t="2486" x="4724400" y="5238750"/>
          <p14:tracePt t="2749" x="4724400" y="5233988"/>
          <p14:tracePt t="2757" x="4724400" y="5214938"/>
          <p14:tracePt t="2770" x="4724400" y="5191125"/>
          <p14:tracePt t="2803" x="4700588" y="5086350"/>
          <p14:tracePt t="2820" x="4705350" y="5086350"/>
          <p14:tracePt t="2853" x="4710113" y="5081588"/>
          <p14:tracePt t="2886" x="4710113" y="5076825"/>
          <p14:tracePt t="4839" x="4710113" y="5081588"/>
          <p14:tracePt t="6234" x="4705350" y="5081588"/>
          <p14:tracePt t="6242" x="4700588" y="5081588"/>
          <p14:tracePt t="6250" x="4700588" y="5076825"/>
          <p14:tracePt t="6258" x="4695825" y="5076825"/>
          <p14:tracePt t="6276" x="4672013" y="5076825"/>
          <p14:tracePt t="6289" x="4662488" y="5076825"/>
          <p14:tracePt t="6323" x="4657725" y="5076825"/>
          <p14:tracePt t="6355" x="4657725" y="5072063"/>
          <p14:tracePt t="6372" x="4657725" y="5067300"/>
          <p14:tracePt t="6390" x="4657725" y="5043488"/>
          <p14:tracePt t="6406" x="4667250" y="5019675"/>
          <p14:tracePt t="6422" x="4672013" y="5000625"/>
          <p14:tracePt t="6439" x="4676775" y="4976813"/>
          <p14:tracePt t="6456" x="4676775" y="4929188"/>
          <p14:tracePt t="6473" x="4672013" y="4857750"/>
          <p14:tracePt t="6490" x="4657725" y="4786313"/>
          <p14:tracePt t="6506" x="4633913" y="4724400"/>
          <p14:tracePt t="6523" x="4586288" y="4638675"/>
          <p14:tracePt t="6540" x="4548188" y="4581525"/>
          <p14:tracePt t="6556" x="4510088" y="4524375"/>
          <p14:tracePt t="6572" x="4471988" y="4467225"/>
          <p14:tracePt t="6590" x="4438650" y="4419600"/>
          <p14:tracePt t="6606" x="4405313" y="4376738"/>
          <p14:tracePt t="6624" x="4367213" y="4300538"/>
          <p14:tracePt t="6640" x="4343400" y="4238625"/>
          <p14:tracePt t="6656" x="4329113" y="4176713"/>
          <p14:tracePt t="6673" x="4319588" y="4119563"/>
          <p14:tracePt t="6690" x="4310063" y="4067175"/>
          <p14:tracePt t="6706" x="4300538" y="4029075"/>
          <p14:tracePt t="6726" x="4291013" y="3981450"/>
          <p14:tracePt t="6740" x="4286250" y="3967163"/>
          <p14:tracePt t="6756" x="4281488" y="3933825"/>
          <p14:tracePt t="6773" x="4267200" y="3890963"/>
          <p14:tracePt t="6791" x="4262438" y="3862388"/>
          <p14:tracePt t="6806" x="4252913" y="3833813"/>
          <p14:tracePt t="6825" x="4248150" y="3810000"/>
          <p14:tracePt t="6840" x="4238625" y="3781425"/>
          <p14:tracePt t="6856" x="4233863" y="3762375"/>
          <p14:tracePt t="6873" x="4224338" y="3738563"/>
          <p14:tracePt t="6890" x="4224338" y="3714750"/>
          <p14:tracePt t="6906" x="4214813" y="3695700"/>
          <p14:tracePt t="6923" x="4210050" y="3662363"/>
          <p14:tracePt t="6940" x="4200525" y="3629025"/>
          <p14:tracePt t="6957" x="4191000" y="3595688"/>
          <p14:tracePt t="6973" x="4191000" y="3567113"/>
          <p14:tracePt t="6989" x="4186238" y="3538538"/>
          <p14:tracePt t="7007" x="4176713" y="3495675"/>
          <p14:tracePt t="7024" x="4167188" y="3457575"/>
          <p14:tracePt t="7040" x="4157663" y="3424238"/>
          <p14:tracePt t="7056" x="4152900" y="3390900"/>
          <p14:tracePt t="7073" x="4143375" y="3362325"/>
          <p14:tracePt t="7089" x="4138613" y="3333750"/>
          <p14:tracePt t="7106" x="4129088" y="3314700"/>
          <p14:tracePt t="7128" x="4119563" y="3281363"/>
          <p14:tracePt t="7141" x="4114800" y="3267075"/>
          <p14:tracePt t="7159" x="4105275" y="3252788"/>
          <p14:tracePt t="7173" x="4105275" y="3248025"/>
          <p14:tracePt t="7190" x="4100513" y="3243263"/>
          <p14:tracePt t="7207" x="4095750" y="3233738"/>
          <p14:tracePt t="7224" x="4090988" y="3228975"/>
          <p14:tracePt t="7241" x="4086225" y="3224213"/>
          <p14:tracePt t="7257" x="4081463" y="3214688"/>
          <p14:tracePt t="7273" x="4076700" y="3200400"/>
          <p14:tracePt t="7290" x="4067175" y="3181350"/>
          <p14:tracePt t="7307" x="4062413" y="3176588"/>
          <p14:tracePt t="7324" x="4057650" y="3171825"/>
          <p14:tracePt t="7340" x="4048125" y="3167063"/>
          <p14:tracePt t="7356" x="4043363" y="3157538"/>
          <p14:tracePt t="7374" x="4038600" y="3152775"/>
          <p14:tracePt t="7390" x="4033838" y="3148013"/>
          <p14:tracePt t="7407" x="4019550" y="3133725"/>
          <p14:tracePt t="7424" x="4014788" y="3124200"/>
          <p14:tracePt t="7440" x="4010025" y="3114675"/>
          <p14:tracePt t="7457" x="4005263" y="3105150"/>
          <p14:tracePt t="7473" x="3995738" y="3090863"/>
          <p14:tracePt t="7490" x="3986213" y="3071813"/>
          <p14:tracePt t="7506" x="3971925" y="3052763"/>
          <p14:tracePt t="7523" x="3952875" y="3028950"/>
          <p14:tracePt t="7540" x="3929063" y="3005138"/>
          <p14:tracePt t="7556" x="3905250" y="2971800"/>
          <p14:tracePt t="7573" x="3890963" y="2947988"/>
          <p14:tracePt t="7589" x="3881438" y="2933700"/>
          <p14:tracePt t="7606" x="3871913" y="2919413"/>
          <p14:tracePt t="7623" x="3862388" y="2909888"/>
          <p14:tracePt t="7640" x="3857625" y="2905125"/>
          <p14:tracePt t="7657" x="3833813" y="2886075"/>
          <p14:tracePt t="7673" x="3814763" y="2881313"/>
          <p14:tracePt t="7690" x="3795713" y="2876550"/>
          <p14:tracePt t="7706" x="3781425" y="2867025"/>
          <p14:tracePt t="7723" x="3757613" y="2862263"/>
          <p14:tracePt t="7740" x="3738563" y="2852738"/>
          <p14:tracePt t="7757" x="3719513" y="2847975"/>
          <p14:tracePt t="7774" x="3695700" y="2847975"/>
          <p14:tracePt t="7791" x="3676650" y="2838450"/>
          <p14:tracePt t="7807" x="3667125" y="2838450"/>
          <p14:tracePt t="7824" x="3652838" y="2838450"/>
          <p14:tracePt t="7841" x="3648075" y="2838450"/>
          <p14:tracePt t="7857" x="3643313" y="2838450"/>
          <p14:tracePt t="7874" x="3638550" y="2838450"/>
          <p14:tracePt t="7891" x="3633788" y="2838450"/>
          <p14:tracePt t="7940" x="3629025" y="2838450"/>
          <p14:tracePt t="8264" x="3624263" y="2838450"/>
          <p14:tracePt t="8291" x="3624263" y="2843213"/>
          <p14:tracePt t="9060" x="3633788" y="2847975"/>
          <p14:tracePt t="9069" x="3652838" y="2847975"/>
          <p14:tracePt t="9076" x="3676650" y="2852738"/>
          <p14:tracePt t="9092" x="3757613" y="2862263"/>
          <p14:tracePt t="9108" x="3886200" y="2876550"/>
          <p14:tracePt t="9126" x="4114800" y="2886075"/>
          <p14:tracePt t="9159" x="4772025" y="2919413"/>
          <p14:tracePt t="9191" x="5372100" y="2967038"/>
          <p14:tracePt t="9209" x="5781675" y="2995613"/>
          <p14:tracePt t="9225" x="6067425" y="3028950"/>
          <p14:tracePt t="9242" x="6272213" y="3048000"/>
          <p14:tracePt t="9259" x="6457950" y="3086100"/>
          <p14:tracePt t="9276" x="6605588" y="3109913"/>
          <p14:tracePt t="9292" x="6724650" y="3119438"/>
          <p14:tracePt t="9309" x="6867525" y="3148013"/>
          <p14:tracePt t="9325" x="6958013" y="3162300"/>
          <p14:tracePt t="9343" x="7048500" y="3171825"/>
          <p14:tracePt t="9359" x="7153275" y="3181350"/>
          <p14:tracePt t="9375" x="7258050" y="3190875"/>
          <p14:tracePt t="9392" x="7362825" y="3195638"/>
          <p14:tracePt t="9409" x="7443788" y="3200400"/>
          <p14:tracePt t="9425" x="7519988" y="3200400"/>
          <p14:tracePt t="9443" x="7634288" y="3200400"/>
          <p14:tracePt t="9459" x="7720013" y="3200400"/>
          <p14:tracePt t="9476" x="7781925" y="3200400"/>
          <p14:tracePt t="9492" x="7848600" y="3200400"/>
          <p14:tracePt t="9509" x="7905750" y="3195638"/>
          <p14:tracePt t="9526" x="7958138" y="3190875"/>
          <p14:tracePt t="9542" x="8010525" y="3181350"/>
          <p14:tracePt t="9559" x="8067675" y="3176588"/>
          <p14:tracePt t="9564" x="8091488" y="3167063"/>
          <p14:tracePt t="9575" x="8148638" y="3148013"/>
          <p14:tracePt t="9592" x="8201025" y="3124200"/>
          <p14:tracePt t="9609" x="8258175" y="3100388"/>
          <p14:tracePt t="9627" x="8301038" y="3081338"/>
          <p14:tracePt t="9643" x="8334375" y="3071813"/>
          <p14:tracePt t="9659" x="8358188" y="3067050"/>
          <p14:tracePt t="9676" x="8386763" y="3057525"/>
          <p14:tracePt t="9693" x="8420100" y="3048000"/>
          <p14:tracePt t="9709" x="8434388" y="3038475"/>
          <p14:tracePt t="9726" x="8453438" y="3038475"/>
          <p14:tracePt t="9742" x="8472488" y="3028950"/>
          <p14:tracePt t="9759" x="8491538" y="3024188"/>
          <p14:tracePt t="9776" x="8520113" y="3014663"/>
          <p14:tracePt t="9793" x="8539163" y="3009900"/>
          <p14:tracePt t="9809" x="8562975" y="3000375"/>
          <p14:tracePt t="9826" x="8567738" y="2995613"/>
          <p14:tracePt t="9842" x="8577263" y="2990850"/>
          <p14:tracePt t="9960" x="8577263" y="2986088"/>
          <p14:tracePt t="10464" x="8577263" y="2981325"/>
          <p14:tracePt t="10479" x="8572500" y="2976563"/>
          <p14:tracePt t="10497" x="8567738" y="2971800"/>
          <p14:tracePt t="10502" x="8567738" y="2967038"/>
          <p14:tracePt t="10509" x="8562975" y="2967038"/>
          <p14:tracePt t="10526" x="8558213" y="2962275"/>
          <p14:tracePt t="10543" x="8553450" y="2962275"/>
          <p14:tracePt t="10576" x="8548688" y="2957513"/>
          <p14:tracePt t="10612" x="8539163" y="2957513"/>
          <p14:tracePt t="10626" x="8534400" y="2957513"/>
          <p14:tracePt t="10746" x="8529638" y="2957513"/>
          <p14:tracePt t="10832" x="8524875" y="2957513"/>
          <p14:tracePt t="12356" x="8524875" y="2947988"/>
          <p14:tracePt t="12364" x="8524875" y="2943225"/>
          <p14:tracePt t="12372" x="8524875" y="2938463"/>
          <p14:tracePt t="12382" x="8524875" y="2933700"/>
          <p14:tracePt t="12395" x="8524875" y="2924175"/>
          <p14:tracePt t="12413" x="8524875" y="2919413"/>
          <p14:tracePt t="12444" x="8524875" y="2905125"/>
          <p14:tracePt t="12478" x="8524875" y="2895600"/>
          <p14:tracePt t="12511" x="8524875" y="2886075"/>
          <p14:tracePt t="12528" x="8524875" y="2881313"/>
          <p14:tracePt t="12544" x="8520113" y="2876550"/>
          <p14:tracePt t="12561" x="8520113" y="2867025"/>
          <p14:tracePt t="12608" x="8520113" y="2862263"/>
          <p14:tracePt t="12733" x="8515350" y="2862263"/>
          <p14:tracePt t="12748" x="8510588" y="2862263"/>
          <p14:tracePt t="12755" x="8510588" y="2857500"/>
        </p14:tracePtLst>
      </p14:laserTraceLst>
    </p:ext>
  </p:extLs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2"/>
          <p:cNvSpPr txBox="1">
            <a:spLocks/>
          </p:cNvSpPr>
          <p:nvPr/>
        </p:nvSpPr>
        <p:spPr>
          <a:xfrm>
            <a:off x="0" y="2234574"/>
            <a:ext cx="9144000" cy="782946"/>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ctr" defTabSz="685783">
              <a:defRPr/>
            </a:pPr>
            <a:r>
              <a:rPr lang="en-US" i="1">
                <a:solidFill>
                  <a:srgbClr val="800000"/>
                </a:solidFill>
                <a:latin typeface="Arial" panose="020B0604020202020204" pitchFamily="34" charset="0"/>
                <a:cs typeface="Arial" panose="020B0604020202020204" pitchFamily="34" charset="0"/>
              </a:rPr>
              <a:t>Minimal Residual Disease </a:t>
            </a:r>
          </a:p>
        </p:txBody>
      </p:sp>
    </p:spTree>
    <p:extLst>
      <p:ext uri="{BB962C8B-B14F-4D97-AF65-F5344CB8AC3E}">
        <p14:creationId xmlns:p14="http://schemas.microsoft.com/office/powerpoint/2010/main" val="367683713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18"/>
          <p:cNvSpPr/>
          <p:nvPr/>
        </p:nvSpPr>
        <p:spPr>
          <a:xfrm>
            <a:off x="5526226" y="4941307"/>
            <a:ext cx="3621505" cy="207749"/>
          </a:xfrm>
          <a:prstGeom prst="rect">
            <a:avLst/>
          </a:prstGeom>
        </p:spPr>
        <p:txBody>
          <a:bodyPr wrap="none" anchor="b">
            <a:spAutoFit/>
          </a:bodyPr>
          <a:lstStyle/>
          <a:p>
            <a:pPr algn="r" defTabSz="685800">
              <a:defRPr/>
            </a:pPr>
            <a:r>
              <a:rPr lang="it-IT" sz="750">
                <a:solidFill>
                  <a:prstClr val="black"/>
                </a:solidFill>
                <a:latin typeface="Arial" panose="020B0604020202020204" pitchFamily="34" charset="0"/>
                <a:cs typeface="Arial" panose="020B0604020202020204" pitchFamily="34" charset="0"/>
              </a:rPr>
              <a:t>Guerrero C, et al. </a:t>
            </a:r>
            <a:r>
              <a:rPr lang="it-IT" sz="750" i="1">
                <a:solidFill>
                  <a:prstClr val="black"/>
                </a:solidFill>
                <a:latin typeface="Arial" panose="020B0604020202020204" pitchFamily="34" charset="0"/>
                <a:cs typeface="Arial" panose="020B0604020202020204" pitchFamily="34" charset="0"/>
              </a:rPr>
              <a:t>Clin Cancer Res</a:t>
            </a:r>
            <a:r>
              <a:rPr lang="it-IT" sz="750">
                <a:solidFill>
                  <a:prstClr val="black"/>
                </a:solidFill>
                <a:latin typeface="Arial" panose="020B0604020202020204" pitchFamily="34" charset="0"/>
                <a:cs typeface="Arial" panose="020B0604020202020204" pitchFamily="34" charset="0"/>
              </a:rPr>
              <a:t>. 2022. doi: </a:t>
            </a:r>
            <a:r>
              <a:rPr lang="en-US" sz="750">
                <a:solidFill>
                  <a:prstClr val="black"/>
                </a:solidFill>
                <a:latin typeface="Arial" panose="020B0604020202020204" pitchFamily="34" charset="0"/>
                <a:cs typeface="Arial" panose="020B0604020202020204" pitchFamily="34" charset="0"/>
              </a:rPr>
              <a:t>10.1158/1078-0432.CCR-21-3430.</a:t>
            </a:r>
          </a:p>
        </p:txBody>
      </p:sp>
      <p:sp>
        <p:nvSpPr>
          <p:cNvPr id="20" name="Título 2"/>
          <p:cNvSpPr txBox="1">
            <a:spLocks/>
          </p:cNvSpPr>
          <p:nvPr/>
        </p:nvSpPr>
        <p:spPr>
          <a:xfrm>
            <a:off x="142843" y="92266"/>
            <a:ext cx="8889977"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r>
              <a:rPr lang="en-US" sz="2100">
                <a:latin typeface="Arial" panose="020B0604020202020204" pitchFamily="34" charset="0"/>
                <a:cs typeface="Arial" panose="020B0604020202020204" pitchFamily="34" charset="0"/>
              </a:rPr>
              <a:t>Predicting MRD Outcomes Before Initiating Treatment</a:t>
            </a:r>
          </a:p>
        </p:txBody>
      </p:sp>
      <p:sp>
        <p:nvSpPr>
          <p:cNvPr id="21"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A machine-learning model using tumor and immune biomarkers</a:t>
            </a:r>
          </a:p>
        </p:txBody>
      </p:sp>
      <p:grpSp>
        <p:nvGrpSpPr>
          <p:cNvPr id="2" name="Group 1">
            <a:extLst>
              <a:ext uri="{FF2B5EF4-FFF2-40B4-BE49-F238E27FC236}">
                <a16:creationId xmlns:a16="http://schemas.microsoft.com/office/drawing/2014/main" id="{3ED8DBBA-5FFB-4F22-8296-11A642BF2FDB}"/>
              </a:ext>
            </a:extLst>
          </p:cNvPr>
          <p:cNvGrpSpPr/>
          <p:nvPr/>
        </p:nvGrpSpPr>
        <p:grpSpPr>
          <a:xfrm>
            <a:off x="460627" y="1365509"/>
            <a:ext cx="3877457" cy="3156861"/>
            <a:chOff x="614169" y="1820679"/>
            <a:chExt cx="4630668" cy="3795375"/>
          </a:xfrm>
        </p:grpSpPr>
        <p:pic>
          <p:nvPicPr>
            <p:cNvPr id="22" name="Imagen 2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4169" y="1820679"/>
              <a:ext cx="4630668" cy="3596185"/>
            </a:xfrm>
            <a:prstGeom prst="rect">
              <a:avLst/>
            </a:prstGeom>
          </p:spPr>
        </p:pic>
        <p:sp>
          <p:nvSpPr>
            <p:cNvPr id="23" name="Rectángulo 22"/>
            <p:cNvSpPr/>
            <p:nvPr/>
          </p:nvSpPr>
          <p:spPr>
            <a:xfrm>
              <a:off x="3930555" y="4769893"/>
              <a:ext cx="1314282" cy="846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a:endParaRPr>
            </a:p>
          </p:txBody>
        </p:sp>
      </p:grpSp>
      <p:pic>
        <p:nvPicPr>
          <p:cNvPr id="24" name="Imagen 2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38337" y="1365509"/>
            <a:ext cx="3473001" cy="3156862"/>
          </a:xfrm>
          <a:prstGeom prst="rect">
            <a:avLst/>
          </a:prstGeom>
        </p:spPr>
      </p:pic>
    </p:spTree>
    <p:extLst>
      <p:ext uri="{BB962C8B-B14F-4D97-AF65-F5344CB8AC3E}">
        <p14:creationId xmlns:p14="http://schemas.microsoft.com/office/powerpoint/2010/main" val="870777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p:txBody>
          <a:bodyPr>
            <a:normAutofit/>
          </a:bodyPr>
          <a:lstStyle/>
          <a:p>
            <a:r>
              <a:rPr lang="en-US" sz="2800" noProof="0"/>
              <a:t>Introduction to the Audience Response System</a:t>
            </a:r>
          </a:p>
        </p:txBody>
      </p:sp>
      <p:sp>
        <p:nvSpPr>
          <p:cNvPr id="3" name="Subtitle 2">
            <a:extLst>
              <a:ext uri="{FF2B5EF4-FFF2-40B4-BE49-F238E27FC236}">
                <a16:creationId xmlns:a16="http://schemas.microsoft.com/office/drawing/2014/main" id="{5B1A592A-AF74-0E4A-BEBF-BA3B930B790E}"/>
              </a:ext>
            </a:extLst>
          </p:cNvPr>
          <p:cNvSpPr>
            <a:spLocks noGrp="1"/>
          </p:cNvSpPr>
          <p:nvPr>
            <p:ph type="subTitle" idx="1"/>
          </p:nvPr>
        </p:nvSpPr>
        <p:spPr/>
        <p:txBody>
          <a:bodyPr/>
          <a:lstStyle/>
          <a:p>
            <a:r>
              <a:rPr lang="en-US" noProof="0"/>
              <a:t>Rafael Fonseca, MD</a:t>
            </a:r>
          </a:p>
          <a:p>
            <a:endParaRPr lang="en-US" noProof="0"/>
          </a:p>
        </p:txBody>
      </p:sp>
      <p:pic>
        <p:nvPicPr>
          <p:cNvPr id="5" name="Picture 4">
            <a:extLst>
              <a:ext uri="{FF2B5EF4-FFF2-40B4-BE49-F238E27FC236}">
                <a16:creationId xmlns:a16="http://schemas.microsoft.com/office/drawing/2014/main" id="{23C5F75C-3E59-4B80-87F4-CEBB388A644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0617" y="3411698"/>
            <a:ext cx="1180425" cy="1180425"/>
          </a:xfrm>
          <a:prstGeom prst="teardrop">
            <a:avLst/>
          </a:prstGeom>
        </p:spPr>
      </p:pic>
    </p:spTree>
    <p:extLst>
      <p:ext uri="{BB962C8B-B14F-4D97-AF65-F5344CB8AC3E}">
        <p14:creationId xmlns:p14="http://schemas.microsoft.com/office/powerpoint/2010/main" val="41532425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o 17"/>
          <p:cNvGrpSpPr/>
          <p:nvPr/>
        </p:nvGrpSpPr>
        <p:grpSpPr>
          <a:xfrm>
            <a:off x="284020" y="1377351"/>
            <a:ext cx="8078314" cy="2308479"/>
            <a:chOff x="945656" y="2900497"/>
            <a:chExt cx="9519115" cy="1940589"/>
          </a:xfrm>
        </p:grpSpPr>
        <p:sp>
          <p:nvSpPr>
            <p:cNvPr id="4" name="Flecha derecha 10">
              <a:extLst>
                <a:ext uri="{FF2B5EF4-FFF2-40B4-BE49-F238E27FC236}">
                  <a16:creationId xmlns:a16="http://schemas.microsoft.com/office/drawing/2014/main" id="{79C45511-EF7E-A64B-BEDF-5C4C8D4414DB}"/>
                </a:ext>
              </a:extLst>
            </p:cNvPr>
            <p:cNvSpPr/>
            <p:nvPr/>
          </p:nvSpPr>
          <p:spPr>
            <a:xfrm>
              <a:off x="4816657" y="2900497"/>
              <a:ext cx="2729359" cy="717754"/>
            </a:xfrm>
            <a:prstGeom prst="rightArrow">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Arial" panose="020B0604020202020204" pitchFamily="34" charset="0"/>
                <a:cs typeface="Arial" panose="020B0604020202020204" pitchFamily="34" charset="0"/>
              </a:endParaRPr>
            </a:p>
          </p:txBody>
        </p:sp>
        <p:sp>
          <p:nvSpPr>
            <p:cNvPr id="5" name="CuadroTexto 13">
              <a:extLst>
                <a:ext uri="{FF2B5EF4-FFF2-40B4-BE49-F238E27FC236}">
                  <a16:creationId xmlns:a16="http://schemas.microsoft.com/office/drawing/2014/main" id="{3AECBDD2-95C0-1F41-AFE7-0CD35AFD0A0E}"/>
                </a:ext>
              </a:extLst>
            </p:cNvPr>
            <p:cNvSpPr txBox="1"/>
            <p:nvPr/>
          </p:nvSpPr>
          <p:spPr>
            <a:xfrm>
              <a:off x="7546017" y="3133191"/>
              <a:ext cx="1755171" cy="232855"/>
            </a:xfrm>
            <a:prstGeom prst="rect">
              <a:avLst/>
            </a:prstGeom>
            <a:noFill/>
          </p:spPr>
          <p:txBody>
            <a:bodyPr wrap="none" rtlCol="0">
              <a:spAutoFit/>
            </a:bodyPr>
            <a:lstStyle/>
            <a:p>
              <a:pPr defTabSz="685800"/>
              <a:r>
                <a:rPr lang="en-US" sz="1200">
                  <a:solidFill>
                    <a:prstClr val="white">
                      <a:lumMod val="65000"/>
                    </a:prstClr>
                  </a:solidFill>
                  <a:latin typeface="Arial" panose="020B0604020202020204" pitchFamily="34" charset="0"/>
                  <a:cs typeface="Arial" panose="020B0604020202020204" pitchFamily="34" charset="0"/>
                </a:rPr>
                <a:t>5 years? 10 years?</a:t>
              </a:r>
            </a:p>
          </p:txBody>
        </p:sp>
        <p:sp>
          <p:nvSpPr>
            <p:cNvPr id="6" name="CuadroTexto 14">
              <a:extLst>
                <a:ext uri="{FF2B5EF4-FFF2-40B4-BE49-F238E27FC236}">
                  <a16:creationId xmlns:a16="http://schemas.microsoft.com/office/drawing/2014/main" id="{A7255670-BE4F-084E-96A8-86958A75C415}"/>
                </a:ext>
              </a:extLst>
            </p:cNvPr>
            <p:cNvSpPr txBox="1"/>
            <p:nvPr/>
          </p:nvSpPr>
          <p:spPr>
            <a:xfrm>
              <a:off x="3174885" y="3043931"/>
              <a:ext cx="1977753" cy="543329"/>
            </a:xfrm>
            <a:prstGeom prst="rect">
              <a:avLst/>
            </a:prstGeom>
            <a:noFill/>
          </p:spPr>
          <p:txBody>
            <a:bodyPr wrap="square" rtlCol="0">
              <a:spAutoFit/>
            </a:bodyPr>
            <a:lstStyle/>
            <a:p>
              <a:pPr defTabSz="685800"/>
              <a:r>
                <a:rPr lang="en-US" sz="1200">
                  <a:solidFill>
                    <a:prstClr val="white">
                      <a:lumMod val="65000"/>
                    </a:prstClr>
                  </a:solidFill>
                  <a:latin typeface="Arial" panose="020B0604020202020204" pitchFamily="34" charset="0"/>
                  <a:cs typeface="Arial" panose="020B0604020202020204" pitchFamily="34" charset="0"/>
                </a:rPr>
                <a:t>Selection on the </a:t>
              </a:r>
              <a:br>
                <a:rPr lang="en-US" sz="1200">
                  <a:solidFill>
                    <a:prstClr val="white">
                      <a:lumMod val="65000"/>
                    </a:prstClr>
                  </a:solidFill>
                  <a:latin typeface="Arial" panose="020B0604020202020204" pitchFamily="34" charset="0"/>
                  <a:cs typeface="Arial" panose="020B0604020202020204" pitchFamily="34" charset="0"/>
                </a:rPr>
              </a:br>
              <a:r>
                <a:rPr lang="en-US" sz="1200">
                  <a:solidFill>
                    <a:prstClr val="white">
                      <a:lumMod val="65000"/>
                    </a:prstClr>
                  </a:solidFill>
                  <a:latin typeface="Arial" panose="020B0604020202020204" pitchFamily="34" charset="0"/>
                  <a:cs typeface="Arial" panose="020B0604020202020204" pitchFamily="34" charset="0"/>
                </a:rPr>
                <a:t>basis of predicted </a:t>
              </a:r>
              <a:br>
                <a:rPr lang="en-US" sz="1200">
                  <a:solidFill>
                    <a:prstClr val="white">
                      <a:lumMod val="65000"/>
                    </a:prstClr>
                  </a:solidFill>
                  <a:latin typeface="Arial" panose="020B0604020202020204" pitchFamily="34" charset="0"/>
                  <a:cs typeface="Arial" panose="020B0604020202020204" pitchFamily="34" charset="0"/>
                </a:rPr>
              </a:br>
              <a:r>
                <a:rPr lang="en-US" sz="1200">
                  <a:solidFill>
                    <a:prstClr val="white">
                      <a:lumMod val="65000"/>
                    </a:prstClr>
                  </a:solidFill>
                  <a:latin typeface="Arial" panose="020B0604020202020204" pitchFamily="34" charset="0"/>
                  <a:cs typeface="Arial" panose="020B0604020202020204" pitchFamily="34" charset="0"/>
                </a:rPr>
                <a:t>PFS</a:t>
              </a:r>
            </a:p>
          </p:txBody>
        </p:sp>
        <p:sp>
          <p:nvSpPr>
            <p:cNvPr id="7" name="CuadroTexto 20">
              <a:extLst>
                <a:ext uri="{FF2B5EF4-FFF2-40B4-BE49-F238E27FC236}">
                  <a16:creationId xmlns:a16="http://schemas.microsoft.com/office/drawing/2014/main" id="{4D48944C-ADA6-D547-A038-BD823CFA42E5}"/>
                </a:ext>
              </a:extLst>
            </p:cNvPr>
            <p:cNvSpPr txBox="1"/>
            <p:nvPr/>
          </p:nvSpPr>
          <p:spPr>
            <a:xfrm>
              <a:off x="945656" y="3691325"/>
              <a:ext cx="1009054" cy="232855"/>
            </a:xfrm>
            <a:prstGeom prst="rect">
              <a:avLst/>
            </a:prstGeom>
            <a:noFill/>
          </p:spPr>
          <p:txBody>
            <a:bodyPr wrap="none" rtlCol="0">
              <a:spAutoFit/>
            </a:bodyPr>
            <a:lstStyle/>
            <a:p>
              <a:pPr defTabSz="685800"/>
              <a:r>
                <a:rPr lang="en-US" sz="1200">
                  <a:solidFill>
                    <a:prstClr val="black"/>
                  </a:solidFill>
                  <a:latin typeface="Arial" panose="020B0604020202020204" pitchFamily="34" charset="0"/>
                  <a:cs typeface="Arial" panose="020B0604020202020204" pitchFamily="34" charset="0"/>
                </a:rPr>
                <a:t>Diagnosis</a:t>
              </a:r>
            </a:p>
          </p:txBody>
        </p:sp>
        <p:cxnSp>
          <p:nvCxnSpPr>
            <p:cNvPr id="8" name="Conector recto 21">
              <a:extLst>
                <a:ext uri="{FF2B5EF4-FFF2-40B4-BE49-F238E27FC236}">
                  <a16:creationId xmlns:a16="http://schemas.microsoft.com/office/drawing/2014/main" id="{34F9ED17-7F94-7C42-86A1-23A08FC1081C}"/>
                </a:ext>
              </a:extLst>
            </p:cNvPr>
            <p:cNvCxnSpPr>
              <a:cxnSpLocks/>
            </p:cNvCxnSpPr>
            <p:nvPr/>
          </p:nvCxnSpPr>
          <p:spPr>
            <a:xfrm>
              <a:off x="1997103" y="3052689"/>
              <a:ext cx="9497" cy="161582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CuadroTexto 23">
              <a:extLst>
                <a:ext uri="{FF2B5EF4-FFF2-40B4-BE49-F238E27FC236}">
                  <a16:creationId xmlns:a16="http://schemas.microsoft.com/office/drawing/2014/main" id="{4AD4DA13-9669-EE4A-A5F4-57233383B330}"/>
                </a:ext>
              </a:extLst>
            </p:cNvPr>
            <p:cNvSpPr txBox="1"/>
            <p:nvPr/>
          </p:nvSpPr>
          <p:spPr>
            <a:xfrm>
              <a:off x="2044267" y="3259374"/>
              <a:ext cx="1110789" cy="1300107"/>
            </a:xfrm>
            <a:prstGeom prst="rect">
              <a:avLst/>
            </a:prstGeom>
            <a:noFill/>
          </p:spPr>
          <p:txBody>
            <a:bodyPr wrap="square" rtlCol="0">
              <a:spAutoFit/>
            </a:bodyPr>
            <a:lstStyle/>
            <a:p>
              <a:pPr defTabSz="685800"/>
              <a:r>
                <a:rPr lang="en-US" sz="1050">
                  <a:solidFill>
                    <a:prstClr val="black"/>
                  </a:solidFill>
                  <a:latin typeface="Arial" panose="020B0604020202020204" pitchFamily="34" charset="0"/>
                  <a:cs typeface="Arial" panose="020B0604020202020204" pitchFamily="34" charset="0"/>
                </a:rPr>
                <a:t>Treatment A</a:t>
              </a:r>
            </a:p>
            <a:p>
              <a:pPr defTabSz="685800"/>
              <a:endParaRPr lang="en-US" sz="1050">
                <a:solidFill>
                  <a:prstClr val="black"/>
                </a:solidFill>
                <a:latin typeface="Arial" panose="020B0604020202020204" pitchFamily="34" charset="0"/>
                <a:cs typeface="Arial" panose="020B0604020202020204" pitchFamily="34" charset="0"/>
              </a:endParaRPr>
            </a:p>
            <a:p>
              <a:pPr defTabSz="685800"/>
              <a:r>
                <a:rPr lang="en-US" sz="1050">
                  <a:solidFill>
                    <a:prstClr val="black"/>
                  </a:solidFill>
                  <a:latin typeface="Arial" panose="020B0604020202020204" pitchFamily="34" charset="0"/>
                  <a:cs typeface="Arial" panose="020B0604020202020204" pitchFamily="34" charset="0"/>
                </a:rPr>
                <a:t>Treatment B</a:t>
              </a:r>
            </a:p>
            <a:p>
              <a:pPr defTabSz="685800"/>
              <a:endParaRPr lang="en-US" sz="1050">
                <a:solidFill>
                  <a:prstClr val="black"/>
                </a:solidFill>
                <a:latin typeface="Arial" panose="020B0604020202020204" pitchFamily="34" charset="0"/>
                <a:cs typeface="Arial" panose="020B0604020202020204" pitchFamily="34" charset="0"/>
              </a:endParaRPr>
            </a:p>
            <a:p>
              <a:pPr defTabSz="685800"/>
              <a:r>
                <a:rPr lang="en-US" sz="1050">
                  <a:solidFill>
                    <a:prstClr val="black"/>
                  </a:solidFill>
                  <a:latin typeface="Arial" panose="020B0604020202020204" pitchFamily="34" charset="0"/>
                  <a:cs typeface="Arial" panose="020B0604020202020204" pitchFamily="34" charset="0"/>
                </a:rPr>
                <a:t>Treatment C</a:t>
              </a:r>
            </a:p>
            <a:p>
              <a:pPr defTabSz="685800"/>
              <a:endParaRPr lang="en-US" sz="1050">
                <a:solidFill>
                  <a:prstClr val="black"/>
                </a:solidFill>
                <a:latin typeface="Arial" panose="020B0604020202020204" pitchFamily="34" charset="0"/>
                <a:cs typeface="Arial" panose="020B0604020202020204" pitchFamily="34" charset="0"/>
              </a:endParaRPr>
            </a:p>
            <a:p>
              <a:pPr defTabSz="685800"/>
              <a:r>
                <a:rPr lang="en-US" sz="1050">
                  <a:solidFill>
                    <a:prstClr val="black"/>
                  </a:solidFill>
                  <a:latin typeface="Arial" panose="020B0604020202020204" pitchFamily="34" charset="0"/>
                  <a:cs typeface="Arial" panose="020B0604020202020204" pitchFamily="34" charset="0"/>
                </a:rPr>
                <a:t>Treatment D</a:t>
              </a:r>
            </a:p>
            <a:p>
              <a:pPr defTabSz="685800"/>
              <a:endParaRPr lang="en-US" sz="1050">
                <a:solidFill>
                  <a:prstClr val="black"/>
                </a:solidFill>
                <a:latin typeface="Arial" panose="020B0604020202020204" pitchFamily="34" charset="0"/>
                <a:cs typeface="Arial" panose="020B0604020202020204" pitchFamily="34" charset="0"/>
              </a:endParaRPr>
            </a:p>
            <a:p>
              <a:pPr defTabSz="685800"/>
              <a:r>
                <a:rPr lang="en-US" sz="1050">
                  <a:solidFill>
                    <a:prstClr val="black"/>
                  </a:solidFill>
                  <a:latin typeface="Arial" panose="020B0604020202020204" pitchFamily="34" charset="0"/>
                  <a:cs typeface="Arial" panose="020B0604020202020204" pitchFamily="34" charset="0"/>
                </a:rPr>
                <a:t>Treatment E</a:t>
              </a:r>
            </a:p>
          </p:txBody>
        </p:sp>
        <p:sp>
          <p:nvSpPr>
            <p:cNvPr id="10" name="CuadroTexto 15">
              <a:extLst>
                <a:ext uri="{FF2B5EF4-FFF2-40B4-BE49-F238E27FC236}">
                  <a16:creationId xmlns:a16="http://schemas.microsoft.com/office/drawing/2014/main" id="{F9305027-63C6-164C-B84A-DF786C5FDDF1}"/>
                </a:ext>
              </a:extLst>
            </p:cNvPr>
            <p:cNvSpPr txBox="1"/>
            <p:nvPr/>
          </p:nvSpPr>
          <p:spPr>
            <a:xfrm>
              <a:off x="3265185" y="4333880"/>
              <a:ext cx="4112110" cy="310474"/>
            </a:xfrm>
            <a:prstGeom prst="rect">
              <a:avLst/>
            </a:prstGeom>
            <a:noFill/>
          </p:spPr>
          <p:txBody>
            <a:bodyPr wrap="square" rtlCol="0">
              <a:spAutoFit/>
            </a:bodyPr>
            <a:lstStyle/>
            <a:p>
              <a:pPr algn="ctr" defTabSz="685800"/>
              <a:r>
                <a:rPr lang="en-US" sz="900">
                  <a:solidFill>
                    <a:prstClr val="black"/>
                  </a:solidFill>
                  <a:latin typeface="Arial" panose="020B0604020202020204" pitchFamily="34" charset="0"/>
                  <a:cs typeface="Arial" panose="020B0604020202020204" pitchFamily="34" charset="0"/>
                </a:rPr>
                <a:t>MRD</a:t>
              </a:r>
            </a:p>
            <a:p>
              <a:pPr algn="ctr" defTabSz="685800"/>
              <a:r>
                <a:rPr lang="en-US" sz="900">
                  <a:solidFill>
                    <a:prstClr val="black"/>
                  </a:solidFill>
                  <a:latin typeface="Arial" panose="020B0604020202020204" pitchFamily="34" charset="0"/>
                  <a:cs typeface="Arial" panose="020B0604020202020204" pitchFamily="34" charset="0"/>
                </a:rPr>
                <a:t>assessment</a:t>
              </a:r>
              <a:endParaRPr lang="en-US" sz="825">
                <a:solidFill>
                  <a:prstClr val="black"/>
                </a:solidFill>
                <a:latin typeface="Arial" panose="020B0604020202020204" pitchFamily="34" charset="0"/>
                <a:cs typeface="Arial" panose="020B0604020202020204" pitchFamily="34" charset="0"/>
              </a:endParaRPr>
            </a:p>
          </p:txBody>
        </p:sp>
        <p:sp>
          <p:nvSpPr>
            <p:cNvPr id="11" name="CuadroTexto 16">
              <a:extLst>
                <a:ext uri="{FF2B5EF4-FFF2-40B4-BE49-F238E27FC236}">
                  <a16:creationId xmlns:a16="http://schemas.microsoft.com/office/drawing/2014/main" id="{AE7E5D0A-30DF-1044-AC21-8E74C0D02477}"/>
                </a:ext>
              </a:extLst>
            </p:cNvPr>
            <p:cNvSpPr txBox="1"/>
            <p:nvPr/>
          </p:nvSpPr>
          <p:spPr>
            <a:xfrm>
              <a:off x="5987534" y="4221193"/>
              <a:ext cx="2015782" cy="388092"/>
            </a:xfrm>
            <a:prstGeom prst="rect">
              <a:avLst/>
            </a:prstGeom>
            <a:noFill/>
          </p:spPr>
          <p:txBody>
            <a:bodyPr wrap="square" rtlCol="0">
              <a:spAutoFit/>
            </a:bodyPr>
            <a:lstStyle/>
            <a:p>
              <a:pPr defTabSz="685800"/>
              <a:r>
                <a:rPr lang="en-US" sz="1200">
                  <a:solidFill>
                    <a:prstClr val="black"/>
                  </a:solidFill>
                  <a:latin typeface="Arial" panose="020B0604020202020204" pitchFamily="34" charset="0"/>
                  <a:cs typeface="Arial" panose="020B0604020202020204" pitchFamily="34" charset="0"/>
                </a:rPr>
                <a:t>Confirmation of predicted MRD status</a:t>
              </a:r>
            </a:p>
          </p:txBody>
        </p:sp>
        <p:sp>
          <p:nvSpPr>
            <p:cNvPr id="12" name="CuadroTexto 17">
              <a:extLst>
                <a:ext uri="{FF2B5EF4-FFF2-40B4-BE49-F238E27FC236}">
                  <a16:creationId xmlns:a16="http://schemas.microsoft.com/office/drawing/2014/main" id="{D1B233BC-AA66-574C-B23F-5A980E5B5B38}"/>
                </a:ext>
              </a:extLst>
            </p:cNvPr>
            <p:cNvSpPr txBox="1"/>
            <p:nvPr/>
          </p:nvSpPr>
          <p:spPr>
            <a:xfrm>
              <a:off x="3199922" y="4133616"/>
              <a:ext cx="2058278" cy="543329"/>
            </a:xfrm>
            <a:prstGeom prst="rect">
              <a:avLst/>
            </a:prstGeom>
            <a:noFill/>
          </p:spPr>
          <p:txBody>
            <a:bodyPr wrap="square" rtlCol="0">
              <a:spAutoFit/>
            </a:bodyPr>
            <a:lstStyle/>
            <a:p>
              <a:pPr defTabSz="685800"/>
              <a:r>
                <a:rPr lang="en-US" sz="1200">
                  <a:solidFill>
                    <a:prstClr val="black"/>
                  </a:solidFill>
                  <a:latin typeface="Arial" panose="020B0604020202020204" pitchFamily="34" charset="0"/>
                  <a:cs typeface="Arial" panose="020B0604020202020204" pitchFamily="34" charset="0"/>
                </a:rPr>
                <a:t>Selection on the </a:t>
              </a:r>
              <a:br>
                <a:rPr lang="en-US" sz="1200">
                  <a:solidFill>
                    <a:prstClr val="black"/>
                  </a:solidFill>
                  <a:latin typeface="Arial" panose="020B0604020202020204" pitchFamily="34" charset="0"/>
                  <a:cs typeface="Arial" panose="020B0604020202020204" pitchFamily="34" charset="0"/>
                </a:rPr>
              </a:br>
              <a:r>
                <a:rPr lang="en-US" sz="1200">
                  <a:solidFill>
                    <a:prstClr val="black"/>
                  </a:solidFill>
                  <a:latin typeface="Arial" panose="020B0604020202020204" pitchFamily="34" charset="0"/>
                  <a:cs typeface="Arial" panose="020B0604020202020204" pitchFamily="34" charset="0"/>
                </a:rPr>
                <a:t>basis of predicted </a:t>
              </a:r>
            </a:p>
            <a:p>
              <a:pPr defTabSz="685800"/>
              <a:r>
                <a:rPr lang="en-US" sz="1200" b="1">
                  <a:solidFill>
                    <a:prstClr val="black"/>
                  </a:solidFill>
                  <a:latin typeface="Arial" panose="020B0604020202020204" pitchFamily="34" charset="0"/>
                  <a:cs typeface="Arial" panose="020B0604020202020204" pitchFamily="34" charset="0"/>
                </a:rPr>
                <a:t>MRD status</a:t>
              </a:r>
            </a:p>
          </p:txBody>
        </p:sp>
        <p:sp>
          <p:nvSpPr>
            <p:cNvPr id="13" name="CuadroTexto 25">
              <a:extLst>
                <a:ext uri="{FF2B5EF4-FFF2-40B4-BE49-F238E27FC236}">
                  <a16:creationId xmlns:a16="http://schemas.microsoft.com/office/drawing/2014/main" id="{EC45810C-3539-C449-857C-489A91597808}"/>
                </a:ext>
              </a:extLst>
            </p:cNvPr>
            <p:cNvSpPr txBox="1"/>
            <p:nvPr/>
          </p:nvSpPr>
          <p:spPr>
            <a:xfrm>
              <a:off x="9051386" y="4182126"/>
              <a:ext cx="1413385" cy="543329"/>
            </a:xfrm>
            <a:prstGeom prst="rect">
              <a:avLst/>
            </a:prstGeom>
            <a:noFill/>
          </p:spPr>
          <p:txBody>
            <a:bodyPr wrap="square" rtlCol="0">
              <a:spAutoFit/>
            </a:bodyPr>
            <a:lstStyle/>
            <a:p>
              <a:pPr defTabSz="685800"/>
              <a:r>
                <a:rPr lang="en-US" sz="1200">
                  <a:solidFill>
                    <a:prstClr val="black"/>
                  </a:solidFill>
                  <a:latin typeface="Arial" panose="020B0604020202020204" pitchFamily="34" charset="0"/>
                  <a:cs typeface="Arial" panose="020B0604020202020204" pitchFamily="34" charset="0"/>
                </a:rPr>
                <a:t>Predicted PFS based on MRD status</a:t>
              </a:r>
            </a:p>
          </p:txBody>
        </p:sp>
        <p:sp>
          <p:nvSpPr>
            <p:cNvPr id="14" name="Flecha derecha 26">
              <a:extLst>
                <a:ext uri="{FF2B5EF4-FFF2-40B4-BE49-F238E27FC236}">
                  <a16:creationId xmlns:a16="http://schemas.microsoft.com/office/drawing/2014/main" id="{FBF6A942-561E-004C-95E7-F7774E515F87}"/>
                </a:ext>
              </a:extLst>
            </p:cNvPr>
            <p:cNvSpPr/>
            <p:nvPr/>
          </p:nvSpPr>
          <p:spPr>
            <a:xfrm>
              <a:off x="7929534" y="4093149"/>
              <a:ext cx="1139231" cy="717755"/>
            </a:xfrm>
            <a:prstGeom prst="rightArrow">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Arial" panose="020B0604020202020204" pitchFamily="34" charset="0"/>
                <a:cs typeface="Arial" panose="020B0604020202020204" pitchFamily="34" charset="0"/>
              </a:endParaRPr>
            </a:p>
          </p:txBody>
        </p:sp>
        <p:sp>
          <p:nvSpPr>
            <p:cNvPr id="15" name="CuadroTexto 27">
              <a:extLst>
                <a:ext uri="{FF2B5EF4-FFF2-40B4-BE49-F238E27FC236}">
                  <a16:creationId xmlns:a16="http://schemas.microsoft.com/office/drawing/2014/main" id="{3AEDA2B6-C8DA-1844-BF44-3C1FBFF49F45}"/>
                </a:ext>
              </a:extLst>
            </p:cNvPr>
            <p:cNvSpPr txBox="1"/>
            <p:nvPr/>
          </p:nvSpPr>
          <p:spPr>
            <a:xfrm>
              <a:off x="3879996" y="3143646"/>
              <a:ext cx="4237703" cy="232855"/>
            </a:xfrm>
            <a:prstGeom prst="rect">
              <a:avLst/>
            </a:prstGeom>
            <a:noFill/>
          </p:spPr>
          <p:txBody>
            <a:bodyPr wrap="square" rtlCol="0">
              <a:spAutoFit/>
            </a:bodyPr>
            <a:lstStyle/>
            <a:p>
              <a:pPr algn="ctr" defTabSz="685800"/>
              <a:r>
                <a:rPr lang="en-US" sz="1200">
                  <a:solidFill>
                    <a:prstClr val="white">
                      <a:lumMod val="65000"/>
                    </a:prstClr>
                  </a:solidFill>
                  <a:latin typeface="Arial" panose="020B0604020202020204" pitchFamily="34" charset="0"/>
                  <a:cs typeface="Arial" panose="020B0604020202020204" pitchFamily="34" charset="0"/>
                </a:rPr>
                <a:t>PFS</a:t>
              </a:r>
            </a:p>
          </p:txBody>
        </p:sp>
        <p:cxnSp>
          <p:nvCxnSpPr>
            <p:cNvPr id="16" name="Conector recto 21">
              <a:extLst>
                <a:ext uri="{FF2B5EF4-FFF2-40B4-BE49-F238E27FC236}">
                  <a16:creationId xmlns:a16="http://schemas.microsoft.com/office/drawing/2014/main" id="{9D4AFB39-F3F9-554D-B8F0-F10EF88D7114}"/>
                </a:ext>
              </a:extLst>
            </p:cNvPr>
            <p:cNvCxnSpPr>
              <a:cxnSpLocks/>
            </p:cNvCxnSpPr>
            <p:nvPr/>
          </p:nvCxnSpPr>
          <p:spPr>
            <a:xfrm>
              <a:off x="3121475" y="3052689"/>
              <a:ext cx="9497" cy="161582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Flecha derecha 26">
              <a:extLst>
                <a:ext uri="{FF2B5EF4-FFF2-40B4-BE49-F238E27FC236}">
                  <a16:creationId xmlns:a16="http://schemas.microsoft.com/office/drawing/2014/main" id="{071475D0-01FB-014B-AFA8-5D14B3AA2A0B}"/>
                </a:ext>
              </a:extLst>
            </p:cNvPr>
            <p:cNvSpPr/>
            <p:nvPr/>
          </p:nvSpPr>
          <p:spPr>
            <a:xfrm>
              <a:off x="4816657" y="4123331"/>
              <a:ext cx="1210834" cy="717755"/>
            </a:xfrm>
            <a:prstGeom prst="rightArrow">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Arial" panose="020B0604020202020204" pitchFamily="34" charset="0"/>
                <a:cs typeface="Arial" panose="020B0604020202020204" pitchFamily="34" charset="0"/>
              </a:endParaRPr>
            </a:p>
          </p:txBody>
        </p:sp>
      </p:grpSp>
      <p:sp>
        <p:nvSpPr>
          <p:cNvPr id="20" name="Título 2"/>
          <p:cNvSpPr txBox="1">
            <a:spLocks/>
          </p:cNvSpPr>
          <p:nvPr/>
        </p:nvSpPr>
        <p:spPr>
          <a:xfrm>
            <a:off x="142843" y="92266"/>
            <a:ext cx="8889977"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r>
              <a:rPr lang="en-US" sz="2100">
                <a:latin typeface="Arial" panose="020B0604020202020204" pitchFamily="34" charset="0"/>
                <a:cs typeface="Arial" panose="020B0604020202020204" pitchFamily="34" charset="0"/>
              </a:rPr>
              <a:t>Predicting MRD Outcomes Before Initiating Treatment</a:t>
            </a:r>
          </a:p>
        </p:txBody>
      </p:sp>
      <p:sp>
        <p:nvSpPr>
          <p:cNvPr id="21"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Toward treatment individualization in newly diagnosed patients</a:t>
            </a:r>
          </a:p>
        </p:txBody>
      </p:sp>
      <p:sp>
        <p:nvSpPr>
          <p:cNvPr id="23" name="Rectángulo 18">
            <a:extLst>
              <a:ext uri="{FF2B5EF4-FFF2-40B4-BE49-F238E27FC236}">
                <a16:creationId xmlns:a16="http://schemas.microsoft.com/office/drawing/2014/main" id="{B8BDF3C3-2723-4FB9-BFAF-874CE941D278}"/>
              </a:ext>
            </a:extLst>
          </p:cNvPr>
          <p:cNvSpPr/>
          <p:nvPr/>
        </p:nvSpPr>
        <p:spPr>
          <a:xfrm>
            <a:off x="5526226" y="4941307"/>
            <a:ext cx="3621505" cy="207749"/>
          </a:xfrm>
          <a:prstGeom prst="rect">
            <a:avLst/>
          </a:prstGeom>
        </p:spPr>
        <p:txBody>
          <a:bodyPr wrap="none" anchor="b">
            <a:spAutoFit/>
          </a:bodyPr>
          <a:lstStyle/>
          <a:p>
            <a:pPr algn="r" defTabSz="685800">
              <a:defRPr/>
            </a:pPr>
            <a:r>
              <a:rPr lang="it-IT" sz="750">
                <a:solidFill>
                  <a:prstClr val="black"/>
                </a:solidFill>
                <a:latin typeface="Arial" panose="020B0604020202020204" pitchFamily="34" charset="0"/>
                <a:cs typeface="Arial" panose="020B0604020202020204" pitchFamily="34" charset="0"/>
              </a:rPr>
              <a:t>Guerrero C, et al. </a:t>
            </a:r>
            <a:r>
              <a:rPr lang="it-IT" sz="750" i="1">
                <a:solidFill>
                  <a:prstClr val="black"/>
                </a:solidFill>
                <a:latin typeface="Arial" panose="020B0604020202020204" pitchFamily="34" charset="0"/>
                <a:cs typeface="Arial" panose="020B0604020202020204" pitchFamily="34" charset="0"/>
              </a:rPr>
              <a:t>Clin Cancer Res</a:t>
            </a:r>
            <a:r>
              <a:rPr lang="it-IT" sz="750">
                <a:solidFill>
                  <a:prstClr val="black"/>
                </a:solidFill>
                <a:latin typeface="Arial" panose="020B0604020202020204" pitchFamily="34" charset="0"/>
                <a:cs typeface="Arial" panose="020B0604020202020204" pitchFamily="34" charset="0"/>
              </a:rPr>
              <a:t>. 2022. doi: </a:t>
            </a:r>
            <a:r>
              <a:rPr lang="en-US" sz="750">
                <a:solidFill>
                  <a:prstClr val="black"/>
                </a:solidFill>
                <a:latin typeface="Arial" panose="020B0604020202020204" pitchFamily="34" charset="0"/>
                <a:cs typeface="Arial" panose="020B0604020202020204" pitchFamily="34" charset="0"/>
              </a:rPr>
              <a:t>10.1158/1078-0432.CCR-21-3430.</a:t>
            </a:r>
          </a:p>
        </p:txBody>
      </p:sp>
    </p:spTree>
    <p:extLst>
      <p:ext uri="{BB962C8B-B14F-4D97-AF65-F5344CB8AC3E}">
        <p14:creationId xmlns:p14="http://schemas.microsoft.com/office/powerpoint/2010/main" val="1939474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12FE80-7C18-46AE-9657-9C983291C54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57788" y="1365566"/>
            <a:ext cx="7391135" cy="2412368"/>
          </a:xfrm>
          <a:prstGeom prst="rect">
            <a:avLst/>
          </a:prstGeom>
        </p:spPr>
      </p:pic>
      <p:sp>
        <p:nvSpPr>
          <p:cNvPr id="2" name="CuadroTexto 1"/>
          <p:cNvSpPr txBox="1"/>
          <p:nvPr/>
        </p:nvSpPr>
        <p:spPr>
          <a:xfrm>
            <a:off x="164770" y="2734293"/>
            <a:ext cx="1233030" cy="415498"/>
          </a:xfrm>
          <a:prstGeom prst="rect">
            <a:avLst/>
          </a:prstGeom>
          <a:noFill/>
        </p:spPr>
        <p:txBody>
          <a:bodyPr wrap="none" rtlCol="0">
            <a:spAutoFit/>
          </a:bodyPr>
          <a:lstStyle/>
          <a:p>
            <a:pPr defTabSz="685800">
              <a:defRPr/>
            </a:pPr>
            <a:r>
              <a:rPr lang="en-US" sz="2100">
                <a:solidFill>
                  <a:srgbClr val="0000FF"/>
                </a:solidFill>
                <a:latin typeface="Times New Roman" panose="02020603050405020304" pitchFamily="18" charset="0"/>
                <a:cs typeface="Times New Roman" panose="02020603050405020304" pitchFamily="18" charset="0"/>
              </a:rPr>
              <a:t>Sustained</a:t>
            </a:r>
          </a:p>
        </p:txBody>
      </p:sp>
    </p:spTree>
    <p:extLst>
      <p:ext uri="{BB962C8B-B14F-4D97-AF65-F5344CB8AC3E}">
        <p14:creationId xmlns:p14="http://schemas.microsoft.com/office/powerpoint/2010/main" val="3749378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 name="Rectángulo 152">
            <a:extLst>
              <a:ext uri="{FF2B5EF4-FFF2-40B4-BE49-F238E27FC236}">
                <a16:creationId xmlns:a16="http://schemas.microsoft.com/office/drawing/2014/main" id="{A94D26F4-917E-4275-9D7C-571889C7AA9B}"/>
              </a:ext>
            </a:extLst>
          </p:cNvPr>
          <p:cNvSpPr>
            <a:spLocks noChangeArrowheads="1"/>
          </p:cNvSpPr>
          <p:nvPr/>
        </p:nvSpPr>
        <p:spPr bwMode="auto">
          <a:xfrm>
            <a:off x="5234474" y="4934278"/>
            <a:ext cx="3909527"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algn="r" defTabSz="685800">
              <a:buNone/>
              <a:defRPr/>
            </a:pPr>
            <a:r>
              <a:rPr lang="it-IT" sz="750">
                <a:solidFill>
                  <a:prstClr val="black"/>
                </a:solidFill>
                <a:latin typeface="Arial" panose="020B0604020202020204" pitchFamily="34" charset="0"/>
                <a:cs typeface="Arial" panose="020B0604020202020204" pitchFamily="34" charset="0"/>
              </a:rPr>
              <a:t>Costa LJ, et al. </a:t>
            </a:r>
            <a:r>
              <a:rPr lang="it-IT" sz="750" i="1">
                <a:solidFill>
                  <a:prstClr val="black"/>
                </a:solidFill>
                <a:latin typeface="Arial" panose="020B0604020202020204" pitchFamily="34" charset="0"/>
                <a:cs typeface="Arial" panose="020B0604020202020204" pitchFamily="34" charset="0"/>
              </a:rPr>
              <a:t>J Clin Oncol</a:t>
            </a:r>
            <a:r>
              <a:rPr lang="it-IT" sz="750">
                <a:solidFill>
                  <a:prstClr val="black"/>
                </a:solidFill>
                <a:latin typeface="Arial" panose="020B0604020202020204" pitchFamily="34" charset="0"/>
                <a:cs typeface="Arial" panose="020B0604020202020204" pitchFamily="34" charset="0"/>
              </a:rPr>
              <a:t>. 2021. doi: </a:t>
            </a:r>
            <a:r>
              <a:rPr lang="en-US" sz="750">
                <a:solidFill>
                  <a:prstClr val="black"/>
                </a:solidFill>
                <a:latin typeface="Arial" panose="020B0604020202020204" pitchFamily="34" charset="0"/>
                <a:cs typeface="Arial" panose="020B0604020202020204" pitchFamily="34" charset="0"/>
              </a:rPr>
              <a:t>0.1200/JCO.21.01935.</a:t>
            </a:r>
            <a:endParaRPr lang="it-IT" sz="750">
              <a:solidFill>
                <a:prstClr val="black"/>
              </a:solidFill>
              <a:latin typeface="Arial" panose="020B0604020202020204" pitchFamily="34" charset="0"/>
              <a:cs typeface="Arial" panose="020B0604020202020204" pitchFamily="34" charset="0"/>
            </a:endParaRPr>
          </a:p>
        </p:txBody>
      </p:sp>
      <p:sp>
        <p:nvSpPr>
          <p:cNvPr id="278" name="Título 2"/>
          <p:cNvSpPr txBox="1">
            <a:spLocks/>
          </p:cNvSpPr>
          <p:nvPr/>
        </p:nvSpPr>
        <p:spPr>
          <a:xfrm>
            <a:off x="0" y="1756890"/>
            <a:ext cx="8229600"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endParaRPr lang="en-US" sz="2100">
              <a:solidFill>
                <a:srgbClr val="800000"/>
              </a:solidFill>
              <a:latin typeface="Arial" panose="020B0604020202020204" pitchFamily="34" charset="0"/>
              <a:cs typeface="Arial" panose="020B0604020202020204" pitchFamily="34" charset="0"/>
            </a:endParaRPr>
          </a:p>
        </p:txBody>
      </p:sp>
      <p:sp>
        <p:nvSpPr>
          <p:cNvPr id="5" name="Título 2"/>
          <p:cNvSpPr txBox="1">
            <a:spLocks/>
          </p:cNvSpPr>
          <p:nvPr/>
        </p:nvSpPr>
        <p:spPr>
          <a:xfrm>
            <a:off x="142843" y="92266"/>
            <a:ext cx="9001157"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latin typeface="Arial" panose="020B0604020202020204" pitchFamily="34" charset="0"/>
                <a:cs typeface="Arial" panose="020B0604020202020204" pitchFamily="34" charset="0"/>
              </a:rPr>
              <a:t>Can uMRD Abrogate the Poor Prognosis of High-Risk Cytogenetics?</a:t>
            </a:r>
          </a:p>
        </p:txBody>
      </p:sp>
      <p:sp>
        <p:nvSpPr>
          <p:cNvPr id="6"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MRD levels and disease progression in the MASTER trial (2+ HRCA)</a:t>
            </a:r>
          </a:p>
        </p:txBody>
      </p:sp>
      <p:pic>
        <p:nvPicPr>
          <p:cNvPr id="7" name="Picture 1">
            <a:extLst>
              <a:ext uri="{FF2B5EF4-FFF2-40B4-BE49-F238E27FC236}">
                <a16:creationId xmlns:a16="http://schemas.microsoft.com/office/drawing/2014/main" id="{FBA6D374-75E0-2C43-8B73-E925D5BEA3B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443" t="1348"/>
          <a:stretch/>
        </p:blipFill>
        <p:spPr>
          <a:xfrm>
            <a:off x="3391405" y="1400120"/>
            <a:ext cx="4688407" cy="2621476"/>
          </a:xfrm>
          <a:prstGeom prst="rect">
            <a:avLst/>
          </a:prstGeom>
        </p:spPr>
      </p:pic>
      <p:sp>
        <p:nvSpPr>
          <p:cNvPr id="8" name="TextBox 5">
            <a:extLst>
              <a:ext uri="{FF2B5EF4-FFF2-40B4-BE49-F238E27FC236}">
                <a16:creationId xmlns:a16="http://schemas.microsoft.com/office/drawing/2014/main" id="{1C8CCE5A-D1D4-2E46-AC27-4BCD73C2147B}"/>
              </a:ext>
            </a:extLst>
          </p:cNvPr>
          <p:cNvSpPr txBox="1"/>
          <p:nvPr/>
        </p:nvSpPr>
        <p:spPr>
          <a:xfrm>
            <a:off x="4583064" y="1048743"/>
            <a:ext cx="1165704" cy="369332"/>
          </a:xfrm>
          <a:prstGeom prst="rect">
            <a:avLst/>
          </a:prstGeom>
          <a:noFill/>
        </p:spPr>
        <p:txBody>
          <a:bodyPr wrap="none" rtlCol="0">
            <a:spAutoFit/>
          </a:bodyPr>
          <a:lstStyle/>
          <a:p>
            <a:pPr defTabSz="685800">
              <a:defRPr/>
            </a:pPr>
            <a:r>
              <a:rPr lang="en-US">
                <a:solidFill>
                  <a:prstClr val="black"/>
                </a:solidFill>
                <a:latin typeface="Arial" panose="020B0604020202020204" pitchFamily="34" charset="0"/>
                <a:cs typeface="Arial" panose="020B0604020202020204" pitchFamily="34" charset="0"/>
              </a:rPr>
              <a:t>2+ HRCA</a:t>
            </a:r>
          </a:p>
        </p:txBody>
      </p:sp>
      <p:sp>
        <p:nvSpPr>
          <p:cNvPr id="9" name="TextBox 7">
            <a:extLst>
              <a:ext uri="{FF2B5EF4-FFF2-40B4-BE49-F238E27FC236}">
                <a16:creationId xmlns:a16="http://schemas.microsoft.com/office/drawing/2014/main" id="{EB4AB67A-C4C0-7243-BE0A-6487534638BB}"/>
              </a:ext>
            </a:extLst>
          </p:cNvPr>
          <p:cNvSpPr txBox="1"/>
          <p:nvPr/>
        </p:nvSpPr>
        <p:spPr>
          <a:xfrm>
            <a:off x="171450" y="1596044"/>
            <a:ext cx="2857500" cy="461665"/>
          </a:xfrm>
          <a:prstGeom prst="rect">
            <a:avLst/>
          </a:prstGeom>
          <a:noFill/>
        </p:spPr>
        <p:txBody>
          <a:bodyPr wrap="square" rtlCol="0">
            <a:spAutoFit/>
          </a:bodyPr>
          <a:lstStyle/>
          <a:p>
            <a:pPr marL="214313" indent="-214313" defTabSz="685800">
              <a:buFont typeface="Arial" panose="020B0604020202020204" pitchFamily="34" charset="0"/>
              <a:buChar char="•"/>
              <a:defRPr/>
            </a:pPr>
            <a:r>
              <a:rPr lang="en-US" sz="1200">
                <a:solidFill>
                  <a:prstClr val="black"/>
                </a:solidFill>
                <a:latin typeface="Arial" panose="020B0604020202020204" pitchFamily="34" charset="0"/>
                <a:cs typeface="Arial" panose="020B0604020202020204" pitchFamily="34" charset="0"/>
              </a:rPr>
              <a:t>6 progressions during therapy</a:t>
            </a:r>
          </a:p>
          <a:p>
            <a:pPr defTabSz="685800">
              <a:defRPr/>
            </a:pPr>
            <a:r>
              <a:rPr lang="en-US" sz="1200">
                <a:solidFill>
                  <a:prstClr val="black"/>
                </a:solidFill>
                <a:latin typeface="Arial" panose="020B0604020202020204" pitchFamily="34" charset="0"/>
                <a:cs typeface="Arial" panose="020B0604020202020204" pitchFamily="34" charset="0"/>
              </a:rPr>
              <a:t>	5 trackable – </a:t>
            </a:r>
            <a:r>
              <a:rPr lang="en-US" sz="1200" b="1">
                <a:solidFill>
                  <a:prstClr val="black"/>
                </a:solidFill>
                <a:latin typeface="Arial" panose="020B0604020202020204" pitchFamily="34" charset="0"/>
                <a:cs typeface="Arial" panose="020B0604020202020204" pitchFamily="34" charset="0"/>
              </a:rPr>
              <a:t>all</a:t>
            </a:r>
            <a:r>
              <a:rPr lang="en-US" sz="1200">
                <a:solidFill>
                  <a:prstClr val="black"/>
                </a:solidFill>
                <a:latin typeface="Arial" panose="020B0604020202020204" pitchFamily="34" charset="0"/>
                <a:cs typeface="Arial" panose="020B0604020202020204" pitchFamily="34" charset="0"/>
              </a:rPr>
              <a:t> 2+ HRCA</a:t>
            </a:r>
          </a:p>
        </p:txBody>
      </p:sp>
      <p:grpSp>
        <p:nvGrpSpPr>
          <p:cNvPr id="10" name="Group 11">
            <a:extLst>
              <a:ext uri="{FF2B5EF4-FFF2-40B4-BE49-F238E27FC236}">
                <a16:creationId xmlns:a16="http://schemas.microsoft.com/office/drawing/2014/main" id="{36EFB904-4991-FE49-A468-9D259656DDF0}"/>
              </a:ext>
            </a:extLst>
          </p:cNvPr>
          <p:cNvGrpSpPr/>
          <p:nvPr/>
        </p:nvGrpSpPr>
        <p:grpSpPr>
          <a:xfrm>
            <a:off x="7559116" y="1678453"/>
            <a:ext cx="1501231" cy="2054721"/>
            <a:chOff x="9829800" y="2733159"/>
            <a:chExt cx="2888574" cy="3421053"/>
          </a:xfrm>
        </p:grpSpPr>
        <p:pic>
          <p:nvPicPr>
            <p:cNvPr id="11" name="Picture 8">
              <a:extLst>
                <a:ext uri="{FF2B5EF4-FFF2-40B4-BE49-F238E27FC236}">
                  <a16:creationId xmlns:a16="http://schemas.microsoft.com/office/drawing/2014/main" id="{5925148A-42F3-E24A-A13F-27B48D2FFD8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5421" t="3011" r="15421" b="3011"/>
            <a:stretch/>
          </p:blipFill>
          <p:spPr>
            <a:xfrm>
              <a:off x="9829800" y="2819400"/>
              <a:ext cx="539420" cy="3258848"/>
            </a:xfrm>
            <a:prstGeom prst="rect">
              <a:avLst/>
            </a:prstGeom>
          </p:spPr>
        </p:pic>
        <p:sp>
          <p:nvSpPr>
            <p:cNvPr id="12" name="TextBox 9">
              <a:extLst>
                <a:ext uri="{FF2B5EF4-FFF2-40B4-BE49-F238E27FC236}">
                  <a16:creationId xmlns:a16="http://schemas.microsoft.com/office/drawing/2014/main" id="{601FAFA4-79F0-FE4C-9D10-6676CBD18581}"/>
                </a:ext>
              </a:extLst>
            </p:cNvPr>
            <p:cNvSpPr txBox="1"/>
            <p:nvPr/>
          </p:nvSpPr>
          <p:spPr>
            <a:xfrm>
              <a:off x="10398290" y="2733159"/>
              <a:ext cx="1613757"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MRD &lt;10</a:t>
              </a:r>
              <a:r>
                <a:rPr lang="en-US" sz="1050" baseline="30000">
                  <a:solidFill>
                    <a:prstClr val="black"/>
                  </a:solidFill>
                  <a:latin typeface="Arial" panose="020B0604020202020204" pitchFamily="34" charset="0"/>
                  <a:cs typeface="Arial" panose="020B0604020202020204" pitchFamily="34" charset="0"/>
                </a:rPr>
                <a:t>-6</a:t>
              </a:r>
            </a:p>
          </p:txBody>
        </p:sp>
        <p:sp>
          <p:nvSpPr>
            <p:cNvPr id="13" name="TextBox 13">
              <a:extLst>
                <a:ext uri="{FF2B5EF4-FFF2-40B4-BE49-F238E27FC236}">
                  <a16:creationId xmlns:a16="http://schemas.microsoft.com/office/drawing/2014/main" id="{750776CF-EE5A-484C-B6B9-9A21D4465423}"/>
                </a:ext>
              </a:extLst>
            </p:cNvPr>
            <p:cNvSpPr txBox="1"/>
            <p:nvPr/>
          </p:nvSpPr>
          <p:spPr>
            <a:xfrm>
              <a:off x="10398290" y="3071714"/>
              <a:ext cx="2320084"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10</a:t>
              </a:r>
              <a:r>
                <a:rPr lang="en-US" sz="1050" baseline="30000">
                  <a:solidFill>
                    <a:prstClr val="black"/>
                  </a:solidFill>
                  <a:latin typeface="Arial" panose="020B0604020202020204" pitchFamily="34" charset="0"/>
                  <a:cs typeface="Arial" panose="020B0604020202020204" pitchFamily="34" charset="0"/>
                </a:rPr>
                <a:t>-6 </a:t>
              </a:r>
              <a:r>
                <a:rPr lang="en-US" sz="1050">
                  <a:solidFill>
                    <a:prstClr val="black"/>
                  </a:solidFill>
                  <a:latin typeface="Arial" panose="020B0604020202020204" pitchFamily="34" charset="0"/>
                  <a:cs typeface="Arial" panose="020B0604020202020204" pitchFamily="34" charset="0"/>
                </a:rPr>
                <a:t>≤ MRD &lt;10</a:t>
              </a:r>
              <a:r>
                <a:rPr lang="en-US" sz="1050" baseline="30000">
                  <a:solidFill>
                    <a:prstClr val="black"/>
                  </a:solidFill>
                  <a:latin typeface="Arial" panose="020B0604020202020204" pitchFamily="34" charset="0"/>
                  <a:cs typeface="Arial" panose="020B0604020202020204" pitchFamily="34" charset="0"/>
                </a:rPr>
                <a:t>-5</a:t>
              </a:r>
            </a:p>
          </p:txBody>
        </p:sp>
        <p:sp>
          <p:nvSpPr>
            <p:cNvPr id="14" name="TextBox 14">
              <a:extLst>
                <a:ext uri="{FF2B5EF4-FFF2-40B4-BE49-F238E27FC236}">
                  <a16:creationId xmlns:a16="http://schemas.microsoft.com/office/drawing/2014/main" id="{FE8116A4-0EB6-BC47-AC58-08AA22CF456C}"/>
                </a:ext>
              </a:extLst>
            </p:cNvPr>
            <p:cNvSpPr txBox="1"/>
            <p:nvPr/>
          </p:nvSpPr>
          <p:spPr>
            <a:xfrm>
              <a:off x="10398290" y="3399233"/>
              <a:ext cx="2320084"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10</a:t>
              </a:r>
              <a:r>
                <a:rPr lang="en-US" sz="1050" baseline="30000">
                  <a:solidFill>
                    <a:prstClr val="black"/>
                  </a:solidFill>
                  <a:latin typeface="Arial" panose="020B0604020202020204" pitchFamily="34" charset="0"/>
                  <a:cs typeface="Arial" panose="020B0604020202020204" pitchFamily="34" charset="0"/>
                </a:rPr>
                <a:t>-5 </a:t>
              </a:r>
              <a:r>
                <a:rPr lang="en-US" sz="1050">
                  <a:solidFill>
                    <a:prstClr val="black"/>
                  </a:solidFill>
                  <a:latin typeface="Arial" panose="020B0604020202020204" pitchFamily="34" charset="0"/>
                  <a:cs typeface="Arial" panose="020B0604020202020204" pitchFamily="34" charset="0"/>
                </a:rPr>
                <a:t>≤ MRD &lt;10</a:t>
              </a:r>
              <a:r>
                <a:rPr lang="en-US" sz="1050" baseline="30000">
                  <a:solidFill>
                    <a:prstClr val="black"/>
                  </a:solidFill>
                  <a:latin typeface="Arial" panose="020B0604020202020204" pitchFamily="34" charset="0"/>
                  <a:cs typeface="Arial" panose="020B0604020202020204" pitchFamily="34" charset="0"/>
                </a:rPr>
                <a:t>-4</a:t>
              </a:r>
            </a:p>
          </p:txBody>
        </p:sp>
        <p:sp>
          <p:nvSpPr>
            <p:cNvPr id="15" name="TextBox 15">
              <a:extLst>
                <a:ext uri="{FF2B5EF4-FFF2-40B4-BE49-F238E27FC236}">
                  <a16:creationId xmlns:a16="http://schemas.microsoft.com/office/drawing/2014/main" id="{B93FD975-4244-9F4C-9E45-53894C4E70E2}"/>
                </a:ext>
              </a:extLst>
            </p:cNvPr>
            <p:cNvSpPr txBox="1"/>
            <p:nvPr/>
          </p:nvSpPr>
          <p:spPr>
            <a:xfrm>
              <a:off x="10398290" y="3737787"/>
              <a:ext cx="2320084"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10</a:t>
              </a:r>
              <a:r>
                <a:rPr lang="en-US" sz="1050" baseline="30000">
                  <a:solidFill>
                    <a:prstClr val="black"/>
                  </a:solidFill>
                  <a:latin typeface="Arial" panose="020B0604020202020204" pitchFamily="34" charset="0"/>
                  <a:cs typeface="Arial" panose="020B0604020202020204" pitchFamily="34" charset="0"/>
                </a:rPr>
                <a:t>-4 </a:t>
              </a:r>
              <a:r>
                <a:rPr lang="en-US" sz="1050">
                  <a:solidFill>
                    <a:prstClr val="black"/>
                  </a:solidFill>
                  <a:latin typeface="Arial" panose="020B0604020202020204" pitchFamily="34" charset="0"/>
                  <a:cs typeface="Arial" panose="020B0604020202020204" pitchFamily="34" charset="0"/>
                </a:rPr>
                <a:t>≤ MRD &lt;10</a:t>
              </a:r>
              <a:r>
                <a:rPr lang="en-US" sz="1050" baseline="30000">
                  <a:solidFill>
                    <a:prstClr val="black"/>
                  </a:solidFill>
                  <a:latin typeface="Arial" panose="020B0604020202020204" pitchFamily="34" charset="0"/>
                  <a:cs typeface="Arial" panose="020B0604020202020204" pitchFamily="34" charset="0"/>
                </a:rPr>
                <a:t>-3</a:t>
              </a:r>
            </a:p>
          </p:txBody>
        </p:sp>
        <p:sp>
          <p:nvSpPr>
            <p:cNvPr id="16" name="TextBox 16">
              <a:extLst>
                <a:ext uri="{FF2B5EF4-FFF2-40B4-BE49-F238E27FC236}">
                  <a16:creationId xmlns:a16="http://schemas.microsoft.com/office/drawing/2014/main" id="{D94F9E8A-72F3-A146-9248-D06F47C092FA}"/>
                </a:ext>
              </a:extLst>
            </p:cNvPr>
            <p:cNvSpPr txBox="1"/>
            <p:nvPr/>
          </p:nvSpPr>
          <p:spPr>
            <a:xfrm>
              <a:off x="10398290" y="4065305"/>
              <a:ext cx="1653855"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10</a:t>
              </a:r>
              <a:r>
                <a:rPr lang="en-US" sz="1050" baseline="30000">
                  <a:solidFill>
                    <a:prstClr val="black"/>
                  </a:solidFill>
                  <a:latin typeface="Arial" panose="020B0604020202020204" pitchFamily="34" charset="0"/>
                  <a:cs typeface="Arial" panose="020B0604020202020204" pitchFamily="34" charset="0"/>
                </a:rPr>
                <a:t>-3 </a:t>
              </a:r>
              <a:r>
                <a:rPr lang="en-US" sz="1050">
                  <a:solidFill>
                    <a:prstClr val="black"/>
                  </a:solidFill>
                  <a:latin typeface="Arial" panose="020B0604020202020204" pitchFamily="34" charset="0"/>
                  <a:cs typeface="Arial" panose="020B0604020202020204" pitchFamily="34" charset="0"/>
                </a:rPr>
                <a:t>≤ MRD</a:t>
              </a:r>
              <a:endParaRPr lang="en-US" sz="1050" baseline="30000">
                <a:solidFill>
                  <a:prstClr val="black"/>
                </a:solidFill>
                <a:latin typeface="Arial" panose="020B0604020202020204" pitchFamily="34" charset="0"/>
                <a:cs typeface="Arial" panose="020B0604020202020204" pitchFamily="34" charset="0"/>
              </a:endParaRPr>
            </a:p>
          </p:txBody>
        </p:sp>
        <p:sp>
          <p:nvSpPr>
            <p:cNvPr id="17" name="TextBox 17">
              <a:extLst>
                <a:ext uri="{FF2B5EF4-FFF2-40B4-BE49-F238E27FC236}">
                  <a16:creationId xmlns:a16="http://schemas.microsoft.com/office/drawing/2014/main" id="{158037A7-5249-994B-A21D-C427A63DBE97}"/>
                </a:ext>
              </a:extLst>
            </p:cNvPr>
            <p:cNvSpPr txBox="1"/>
            <p:nvPr/>
          </p:nvSpPr>
          <p:spPr>
            <a:xfrm>
              <a:off x="10398290" y="4403859"/>
              <a:ext cx="1049313"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Death</a:t>
              </a:r>
              <a:endParaRPr lang="en-US" sz="1050" baseline="30000">
                <a:solidFill>
                  <a:prstClr val="black"/>
                </a:solidFill>
                <a:latin typeface="Arial" panose="020B0604020202020204" pitchFamily="34" charset="0"/>
                <a:cs typeface="Arial" panose="020B0604020202020204" pitchFamily="34" charset="0"/>
              </a:endParaRPr>
            </a:p>
          </p:txBody>
        </p:sp>
        <p:sp>
          <p:nvSpPr>
            <p:cNvPr id="18" name="TextBox 18">
              <a:extLst>
                <a:ext uri="{FF2B5EF4-FFF2-40B4-BE49-F238E27FC236}">
                  <a16:creationId xmlns:a16="http://schemas.microsoft.com/office/drawing/2014/main" id="{C1F87ABF-63FE-214C-80D5-1AA82A7F6DFA}"/>
                </a:ext>
              </a:extLst>
            </p:cNvPr>
            <p:cNvSpPr txBox="1"/>
            <p:nvPr/>
          </p:nvSpPr>
          <p:spPr>
            <a:xfrm>
              <a:off x="10398290" y="4742323"/>
              <a:ext cx="1743301"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Progression</a:t>
              </a:r>
              <a:endParaRPr lang="en-US" sz="1050" baseline="30000">
                <a:solidFill>
                  <a:prstClr val="black"/>
                </a:solidFill>
                <a:latin typeface="Arial" panose="020B0604020202020204" pitchFamily="34" charset="0"/>
                <a:cs typeface="Arial" panose="020B0604020202020204" pitchFamily="34" charset="0"/>
              </a:endParaRPr>
            </a:p>
          </p:txBody>
        </p:sp>
        <p:sp>
          <p:nvSpPr>
            <p:cNvPr id="19" name="TextBox 19">
              <a:extLst>
                <a:ext uri="{FF2B5EF4-FFF2-40B4-BE49-F238E27FC236}">
                  <a16:creationId xmlns:a16="http://schemas.microsoft.com/office/drawing/2014/main" id="{CEEE4A75-C284-0B45-BA46-1C09527F643C}"/>
                </a:ext>
              </a:extLst>
            </p:cNvPr>
            <p:cNvSpPr txBox="1"/>
            <p:nvPr/>
          </p:nvSpPr>
          <p:spPr>
            <a:xfrm>
              <a:off x="10398290" y="5111990"/>
              <a:ext cx="1437946"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Withdraw</a:t>
              </a:r>
              <a:endParaRPr lang="en-US" sz="1050" baseline="30000">
                <a:solidFill>
                  <a:prstClr val="black"/>
                </a:solidFill>
                <a:latin typeface="Arial" panose="020B0604020202020204" pitchFamily="34" charset="0"/>
                <a:cs typeface="Arial" panose="020B0604020202020204" pitchFamily="34" charset="0"/>
              </a:endParaRPr>
            </a:p>
          </p:txBody>
        </p:sp>
        <p:sp>
          <p:nvSpPr>
            <p:cNvPr id="20" name="TextBox 22">
              <a:extLst>
                <a:ext uri="{FF2B5EF4-FFF2-40B4-BE49-F238E27FC236}">
                  <a16:creationId xmlns:a16="http://schemas.microsoft.com/office/drawing/2014/main" id="{6175F5D9-1AE7-E84A-AA49-0537E89D1FF3}"/>
                </a:ext>
              </a:extLst>
            </p:cNvPr>
            <p:cNvSpPr txBox="1"/>
            <p:nvPr/>
          </p:nvSpPr>
          <p:spPr>
            <a:xfrm>
              <a:off x="10398290" y="5435474"/>
              <a:ext cx="1638431"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On therapy</a:t>
              </a:r>
              <a:endParaRPr lang="en-US" sz="1050" baseline="30000">
                <a:solidFill>
                  <a:prstClr val="black"/>
                </a:solidFill>
                <a:latin typeface="Arial" panose="020B0604020202020204" pitchFamily="34" charset="0"/>
                <a:cs typeface="Arial" panose="020B0604020202020204" pitchFamily="34" charset="0"/>
              </a:endParaRPr>
            </a:p>
          </p:txBody>
        </p:sp>
        <p:sp>
          <p:nvSpPr>
            <p:cNvPr id="21" name="TextBox 23">
              <a:extLst>
                <a:ext uri="{FF2B5EF4-FFF2-40B4-BE49-F238E27FC236}">
                  <a16:creationId xmlns:a16="http://schemas.microsoft.com/office/drawing/2014/main" id="{0F174F4B-86AC-844A-A840-1E349E794035}"/>
                </a:ext>
              </a:extLst>
            </p:cNvPr>
            <p:cNvSpPr txBox="1"/>
            <p:nvPr/>
          </p:nvSpPr>
          <p:spPr>
            <a:xfrm>
              <a:off x="10398290" y="5731449"/>
              <a:ext cx="1755638" cy="422763"/>
            </a:xfrm>
            <a:prstGeom prst="rect">
              <a:avLst/>
            </a:prstGeom>
            <a:noFill/>
          </p:spPr>
          <p:txBody>
            <a:bodyPr wrap="none" rtlCol="0">
              <a:spAutoFit/>
            </a:bodyPr>
            <a:lstStyle/>
            <a:p>
              <a:pPr defTabSz="685800">
                <a:defRPr/>
              </a:pPr>
              <a:r>
                <a:rPr lang="en-US" sz="1050">
                  <a:solidFill>
                    <a:prstClr val="black"/>
                  </a:solidFill>
                  <a:latin typeface="Arial" panose="020B0604020202020204" pitchFamily="34" charset="0"/>
                  <a:cs typeface="Arial" panose="020B0604020202020204" pitchFamily="34" charset="0"/>
                </a:rPr>
                <a:t>MRD-SURE</a:t>
              </a:r>
              <a:endParaRPr lang="en-US" sz="1050" baseline="30000">
                <a:solidFill>
                  <a:prstClr val="black"/>
                </a:solidFill>
                <a:latin typeface="Arial" panose="020B0604020202020204" pitchFamily="34" charset="0"/>
                <a:cs typeface="Arial" panose="020B0604020202020204" pitchFamily="34" charset="0"/>
              </a:endParaRPr>
            </a:p>
          </p:txBody>
        </p:sp>
      </p:grpSp>
      <p:sp>
        <p:nvSpPr>
          <p:cNvPr id="22" name="TextBox 20">
            <a:extLst>
              <a:ext uri="{FF2B5EF4-FFF2-40B4-BE49-F238E27FC236}">
                <a16:creationId xmlns:a16="http://schemas.microsoft.com/office/drawing/2014/main" id="{8ADAC4FD-34D2-E34A-8BC2-EA73B167FB10}"/>
              </a:ext>
            </a:extLst>
          </p:cNvPr>
          <p:cNvSpPr txBox="1"/>
          <p:nvPr/>
        </p:nvSpPr>
        <p:spPr>
          <a:xfrm>
            <a:off x="171450" y="2211637"/>
            <a:ext cx="3035036" cy="461665"/>
          </a:xfrm>
          <a:prstGeom prst="rect">
            <a:avLst/>
          </a:prstGeom>
          <a:noFill/>
        </p:spPr>
        <p:txBody>
          <a:bodyPr wrap="square" rtlCol="0">
            <a:spAutoFit/>
          </a:bodyPr>
          <a:lstStyle/>
          <a:p>
            <a:pPr marL="214313" indent="-214313" defTabSz="685800">
              <a:buFont typeface="Arial" panose="020B0604020202020204" pitchFamily="34" charset="0"/>
              <a:buChar char="•"/>
              <a:defRPr/>
            </a:pPr>
            <a:r>
              <a:rPr lang="en-US" sz="1200">
                <a:solidFill>
                  <a:prstClr val="black"/>
                </a:solidFill>
                <a:latin typeface="Arial" panose="020B0604020202020204" pitchFamily="34" charset="0"/>
                <a:cs typeface="Arial" panose="020B0604020202020204" pitchFamily="34" charset="0"/>
              </a:rPr>
              <a:t>7 progressions during MRD-SURE</a:t>
            </a:r>
          </a:p>
          <a:p>
            <a:pPr defTabSz="685800">
              <a:defRPr/>
            </a:pPr>
            <a:r>
              <a:rPr lang="en-US" sz="1200">
                <a:solidFill>
                  <a:prstClr val="black"/>
                </a:solidFill>
                <a:latin typeface="Arial" panose="020B0604020202020204" pitchFamily="34" charset="0"/>
                <a:cs typeface="Arial" panose="020B0604020202020204" pitchFamily="34" charset="0"/>
              </a:rPr>
              <a:t>	4 in 2+ HRCA</a:t>
            </a:r>
          </a:p>
        </p:txBody>
      </p:sp>
      <p:pic>
        <p:nvPicPr>
          <p:cNvPr id="23" name="Picture 21">
            <a:extLst>
              <a:ext uri="{FF2B5EF4-FFF2-40B4-BE49-F238E27FC236}">
                <a16:creationId xmlns:a16="http://schemas.microsoft.com/office/drawing/2014/main" id="{8F0BD24E-0749-EB47-985B-729DA26FAD6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211375" y="3801690"/>
            <a:ext cx="5889929" cy="810952"/>
          </a:xfrm>
          <a:prstGeom prst="rect">
            <a:avLst/>
          </a:prstGeom>
        </p:spPr>
      </p:pic>
      <p:sp>
        <p:nvSpPr>
          <p:cNvPr id="24" name="Rectangle 24">
            <a:extLst>
              <a:ext uri="{FF2B5EF4-FFF2-40B4-BE49-F238E27FC236}">
                <a16:creationId xmlns:a16="http://schemas.microsoft.com/office/drawing/2014/main" id="{08906F20-946E-474C-A9E1-E9C6BB59CCAA}"/>
              </a:ext>
            </a:extLst>
          </p:cNvPr>
          <p:cNvSpPr/>
          <p:nvPr/>
        </p:nvSpPr>
        <p:spPr>
          <a:xfrm>
            <a:off x="23848" y="4912667"/>
            <a:ext cx="3217547" cy="230832"/>
          </a:xfrm>
          <a:prstGeom prst="rect">
            <a:avLst/>
          </a:prstGeom>
        </p:spPr>
        <p:txBody>
          <a:bodyPr wrap="none">
            <a:spAutoFit/>
          </a:bodyPr>
          <a:lstStyle/>
          <a:p>
            <a:pPr defTabSz="685800">
              <a:defRPr/>
            </a:pPr>
            <a:r>
              <a:rPr lang="en-US" sz="900">
                <a:solidFill>
                  <a:srgbClr val="000000"/>
                </a:solidFill>
                <a:latin typeface="Arial" panose="020B0604020202020204" pitchFamily="34" charset="0"/>
                <a:ea typeface="Calibri" panose="020F0502020204030204" pitchFamily="34" charset="0"/>
                <a:cs typeface="Arial" panose="020B0604020202020204" pitchFamily="34" charset="0"/>
              </a:rPr>
              <a:t>HRCA, gain/amp 1q</a:t>
            </a:r>
            <a:r>
              <a:rPr lang="en-US" sz="900">
                <a:solidFill>
                  <a:prstClr val="black"/>
                </a:solidFill>
                <a:latin typeface="Arial" panose="020B0604020202020204" pitchFamily="34" charset="0"/>
                <a:ea typeface="Calibri" panose="020F0502020204030204" pitchFamily="34" charset="0"/>
                <a:cs typeface="Arial" panose="020B0604020202020204" pitchFamily="34" charset="0"/>
              </a:rPr>
              <a:t>, t(4;14), t(14;16), t(14;20), or del(17p).</a:t>
            </a:r>
            <a:r>
              <a:rPr lang="en-US" sz="900">
                <a:solidFill>
                  <a:prstClr val="black"/>
                </a:solidFill>
                <a:latin typeface="Arial" panose="020B0604020202020204" pitchFamily="34" charset="0"/>
                <a:cs typeface="Arial" panose="020B0604020202020204" pitchFamily="34" charset="0"/>
              </a:rPr>
              <a:t> </a:t>
            </a:r>
          </a:p>
        </p:txBody>
      </p:sp>
      <p:sp>
        <p:nvSpPr>
          <p:cNvPr id="2" name="Rectángulo 1"/>
          <p:cNvSpPr/>
          <p:nvPr/>
        </p:nvSpPr>
        <p:spPr>
          <a:xfrm>
            <a:off x="3487862" y="2576870"/>
            <a:ext cx="2780608" cy="126283"/>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26" name="Rectángulo 25"/>
          <p:cNvSpPr/>
          <p:nvPr/>
        </p:nvSpPr>
        <p:spPr>
          <a:xfrm>
            <a:off x="3487862" y="2270977"/>
            <a:ext cx="3154681" cy="130310"/>
          </a:xfrm>
          <a:prstGeom prst="rect">
            <a:avLst/>
          </a:prstGeom>
          <a:noFill/>
          <a:ln w="381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Tree>
    <p:extLst>
      <p:ext uri="{BB962C8B-B14F-4D97-AF65-F5344CB8AC3E}">
        <p14:creationId xmlns:p14="http://schemas.microsoft.com/office/powerpoint/2010/main" val="202253212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152">
            <a:extLst>
              <a:ext uri="{FF2B5EF4-FFF2-40B4-BE49-F238E27FC236}">
                <a16:creationId xmlns:a16="http://schemas.microsoft.com/office/drawing/2014/main" id="{A94D26F4-917E-4275-9D7C-571889C7AA9B}"/>
              </a:ext>
            </a:extLst>
          </p:cNvPr>
          <p:cNvSpPr>
            <a:spLocks noChangeArrowheads="1"/>
          </p:cNvSpPr>
          <p:nvPr/>
        </p:nvSpPr>
        <p:spPr bwMode="auto">
          <a:xfrm>
            <a:off x="6479898" y="4936080"/>
            <a:ext cx="266410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algn="r" defTabSz="685800">
              <a:buNone/>
              <a:defRPr/>
            </a:pPr>
            <a:r>
              <a:rPr lang="it-IT" sz="750">
                <a:solidFill>
                  <a:prstClr val="black"/>
                </a:solidFill>
                <a:latin typeface="Arial" panose="020B0604020202020204" pitchFamily="34" charset="0"/>
                <a:cs typeface="Arial" panose="020B0604020202020204" pitchFamily="34" charset="0"/>
              </a:rPr>
              <a:t>Goicoechea I, et al. </a:t>
            </a:r>
            <a:r>
              <a:rPr lang="nl-NL" sz="750" i="1">
                <a:solidFill>
                  <a:prstClr val="black"/>
                </a:solidFill>
                <a:latin typeface="Arial" panose="020B0604020202020204" pitchFamily="34" charset="0"/>
                <a:cs typeface="Arial" panose="020B0604020202020204" pitchFamily="34" charset="0"/>
              </a:rPr>
              <a:t>Blood</a:t>
            </a:r>
            <a:r>
              <a:rPr lang="nl-NL" sz="750">
                <a:solidFill>
                  <a:prstClr val="black"/>
                </a:solidFill>
                <a:latin typeface="Arial" panose="020B0604020202020204" pitchFamily="34" charset="0"/>
                <a:cs typeface="Arial" panose="020B0604020202020204" pitchFamily="34" charset="0"/>
              </a:rPr>
              <a:t>. 2021;137:49-60. </a:t>
            </a:r>
            <a:endParaRPr lang="it-IT" sz="750">
              <a:solidFill>
                <a:prstClr val="black"/>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A68F1E17-F26A-471F-9E3D-7976BD3D38FF}"/>
              </a:ext>
            </a:extLst>
          </p:cNvPr>
          <p:cNvGrpSpPr/>
          <p:nvPr/>
        </p:nvGrpSpPr>
        <p:grpSpPr>
          <a:xfrm>
            <a:off x="142845" y="1036675"/>
            <a:ext cx="8672669" cy="3802650"/>
            <a:chOff x="357748" y="1848694"/>
            <a:chExt cx="11400864" cy="4047456"/>
          </a:xfrm>
        </p:grpSpPr>
        <p:sp>
          <p:nvSpPr>
            <p:cNvPr id="7" name="TextBox 81">
              <a:extLst>
                <a:ext uri="{FF2B5EF4-FFF2-40B4-BE49-F238E27FC236}">
                  <a16:creationId xmlns:a16="http://schemas.microsoft.com/office/drawing/2014/main" id="{B54A50E4-FC20-411A-B354-03386E948733}"/>
                </a:ext>
              </a:extLst>
            </p:cNvPr>
            <p:cNvSpPr txBox="1"/>
            <p:nvPr/>
          </p:nvSpPr>
          <p:spPr>
            <a:xfrm>
              <a:off x="3985729" y="5525969"/>
              <a:ext cx="2626722" cy="221123"/>
            </a:xfrm>
            <a:prstGeom prst="rect">
              <a:avLst/>
            </a:prstGeom>
            <a:noFill/>
          </p:spPr>
          <p:txBody>
            <a:bodyPr wrap="square" rtlCol="0">
              <a:spAutoFit/>
            </a:bodyPr>
            <a:lstStyle/>
            <a:p>
              <a:pPr defTabSz="685800">
                <a:defRPr/>
              </a:pPr>
              <a:r>
                <a:rPr lang="en-GB" sz="750">
                  <a:solidFill>
                    <a:prstClr val="black"/>
                  </a:solidFill>
                  <a:latin typeface="Arial" panose="020B0604020202020204" pitchFamily="34" charset="0"/>
                  <a:cs typeface="Arial" panose="020B0604020202020204" pitchFamily="34" charset="0"/>
                </a:rPr>
                <a:t>Standard-risk CA – persisting MRD</a:t>
              </a:r>
            </a:p>
          </p:txBody>
        </p:sp>
        <p:sp>
          <p:nvSpPr>
            <p:cNvPr id="8" name="TextBox 82">
              <a:extLst>
                <a:ext uri="{FF2B5EF4-FFF2-40B4-BE49-F238E27FC236}">
                  <a16:creationId xmlns:a16="http://schemas.microsoft.com/office/drawing/2014/main" id="{F2C8FA87-A1DF-4A95-A138-043FD1E990CD}"/>
                </a:ext>
              </a:extLst>
            </p:cNvPr>
            <p:cNvSpPr txBox="1"/>
            <p:nvPr/>
          </p:nvSpPr>
          <p:spPr>
            <a:xfrm>
              <a:off x="3985729" y="5675027"/>
              <a:ext cx="2626722" cy="221123"/>
            </a:xfrm>
            <a:prstGeom prst="rect">
              <a:avLst/>
            </a:prstGeom>
            <a:noFill/>
          </p:spPr>
          <p:txBody>
            <a:bodyPr wrap="square" rtlCol="0">
              <a:spAutoFit/>
            </a:bodyPr>
            <a:lstStyle/>
            <a:p>
              <a:pPr defTabSz="685800">
                <a:defRPr/>
              </a:pPr>
              <a:r>
                <a:rPr lang="en-GB" sz="750">
                  <a:solidFill>
                    <a:prstClr val="black"/>
                  </a:solidFill>
                  <a:latin typeface="Arial" panose="020B0604020202020204" pitchFamily="34" charset="0"/>
                  <a:cs typeface="Arial" panose="020B0604020202020204" pitchFamily="34" charset="0"/>
                </a:rPr>
                <a:t>High-risk CA – persisting MRD</a:t>
              </a:r>
            </a:p>
          </p:txBody>
        </p:sp>
        <p:cxnSp>
          <p:nvCxnSpPr>
            <p:cNvPr id="9" name="Straight Connector 48">
              <a:extLst>
                <a:ext uri="{FF2B5EF4-FFF2-40B4-BE49-F238E27FC236}">
                  <a16:creationId xmlns:a16="http://schemas.microsoft.com/office/drawing/2014/main" id="{0C9BC463-732A-40F3-A649-BF455820100D}"/>
                </a:ext>
              </a:extLst>
            </p:cNvPr>
            <p:cNvCxnSpPr/>
            <p:nvPr/>
          </p:nvCxnSpPr>
          <p:spPr>
            <a:xfrm>
              <a:off x="1425617" y="5785820"/>
              <a:ext cx="168785" cy="0"/>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cxnSp>
          <p:nvCxnSpPr>
            <p:cNvPr id="10" name="Straight Connector 50">
              <a:extLst>
                <a:ext uri="{FF2B5EF4-FFF2-40B4-BE49-F238E27FC236}">
                  <a16:creationId xmlns:a16="http://schemas.microsoft.com/office/drawing/2014/main" id="{F335673C-9C32-4595-8B2B-81E772241A45}"/>
                </a:ext>
              </a:extLst>
            </p:cNvPr>
            <p:cNvCxnSpPr/>
            <p:nvPr/>
          </p:nvCxnSpPr>
          <p:spPr>
            <a:xfrm>
              <a:off x="3856380" y="5785821"/>
              <a:ext cx="168785"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sp>
          <p:nvSpPr>
            <p:cNvPr id="11" name="TextBox 79">
              <a:extLst>
                <a:ext uri="{FF2B5EF4-FFF2-40B4-BE49-F238E27FC236}">
                  <a16:creationId xmlns:a16="http://schemas.microsoft.com/office/drawing/2014/main" id="{C2C71F43-EB69-4F83-B0F1-E102DC696241}"/>
                </a:ext>
              </a:extLst>
            </p:cNvPr>
            <p:cNvSpPr txBox="1"/>
            <p:nvPr/>
          </p:nvSpPr>
          <p:spPr>
            <a:xfrm>
              <a:off x="1552541" y="5527053"/>
              <a:ext cx="2626722" cy="221123"/>
            </a:xfrm>
            <a:prstGeom prst="rect">
              <a:avLst/>
            </a:prstGeom>
            <a:noFill/>
          </p:spPr>
          <p:txBody>
            <a:bodyPr wrap="square" rtlCol="0">
              <a:spAutoFit/>
            </a:bodyPr>
            <a:lstStyle/>
            <a:p>
              <a:pPr defTabSz="685800">
                <a:defRPr/>
              </a:pPr>
              <a:r>
                <a:rPr lang="en-GB" sz="750">
                  <a:solidFill>
                    <a:prstClr val="black"/>
                  </a:solidFill>
                  <a:latin typeface="Arial" panose="020B0604020202020204" pitchFamily="34" charset="0"/>
                  <a:cs typeface="Arial" panose="020B0604020202020204" pitchFamily="34" charset="0"/>
                </a:rPr>
                <a:t>Standard-risk CA – undetectable MRD</a:t>
              </a:r>
            </a:p>
          </p:txBody>
        </p:sp>
        <p:sp>
          <p:nvSpPr>
            <p:cNvPr id="12" name="TextBox 80">
              <a:extLst>
                <a:ext uri="{FF2B5EF4-FFF2-40B4-BE49-F238E27FC236}">
                  <a16:creationId xmlns:a16="http://schemas.microsoft.com/office/drawing/2014/main" id="{F2D7AE6A-B96D-4925-857A-6A0EF06FC381}"/>
                </a:ext>
              </a:extLst>
            </p:cNvPr>
            <p:cNvSpPr txBox="1"/>
            <p:nvPr/>
          </p:nvSpPr>
          <p:spPr>
            <a:xfrm>
              <a:off x="1560544" y="5671065"/>
              <a:ext cx="2296018" cy="221123"/>
            </a:xfrm>
            <a:prstGeom prst="rect">
              <a:avLst/>
            </a:prstGeom>
            <a:noFill/>
          </p:spPr>
          <p:txBody>
            <a:bodyPr wrap="square" rtlCol="0">
              <a:spAutoFit/>
            </a:bodyPr>
            <a:lstStyle/>
            <a:p>
              <a:pPr defTabSz="685800">
                <a:defRPr/>
              </a:pPr>
              <a:r>
                <a:rPr lang="en-GB" sz="750">
                  <a:solidFill>
                    <a:prstClr val="black"/>
                  </a:solidFill>
                  <a:latin typeface="Arial" panose="020B0604020202020204" pitchFamily="34" charset="0"/>
                  <a:cs typeface="Arial" panose="020B0604020202020204" pitchFamily="34" charset="0"/>
                </a:rPr>
                <a:t>High-risk CA – undetectable MRD</a:t>
              </a:r>
            </a:p>
          </p:txBody>
        </p:sp>
        <p:sp>
          <p:nvSpPr>
            <p:cNvPr id="13" name="TextBox 153">
              <a:extLst>
                <a:ext uri="{FF2B5EF4-FFF2-40B4-BE49-F238E27FC236}">
                  <a16:creationId xmlns:a16="http://schemas.microsoft.com/office/drawing/2014/main" id="{D697AE0B-82B1-4541-BA85-86E69C525448}"/>
                </a:ext>
              </a:extLst>
            </p:cNvPr>
            <p:cNvSpPr txBox="1"/>
            <p:nvPr/>
          </p:nvSpPr>
          <p:spPr>
            <a:xfrm>
              <a:off x="9528723" y="5512214"/>
              <a:ext cx="2227401" cy="221123"/>
            </a:xfrm>
            <a:prstGeom prst="rect">
              <a:avLst/>
            </a:prstGeom>
            <a:noFill/>
          </p:spPr>
          <p:txBody>
            <a:bodyPr wrap="square" rtlCol="0">
              <a:spAutoFit/>
            </a:bodyPr>
            <a:lstStyle/>
            <a:p>
              <a:pPr defTabSz="685800">
                <a:defRPr/>
              </a:pPr>
              <a:r>
                <a:rPr lang="en-GB" sz="750">
                  <a:solidFill>
                    <a:prstClr val="black"/>
                  </a:solidFill>
                  <a:latin typeface="Arial" panose="020B0604020202020204" pitchFamily="34" charset="0"/>
                  <a:cs typeface="Arial" panose="020B0604020202020204" pitchFamily="34" charset="0"/>
                </a:rPr>
                <a:t>Standard-risk CA – persisting MRD</a:t>
              </a:r>
            </a:p>
          </p:txBody>
        </p:sp>
        <p:sp>
          <p:nvSpPr>
            <p:cNvPr id="14" name="TextBox 154">
              <a:extLst>
                <a:ext uri="{FF2B5EF4-FFF2-40B4-BE49-F238E27FC236}">
                  <a16:creationId xmlns:a16="http://schemas.microsoft.com/office/drawing/2014/main" id="{271135F3-70B3-414C-9AAA-40FD2F9EFFFD}"/>
                </a:ext>
              </a:extLst>
            </p:cNvPr>
            <p:cNvSpPr txBox="1"/>
            <p:nvPr/>
          </p:nvSpPr>
          <p:spPr>
            <a:xfrm>
              <a:off x="9539356" y="5674434"/>
              <a:ext cx="2219256" cy="221123"/>
            </a:xfrm>
            <a:prstGeom prst="rect">
              <a:avLst/>
            </a:prstGeom>
            <a:noFill/>
          </p:spPr>
          <p:txBody>
            <a:bodyPr wrap="square" rtlCol="0">
              <a:spAutoFit/>
            </a:bodyPr>
            <a:lstStyle/>
            <a:p>
              <a:pPr defTabSz="685800">
                <a:defRPr/>
              </a:pPr>
              <a:r>
                <a:rPr lang="en-GB" sz="750">
                  <a:solidFill>
                    <a:prstClr val="black"/>
                  </a:solidFill>
                  <a:latin typeface="Arial" panose="020B0604020202020204" pitchFamily="34" charset="0"/>
                  <a:cs typeface="Arial" panose="020B0604020202020204" pitchFamily="34" charset="0"/>
                </a:rPr>
                <a:t>High-risk CA – persisting MRD</a:t>
              </a:r>
            </a:p>
          </p:txBody>
        </p:sp>
        <p:cxnSp>
          <p:nvCxnSpPr>
            <p:cNvPr id="15" name="Straight Connector 120">
              <a:extLst>
                <a:ext uri="{FF2B5EF4-FFF2-40B4-BE49-F238E27FC236}">
                  <a16:creationId xmlns:a16="http://schemas.microsoft.com/office/drawing/2014/main" id="{42374783-2C8B-41B6-B0D8-84DFB350D634}"/>
                </a:ext>
              </a:extLst>
            </p:cNvPr>
            <p:cNvCxnSpPr/>
            <p:nvPr/>
          </p:nvCxnSpPr>
          <p:spPr>
            <a:xfrm>
              <a:off x="6989361" y="5789657"/>
              <a:ext cx="163286" cy="0"/>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cxnSp>
          <p:nvCxnSpPr>
            <p:cNvPr id="16" name="Straight Connector 122">
              <a:extLst>
                <a:ext uri="{FF2B5EF4-FFF2-40B4-BE49-F238E27FC236}">
                  <a16:creationId xmlns:a16="http://schemas.microsoft.com/office/drawing/2014/main" id="{E292B7CD-5226-478F-924C-F72F8FE590AB}"/>
                </a:ext>
              </a:extLst>
            </p:cNvPr>
            <p:cNvCxnSpPr/>
            <p:nvPr/>
          </p:nvCxnSpPr>
          <p:spPr>
            <a:xfrm>
              <a:off x="9405403" y="5789658"/>
              <a:ext cx="163286"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sp>
          <p:nvSpPr>
            <p:cNvPr id="17" name="TextBox 151">
              <a:extLst>
                <a:ext uri="{FF2B5EF4-FFF2-40B4-BE49-F238E27FC236}">
                  <a16:creationId xmlns:a16="http://schemas.microsoft.com/office/drawing/2014/main" id="{86E35058-D778-459E-9D55-7CBE6243389D}"/>
                </a:ext>
              </a:extLst>
            </p:cNvPr>
            <p:cNvSpPr txBox="1"/>
            <p:nvPr/>
          </p:nvSpPr>
          <p:spPr>
            <a:xfrm>
              <a:off x="7102901" y="5526532"/>
              <a:ext cx="2541137" cy="221123"/>
            </a:xfrm>
            <a:prstGeom prst="rect">
              <a:avLst/>
            </a:prstGeom>
            <a:noFill/>
          </p:spPr>
          <p:txBody>
            <a:bodyPr wrap="square" rtlCol="0">
              <a:spAutoFit/>
            </a:bodyPr>
            <a:lstStyle/>
            <a:p>
              <a:pPr defTabSz="685800">
                <a:defRPr/>
              </a:pPr>
              <a:r>
                <a:rPr lang="en-GB" sz="750">
                  <a:solidFill>
                    <a:prstClr val="black"/>
                  </a:solidFill>
                  <a:latin typeface="Arial" panose="020B0604020202020204" pitchFamily="34" charset="0"/>
                  <a:cs typeface="Arial" panose="020B0604020202020204" pitchFamily="34" charset="0"/>
                </a:rPr>
                <a:t>Standard-risk CA – undetectable MRD</a:t>
              </a:r>
            </a:p>
          </p:txBody>
        </p:sp>
        <p:sp>
          <p:nvSpPr>
            <p:cNvPr id="18" name="TextBox 152">
              <a:extLst>
                <a:ext uri="{FF2B5EF4-FFF2-40B4-BE49-F238E27FC236}">
                  <a16:creationId xmlns:a16="http://schemas.microsoft.com/office/drawing/2014/main" id="{1E2C9D69-9647-4932-892A-18D4A991B85A}"/>
                </a:ext>
              </a:extLst>
            </p:cNvPr>
            <p:cNvSpPr txBox="1"/>
            <p:nvPr/>
          </p:nvSpPr>
          <p:spPr>
            <a:xfrm>
              <a:off x="7110646" y="5673001"/>
              <a:ext cx="2541137" cy="221123"/>
            </a:xfrm>
            <a:prstGeom prst="rect">
              <a:avLst/>
            </a:prstGeom>
            <a:noFill/>
          </p:spPr>
          <p:txBody>
            <a:bodyPr wrap="square" rtlCol="0">
              <a:spAutoFit/>
            </a:bodyPr>
            <a:lstStyle/>
            <a:p>
              <a:pPr defTabSz="685800">
                <a:defRPr/>
              </a:pPr>
              <a:r>
                <a:rPr lang="en-GB" sz="750">
                  <a:solidFill>
                    <a:prstClr val="black"/>
                  </a:solidFill>
                  <a:latin typeface="Arial" panose="020B0604020202020204" pitchFamily="34" charset="0"/>
                  <a:cs typeface="Arial" panose="020B0604020202020204" pitchFamily="34" charset="0"/>
                </a:rPr>
                <a:t>High-risk CA – undetectable MRD</a:t>
              </a:r>
            </a:p>
          </p:txBody>
        </p:sp>
        <p:grpSp>
          <p:nvGrpSpPr>
            <p:cNvPr id="19" name="Group 8">
              <a:extLst>
                <a:ext uri="{FF2B5EF4-FFF2-40B4-BE49-F238E27FC236}">
                  <a16:creationId xmlns:a16="http://schemas.microsoft.com/office/drawing/2014/main" id="{A8579392-2E25-4540-953A-E3AFBFC62FE4}"/>
                </a:ext>
              </a:extLst>
            </p:cNvPr>
            <p:cNvGrpSpPr/>
            <p:nvPr/>
          </p:nvGrpSpPr>
          <p:grpSpPr>
            <a:xfrm>
              <a:off x="357748" y="1848694"/>
              <a:ext cx="10941879" cy="3801553"/>
              <a:chOff x="387056" y="1425162"/>
              <a:chExt cx="10941879" cy="3801553"/>
            </a:xfrm>
          </p:grpSpPr>
          <p:cxnSp>
            <p:nvCxnSpPr>
              <p:cNvPr id="20" name="Straight Connector 10">
                <a:extLst>
                  <a:ext uri="{FF2B5EF4-FFF2-40B4-BE49-F238E27FC236}">
                    <a16:creationId xmlns:a16="http://schemas.microsoft.com/office/drawing/2014/main" id="{431E9345-C9C7-46E0-AAE8-FD54888C97AD}"/>
                  </a:ext>
                </a:extLst>
              </p:cNvPr>
              <p:cNvCxnSpPr>
                <a:cxnSpLocks/>
              </p:cNvCxnSpPr>
              <p:nvPr/>
            </p:nvCxnSpPr>
            <p:spPr>
              <a:xfrm>
                <a:off x="4592720" y="2010596"/>
                <a:ext cx="622288" cy="0"/>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cxnSp>
            <p:nvCxnSpPr>
              <p:cNvPr id="21" name="Straight Connector 14">
                <a:extLst>
                  <a:ext uri="{FF2B5EF4-FFF2-40B4-BE49-F238E27FC236}">
                    <a16:creationId xmlns:a16="http://schemas.microsoft.com/office/drawing/2014/main" id="{17FDC85E-596A-4A3E-859B-1F35C8D57206}"/>
                  </a:ext>
                </a:extLst>
              </p:cNvPr>
              <p:cNvCxnSpPr/>
              <p:nvPr/>
            </p:nvCxnSpPr>
            <p:spPr>
              <a:xfrm flipV="1">
                <a:off x="1460216" y="1604021"/>
                <a:ext cx="0" cy="2245761"/>
              </a:xfrm>
              <a:prstGeom prst="line">
                <a:avLst/>
              </a:prstGeom>
            </p:spPr>
            <p:style>
              <a:lnRef idx="3">
                <a:schemeClr val="dk1"/>
              </a:lnRef>
              <a:fillRef idx="0">
                <a:schemeClr val="dk1"/>
              </a:fillRef>
              <a:effectRef idx="2">
                <a:schemeClr val="dk1"/>
              </a:effectRef>
              <a:fontRef idx="minor">
                <a:schemeClr val="tx1"/>
              </a:fontRef>
            </p:style>
          </p:cxnSp>
          <p:cxnSp>
            <p:nvCxnSpPr>
              <p:cNvPr id="22" name="Straight Connector 15">
                <a:extLst>
                  <a:ext uri="{FF2B5EF4-FFF2-40B4-BE49-F238E27FC236}">
                    <a16:creationId xmlns:a16="http://schemas.microsoft.com/office/drawing/2014/main" id="{7F25694D-A94D-4422-8FD5-FED51CDEF047}"/>
                  </a:ext>
                </a:extLst>
              </p:cNvPr>
              <p:cNvCxnSpPr/>
              <p:nvPr/>
            </p:nvCxnSpPr>
            <p:spPr>
              <a:xfrm>
                <a:off x="1460216" y="3849782"/>
                <a:ext cx="4193237" cy="0"/>
              </a:xfrm>
              <a:prstGeom prst="line">
                <a:avLst/>
              </a:prstGeom>
            </p:spPr>
            <p:style>
              <a:lnRef idx="3">
                <a:schemeClr val="dk1"/>
              </a:lnRef>
              <a:fillRef idx="0">
                <a:schemeClr val="dk1"/>
              </a:fillRef>
              <a:effectRef idx="2">
                <a:schemeClr val="dk1"/>
              </a:effectRef>
              <a:fontRef idx="minor">
                <a:schemeClr val="tx1"/>
              </a:fontRef>
            </p:style>
          </p:cxnSp>
          <p:cxnSp>
            <p:nvCxnSpPr>
              <p:cNvPr id="23" name="Straight Connector 16">
                <a:extLst>
                  <a:ext uri="{FF2B5EF4-FFF2-40B4-BE49-F238E27FC236}">
                    <a16:creationId xmlns:a16="http://schemas.microsoft.com/office/drawing/2014/main" id="{71F82B2E-3808-4ED9-BFF3-1376E6653514}"/>
                  </a:ext>
                </a:extLst>
              </p:cNvPr>
              <p:cNvCxnSpPr/>
              <p:nvPr/>
            </p:nvCxnSpPr>
            <p:spPr>
              <a:xfrm flipV="1">
                <a:off x="3941874" y="1772243"/>
                <a:ext cx="0" cy="2077539"/>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Straight Connector 17">
                <a:extLst>
                  <a:ext uri="{FF2B5EF4-FFF2-40B4-BE49-F238E27FC236}">
                    <a16:creationId xmlns:a16="http://schemas.microsoft.com/office/drawing/2014/main" id="{70A754FA-EA16-4210-9415-DD8043B359BF}"/>
                  </a:ext>
                </a:extLst>
              </p:cNvPr>
              <p:cNvCxnSpPr/>
              <p:nvPr/>
            </p:nvCxnSpPr>
            <p:spPr>
              <a:xfrm flipH="1">
                <a:off x="1394285" y="1732992"/>
                <a:ext cx="65932" cy="0"/>
              </a:xfrm>
              <a:prstGeom prst="line">
                <a:avLst/>
              </a:prstGeom>
            </p:spPr>
            <p:style>
              <a:lnRef idx="3">
                <a:schemeClr val="dk1"/>
              </a:lnRef>
              <a:fillRef idx="0">
                <a:schemeClr val="dk1"/>
              </a:fillRef>
              <a:effectRef idx="2">
                <a:schemeClr val="dk1"/>
              </a:effectRef>
              <a:fontRef idx="minor">
                <a:schemeClr val="tx1"/>
              </a:fontRef>
            </p:style>
          </p:cxnSp>
          <p:cxnSp>
            <p:nvCxnSpPr>
              <p:cNvPr id="25" name="Straight Connector 18">
                <a:extLst>
                  <a:ext uri="{FF2B5EF4-FFF2-40B4-BE49-F238E27FC236}">
                    <a16:creationId xmlns:a16="http://schemas.microsoft.com/office/drawing/2014/main" id="{23F2254D-3AB0-4F32-9C70-A6F63F20C608}"/>
                  </a:ext>
                </a:extLst>
              </p:cNvPr>
              <p:cNvCxnSpPr/>
              <p:nvPr/>
            </p:nvCxnSpPr>
            <p:spPr>
              <a:xfrm flipH="1">
                <a:off x="1394285" y="2237657"/>
                <a:ext cx="65932" cy="0"/>
              </a:xfrm>
              <a:prstGeom prst="line">
                <a:avLst/>
              </a:prstGeom>
            </p:spPr>
            <p:style>
              <a:lnRef idx="3">
                <a:schemeClr val="dk1"/>
              </a:lnRef>
              <a:fillRef idx="0">
                <a:schemeClr val="dk1"/>
              </a:fillRef>
              <a:effectRef idx="2">
                <a:schemeClr val="dk1"/>
              </a:effectRef>
              <a:fontRef idx="minor">
                <a:schemeClr val="tx1"/>
              </a:fontRef>
            </p:style>
          </p:cxnSp>
          <p:cxnSp>
            <p:nvCxnSpPr>
              <p:cNvPr id="26" name="Straight Connector 19">
                <a:extLst>
                  <a:ext uri="{FF2B5EF4-FFF2-40B4-BE49-F238E27FC236}">
                    <a16:creationId xmlns:a16="http://schemas.microsoft.com/office/drawing/2014/main" id="{B2FCA240-5647-4197-9EA3-3F02E0907924}"/>
                  </a:ext>
                </a:extLst>
              </p:cNvPr>
              <p:cNvCxnSpPr/>
              <p:nvPr/>
            </p:nvCxnSpPr>
            <p:spPr>
              <a:xfrm flipH="1">
                <a:off x="1386373" y="2733911"/>
                <a:ext cx="65932" cy="0"/>
              </a:xfrm>
              <a:prstGeom prst="line">
                <a:avLst/>
              </a:prstGeom>
            </p:spPr>
            <p:style>
              <a:lnRef idx="3">
                <a:schemeClr val="dk1"/>
              </a:lnRef>
              <a:fillRef idx="0">
                <a:schemeClr val="dk1"/>
              </a:fillRef>
              <a:effectRef idx="2">
                <a:schemeClr val="dk1"/>
              </a:effectRef>
              <a:fontRef idx="minor">
                <a:schemeClr val="tx1"/>
              </a:fontRef>
            </p:style>
          </p:cxnSp>
          <p:cxnSp>
            <p:nvCxnSpPr>
              <p:cNvPr id="27" name="Straight Connector 20">
                <a:extLst>
                  <a:ext uri="{FF2B5EF4-FFF2-40B4-BE49-F238E27FC236}">
                    <a16:creationId xmlns:a16="http://schemas.microsoft.com/office/drawing/2014/main" id="{6B5DFE99-2A38-435E-93EF-C77DC0EB5B59}"/>
                  </a:ext>
                </a:extLst>
              </p:cNvPr>
              <p:cNvCxnSpPr/>
              <p:nvPr/>
            </p:nvCxnSpPr>
            <p:spPr>
              <a:xfrm flipH="1">
                <a:off x="1386373" y="3242782"/>
                <a:ext cx="65932" cy="0"/>
              </a:xfrm>
              <a:prstGeom prst="line">
                <a:avLst/>
              </a:prstGeom>
            </p:spPr>
            <p:style>
              <a:lnRef idx="3">
                <a:schemeClr val="dk1"/>
              </a:lnRef>
              <a:fillRef idx="0">
                <a:schemeClr val="dk1"/>
              </a:fillRef>
              <a:effectRef idx="2">
                <a:schemeClr val="dk1"/>
              </a:effectRef>
              <a:fontRef idx="minor">
                <a:schemeClr val="tx1"/>
              </a:fontRef>
            </p:style>
          </p:cxnSp>
          <p:cxnSp>
            <p:nvCxnSpPr>
              <p:cNvPr id="28" name="Straight Connector 21">
                <a:extLst>
                  <a:ext uri="{FF2B5EF4-FFF2-40B4-BE49-F238E27FC236}">
                    <a16:creationId xmlns:a16="http://schemas.microsoft.com/office/drawing/2014/main" id="{B23CC6A7-1736-4016-854F-1DD37FE215A7}"/>
                  </a:ext>
                </a:extLst>
              </p:cNvPr>
              <p:cNvCxnSpPr/>
              <p:nvPr/>
            </p:nvCxnSpPr>
            <p:spPr>
              <a:xfrm flipH="1">
                <a:off x="1394285" y="3734831"/>
                <a:ext cx="65932" cy="0"/>
              </a:xfrm>
              <a:prstGeom prst="line">
                <a:avLst/>
              </a:prstGeom>
            </p:spPr>
            <p:style>
              <a:lnRef idx="3">
                <a:schemeClr val="dk1"/>
              </a:lnRef>
              <a:fillRef idx="0">
                <a:schemeClr val="dk1"/>
              </a:fillRef>
              <a:effectRef idx="2">
                <a:schemeClr val="dk1"/>
              </a:effectRef>
              <a:fontRef idx="minor">
                <a:schemeClr val="tx1"/>
              </a:fontRef>
            </p:style>
          </p:cxnSp>
          <p:cxnSp>
            <p:nvCxnSpPr>
              <p:cNvPr id="29" name="Straight Connector 22">
                <a:extLst>
                  <a:ext uri="{FF2B5EF4-FFF2-40B4-BE49-F238E27FC236}">
                    <a16:creationId xmlns:a16="http://schemas.microsoft.com/office/drawing/2014/main" id="{82AF70E6-73A2-4587-AD5F-50A9E8087D5D}"/>
                  </a:ext>
                </a:extLst>
              </p:cNvPr>
              <p:cNvCxnSpPr>
                <a:cxnSpLocks/>
              </p:cNvCxnSpPr>
              <p:nvPr/>
            </p:nvCxnSpPr>
            <p:spPr>
              <a:xfrm flipV="1">
                <a:off x="1655372" y="3842773"/>
                <a:ext cx="1" cy="72896"/>
              </a:xfrm>
              <a:prstGeom prst="line">
                <a:avLst/>
              </a:prstGeom>
            </p:spPr>
            <p:style>
              <a:lnRef idx="3">
                <a:schemeClr val="dk1"/>
              </a:lnRef>
              <a:fillRef idx="0">
                <a:schemeClr val="dk1"/>
              </a:fillRef>
              <a:effectRef idx="2">
                <a:schemeClr val="dk1"/>
              </a:effectRef>
              <a:fontRef idx="minor">
                <a:schemeClr val="tx1"/>
              </a:fontRef>
            </p:style>
          </p:cxnSp>
          <p:cxnSp>
            <p:nvCxnSpPr>
              <p:cNvPr id="30" name="Straight Connector 23">
                <a:extLst>
                  <a:ext uri="{FF2B5EF4-FFF2-40B4-BE49-F238E27FC236}">
                    <a16:creationId xmlns:a16="http://schemas.microsoft.com/office/drawing/2014/main" id="{558DA808-55D2-41E0-9D80-50C6B9D2EF74}"/>
                  </a:ext>
                </a:extLst>
              </p:cNvPr>
              <p:cNvCxnSpPr>
                <a:cxnSpLocks/>
              </p:cNvCxnSpPr>
              <p:nvPr/>
            </p:nvCxnSpPr>
            <p:spPr>
              <a:xfrm flipV="1">
                <a:off x="2284358" y="3842773"/>
                <a:ext cx="1" cy="72896"/>
              </a:xfrm>
              <a:prstGeom prst="line">
                <a:avLst/>
              </a:prstGeom>
            </p:spPr>
            <p:style>
              <a:lnRef idx="3">
                <a:schemeClr val="dk1"/>
              </a:lnRef>
              <a:fillRef idx="0">
                <a:schemeClr val="dk1"/>
              </a:fillRef>
              <a:effectRef idx="2">
                <a:schemeClr val="dk1"/>
              </a:effectRef>
              <a:fontRef idx="minor">
                <a:schemeClr val="tx1"/>
              </a:fontRef>
            </p:style>
          </p:cxnSp>
          <p:cxnSp>
            <p:nvCxnSpPr>
              <p:cNvPr id="31" name="Straight Connector 24">
                <a:extLst>
                  <a:ext uri="{FF2B5EF4-FFF2-40B4-BE49-F238E27FC236}">
                    <a16:creationId xmlns:a16="http://schemas.microsoft.com/office/drawing/2014/main" id="{FD050144-759F-4EE6-8B01-0C91FE5DD2C8}"/>
                  </a:ext>
                </a:extLst>
              </p:cNvPr>
              <p:cNvCxnSpPr>
                <a:cxnSpLocks/>
              </p:cNvCxnSpPr>
              <p:nvPr/>
            </p:nvCxnSpPr>
            <p:spPr>
              <a:xfrm flipV="1">
                <a:off x="2921255" y="3842773"/>
                <a:ext cx="1" cy="72896"/>
              </a:xfrm>
              <a:prstGeom prst="line">
                <a:avLst/>
              </a:prstGeom>
            </p:spPr>
            <p:style>
              <a:lnRef idx="3">
                <a:schemeClr val="dk1"/>
              </a:lnRef>
              <a:fillRef idx="0">
                <a:schemeClr val="dk1"/>
              </a:fillRef>
              <a:effectRef idx="2">
                <a:schemeClr val="dk1"/>
              </a:effectRef>
              <a:fontRef idx="minor">
                <a:schemeClr val="tx1"/>
              </a:fontRef>
            </p:style>
          </p:cxnSp>
          <p:cxnSp>
            <p:nvCxnSpPr>
              <p:cNvPr id="32" name="Straight Connector 25">
                <a:extLst>
                  <a:ext uri="{FF2B5EF4-FFF2-40B4-BE49-F238E27FC236}">
                    <a16:creationId xmlns:a16="http://schemas.microsoft.com/office/drawing/2014/main" id="{9E0244A0-7A4B-4B34-9BBA-1544B2AE9D04}"/>
                  </a:ext>
                </a:extLst>
              </p:cNvPr>
              <p:cNvCxnSpPr>
                <a:cxnSpLocks/>
              </p:cNvCxnSpPr>
              <p:nvPr/>
            </p:nvCxnSpPr>
            <p:spPr>
              <a:xfrm flipV="1">
                <a:off x="3556834" y="3842772"/>
                <a:ext cx="1" cy="72896"/>
              </a:xfrm>
              <a:prstGeom prst="line">
                <a:avLst/>
              </a:prstGeom>
            </p:spPr>
            <p:style>
              <a:lnRef idx="3">
                <a:schemeClr val="dk1"/>
              </a:lnRef>
              <a:fillRef idx="0">
                <a:schemeClr val="dk1"/>
              </a:fillRef>
              <a:effectRef idx="2">
                <a:schemeClr val="dk1"/>
              </a:effectRef>
              <a:fontRef idx="minor">
                <a:schemeClr val="tx1"/>
              </a:fontRef>
            </p:style>
          </p:cxnSp>
          <p:cxnSp>
            <p:nvCxnSpPr>
              <p:cNvPr id="33" name="Straight Connector 26">
                <a:extLst>
                  <a:ext uri="{FF2B5EF4-FFF2-40B4-BE49-F238E27FC236}">
                    <a16:creationId xmlns:a16="http://schemas.microsoft.com/office/drawing/2014/main" id="{3C96935D-DB83-4332-8D99-C9CCB05AA523}"/>
                  </a:ext>
                </a:extLst>
              </p:cNvPr>
              <p:cNvCxnSpPr>
                <a:cxnSpLocks/>
              </p:cNvCxnSpPr>
              <p:nvPr/>
            </p:nvCxnSpPr>
            <p:spPr>
              <a:xfrm flipV="1">
                <a:off x="4193730" y="3842771"/>
                <a:ext cx="1" cy="72896"/>
              </a:xfrm>
              <a:prstGeom prst="line">
                <a:avLst/>
              </a:prstGeom>
            </p:spPr>
            <p:style>
              <a:lnRef idx="3">
                <a:schemeClr val="dk1"/>
              </a:lnRef>
              <a:fillRef idx="0">
                <a:schemeClr val="dk1"/>
              </a:fillRef>
              <a:effectRef idx="2">
                <a:schemeClr val="dk1"/>
              </a:effectRef>
              <a:fontRef idx="minor">
                <a:schemeClr val="tx1"/>
              </a:fontRef>
            </p:style>
          </p:cxnSp>
          <p:cxnSp>
            <p:nvCxnSpPr>
              <p:cNvPr id="34" name="Straight Connector 27">
                <a:extLst>
                  <a:ext uri="{FF2B5EF4-FFF2-40B4-BE49-F238E27FC236}">
                    <a16:creationId xmlns:a16="http://schemas.microsoft.com/office/drawing/2014/main" id="{F91C6197-C5BA-4CF6-B445-66FA0E899041}"/>
                  </a:ext>
                </a:extLst>
              </p:cNvPr>
              <p:cNvCxnSpPr>
                <a:cxnSpLocks/>
              </p:cNvCxnSpPr>
              <p:nvPr/>
            </p:nvCxnSpPr>
            <p:spPr>
              <a:xfrm flipV="1">
                <a:off x="4830627" y="3852586"/>
                <a:ext cx="1" cy="72896"/>
              </a:xfrm>
              <a:prstGeom prst="line">
                <a:avLst/>
              </a:prstGeom>
            </p:spPr>
            <p:style>
              <a:lnRef idx="3">
                <a:schemeClr val="dk1"/>
              </a:lnRef>
              <a:fillRef idx="0">
                <a:schemeClr val="dk1"/>
              </a:fillRef>
              <a:effectRef idx="2">
                <a:schemeClr val="dk1"/>
              </a:effectRef>
              <a:fontRef idx="minor">
                <a:schemeClr val="tx1"/>
              </a:fontRef>
            </p:style>
          </p:cxnSp>
          <p:sp>
            <p:nvSpPr>
              <p:cNvPr id="35" name="TextBox 29">
                <a:extLst>
                  <a:ext uri="{FF2B5EF4-FFF2-40B4-BE49-F238E27FC236}">
                    <a16:creationId xmlns:a16="http://schemas.microsoft.com/office/drawing/2014/main" id="{0592B2CF-EE4F-425A-9AF7-316101AAB582}"/>
                  </a:ext>
                </a:extLst>
              </p:cNvPr>
              <p:cNvSpPr txBox="1"/>
              <p:nvPr/>
            </p:nvSpPr>
            <p:spPr>
              <a:xfrm>
                <a:off x="907727" y="1570303"/>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100</a:t>
                </a:r>
              </a:p>
            </p:txBody>
          </p:sp>
          <p:sp>
            <p:nvSpPr>
              <p:cNvPr id="36" name="TextBox 30">
                <a:extLst>
                  <a:ext uri="{FF2B5EF4-FFF2-40B4-BE49-F238E27FC236}">
                    <a16:creationId xmlns:a16="http://schemas.microsoft.com/office/drawing/2014/main" id="{A47789D9-4BD8-4955-901B-C4490F37F9A9}"/>
                  </a:ext>
                </a:extLst>
              </p:cNvPr>
              <p:cNvSpPr txBox="1"/>
              <p:nvPr/>
            </p:nvSpPr>
            <p:spPr>
              <a:xfrm>
                <a:off x="907726" y="2081240"/>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75</a:t>
                </a:r>
              </a:p>
            </p:txBody>
          </p:sp>
          <p:sp>
            <p:nvSpPr>
              <p:cNvPr id="37" name="TextBox 31">
                <a:extLst>
                  <a:ext uri="{FF2B5EF4-FFF2-40B4-BE49-F238E27FC236}">
                    <a16:creationId xmlns:a16="http://schemas.microsoft.com/office/drawing/2014/main" id="{DE09526D-B9EB-49DD-8A21-8FD59870CC37}"/>
                  </a:ext>
                </a:extLst>
              </p:cNvPr>
              <p:cNvSpPr txBox="1"/>
              <p:nvPr/>
            </p:nvSpPr>
            <p:spPr>
              <a:xfrm>
                <a:off x="907726" y="2585904"/>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50</a:t>
                </a:r>
              </a:p>
            </p:txBody>
          </p:sp>
          <p:sp>
            <p:nvSpPr>
              <p:cNvPr id="38" name="TextBox 32">
                <a:extLst>
                  <a:ext uri="{FF2B5EF4-FFF2-40B4-BE49-F238E27FC236}">
                    <a16:creationId xmlns:a16="http://schemas.microsoft.com/office/drawing/2014/main" id="{F3C7593A-2E04-448B-BC87-C52F8B4CA8E3}"/>
                  </a:ext>
                </a:extLst>
              </p:cNvPr>
              <p:cNvSpPr txBox="1"/>
              <p:nvPr/>
            </p:nvSpPr>
            <p:spPr>
              <a:xfrm>
                <a:off x="907726" y="3089828"/>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25</a:t>
                </a:r>
              </a:p>
            </p:txBody>
          </p:sp>
          <p:sp>
            <p:nvSpPr>
              <p:cNvPr id="39" name="TextBox 33">
                <a:extLst>
                  <a:ext uri="{FF2B5EF4-FFF2-40B4-BE49-F238E27FC236}">
                    <a16:creationId xmlns:a16="http://schemas.microsoft.com/office/drawing/2014/main" id="{0CAE47BE-C471-44EA-A005-C02EEA8A3DFD}"/>
                  </a:ext>
                </a:extLst>
              </p:cNvPr>
              <p:cNvSpPr txBox="1"/>
              <p:nvPr/>
            </p:nvSpPr>
            <p:spPr>
              <a:xfrm>
                <a:off x="908384" y="3596053"/>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0</a:t>
                </a:r>
              </a:p>
            </p:txBody>
          </p:sp>
          <p:sp>
            <p:nvSpPr>
              <p:cNvPr id="40" name="TextBox 34">
                <a:extLst>
                  <a:ext uri="{FF2B5EF4-FFF2-40B4-BE49-F238E27FC236}">
                    <a16:creationId xmlns:a16="http://schemas.microsoft.com/office/drawing/2014/main" id="{2CFE6C43-7182-4032-840F-6614DCE54E06}"/>
                  </a:ext>
                </a:extLst>
              </p:cNvPr>
              <p:cNvSpPr txBox="1"/>
              <p:nvPr/>
            </p:nvSpPr>
            <p:spPr>
              <a:xfrm>
                <a:off x="1258488" y="3893316"/>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0</a:t>
                </a:r>
              </a:p>
            </p:txBody>
          </p:sp>
          <p:sp>
            <p:nvSpPr>
              <p:cNvPr id="41" name="TextBox 35">
                <a:extLst>
                  <a:ext uri="{FF2B5EF4-FFF2-40B4-BE49-F238E27FC236}">
                    <a16:creationId xmlns:a16="http://schemas.microsoft.com/office/drawing/2014/main" id="{79AA5F32-FC55-496C-82E4-0A155DF67227}"/>
                  </a:ext>
                </a:extLst>
              </p:cNvPr>
              <p:cNvSpPr txBox="1"/>
              <p:nvPr/>
            </p:nvSpPr>
            <p:spPr>
              <a:xfrm>
                <a:off x="1925723" y="3894640"/>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10</a:t>
                </a:r>
              </a:p>
            </p:txBody>
          </p:sp>
          <p:sp>
            <p:nvSpPr>
              <p:cNvPr id="42" name="TextBox 36">
                <a:extLst>
                  <a:ext uri="{FF2B5EF4-FFF2-40B4-BE49-F238E27FC236}">
                    <a16:creationId xmlns:a16="http://schemas.microsoft.com/office/drawing/2014/main" id="{8D8D356F-BFEA-4A47-8DB6-134489283D04}"/>
                  </a:ext>
                </a:extLst>
              </p:cNvPr>
              <p:cNvSpPr txBox="1"/>
              <p:nvPr/>
            </p:nvSpPr>
            <p:spPr>
              <a:xfrm>
                <a:off x="2561301" y="3889033"/>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20</a:t>
                </a:r>
              </a:p>
            </p:txBody>
          </p:sp>
          <p:sp>
            <p:nvSpPr>
              <p:cNvPr id="43" name="TextBox 37">
                <a:extLst>
                  <a:ext uri="{FF2B5EF4-FFF2-40B4-BE49-F238E27FC236}">
                    <a16:creationId xmlns:a16="http://schemas.microsoft.com/office/drawing/2014/main" id="{3AFBDED4-8630-48A7-B63B-5C52C21F5565}"/>
                  </a:ext>
                </a:extLst>
              </p:cNvPr>
              <p:cNvSpPr txBox="1"/>
              <p:nvPr/>
            </p:nvSpPr>
            <p:spPr>
              <a:xfrm>
                <a:off x="3208741" y="3890985"/>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30</a:t>
                </a:r>
              </a:p>
            </p:txBody>
          </p:sp>
          <p:sp>
            <p:nvSpPr>
              <p:cNvPr id="44" name="TextBox 38">
                <a:extLst>
                  <a:ext uri="{FF2B5EF4-FFF2-40B4-BE49-F238E27FC236}">
                    <a16:creationId xmlns:a16="http://schemas.microsoft.com/office/drawing/2014/main" id="{4168CCE1-C8A3-422A-9CD0-C205C97D09E9}"/>
                  </a:ext>
                </a:extLst>
              </p:cNvPr>
              <p:cNvSpPr txBox="1"/>
              <p:nvPr/>
            </p:nvSpPr>
            <p:spPr>
              <a:xfrm>
                <a:off x="3836412" y="3894640"/>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40</a:t>
                </a:r>
              </a:p>
            </p:txBody>
          </p:sp>
          <p:sp>
            <p:nvSpPr>
              <p:cNvPr id="45" name="TextBox 39">
                <a:extLst>
                  <a:ext uri="{FF2B5EF4-FFF2-40B4-BE49-F238E27FC236}">
                    <a16:creationId xmlns:a16="http://schemas.microsoft.com/office/drawing/2014/main" id="{0FB2E8FF-ABE3-4918-A956-9E31ADBBEA79}"/>
                  </a:ext>
                </a:extLst>
              </p:cNvPr>
              <p:cNvSpPr txBox="1"/>
              <p:nvPr/>
            </p:nvSpPr>
            <p:spPr>
              <a:xfrm>
                <a:off x="4462759" y="3896202"/>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50</a:t>
                </a:r>
              </a:p>
            </p:txBody>
          </p:sp>
          <p:sp>
            <p:nvSpPr>
              <p:cNvPr id="46" name="TextBox 40">
                <a:extLst>
                  <a:ext uri="{FF2B5EF4-FFF2-40B4-BE49-F238E27FC236}">
                    <a16:creationId xmlns:a16="http://schemas.microsoft.com/office/drawing/2014/main" id="{A5DA8922-5D8C-4641-8E89-81838EC6DDFF}"/>
                  </a:ext>
                </a:extLst>
              </p:cNvPr>
              <p:cNvSpPr txBox="1"/>
              <p:nvPr/>
            </p:nvSpPr>
            <p:spPr>
              <a:xfrm>
                <a:off x="5103613" y="3890664"/>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60</a:t>
                </a:r>
              </a:p>
            </p:txBody>
          </p:sp>
          <p:sp>
            <p:nvSpPr>
              <p:cNvPr id="47" name="TextBox 41">
                <a:extLst>
                  <a:ext uri="{FF2B5EF4-FFF2-40B4-BE49-F238E27FC236}">
                    <a16:creationId xmlns:a16="http://schemas.microsoft.com/office/drawing/2014/main" id="{BE39286D-F421-46A4-AE1A-9CD089FAAD8F}"/>
                  </a:ext>
                </a:extLst>
              </p:cNvPr>
              <p:cNvSpPr txBox="1"/>
              <p:nvPr/>
            </p:nvSpPr>
            <p:spPr>
              <a:xfrm rot="16200000">
                <a:off x="-95326" y="2528120"/>
                <a:ext cx="2157410" cy="288274"/>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PFS (%)</a:t>
                </a:r>
              </a:p>
            </p:txBody>
          </p:sp>
          <p:sp>
            <p:nvSpPr>
              <p:cNvPr id="48" name="TextBox 42">
                <a:extLst>
                  <a:ext uri="{FF2B5EF4-FFF2-40B4-BE49-F238E27FC236}">
                    <a16:creationId xmlns:a16="http://schemas.microsoft.com/office/drawing/2014/main" id="{5C9BE465-4BE4-4B86-85F0-D5CF2EBA99D7}"/>
                  </a:ext>
                </a:extLst>
              </p:cNvPr>
              <p:cNvSpPr txBox="1"/>
              <p:nvPr/>
            </p:nvSpPr>
            <p:spPr>
              <a:xfrm>
                <a:off x="2021953" y="4141759"/>
                <a:ext cx="2626722"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Time from diagnosis (months)</a:t>
                </a:r>
              </a:p>
            </p:txBody>
          </p:sp>
          <p:cxnSp>
            <p:nvCxnSpPr>
              <p:cNvPr id="49" name="Straight Connector 44">
                <a:extLst>
                  <a:ext uri="{FF2B5EF4-FFF2-40B4-BE49-F238E27FC236}">
                    <a16:creationId xmlns:a16="http://schemas.microsoft.com/office/drawing/2014/main" id="{11DCDC84-44BF-4D4A-995D-40F164596898}"/>
                  </a:ext>
                </a:extLst>
              </p:cNvPr>
              <p:cNvCxnSpPr/>
              <p:nvPr/>
            </p:nvCxnSpPr>
            <p:spPr>
              <a:xfrm>
                <a:off x="1454926" y="5225384"/>
                <a:ext cx="168785"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50" name="Straight Connector 49">
                <a:extLst>
                  <a:ext uri="{FF2B5EF4-FFF2-40B4-BE49-F238E27FC236}">
                    <a16:creationId xmlns:a16="http://schemas.microsoft.com/office/drawing/2014/main" id="{F510D7AC-20C6-4643-BA3A-FA2C71E1B2A6}"/>
                  </a:ext>
                </a:extLst>
              </p:cNvPr>
              <p:cNvCxnSpPr/>
              <p:nvPr/>
            </p:nvCxnSpPr>
            <p:spPr>
              <a:xfrm>
                <a:off x="3880401" y="5225386"/>
                <a:ext cx="168785"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51" name="Straight Connector 155">
                <a:extLst>
                  <a:ext uri="{FF2B5EF4-FFF2-40B4-BE49-F238E27FC236}">
                    <a16:creationId xmlns:a16="http://schemas.microsoft.com/office/drawing/2014/main" id="{99E405B5-BA46-4EBD-9553-5C61C91CE2D1}"/>
                  </a:ext>
                </a:extLst>
              </p:cNvPr>
              <p:cNvCxnSpPr>
                <a:cxnSpLocks/>
              </p:cNvCxnSpPr>
              <p:nvPr/>
            </p:nvCxnSpPr>
            <p:spPr>
              <a:xfrm>
                <a:off x="1710754" y="1718744"/>
                <a:ext cx="1699087" cy="8642"/>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cxnSp>
            <p:nvCxnSpPr>
              <p:cNvPr id="52" name="Straight Connector 156">
                <a:extLst>
                  <a:ext uri="{FF2B5EF4-FFF2-40B4-BE49-F238E27FC236}">
                    <a16:creationId xmlns:a16="http://schemas.microsoft.com/office/drawing/2014/main" id="{4424295C-1159-4637-A885-9B7CEA23C6E2}"/>
                  </a:ext>
                </a:extLst>
              </p:cNvPr>
              <p:cNvCxnSpPr>
                <a:cxnSpLocks/>
              </p:cNvCxnSpPr>
              <p:nvPr/>
            </p:nvCxnSpPr>
            <p:spPr>
              <a:xfrm>
                <a:off x="3409841" y="1775086"/>
                <a:ext cx="1182879" cy="0"/>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cxnSp>
            <p:nvCxnSpPr>
              <p:cNvPr id="53" name="Straight Connector 157">
                <a:extLst>
                  <a:ext uri="{FF2B5EF4-FFF2-40B4-BE49-F238E27FC236}">
                    <a16:creationId xmlns:a16="http://schemas.microsoft.com/office/drawing/2014/main" id="{65AEF268-DE6A-435B-ACC4-6648D8968A38}"/>
                  </a:ext>
                </a:extLst>
              </p:cNvPr>
              <p:cNvCxnSpPr/>
              <p:nvPr/>
            </p:nvCxnSpPr>
            <p:spPr>
              <a:xfrm flipV="1">
                <a:off x="3409841" y="1727385"/>
                <a:ext cx="0" cy="44858"/>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cxnSp>
            <p:nvCxnSpPr>
              <p:cNvPr id="54" name="Straight Connector 158">
                <a:extLst>
                  <a:ext uri="{FF2B5EF4-FFF2-40B4-BE49-F238E27FC236}">
                    <a16:creationId xmlns:a16="http://schemas.microsoft.com/office/drawing/2014/main" id="{DB55B237-53A1-4D2D-9288-DE4E2454E3B5}"/>
                  </a:ext>
                </a:extLst>
              </p:cNvPr>
              <p:cNvCxnSpPr>
                <a:cxnSpLocks/>
              </p:cNvCxnSpPr>
              <p:nvPr/>
            </p:nvCxnSpPr>
            <p:spPr>
              <a:xfrm>
                <a:off x="2720823" y="1749814"/>
                <a:ext cx="200432"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55" name="Straight Connector 159">
                <a:extLst>
                  <a:ext uri="{FF2B5EF4-FFF2-40B4-BE49-F238E27FC236}">
                    <a16:creationId xmlns:a16="http://schemas.microsoft.com/office/drawing/2014/main" id="{AC56E7FE-C2CB-4A88-8DEA-D0ED492AC1F8}"/>
                  </a:ext>
                </a:extLst>
              </p:cNvPr>
              <p:cNvCxnSpPr>
                <a:cxnSpLocks/>
              </p:cNvCxnSpPr>
              <p:nvPr/>
            </p:nvCxnSpPr>
            <p:spPr>
              <a:xfrm>
                <a:off x="2921255" y="1749814"/>
                <a:ext cx="329658"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56" name="Straight Connector 160">
                <a:extLst>
                  <a:ext uri="{FF2B5EF4-FFF2-40B4-BE49-F238E27FC236}">
                    <a16:creationId xmlns:a16="http://schemas.microsoft.com/office/drawing/2014/main" id="{05ECE827-7DAC-4088-936A-94E2FA4D9448}"/>
                  </a:ext>
                </a:extLst>
              </p:cNvPr>
              <p:cNvCxnSpPr>
                <a:cxnSpLocks/>
              </p:cNvCxnSpPr>
              <p:nvPr/>
            </p:nvCxnSpPr>
            <p:spPr>
              <a:xfrm>
                <a:off x="3235825" y="1772243"/>
                <a:ext cx="174017"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57" name="Straight Connector 161">
                <a:extLst>
                  <a:ext uri="{FF2B5EF4-FFF2-40B4-BE49-F238E27FC236}">
                    <a16:creationId xmlns:a16="http://schemas.microsoft.com/office/drawing/2014/main" id="{5038FDDC-F6CD-4911-9ED8-A7A294008CA7}"/>
                  </a:ext>
                </a:extLst>
              </p:cNvPr>
              <p:cNvCxnSpPr>
                <a:cxnSpLocks/>
              </p:cNvCxnSpPr>
              <p:nvPr/>
            </p:nvCxnSpPr>
            <p:spPr>
              <a:xfrm>
                <a:off x="3312309" y="1794674"/>
                <a:ext cx="97535"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58" name="Straight Connector 162">
                <a:extLst>
                  <a:ext uri="{FF2B5EF4-FFF2-40B4-BE49-F238E27FC236}">
                    <a16:creationId xmlns:a16="http://schemas.microsoft.com/office/drawing/2014/main" id="{C6E1F2EE-4DA5-44CC-8DBF-C53D20C89B08}"/>
                  </a:ext>
                </a:extLst>
              </p:cNvPr>
              <p:cNvCxnSpPr>
                <a:cxnSpLocks/>
              </p:cNvCxnSpPr>
              <p:nvPr/>
            </p:nvCxnSpPr>
            <p:spPr>
              <a:xfrm>
                <a:off x="3791607" y="1817103"/>
                <a:ext cx="97535"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59" name="Straight Connector 163">
                <a:extLst>
                  <a:ext uri="{FF2B5EF4-FFF2-40B4-BE49-F238E27FC236}">
                    <a16:creationId xmlns:a16="http://schemas.microsoft.com/office/drawing/2014/main" id="{6EE9BDEE-267C-47C3-BE64-4FE0FABC80EA}"/>
                  </a:ext>
                </a:extLst>
              </p:cNvPr>
              <p:cNvCxnSpPr>
                <a:cxnSpLocks/>
              </p:cNvCxnSpPr>
              <p:nvPr/>
            </p:nvCxnSpPr>
            <p:spPr>
              <a:xfrm>
                <a:off x="3824552" y="1833924"/>
                <a:ext cx="97535"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60" name="Straight Connector 164">
                <a:extLst>
                  <a:ext uri="{FF2B5EF4-FFF2-40B4-BE49-F238E27FC236}">
                    <a16:creationId xmlns:a16="http://schemas.microsoft.com/office/drawing/2014/main" id="{0135BAF0-F429-4F31-91E7-2AC229B3E536}"/>
                  </a:ext>
                </a:extLst>
              </p:cNvPr>
              <p:cNvCxnSpPr>
                <a:cxnSpLocks/>
                <a:endCxn id="66" idx="1"/>
              </p:cNvCxnSpPr>
              <p:nvPr/>
            </p:nvCxnSpPr>
            <p:spPr>
              <a:xfrm flipV="1">
                <a:off x="3965687" y="1861961"/>
                <a:ext cx="355951" cy="2885"/>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61" name="Straight Connector 165">
                <a:extLst>
                  <a:ext uri="{FF2B5EF4-FFF2-40B4-BE49-F238E27FC236}">
                    <a16:creationId xmlns:a16="http://schemas.microsoft.com/office/drawing/2014/main" id="{D5D75F38-601B-4279-B784-F9DBFF17F6D9}"/>
                  </a:ext>
                </a:extLst>
              </p:cNvPr>
              <p:cNvCxnSpPr>
                <a:cxnSpLocks/>
              </p:cNvCxnSpPr>
              <p:nvPr/>
            </p:nvCxnSpPr>
            <p:spPr>
              <a:xfrm>
                <a:off x="4311793" y="1898487"/>
                <a:ext cx="97535"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62" name="Straight Connector 166">
                <a:extLst>
                  <a:ext uri="{FF2B5EF4-FFF2-40B4-BE49-F238E27FC236}">
                    <a16:creationId xmlns:a16="http://schemas.microsoft.com/office/drawing/2014/main" id="{E36CCFAD-CF54-444A-90CC-98E745D09272}"/>
                  </a:ext>
                </a:extLst>
              </p:cNvPr>
              <p:cNvCxnSpPr>
                <a:cxnSpLocks/>
              </p:cNvCxnSpPr>
              <p:nvPr/>
            </p:nvCxnSpPr>
            <p:spPr>
              <a:xfrm>
                <a:off x="4395482" y="1932131"/>
                <a:ext cx="76453"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63" name="Straight Connector 167">
                <a:extLst>
                  <a:ext uri="{FF2B5EF4-FFF2-40B4-BE49-F238E27FC236}">
                    <a16:creationId xmlns:a16="http://schemas.microsoft.com/office/drawing/2014/main" id="{F0523C0A-87D9-47AA-80BD-5648A1343642}"/>
                  </a:ext>
                </a:extLst>
              </p:cNvPr>
              <p:cNvCxnSpPr>
                <a:cxnSpLocks/>
                <a:stCxn id="68" idx="0"/>
              </p:cNvCxnSpPr>
              <p:nvPr/>
            </p:nvCxnSpPr>
            <p:spPr>
              <a:xfrm flipV="1">
                <a:off x="4464050" y="1985403"/>
                <a:ext cx="431964" cy="5529"/>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64" name="Straight Connector 168">
                <a:extLst>
                  <a:ext uri="{FF2B5EF4-FFF2-40B4-BE49-F238E27FC236}">
                    <a16:creationId xmlns:a16="http://schemas.microsoft.com/office/drawing/2014/main" id="{0847B08E-F85D-452E-8D82-DC0B977692E3}"/>
                  </a:ext>
                </a:extLst>
              </p:cNvPr>
              <p:cNvCxnSpPr>
                <a:cxnSpLocks/>
              </p:cNvCxnSpPr>
              <p:nvPr/>
            </p:nvCxnSpPr>
            <p:spPr>
              <a:xfrm>
                <a:off x="4881492" y="2142484"/>
                <a:ext cx="184746"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65" name="Straight Connector 169">
                <a:extLst>
                  <a:ext uri="{FF2B5EF4-FFF2-40B4-BE49-F238E27FC236}">
                    <a16:creationId xmlns:a16="http://schemas.microsoft.com/office/drawing/2014/main" id="{DD0567EA-0CFE-460E-9F47-63C94B88019E}"/>
                  </a:ext>
                </a:extLst>
              </p:cNvPr>
              <p:cNvCxnSpPr/>
              <p:nvPr/>
            </p:nvCxnSpPr>
            <p:spPr>
              <a:xfrm flipV="1">
                <a:off x="4592720" y="1772243"/>
                <a:ext cx="0" cy="238353"/>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sp>
            <p:nvSpPr>
              <p:cNvPr id="66" name="Freeform: Shape 170">
                <a:extLst>
                  <a:ext uri="{FF2B5EF4-FFF2-40B4-BE49-F238E27FC236}">
                    <a16:creationId xmlns:a16="http://schemas.microsoft.com/office/drawing/2014/main" id="{8359CE30-A1FC-4E54-8D7E-DAB9E9309291}"/>
                  </a:ext>
                </a:extLst>
              </p:cNvPr>
              <p:cNvSpPr/>
              <p:nvPr/>
            </p:nvSpPr>
            <p:spPr>
              <a:xfrm>
                <a:off x="4321638" y="1861961"/>
                <a:ext cx="0" cy="50467"/>
              </a:xfrm>
              <a:custGeom>
                <a:avLst/>
                <a:gdLst>
                  <a:gd name="connsiteX0" fmla="*/ 0 w 0"/>
                  <a:gd name="connsiteY0" fmla="*/ 38100 h 38100"/>
                  <a:gd name="connsiteX1" fmla="*/ 0 w 0"/>
                  <a:gd name="connsiteY1" fmla="*/ 0 h 38100"/>
                </a:gdLst>
                <a:ahLst/>
                <a:cxnLst>
                  <a:cxn ang="0">
                    <a:pos x="connsiteX0" y="connsiteY0"/>
                  </a:cxn>
                  <a:cxn ang="0">
                    <a:pos x="connsiteX1" y="connsiteY1"/>
                  </a:cxn>
                </a:cxnLst>
                <a:rect l="l" t="t" r="r" b="b"/>
                <a:pathLst>
                  <a:path h="38100">
                    <a:moveTo>
                      <a:pt x="0" y="38100"/>
                    </a:moveTo>
                    <a:lnTo>
                      <a:pt x="0" y="0"/>
                    </a:lnTo>
                  </a:path>
                </a:pathLst>
              </a:custGeom>
              <a:noFill/>
              <a:ln>
                <a:solidFill>
                  <a:srgbClr val="35ABE1"/>
                </a:solidFill>
              </a:ln>
            </p:spPr>
            <p:style>
              <a:lnRef idx="3">
                <a:schemeClr val="dk1"/>
              </a:lnRef>
              <a:fillRef idx="0">
                <a:schemeClr val="dk1"/>
              </a:fillRef>
              <a:effectRef idx="2">
                <a:schemeClr val="dk1"/>
              </a:effectRef>
              <a:fontRef idx="minor">
                <a:schemeClr val="tx1"/>
              </a:fontRef>
            </p:style>
            <p:txBody>
              <a:bodyPr rtlCol="0" anchor="ctr"/>
              <a:lstStyle/>
              <a:p>
                <a:pPr algn="ctr" defTabSz="685800">
                  <a:defRPr/>
                </a:pPr>
                <a:endParaRPr lang="en-GB" sz="825">
                  <a:solidFill>
                    <a:prstClr val="black"/>
                  </a:solidFill>
                  <a:latin typeface="Arial" panose="020B0604020202020204" pitchFamily="34" charset="0"/>
                  <a:cs typeface="Arial" panose="020B0604020202020204" pitchFamily="34" charset="0"/>
                </a:endParaRPr>
              </a:p>
            </p:txBody>
          </p:sp>
          <p:sp>
            <p:nvSpPr>
              <p:cNvPr id="67" name="Freeform: Shape 171">
                <a:extLst>
                  <a:ext uri="{FF2B5EF4-FFF2-40B4-BE49-F238E27FC236}">
                    <a16:creationId xmlns:a16="http://schemas.microsoft.com/office/drawing/2014/main" id="{EF236759-618A-4262-B795-015176881058}"/>
                  </a:ext>
                </a:extLst>
              </p:cNvPr>
              <p:cNvSpPr/>
              <p:nvPr/>
            </p:nvSpPr>
            <p:spPr>
              <a:xfrm>
                <a:off x="4395482" y="1884392"/>
                <a:ext cx="0" cy="50467"/>
              </a:xfrm>
              <a:custGeom>
                <a:avLst/>
                <a:gdLst>
                  <a:gd name="connsiteX0" fmla="*/ 0 w 0"/>
                  <a:gd name="connsiteY0" fmla="*/ 38100 h 38100"/>
                  <a:gd name="connsiteX1" fmla="*/ 0 w 0"/>
                  <a:gd name="connsiteY1" fmla="*/ 0 h 38100"/>
                </a:gdLst>
                <a:ahLst/>
                <a:cxnLst>
                  <a:cxn ang="0">
                    <a:pos x="connsiteX0" y="connsiteY0"/>
                  </a:cxn>
                  <a:cxn ang="0">
                    <a:pos x="connsiteX1" y="connsiteY1"/>
                  </a:cxn>
                </a:cxnLst>
                <a:rect l="l" t="t" r="r" b="b"/>
                <a:pathLst>
                  <a:path h="38100">
                    <a:moveTo>
                      <a:pt x="0" y="38100"/>
                    </a:moveTo>
                    <a:lnTo>
                      <a:pt x="0" y="0"/>
                    </a:lnTo>
                  </a:path>
                </a:pathLst>
              </a:custGeom>
              <a:noFill/>
              <a:ln>
                <a:solidFill>
                  <a:srgbClr val="35ABE1"/>
                </a:solidFill>
              </a:ln>
            </p:spPr>
            <p:style>
              <a:lnRef idx="3">
                <a:schemeClr val="dk1"/>
              </a:lnRef>
              <a:fillRef idx="0">
                <a:schemeClr val="dk1"/>
              </a:fillRef>
              <a:effectRef idx="2">
                <a:schemeClr val="dk1"/>
              </a:effectRef>
              <a:fontRef idx="minor">
                <a:schemeClr val="tx1"/>
              </a:fontRef>
            </p:style>
            <p:txBody>
              <a:bodyPr rtlCol="0" anchor="ctr"/>
              <a:lstStyle/>
              <a:p>
                <a:pPr algn="ctr" defTabSz="685800">
                  <a:defRPr/>
                </a:pPr>
                <a:endParaRPr lang="en-GB" sz="825">
                  <a:solidFill>
                    <a:prstClr val="black"/>
                  </a:solidFill>
                  <a:latin typeface="Arial" panose="020B0604020202020204" pitchFamily="34" charset="0"/>
                  <a:cs typeface="Arial" panose="020B0604020202020204" pitchFamily="34" charset="0"/>
                </a:endParaRPr>
              </a:p>
            </p:txBody>
          </p:sp>
          <p:sp>
            <p:nvSpPr>
              <p:cNvPr id="68" name="Freeform: Shape 172">
                <a:extLst>
                  <a:ext uri="{FF2B5EF4-FFF2-40B4-BE49-F238E27FC236}">
                    <a16:creationId xmlns:a16="http://schemas.microsoft.com/office/drawing/2014/main" id="{280B3BD7-E355-45A9-99A2-32BB87A4FCE1}"/>
                  </a:ext>
                </a:extLst>
              </p:cNvPr>
              <p:cNvSpPr/>
              <p:nvPr/>
            </p:nvSpPr>
            <p:spPr>
              <a:xfrm>
                <a:off x="4464050" y="1929250"/>
                <a:ext cx="0" cy="61681"/>
              </a:xfrm>
              <a:custGeom>
                <a:avLst/>
                <a:gdLst>
                  <a:gd name="connsiteX0" fmla="*/ 0 w 0"/>
                  <a:gd name="connsiteY0" fmla="*/ 46567 h 46567"/>
                  <a:gd name="connsiteX1" fmla="*/ 0 w 0"/>
                  <a:gd name="connsiteY1" fmla="*/ 0 h 46567"/>
                </a:gdLst>
                <a:ahLst/>
                <a:cxnLst>
                  <a:cxn ang="0">
                    <a:pos x="connsiteX0" y="connsiteY0"/>
                  </a:cxn>
                  <a:cxn ang="0">
                    <a:pos x="connsiteX1" y="connsiteY1"/>
                  </a:cxn>
                </a:cxnLst>
                <a:rect l="l" t="t" r="r" b="b"/>
                <a:pathLst>
                  <a:path h="46567">
                    <a:moveTo>
                      <a:pt x="0" y="46567"/>
                    </a:moveTo>
                    <a:lnTo>
                      <a:pt x="0" y="0"/>
                    </a:lnTo>
                  </a:path>
                </a:pathLst>
              </a:custGeom>
              <a:noFill/>
              <a:ln>
                <a:solidFill>
                  <a:srgbClr val="35ABE1"/>
                </a:solidFill>
              </a:ln>
            </p:spPr>
            <p:style>
              <a:lnRef idx="3">
                <a:schemeClr val="dk1"/>
              </a:lnRef>
              <a:fillRef idx="0">
                <a:schemeClr val="dk1"/>
              </a:fillRef>
              <a:effectRef idx="2">
                <a:schemeClr val="dk1"/>
              </a:effectRef>
              <a:fontRef idx="minor">
                <a:schemeClr val="tx1"/>
              </a:fontRef>
            </p:style>
            <p:txBody>
              <a:bodyPr rtlCol="0" anchor="ctr"/>
              <a:lstStyle/>
              <a:p>
                <a:pPr algn="ctr" defTabSz="685800">
                  <a:defRPr/>
                </a:pPr>
                <a:endParaRPr lang="en-GB" sz="825">
                  <a:solidFill>
                    <a:prstClr val="black"/>
                  </a:solidFill>
                  <a:latin typeface="Arial" panose="020B0604020202020204" pitchFamily="34" charset="0"/>
                  <a:cs typeface="Arial" panose="020B0604020202020204" pitchFamily="34" charset="0"/>
                </a:endParaRPr>
              </a:p>
            </p:txBody>
          </p:sp>
          <p:cxnSp>
            <p:nvCxnSpPr>
              <p:cNvPr id="69" name="Straight Connector 173">
                <a:extLst>
                  <a:ext uri="{FF2B5EF4-FFF2-40B4-BE49-F238E27FC236}">
                    <a16:creationId xmlns:a16="http://schemas.microsoft.com/office/drawing/2014/main" id="{3DC24040-9C0A-4B4E-AE09-7D01F64EE9A7}"/>
                  </a:ext>
                </a:extLst>
              </p:cNvPr>
              <p:cNvCxnSpPr>
                <a:cxnSpLocks/>
              </p:cNvCxnSpPr>
              <p:nvPr/>
            </p:nvCxnSpPr>
            <p:spPr>
              <a:xfrm flipH="1">
                <a:off x="4584057" y="2607746"/>
                <a:ext cx="1" cy="10421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70" name="Straight Connector 174">
                <a:extLst>
                  <a:ext uri="{FF2B5EF4-FFF2-40B4-BE49-F238E27FC236}">
                    <a16:creationId xmlns:a16="http://schemas.microsoft.com/office/drawing/2014/main" id="{DAE430CD-2F0F-47E9-900C-BC54991D15AB}"/>
                  </a:ext>
                </a:extLst>
              </p:cNvPr>
              <p:cNvCxnSpPr>
                <a:cxnSpLocks/>
              </p:cNvCxnSpPr>
              <p:nvPr/>
            </p:nvCxnSpPr>
            <p:spPr>
              <a:xfrm>
                <a:off x="4058337" y="2596530"/>
                <a:ext cx="200007"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71" name="Straight Connector 175">
                <a:extLst>
                  <a:ext uri="{FF2B5EF4-FFF2-40B4-BE49-F238E27FC236}">
                    <a16:creationId xmlns:a16="http://schemas.microsoft.com/office/drawing/2014/main" id="{602EDC33-DC14-4D0E-A8F2-86E3CEDF2CEC}"/>
                  </a:ext>
                </a:extLst>
              </p:cNvPr>
              <p:cNvCxnSpPr>
                <a:cxnSpLocks/>
              </p:cNvCxnSpPr>
              <p:nvPr/>
            </p:nvCxnSpPr>
            <p:spPr>
              <a:xfrm>
                <a:off x="4253390" y="2607746"/>
                <a:ext cx="344606"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72" name="Straight Connector 176">
                <a:extLst>
                  <a:ext uri="{FF2B5EF4-FFF2-40B4-BE49-F238E27FC236}">
                    <a16:creationId xmlns:a16="http://schemas.microsoft.com/office/drawing/2014/main" id="{064A7EF8-A4E6-4A37-92D7-9F8D628A6554}"/>
                  </a:ext>
                </a:extLst>
              </p:cNvPr>
              <p:cNvCxnSpPr>
                <a:cxnSpLocks/>
              </p:cNvCxnSpPr>
              <p:nvPr/>
            </p:nvCxnSpPr>
            <p:spPr>
              <a:xfrm>
                <a:off x="4573509" y="2722697"/>
                <a:ext cx="432511"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73" name="Straight Connector 177">
                <a:extLst>
                  <a:ext uri="{FF2B5EF4-FFF2-40B4-BE49-F238E27FC236}">
                    <a16:creationId xmlns:a16="http://schemas.microsoft.com/office/drawing/2014/main" id="{755E3604-0422-451D-9AE5-CF00A5794A20}"/>
                  </a:ext>
                </a:extLst>
              </p:cNvPr>
              <p:cNvCxnSpPr>
                <a:cxnSpLocks/>
              </p:cNvCxnSpPr>
              <p:nvPr/>
            </p:nvCxnSpPr>
            <p:spPr>
              <a:xfrm>
                <a:off x="3990661" y="3028299"/>
                <a:ext cx="389010"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74" name="Straight Connector 178">
                <a:extLst>
                  <a:ext uri="{FF2B5EF4-FFF2-40B4-BE49-F238E27FC236}">
                    <a16:creationId xmlns:a16="http://schemas.microsoft.com/office/drawing/2014/main" id="{368FF302-519C-47F6-B545-5F50AFCA1156}"/>
                  </a:ext>
                </a:extLst>
              </p:cNvPr>
              <p:cNvCxnSpPr>
                <a:cxnSpLocks/>
              </p:cNvCxnSpPr>
              <p:nvPr/>
            </p:nvCxnSpPr>
            <p:spPr>
              <a:xfrm>
                <a:off x="3677835" y="2983440"/>
                <a:ext cx="337883"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75" name="Straight Connector 179">
                <a:extLst>
                  <a:ext uri="{FF2B5EF4-FFF2-40B4-BE49-F238E27FC236}">
                    <a16:creationId xmlns:a16="http://schemas.microsoft.com/office/drawing/2014/main" id="{7EA115E6-E4B5-4FBC-898B-798A3CD911B6}"/>
                  </a:ext>
                </a:extLst>
              </p:cNvPr>
              <p:cNvCxnSpPr>
                <a:cxnSpLocks/>
              </p:cNvCxnSpPr>
              <p:nvPr/>
            </p:nvCxnSpPr>
            <p:spPr>
              <a:xfrm>
                <a:off x="4379671" y="3089828"/>
                <a:ext cx="450957"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76" name="Straight Connector 180">
                <a:extLst>
                  <a:ext uri="{FF2B5EF4-FFF2-40B4-BE49-F238E27FC236}">
                    <a16:creationId xmlns:a16="http://schemas.microsoft.com/office/drawing/2014/main" id="{4BB426D9-C90E-4C64-B424-CE3AE6797C1B}"/>
                  </a:ext>
                </a:extLst>
              </p:cNvPr>
              <p:cNvCxnSpPr>
                <a:cxnSpLocks/>
              </p:cNvCxnSpPr>
              <p:nvPr/>
            </p:nvCxnSpPr>
            <p:spPr>
              <a:xfrm flipV="1">
                <a:off x="4384931" y="3028299"/>
                <a:ext cx="0" cy="61529"/>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77" name="Straight Connector 181">
                <a:extLst>
                  <a:ext uri="{FF2B5EF4-FFF2-40B4-BE49-F238E27FC236}">
                    <a16:creationId xmlns:a16="http://schemas.microsoft.com/office/drawing/2014/main" id="{CD72F73E-4DC0-45B0-A511-4F90FC0F2909}"/>
                  </a:ext>
                </a:extLst>
              </p:cNvPr>
              <p:cNvCxnSpPr/>
              <p:nvPr/>
            </p:nvCxnSpPr>
            <p:spPr>
              <a:xfrm flipV="1">
                <a:off x="4005169" y="2994654"/>
                <a:ext cx="0" cy="44859"/>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sp>
            <p:nvSpPr>
              <p:cNvPr id="78" name="TextBox 182">
                <a:extLst>
                  <a:ext uri="{FF2B5EF4-FFF2-40B4-BE49-F238E27FC236}">
                    <a16:creationId xmlns:a16="http://schemas.microsoft.com/office/drawing/2014/main" id="{5806BCFA-029E-43DA-9CB9-4B7FA4626268}"/>
                  </a:ext>
                </a:extLst>
              </p:cNvPr>
              <p:cNvSpPr txBox="1"/>
              <p:nvPr/>
            </p:nvSpPr>
            <p:spPr>
              <a:xfrm>
                <a:off x="3779128" y="1576669"/>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97%</a:t>
                </a:r>
              </a:p>
            </p:txBody>
          </p:sp>
          <p:sp>
            <p:nvSpPr>
              <p:cNvPr id="79" name="TextBox 183">
                <a:extLst>
                  <a:ext uri="{FF2B5EF4-FFF2-40B4-BE49-F238E27FC236}">
                    <a16:creationId xmlns:a16="http://schemas.microsoft.com/office/drawing/2014/main" id="{F4092CC2-25B2-4E4F-938E-6222B08174E5}"/>
                  </a:ext>
                </a:extLst>
              </p:cNvPr>
              <p:cNvSpPr txBox="1"/>
              <p:nvPr/>
            </p:nvSpPr>
            <p:spPr>
              <a:xfrm>
                <a:off x="3841693" y="1819387"/>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91%</a:t>
                </a:r>
              </a:p>
            </p:txBody>
          </p:sp>
          <p:sp>
            <p:nvSpPr>
              <p:cNvPr id="80" name="TextBox 184">
                <a:extLst>
                  <a:ext uri="{FF2B5EF4-FFF2-40B4-BE49-F238E27FC236}">
                    <a16:creationId xmlns:a16="http://schemas.microsoft.com/office/drawing/2014/main" id="{A56B753F-50DA-4DCE-9FB0-4F6E6AAD095D}"/>
                  </a:ext>
                </a:extLst>
              </p:cNvPr>
              <p:cNvSpPr txBox="1"/>
              <p:nvPr/>
            </p:nvSpPr>
            <p:spPr>
              <a:xfrm>
                <a:off x="3855606" y="2291827"/>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60%</a:t>
                </a:r>
              </a:p>
            </p:txBody>
          </p:sp>
          <p:sp>
            <p:nvSpPr>
              <p:cNvPr id="81" name="TextBox 185">
                <a:extLst>
                  <a:ext uri="{FF2B5EF4-FFF2-40B4-BE49-F238E27FC236}">
                    <a16:creationId xmlns:a16="http://schemas.microsoft.com/office/drawing/2014/main" id="{CFC98B26-64E3-4E7E-88FB-5037C3A99B53}"/>
                  </a:ext>
                </a:extLst>
              </p:cNvPr>
              <p:cNvSpPr txBox="1"/>
              <p:nvPr/>
            </p:nvSpPr>
            <p:spPr>
              <a:xfrm>
                <a:off x="3839688" y="2776268"/>
                <a:ext cx="5432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37%</a:t>
                </a:r>
              </a:p>
            </p:txBody>
          </p:sp>
          <p:sp>
            <p:nvSpPr>
              <p:cNvPr id="82" name="TextBox 186">
                <a:extLst>
                  <a:ext uri="{FF2B5EF4-FFF2-40B4-BE49-F238E27FC236}">
                    <a16:creationId xmlns:a16="http://schemas.microsoft.com/office/drawing/2014/main" id="{58A32E13-69B2-4599-ADAB-6A97059A9786}"/>
                  </a:ext>
                </a:extLst>
              </p:cNvPr>
              <p:cNvSpPr txBox="1"/>
              <p:nvPr/>
            </p:nvSpPr>
            <p:spPr>
              <a:xfrm>
                <a:off x="1267824" y="3206709"/>
                <a:ext cx="1182879" cy="233408"/>
              </a:xfrm>
              <a:prstGeom prst="rect">
                <a:avLst/>
              </a:prstGeom>
              <a:noFill/>
            </p:spPr>
            <p:txBody>
              <a:bodyPr wrap="square" rtlCol="0">
                <a:spAutoFit/>
              </a:bodyPr>
              <a:lstStyle/>
              <a:p>
                <a:pPr algn="r" defTabSz="685800">
                  <a:defRPr/>
                </a:pPr>
                <a:r>
                  <a:rPr lang="en-GB" sz="825" i="1">
                    <a:solidFill>
                      <a:prstClr val="black"/>
                    </a:solidFill>
                    <a:latin typeface="Arial" panose="020B0604020202020204" pitchFamily="34" charset="0"/>
                    <a:cs typeface="Arial" panose="020B0604020202020204" pitchFamily="34" charset="0"/>
                  </a:rPr>
                  <a:t>P</a:t>
                </a:r>
                <a:r>
                  <a:rPr lang="en-GB" sz="825">
                    <a:solidFill>
                      <a:prstClr val="black"/>
                    </a:solidFill>
                    <a:latin typeface="Arial" panose="020B0604020202020204" pitchFamily="34" charset="0"/>
                    <a:cs typeface="Arial" panose="020B0604020202020204" pitchFamily="34" charset="0"/>
                  </a:rPr>
                  <a:t> &lt;.0001</a:t>
                </a:r>
              </a:p>
            </p:txBody>
          </p:sp>
          <p:cxnSp>
            <p:nvCxnSpPr>
              <p:cNvPr id="83" name="Straight Connector 216">
                <a:extLst>
                  <a:ext uri="{FF2B5EF4-FFF2-40B4-BE49-F238E27FC236}">
                    <a16:creationId xmlns:a16="http://schemas.microsoft.com/office/drawing/2014/main" id="{42B8061F-1A47-46FC-8769-6C9848532917}"/>
                  </a:ext>
                </a:extLst>
              </p:cNvPr>
              <p:cNvCxnSpPr>
                <a:cxnSpLocks/>
              </p:cNvCxnSpPr>
              <p:nvPr/>
            </p:nvCxnSpPr>
            <p:spPr>
              <a:xfrm>
                <a:off x="3399293" y="1803085"/>
                <a:ext cx="392314"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sp>
            <p:nvSpPr>
              <p:cNvPr id="84" name="Freeform: Shape 217">
                <a:extLst>
                  <a:ext uri="{FF2B5EF4-FFF2-40B4-BE49-F238E27FC236}">
                    <a16:creationId xmlns:a16="http://schemas.microsoft.com/office/drawing/2014/main" id="{75130561-40D1-48D0-8D1D-EEB59751E038}"/>
                  </a:ext>
                </a:extLst>
              </p:cNvPr>
              <p:cNvSpPr/>
              <p:nvPr/>
            </p:nvSpPr>
            <p:spPr>
              <a:xfrm>
                <a:off x="3796825" y="1797476"/>
                <a:ext cx="0" cy="25234"/>
              </a:xfrm>
              <a:custGeom>
                <a:avLst/>
                <a:gdLst>
                  <a:gd name="connsiteX0" fmla="*/ 0 w 0"/>
                  <a:gd name="connsiteY0" fmla="*/ 19050 h 19050"/>
                  <a:gd name="connsiteX1" fmla="*/ 0 w 0"/>
                  <a:gd name="connsiteY1" fmla="*/ 0 h 19050"/>
                </a:gdLst>
                <a:ahLst/>
                <a:cxnLst>
                  <a:cxn ang="0">
                    <a:pos x="connsiteX0" y="connsiteY0"/>
                  </a:cxn>
                  <a:cxn ang="0">
                    <a:pos x="connsiteX1" y="connsiteY1"/>
                  </a:cxn>
                </a:cxnLst>
                <a:rect l="l" t="t" r="r" b="b"/>
                <a:pathLst>
                  <a:path h="19050">
                    <a:moveTo>
                      <a:pt x="0" y="19050"/>
                    </a:moveTo>
                    <a:lnTo>
                      <a:pt x="0" y="0"/>
                    </a:lnTo>
                  </a:path>
                </a:pathLst>
              </a:custGeom>
              <a:noFill/>
              <a:ln>
                <a:solidFill>
                  <a:srgbClr val="35ABE1"/>
                </a:solidFill>
              </a:ln>
            </p:spPr>
            <p:style>
              <a:lnRef idx="3">
                <a:schemeClr val="dk1"/>
              </a:lnRef>
              <a:fillRef idx="0">
                <a:schemeClr val="dk1"/>
              </a:fillRef>
              <a:effectRef idx="2">
                <a:schemeClr val="dk1"/>
              </a:effectRef>
              <a:fontRef idx="minor">
                <a:schemeClr val="tx1"/>
              </a:fontRef>
            </p:style>
            <p:txBody>
              <a:bodyPr rtlCol="0" anchor="ctr"/>
              <a:lstStyle/>
              <a:p>
                <a:pPr algn="ctr" defTabSz="685800">
                  <a:defRPr/>
                </a:pPr>
                <a:endParaRPr lang="en-GB" sz="825">
                  <a:solidFill>
                    <a:prstClr val="black"/>
                  </a:solidFill>
                  <a:latin typeface="Arial" panose="020B0604020202020204" pitchFamily="34" charset="0"/>
                  <a:cs typeface="Arial" panose="020B0604020202020204" pitchFamily="34" charset="0"/>
                </a:endParaRPr>
              </a:p>
            </p:txBody>
          </p:sp>
          <p:cxnSp>
            <p:nvCxnSpPr>
              <p:cNvPr id="85" name="Straight Connector 218">
                <a:extLst>
                  <a:ext uri="{FF2B5EF4-FFF2-40B4-BE49-F238E27FC236}">
                    <a16:creationId xmlns:a16="http://schemas.microsoft.com/office/drawing/2014/main" id="{4239A9AB-5DA7-4244-89B9-66B68876CED9}"/>
                  </a:ext>
                </a:extLst>
              </p:cNvPr>
              <p:cNvCxnSpPr>
                <a:cxnSpLocks/>
              </p:cNvCxnSpPr>
              <p:nvPr/>
            </p:nvCxnSpPr>
            <p:spPr>
              <a:xfrm>
                <a:off x="4881492" y="1986109"/>
                <a:ext cx="0" cy="168141"/>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86" name="Straight Connector 219">
                <a:extLst>
                  <a:ext uri="{FF2B5EF4-FFF2-40B4-BE49-F238E27FC236}">
                    <a16:creationId xmlns:a16="http://schemas.microsoft.com/office/drawing/2014/main" id="{D06EDAAF-5EDF-44E7-AF08-42E4F5A8536E}"/>
                  </a:ext>
                </a:extLst>
              </p:cNvPr>
              <p:cNvCxnSpPr/>
              <p:nvPr/>
            </p:nvCxnSpPr>
            <p:spPr>
              <a:xfrm>
                <a:off x="1655371" y="1761066"/>
                <a:ext cx="55384"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87" name="Straight Connector 220">
                <a:extLst>
                  <a:ext uri="{FF2B5EF4-FFF2-40B4-BE49-F238E27FC236}">
                    <a16:creationId xmlns:a16="http://schemas.microsoft.com/office/drawing/2014/main" id="{996FD0F6-C3F3-48F6-B31F-8C9942E820E6}"/>
                  </a:ext>
                </a:extLst>
              </p:cNvPr>
              <p:cNvCxnSpPr/>
              <p:nvPr/>
            </p:nvCxnSpPr>
            <p:spPr>
              <a:xfrm>
                <a:off x="1710755" y="1761066"/>
                <a:ext cx="0" cy="11177"/>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88" name="Straight Connector 221">
                <a:extLst>
                  <a:ext uri="{FF2B5EF4-FFF2-40B4-BE49-F238E27FC236}">
                    <a16:creationId xmlns:a16="http://schemas.microsoft.com/office/drawing/2014/main" id="{DF79D74E-E1D9-4223-8E2E-5A8E62DCF3A9}"/>
                  </a:ext>
                </a:extLst>
              </p:cNvPr>
              <p:cNvCxnSpPr/>
              <p:nvPr/>
            </p:nvCxnSpPr>
            <p:spPr>
              <a:xfrm>
                <a:off x="1710755" y="1772243"/>
                <a:ext cx="60658"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89" name="Straight Connector 222">
                <a:extLst>
                  <a:ext uri="{FF2B5EF4-FFF2-40B4-BE49-F238E27FC236}">
                    <a16:creationId xmlns:a16="http://schemas.microsoft.com/office/drawing/2014/main" id="{AC58DE23-EAD9-49A0-AD69-2BBC35182919}"/>
                  </a:ext>
                </a:extLst>
              </p:cNvPr>
              <p:cNvCxnSpPr/>
              <p:nvPr/>
            </p:nvCxnSpPr>
            <p:spPr>
              <a:xfrm>
                <a:off x="1771413" y="1772243"/>
                <a:ext cx="0" cy="25234"/>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0" name="Straight Connector 223">
                <a:extLst>
                  <a:ext uri="{FF2B5EF4-FFF2-40B4-BE49-F238E27FC236}">
                    <a16:creationId xmlns:a16="http://schemas.microsoft.com/office/drawing/2014/main" id="{D1E26A7D-2314-410B-8AA0-57B7436BF2FD}"/>
                  </a:ext>
                </a:extLst>
              </p:cNvPr>
              <p:cNvCxnSpPr/>
              <p:nvPr/>
            </p:nvCxnSpPr>
            <p:spPr>
              <a:xfrm>
                <a:off x="1771413" y="1797476"/>
                <a:ext cx="154310"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1" name="Straight Connector 224">
                <a:extLst>
                  <a:ext uri="{FF2B5EF4-FFF2-40B4-BE49-F238E27FC236}">
                    <a16:creationId xmlns:a16="http://schemas.microsoft.com/office/drawing/2014/main" id="{B27A26F2-3523-4FBF-B542-1D5D23B965A4}"/>
                  </a:ext>
                </a:extLst>
              </p:cNvPr>
              <p:cNvCxnSpPr/>
              <p:nvPr/>
            </p:nvCxnSpPr>
            <p:spPr>
              <a:xfrm>
                <a:off x="1925722" y="1797476"/>
                <a:ext cx="0" cy="3084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2" name="Straight Connector 225">
                <a:extLst>
                  <a:ext uri="{FF2B5EF4-FFF2-40B4-BE49-F238E27FC236}">
                    <a16:creationId xmlns:a16="http://schemas.microsoft.com/office/drawing/2014/main" id="{DD331F25-5CE3-4856-B808-F03F14B228A7}"/>
                  </a:ext>
                </a:extLst>
              </p:cNvPr>
              <p:cNvCxnSpPr/>
              <p:nvPr/>
            </p:nvCxnSpPr>
            <p:spPr>
              <a:xfrm>
                <a:off x="1925722" y="1828316"/>
                <a:ext cx="43485"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3" name="Straight Connector 226">
                <a:extLst>
                  <a:ext uri="{FF2B5EF4-FFF2-40B4-BE49-F238E27FC236}">
                    <a16:creationId xmlns:a16="http://schemas.microsoft.com/office/drawing/2014/main" id="{286DFE0E-284B-4754-AAF1-92DB051905D2}"/>
                  </a:ext>
                </a:extLst>
              </p:cNvPr>
              <p:cNvCxnSpPr/>
              <p:nvPr/>
            </p:nvCxnSpPr>
            <p:spPr>
              <a:xfrm>
                <a:off x="1969208" y="1828316"/>
                <a:ext cx="0" cy="33644"/>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4" name="Straight Connector 227">
                <a:extLst>
                  <a:ext uri="{FF2B5EF4-FFF2-40B4-BE49-F238E27FC236}">
                    <a16:creationId xmlns:a16="http://schemas.microsoft.com/office/drawing/2014/main" id="{81275854-22FF-4B58-86CF-E65C1828F0E8}"/>
                  </a:ext>
                </a:extLst>
              </p:cNvPr>
              <p:cNvCxnSpPr/>
              <p:nvPr/>
            </p:nvCxnSpPr>
            <p:spPr>
              <a:xfrm>
                <a:off x="1969208" y="1861961"/>
                <a:ext cx="77061"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5" name="Straight Connector 228">
                <a:extLst>
                  <a:ext uri="{FF2B5EF4-FFF2-40B4-BE49-F238E27FC236}">
                    <a16:creationId xmlns:a16="http://schemas.microsoft.com/office/drawing/2014/main" id="{85FE607B-D2E7-477A-BC8D-F45A86875D2E}"/>
                  </a:ext>
                </a:extLst>
              </p:cNvPr>
              <p:cNvCxnSpPr/>
              <p:nvPr/>
            </p:nvCxnSpPr>
            <p:spPr>
              <a:xfrm>
                <a:off x="2046269" y="1861961"/>
                <a:ext cx="0" cy="13322"/>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6" name="Straight Connector 229">
                <a:extLst>
                  <a:ext uri="{FF2B5EF4-FFF2-40B4-BE49-F238E27FC236}">
                    <a16:creationId xmlns:a16="http://schemas.microsoft.com/office/drawing/2014/main" id="{766FBAE6-AC27-46E6-A81B-01C52C2FE547}"/>
                  </a:ext>
                </a:extLst>
              </p:cNvPr>
              <p:cNvCxnSpPr/>
              <p:nvPr/>
            </p:nvCxnSpPr>
            <p:spPr>
              <a:xfrm>
                <a:off x="2046269" y="1875284"/>
                <a:ext cx="49527"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7" name="Straight Connector 230">
                <a:extLst>
                  <a:ext uri="{FF2B5EF4-FFF2-40B4-BE49-F238E27FC236}">
                    <a16:creationId xmlns:a16="http://schemas.microsoft.com/office/drawing/2014/main" id="{F1870CE5-2A15-4B61-BE1B-01E252841418}"/>
                  </a:ext>
                </a:extLst>
              </p:cNvPr>
              <p:cNvCxnSpPr/>
              <p:nvPr/>
            </p:nvCxnSpPr>
            <p:spPr>
              <a:xfrm>
                <a:off x="2095796" y="1875284"/>
                <a:ext cx="0" cy="37144"/>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8" name="Straight Connector 231">
                <a:extLst>
                  <a:ext uri="{FF2B5EF4-FFF2-40B4-BE49-F238E27FC236}">
                    <a16:creationId xmlns:a16="http://schemas.microsoft.com/office/drawing/2014/main" id="{07DF8E21-BAC0-4E87-9EAA-B1DFA5D34FD1}"/>
                  </a:ext>
                </a:extLst>
              </p:cNvPr>
              <p:cNvCxnSpPr/>
              <p:nvPr/>
            </p:nvCxnSpPr>
            <p:spPr>
              <a:xfrm>
                <a:off x="2095796" y="1912427"/>
                <a:ext cx="65930"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99" name="Straight Connector 232">
                <a:extLst>
                  <a:ext uri="{FF2B5EF4-FFF2-40B4-BE49-F238E27FC236}">
                    <a16:creationId xmlns:a16="http://schemas.microsoft.com/office/drawing/2014/main" id="{D8411597-5CE7-4E8F-AB75-7C2B5A4195D4}"/>
                  </a:ext>
                </a:extLst>
              </p:cNvPr>
              <p:cNvCxnSpPr/>
              <p:nvPr/>
            </p:nvCxnSpPr>
            <p:spPr>
              <a:xfrm>
                <a:off x="2161726" y="1912427"/>
                <a:ext cx="0" cy="72976"/>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0" name="Straight Connector 233">
                <a:extLst>
                  <a:ext uri="{FF2B5EF4-FFF2-40B4-BE49-F238E27FC236}">
                    <a16:creationId xmlns:a16="http://schemas.microsoft.com/office/drawing/2014/main" id="{72DE04C1-4001-4AC2-BBA1-119C00E51D99}"/>
                  </a:ext>
                </a:extLst>
              </p:cNvPr>
              <p:cNvCxnSpPr/>
              <p:nvPr/>
            </p:nvCxnSpPr>
            <p:spPr>
              <a:xfrm>
                <a:off x="2161726" y="1985403"/>
                <a:ext cx="122632"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1" name="Straight Connector 234">
                <a:extLst>
                  <a:ext uri="{FF2B5EF4-FFF2-40B4-BE49-F238E27FC236}">
                    <a16:creationId xmlns:a16="http://schemas.microsoft.com/office/drawing/2014/main" id="{97959B56-735B-42DF-993C-586304A50C01}"/>
                  </a:ext>
                </a:extLst>
              </p:cNvPr>
              <p:cNvCxnSpPr/>
              <p:nvPr/>
            </p:nvCxnSpPr>
            <p:spPr>
              <a:xfrm>
                <a:off x="2284358" y="1985403"/>
                <a:ext cx="0" cy="11986"/>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2" name="Straight Connector 235">
                <a:extLst>
                  <a:ext uri="{FF2B5EF4-FFF2-40B4-BE49-F238E27FC236}">
                    <a16:creationId xmlns:a16="http://schemas.microsoft.com/office/drawing/2014/main" id="{DF35606F-5747-4F1C-B56B-AC32479938F1}"/>
                  </a:ext>
                </a:extLst>
              </p:cNvPr>
              <p:cNvCxnSpPr/>
              <p:nvPr/>
            </p:nvCxnSpPr>
            <p:spPr>
              <a:xfrm>
                <a:off x="2284358" y="1997388"/>
                <a:ext cx="64614"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3" name="Straight Connector 236">
                <a:extLst>
                  <a:ext uri="{FF2B5EF4-FFF2-40B4-BE49-F238E27FC236}">
                    <a16:creationId xmlns:a16="http://schemas.microsoft.com/office/drawing/2014/main" id="{5BC5BC67-2D0F-4059-8E47-84E4C32C300B}"/>
                  </a:ext>
                </a:extLst>
              </p:cNvPr>
              <p:cNvCxnSpPr/>
              <p:nvPr/>
            </p:nvCxnSpPr>
            <p:spPr>
              <a:xfrm>
                <a:off x="2348972" y="1997388"/>
                <a:ext cx="0" cy="13207"/>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4" name="Straight Connector 237">
                <a:extLst>
                  <a:ext uri="{FF2B5EF4-FFF2-40B4-BE49-F238E27FC236}">
                    <a16:creationId xmlns:a16="http://schemas.microsoft.com/office/drawing/2014/main" id="{21ADE2D0-E5C3-48D1-B318-9C964CBEEEFD}"/>
                  </a:ext>
                </a:extLst>
              </p:cNvPr>
              <p:cNvCxnSpPr/>
              <p:nvPr/>
            </p:nvCxnSpPr>
            <p:spPr>
              <a:xfrm>
                <a:off x="2348972" y="2010596"/>
                <a:ext cx="63373"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5" name="Straight Connector 238">
                <a:extLst>
                  <a:ext uri="{FF2B5EF4-FFF2-40B4-BE49-F238E27FC236}">
                    <a16:creationId xmlns:a16="http://schemas.microsoft.com/office/drawing/2014/main" id="{FF3ECCCE-2BF0-4438-9829-66C733C80836}"/>
                  </a:ext>
                </a:extLst>
              </p:cNvPr>
              <p:cNvCxnSpPr/>
              <p:nvPr/>
            </p:nvCxnSpPr>
            <p:spPr>
              <a:xfrm>
                <a:off x="2412345" y="2010596"/>
                <a:ext cx="0" cy="24536"/>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6" name="Straight Connector 239">
                <a:extLst>
                  <a:ext uri="{FF2B5EF4-FFF2-40B4-BE49-F238E27FC236}">
                    <a16:creationId xmlns:a16="http://schemas.microsoft.com/office/drawing/2014/main" id="{852EA7E2-8027-4F53-BE0E-584350BDE1C7}"/>
                  </a:ext>
                </a:extLst>
              </p:cNvPr>
              <p:cNvCxnSpPr>
                <a:cxnSpLocks/>
              </p:cNvCxnSpPr>
              <p:nvPr/>
            </p:nvCxnSpPr>
            <p:spPr>
              <a:xfrm>
                <a:off x="2412345" y="2035131"/>
                <a:ext cx="91573"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7" name="Straight Connector 240">
                <a:extLst>
                  <a:ext uri="{FF2B5EF4-FFF2-40B4-BE49-F238E27FC236}">
                    <a16:creationId xmlns:a16="http://schemas.microsoft.com/office/drawing/2014/main" id="{A1247EFE-8816-412B-9592-F486666DDD33}"/>
                  </a:ext>
                </a:extLst>
              </p:cNvPr>
              <p:cNvCxnSpPr/>
              <p:nvPr/>
            </p:nvCxnSpPr>
            <p:spPr>
              <a:xfrm>
                <a:off x="2468982" y="2035131"/>
                <a:ext cx="0"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8" name="Straight Connector 241">
                <a:extLst>
                  <a:ext uri="{FF2B5EF4-FFF2-40B4-BE49-F238E27FC236}">
                    <a16:creationId xmlns:a16="http://schemas.microsoft.com/office/drawing/2014/main" id="{1CC5EA4B-4501-466B-AFF3-10EA4116D57E}"/>
                  </a:ext>
                </a:extLst>
              </p:cNvPr>
              <p:cNvCxnSpPr/>
              <p:nvPr/>
            </p:nvCxnSpPr>
            <p:spPr>
              <a:xfrm>
                <a:off x="2468982" y="2035131"/>
                <a:ext cx="69873"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09" name="Straight Connector 242">
                <a:extLst>
                  <a:ext uri="{FF2B5EF4-FFF2-40B4-BE49-F238E27FC236}">
                    <a16:creationId xmlns:a16="http://schemas.microsoft.com/office/drawing/2014/main" id="{4FA8FFF0-1E2C-4BD1-843A-563720F4192A}"/>
                  </a:ext>
                </a:extLst>
              </p:cNvPr>
              <p:cNvCxnSpPr/>
              <p:nvPr/>
            </p:nvCxnSpPr>
            <p:spPr>
              <a:xfrm>
                <a:off x="2538854" y="2035131"/>
                <a:ext cx="0" cy="34304"/>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0" name="Straight Connector 243">
                <a:extLst>
                  <a:ext uri="{FF2B5EF4-FFF2-40B4-BE49-F238E27FC236}">
                    <a16:creationId xmlns:a16="http://schemas.microsoft.com/office/drawing/2014/main" id="{52B07CF8-0A26-4B30-9F13-171C952ECDCC}"/>
                  </a:ext>
                </a:extLst>
              </p:cNvPr>
              <p:cNvCxnSpPr/>
              <p:nvPr/>
            </p:nvCxnSpPr>
            <p:spPr>
              <a:xfrm>
                <a:off x="2538854" y="2069435"/>
                <a:ext cx="65930"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1" name="Straight Connector 244">
                <a:extLst>
                  <a:ext uri="{FF2B5EF4-FFF2-40B4-BE49-F238E27FC236}">
                    <a16:creationId xmlns:a16="http://schemas.microsoft.com/office/drawing/2014/main" id="{983CD802-B5C6-417B-97DF-8E042AD622DF}"/>
                  </a:ext>
                </a:extLst>
              </p:cNvPr>
              <p:cNvCxnSpPr/>
              <p:nvPr/>
            </p:nvCxnSpPr>
            <p:spPr>
              <a:xfrm>
                <a:off x="2604785" y="2069435"/>
                <a:ext cx="0" cy="11805"/>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2" name="Straight Connector 245">
                <a:extLst>
                  <a:ext uri="{FF2B5EF4-FFF2-40B4-BE49-F238E27FC236}">
                    <a16:creationId xmlns:a16="http://schemas.microsoft.com/office/drawing/2014/main" id="{841F7D87-8A3D-4F1E-A29F-243656407638}"/>
                  </a:ext>
                </a:extLst>
              </p:cNvPr>
              <p:cNvCxnSpPr/>
              <p:nvPr/>
            </p:nvCxnSpPr>
            <p:spPr>
              <a:xfrm>
                <a:off x="2604785" y="2081240"/>
                <a:ext cx="79777"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3" name="Straight Connector 246">
                <a:extLst>
                  <a:ext uri="{FF2B5EF4-FFF2-40B4-BE49-F238E27FC236}">
                    <a16:creationId xmlns:a16="http://schemas.microsoft.com/office/drawing/2014/main" id="{698C49F6-BC9C-499A-AC73-94B866357A50}"/>
                  </a:ext>
                </a:extLst>
              </p:cNvPr>
              <p:cNvCxnSpPr/>
              <p:nvPr/>
            </p:nvCxnSpPr>
            <p:spPr>
              <a:xfrm>
                <a:off x="2684561" y="2081240"/>
                <a:ext cx="0" cy="38816"/>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4" name="Straight Connector 247">
                <a:extLst>
                  <a:ext uri="{FF2B5EF4-FFF2-40B4-BE49-F238E27FC236}">
                    <a16:creationId xmlns:a16="http://schemas.microsoft.com/office/drawing/2014/main" id="{15C9DF9E-1E78-4200-90B7-B0E821AAF364}"/>
                  </a:ext>
                </a:extLst>
              </p:cNvPr>
              <p:cNvCxnSpPr/>
              <p:nvPr/>
            </p:nvCxnSpPr>
            <p:spPr>
              <a:xfrm>
                <a:off x="2684561" y="2120055"/>
                <a:ext cx="36262"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5" name="Straight Connector 248">
                <a:extLst>
                  <a:ext uri="{FF2B5EF4-FFF2-40B4-BE49-F238E27FC236}">
                    <a16:creationId xmlns:a16="http://schemas.microsoft.com/office/drawing/2014/main" id="{79EB3714-813E-4027-8835-EA5E1CB65F95}"/>
                  </a:ext>
                </a:extLst>
              </p:cNvPr>
              <p:cNvCxnSpPr/>
              <p:nvPr/>
            </p:nvCxnSpPr>
            <p:spPr>
              <a:xfrm>
                <a:off x="2720823" y="2120055"/>
                <a:ext cx="0" cy="34195"/>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6" name="Straight Connector 249">
                <a:extLst>
                  <a:ext uri="{FF2B5EF4-FFF2-40B4-BE49-F238E27FC236}">
                    <a16:creationId xmlns:a16="http://schemas.microsoft.com/office/drawing/2014/main" id="{25D34722-0AE7-4F83-886B-C7E68DD91BF5}"/>
                  </a:ext>
                </a:extLst>
              </p:cNvPr>
              <p:cNvCxnSpPr>
                <a:cxnSpLocks/>
              </p:cNvCxnSpPr>
              <p:nvPr/>
            </p:nvCxnSpPr>
            <p:spPr>
              <a:xfrm>
                <a:off x="2720823" y="2154250"/>
                <a:ext cx="80437"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7" name="Straight Connector 250">
                <a:extLst>
                  <a:ext uri="{FF2B5EF4-FFF2-40B4-BE49-F238E27FC236}">
                    <a16:creationId xmlns:a16="http://schemas.microsoft.com/office/drawing/2014/main" id="{71F946C2-279A-45AD-A493-283AF9631539}"/>
                  </a:ext>
                </a:extLst>
              </p:cNvPr>
              <p:cNvCxnSpPr/>
              <p:nvPr/>
            </p:nvCxnSpPr>
            <p:spPr>
              <a:xfrm>
                <a:off x="2786756" y="2154250"/>
                <a:ext cx="0"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8" name="Straight Connector 251">
                <a:extLst>
                  <a:ext uri="{FF2B5EF4-FFF2-40B4-BE49-F238E27FC236}">
                    <a16:creationId xmlns:a16="http://schemas.microsoft.com/office/drawing/2014/main" id="{05899D8F-CDFB-4081-B549-FA16B57AF375}"/>
                  </a:ext>
                </a:extLst>
              </p:cNvPr>
              <p:cNvCxnSpPr/>
              <p:nvPr/>
            </p:nvCxnSpPr>
            <p:spPr>
              <a:xfrm>
                <a:off x="2786756" y="2154250"/>
                <a:ext cx="76482"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19" name="Straight Connector 252">
                <a:extLst>
                  <a:ext uri="{FF2B5EF4-FFF2-40B4-BE49-F238E27FC236}">
                    <a16:creationId xmlns:a16="http://schemas.microsoft.com/office/drawing/2014/main" id="{3B5EFB30-32AA-479C-B40E-433F73BE76C5}"/>
                  </a:ext>
                </a:extLst>
              </p:cNvPr>
              <p:cNvCxnSpPr/>
              <p:nvPr/>
            </p:nvCxnSpPr>
            <p:spPr>
              <a:xfrm>
                <a:off x="2863236" y="2154250"/>
                <a:ext cx="0" cy="35742"/>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0" name="Straight Connector 253">
                <a:extLst>
                  <a:ext uri="{FF2B5EF4-FFF2-40B4-BE49-F238E27FC236}">
                    <a16:creationId xmlns:a16="http://schemas.microsoft.com/office/drawing/2014/main" id="{5388FDE7-E834-4159-84FD-E9E0D0E16874}"/>
                  </a:ext>
                </a:extLst>
              </p:cNvPr>
              <p:cNvCxnSpPr/>
              <p:nvPr/>
            </p:nvCxnSpPr>
            <p:spPr>
              <a:xfrm>
                <a:off x="2863236" y="2189994"/>
                <a:ext cx="58019"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1" name="Straight Connector 254">
                <a:extLst>
                  <a:ext uri="{FF2B5EF4-FFF2-40B4-BE49-F238E27FC236}">
                    <a16:creationId xmlns:a16="http://schemas.microsoft.com/office/drawing/2014/main" id="{C44CD69F-46E2-421A-B118-55B12A5328C8}"/>
                  </a:ext>
                </a:extLst>
              </p:cNvPr>
              <p:cNvCxnSpPr/>
              <p:nvPr/>
            </p:nvCxnSpPr>
            <p:spPr>
              <a:xfrm>
                <a:off x="2921255" y="2189994"/>
                <a:ext cx="0" cy="19636"/>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2" name="Straight Connector 255">
                <a:extLst>
                  <a:ext uri="{FF2B5EF4-FFF2-40B4-BE49-F238E27FC236}">
                    <a16:creationId xmlns:a16="http://schemas.microsoft.com/office/drawing/2014/main" id="{FDD77704-E1BE-4263-9A7B-4A6BECD73878}"/>
                  </a:ext>
                </a:extLst>
              </p:cNvPr>
              <p:cNvCxnSpPr/>
              <p:nvPr/>
            </p:nvCxnSpPr>
            <p:spPr>
              <a:xfrm>
                <a:off x="2921255" y="2209629"/>
                <a:ext cx="63294"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3" name="Straight Connector 256">
                <a:extLst>
                  <a:ext uri="{FF2B5EF4-FFF2-40B4-BE49-F238E27FC236}">
                    <a16:creationId xmlns:a16="http://schemas.microsoft.com/office/drawing/2014/main" id="{04C19698-EBE1-4BE0-8256-8B0CA779F6DF}"/>
                  </a:ext>
                </a:extLst>
              </p:cNvPr>
              <p:cNvCxnSpPr/>
              <p:nvPr/>
            </p:nvCxnSpPr>
            <p:spPr>
              <a:xfrm>
                <a:off x="2984550" y="2209629"/>
                <a:ext cx="0" cy="28029"/>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4" name="Straight Connector 257">
                <a:extLst>
                  <a:ext uri="{FF2B5EF4-FFF2-40B4-BE49-F238E27FC236}">
                    <a16:creationId xmlns:a16="http://schemas.microsoft.com/office/drawing/2014/main" id="{47F5CCF0-00B6-4314-A68F-E742314CEDB1}"/>
                  </a:ext>
                </a:extLst>
              </p:cNvPr>
              <p:cNvCxnSpPr/>
              <p:nvPr/>
            </p:nvCxnSpPr>
            <p:spPr>
              <a:xfrm>
                <a:off x="2984550" y="2237657"/>
                <a:ext cx="120009"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5" name="Straight Connector 258">
                <a:extLst>
                  <a:ext uri="{FF2B5EF4-FFF2-40B4-BE49-F238E27FC236}">
                    <a16:creationId xmlns:a16="http://schemas.microsoft.com/office/drawing/2014/main" id="{20BC9624-54B6-4F52-88A1-838D86D15CA4}"/>
                  </a:ext>
                </a:extLst>
              </p:cNvPr>
              <p:cNvCxnSpPr/>
              <p:nvPr/>
            </p:nvCxnSpPr>
            <p:spPr>
              <a:xfrm>
                <a:off x="3104559" y="2237657"/>
                <a:ext cx="0" cy="2243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6" name="Straight Connector 259">
                <a:extLst>
                  <a:ext uri="{FF2B5EF4-FFF2-40B4-BE49-F238E27FC236}">
                    <a16:creationId xmlns:a16="http://schemas.microsoft.com/office/drawing/2014/main" id="{0C2B169A-948A-4B68-A503-6FBD835F9CB2}"/>
                  </a:ext>
                </a:extLst>
              </p:cNvPr>
              <p:cNvCxnSpPr/>
              <p:nvPr/>
            </p:nvCxnSpPr>
            <p:spPr>
              <a:xfrm>
                <a:off x="3104559" y="2260087"/>
                <a:ext cx="60721"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7" name="Straight Connector 260">
                <a:extLst>
                  <a:ext uri="{FF2B5EF4-FFF2-40B4-BE49-F238E27FC236}">
                    <a16:creationId xmlns:a16="http://schemas.microsoft.com/office/drawing/2014/main" id="{CAFCDC57-A1E3-4AF5-B83E-00BF6978557F}"/>
                  </a:ext>
                </a:extLst>
              </p:cNvPr>
              <p:cNvCxnSpPr/>
              <p:nvPr/>
            </p:nvCxnSpPr>
            <p:spPr>
              <a:xfrm>
                <a:off x="3165280" y="2260087"/>
                <a:ext cx="0" cy="39861"/>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8" name="Straight Connector 261">
                <a:extLst>
                  <a:ext uri="{FF2B5EF4-FFF2-40B4-BE49-F238E27FC236}">
                    <a16:creationId xmlns:a16="http://schemas.microsoft.com/office/drawing/2014/main" id="{8BEB75F1-D004-41F0-B462-AF5ED0DE3F42}"/>
                  </a:ext>
                </a:extLst>
              </p:cNvPr>
              <p:cNvCxnSpPr/>
              <p:nvPr/>
            </p:nvCxnSpPr>
            <p:spPr>
              <a:xfrm>
                <a:off x="3165280" y="2299946"/>
                <a:ext cx="70544"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29" name="Straight Connector 262">
                <a:extLst>
                  <a:ext uri="{FF2B5EF4-FFF2-40B4-BE49-F238E27FC236}">
                    <a16:creationId xmlns:a16="http://schemas.microsoft.com/office/drawing/2014/main" id="{E259910D-9711-458B-ABD3-8F427B7D3612}"/>
                  </a:ext>
                </a:extLst>
              </p:cNvPr>
              <p:cNvCxnSpPr/>
              <p:nvPr/>
            </p:nvCxnSpPr>
            <p:spPr>
              <a:xfrm>
                <a:off x="3235825" y="2299946"/>
                <a:ext cx="0" cy="22428"/>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0" name="Straight Connector 263">
                <a:extLst>
                  <a:ext uri="{FF2B5EF4-FFF2-40B4-BE49-F238E27FC236}">
                    <a16:creationId xmlns:a16="http://schemas.microsoft.com/office/drawing/2014/main" id="{781B6D67-4F29-489B-95C3-AE68E309E67C}"/>
                  </a:ext>
                </a:extLst>
              </p:cNvPr>
              <p:cNvCxnSpPr/>
              <p:nvPr/>
            </p:nvCxnSpPr>
            <p:spPr>
              <a:xfrm>
                <a:off x="3235825" y="2322375"/>
                <a:ext cx="123215"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1" name="Straight Connector 264">
                <a:extLst>
                  <a:ext uri="{FF2B5EF4-FFF2-40B4-BE49-F238E27FC236}">
                    <a16:creationId xmlns:a16="http://schemas.microsoft.com/office/drawing/2014/main" id="{83E47526-3BD6-4724-979D-A1825B6D57E1}"/>
                  </a:ext>
                </a:extLst>
              </p:cNvPr>
              <p:cNvCxnSpPr/>
              <p:nvPr/>
            </p:nvCxnSpPr>
            <p:spPr>
              <a:xfrm>
                <a:off x="3359040" y="2322375"/>
                <a:ext cx="0" cy="30233"/>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2" name="Straight Connector 265">
                <a:extLst>
                  <a:ext uri="{FF2B5EF4-FFF2-40B4-BE49-F238E27FC236}">
                    <a16:creationId xmlns:a16="http://schemas.microsoft.com/office/drawing/2014/main" id="{B8071239-61D8-4493-BAAA-530A903CA855}"/>
                  </a:ext>
                </a:extLst>
              </p:cNvPr>
              <p:cNvCxnSpPr/>
              <p:nvPr/>
            </p:nvCxnSpPr>
            <p:spPr>
              <a:xfrm>
                <a:off x="3359040" y="2352608"/>
                <a:ext cx="50801"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3" name="Straight Connector 266">
                <a:extLst>
                  <a:ext uri="{FF2B5EF4-FFF2-40B4-BE49-F238E27FC236}">
                    <a16:creationId xmlns:a16="http://schemas.microsoft.com/office/drawing/2014/main" id="{5C4712B5-ACA7-42C1-9E91-928C37F13BC4}"/>
                  </a:ext>
                </a:extLst>
              </p:cNvPr>
              <p:cNvCxnSpPr/>
              <p:nvPr/>
            </p:nvCxnSpPr>
            <p:spPr>
              <a:xfrm>
                <a:off x="3409841" y="2352608"/>
                <a:ext cx="0" cy="34388"/>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4" name="Straight Connector 267">
                <a:extLst>
                  <a:ext uri="{FF2B5EF4-FFF2-40B4-BE49-F238E27FC236}">
                    <a16:creationId xmlns:a16="http://schemas.microsoft.com/office/drawing/2014/main" id="{EDB4080A-CA47-4FEB-9395-31AB1C40DD7C}"/>
                  </a:ext>
                </a:extLst>
              </p:cNvPr>
              <p:cNvCxnSpPr/>
              <p:nvPr/>
            </p:nvCxnSpPr>
            <p:spPr>
              <a:xfrm>
                <a:off x="3409841" y="2386996"/>
                <a:ext cx="75788"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5" name="Straight Connector 268">
                <a:extLst>
                  <a:ext uri="{FF2B5EF4-FFF2-40B4-BE49-F238E27FC236}">
                    <a16:creationId xmlns:a16="http://schemas.microsoft.com/office/drawing/2014/main" id="{C9E14719-4116-4D9A-B67C-0B5D34F51829}"/>
                  </a:ext>
                </a:extLst>
              </p:cNvPr>
              <p:cNvCxnSpPr/>
              <p:nvPr/>
            </p:nvCxnSpPr>
            <p:spPr>
              <a:xfrm>
                <a:off x="3485629" y="2386996"/>
                <a:ext cx="0"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6" name="Straight Connector 269">
                <a:extLst>
                  <a:ext uri="{FF2B5EF4-FFF2-40B4-BE49-F238E27FC236}">
                    <a16:creationId xmlns:a16="http://schemas.microsoft.com/office/drawing/2014/main" id="{13E833CA-02A7-48E6-AF28-39AFF99491FD}"/>
                  </a:ext>
                </a:extLst>
              </p:cNvPr>
              <p:cNvCxnSpPr/>
              <p:nvPr/>
            </p:nvCxnSpPr>
            <p:spPr>
              <a:xfrm>
                <a:off x="3485629" y="2386996"/>
                <a:ext cx="71205"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7" name="Straight Connector 270">
                <a:extLst>
                  <a:ext uri="{FF2B5EF4-FFF2-40B4-BE49-F238E27FC236}">
                    <a16:creationId xmlns:a16="http://schemas.microsoft.com/office/drawing/2014/main" id="{293602AC-58D1-4852-8EDF-4DB196A47442}"/>
                  </a:ext>
                </a:extLst>
              </p:cNvPr>
              <p:cNvCxnSpPr/>
              <p:nvPr/>
            </p:nvCxnSpPr>
            <p:spPr>
              <a:xfrm>
                <a:off x="3556834" y="2386996"/>
                <a:ext cx="0" cy="41313"/>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8" name="Straight Connector 271">
                <a:extLst>
                  <a:ext uri="{FF2B5EF4-FFF2-40B4-BE49-F238E27FC236}">
                    <a16:creationId xmlns:a16="http://schemas.microsoft.com/office/drawing/2014/main" id="{DE308444-E4D0-44B2-98D4-29B5506A11ED}"/>
                  </a:ext>
                </a:extLst>
              </p:cNvPr>
              <p:cNvCxnSpPr/>
              <p:nvPr/>
            </p:nvCxnSpPr>
            <p:spPr>
              <a:xfrm>
                <a:off x="3556834" y="2428309"/>
                <a:ext cx="63294"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39" name="Straight Connector 272">
                <a:extLst>
                  <a:ext uri="{FF2B5EF4-FFF2-40B4-BE49-F238E27FC236}">
                    <a16:creationId xmlns:a16="http://schemas.microsoft.com/office/drawing/2014/main" id="{035B345C-87FF-40B0-B505-7E660E873BB1}"/>
                  </a:ext>
                </a:extLst>
              </p:cNvPr>
              <p:cNvCxnSpPr/>
              <p:nvPr/>
            </p:nvCxnSpPr>
            <p:spPr>
              <a:xfrm>
                <a:off x="3620128" y="2428309"/>
                <a:ext cx="0"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40" name="Straight Connector 273">
                <a:extLst>
                  <a:ext uri="{FF2B5EF4-FFF2-40B4-BE49-F238E27FC236}">
                    <a16:creationId xmlns:a16="http://schemas.microsoft.com/office/drawing/2014/main" id="{58B66243-92C8-475A-B08D-5B3C55413E9A}"/>
                  </a:ext>
                </a:extLst>
              </p:cNvPr>
              <p:cNvCxnSpPr/>
              <p:nvPr/>
            </p:nvCxnSpPr>
            <p:spPr>
              <a:xfrm>
                <a:off x="3620128" y="2428309"/>
                <a:ext cx="57706"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41" name="Straight Connector 274">
                <a:extLst>
                  <a:ext uri="{FF2B5EF4-FFF2-40B4-BE49-F238E27FC236}">
                    <a16:creationId xmlns:a16="http://schemas.microsoft.com/office/drawing/2014/main" id="{DB5F33CB-97C9-4DA5-A3AC-E721140159D3}"/>
                  </a:ext>
                </a:extLst>
              </p:cNvPr>
              <p:cNvCxnSpPr/>
              <p:nvPr/>
            </p:nvCxnSpPr>
            <p:spPr>
              <a:xfrm>
                <a:off x="3677835" y="2428309"/>
                <a:ext cx="0" cy="47969"/>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42" name="Straight Connector 275">
                <a:extLst>
                  <a:ext uri="{FF2B5EF4-FFF2-40B4-BE49-F238E27FC236}">
                    <a16:creationId xmlns:a16="http://schemas.microsoft.com/office/drawing/2014/main" id="{EE62120E-2820-40CF-A2FC-DA723336E1FA}"/>
                  </a:ext>
                </a:extLst>
              </p:cNvPr>
              <p:cNvCxnSpPr/>
              <p:nvPr/>
            </p:nvCxnSpPr>
            <p:spPr>
              <a:xfrm>
                <a:off x="3677835" y="2476276"/>
                <a:ext cx="47797"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43" name="Straight Connector 276">
                <a:extLst>
                  <a:ext uri="{FF2B5EF4-FFF2-40B4-BE49-F238E27FC236}">
                    <a16:creationId xmlns:a16="http://schemas.microsoft.com/office/drawing/2014/main" id="{0EA84F8A-DF56-45F2-B174-25067C5EF8D3}"/>
                  </a:ext>
                </a:extLst>
              </p:cNvPr>
              <p:cNvCxnSpPr>
                <a:cxnSpLocks/>
              </p:cNvCxnSpPr>
              <p:nvPr/>
            </p:nvCxnSpPr>
            <p:spPr>
              <a:xfrm>
                <a:off x="3725631" y="2476276"/>
                <a:ext cx="42184" cy="34775"/>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44" name="Straight Connector 277">
                <a:extLst>
                  <a:ext uri="{FF2B5EF4-FFF2-40B4-BE49-F238E27FC236}">
                    <a16:creationId xmlns:a16="http://schemas.microsoft.com/office/drawing/2014/main" id="{0325BA7D-D17F-4CC6-820A-DF1A4C62269C}"/>
                  </a:ext>
                </a:extLst>
              </p:cNvPr>
              <p:cNvCxnSpPr/>
              <p:nvPr/>
            </p:nvCxnSpPr>
            <p:spPr>
              <a:xfrm>
                <a:off x="3885869" y="2537260"/>
                <a:ext cx="108130"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45" name="Straight Connector 278">
                <a:extLst>
                  <a:ext uri="{FF2B5EF4-FFF2-40B4-BE49-F238E27FC236}">
                    <a16:creationId xmlns:a16="http://schemas.microsoft.com/office/drawing/2014/main" id="{E47C5AD0-1C55-4A45-8FC7-3EE06451BCFC}"/>
                  </a:ext>
                </a:extLst>
              </p:cNvPr>
              <p:cNvCxnSpPr/>
              <p:nvPr/>
            </p:nvCxnSpPr>
            <p:spPr>
              <a:xfrm>
                <a:off x="3990661" y="2540456"/>
                <a:ext cx="0" cy="45448"/>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46" name="Straight Connector 279">
                <a:extLst>
                  <a:ext uri="{FF2B5EF4-FFF2-40B4-BE49-F238E27FC236}">
                    <a16:creationId xmlns:a16="http://schemas.microsoft.com/office/drawing/2014/main" id="{73EB6A6C-FD2A-4B80-B73D-76A69177A1D0}"/>
                  </a:ext>
                </a:extLst>
              </p:cNvPr>
              <p:cNvCxnSpPr/>
              <p:nvPr/>
            </p:nvCxnSpPr>
            <p:spPr>
              <a:xfrm>
                <a:off x="3990661" y="2585904"/>
                <a:ext cx="67676"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47" name="Straight Connector 280">
                <a:extLst>
                  <a:ext uri="{FF2B5EF4-FFF2-40B4-BE49-F238E27FC236}">
                    <a16:creationId xmlns:a16="http://schemas.microsoft.com/office/drawing/2014/main" id="{201B0ABB-B439-44A4-8759-5BC31ACC7A90}"/>
                  </a:ext>
                </a:extLst>
              </p:cNvPr>
              <p:cNvCxnSpPr/>
              <p:nvPr/>
            </p:nvCxnSpPr>
            <p:spPr>
              <a:xfrm>
                <a:off x="4058337" y="2585904"/>
                <a:ext cx="0" cy="10626"/>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48" name="Straight Connector 281">
                <a:extLst>
                  <a:ext uri="{FF2B5EF4-FFF2-40B4-BE49-F238E27FC236}">
                    <a16:creationId xmlns:a16="http://schemas.microsoft.com/office/drawing/2014/main" id="{C2653DA5-906F-44B6-BD21-ED854EA9E1E4}"/>
                  </a:ext>
                </a:extLst>
              </p:cNvPr>
              <p:cNvCxnSpPr/>
              <p:nvPr/>
            </p:nvCxnSpPr>
            <p:spPr>
              <a:xfrm>
                <a:off x="1658598" y="1732384"/>
                <a:ext cx="60077"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49" name="Straight Connector 282">
                <a:extLst>
                  <a:ext uri="{FF2B5EF4-FFF2-40B4-BE49-F238E27FC236}">
                    <a16:creationId xmlns:a16="http://schemas.microsoft.com/office/drawing/2014/main" id="{573908B2-FCFE-405A-BB0F-5194939EE7CA}"/>
                  </a:ext>
                </a:extLst>
              </p:cNvPr>
              <p:cNvCxnSpPr/>
              <p:nvPr/>
            </p:nvCxnSpPr>
            <p:spPr>
              <a:xfrm>
                <a:off x="1710755" y="1732992"/>
                <a:ext cx="0" cy="16822"/>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0" name="Straight Connector 283">
                <a:extLst>
                  <a:ext uri="{FF2B5EF4-FFF2-40B4-BE49-F238E27FC236}">
                    <a16:creationId xmlns:a16="http://schemas.microsoft.com/office/drawing/2014/main" id="{20F8C762-2B94-4C26-9BB9-893D2A60C387}"/>
                  </a:ext>
                </a:extLst>
              </p:cNvPr>
              <p:cNvCxnSpPr>
                <a:cxnSpLocks/>
              </p:cNvCxnSpPr>
              <p:nvPr/>
            </p:nvCxnSpPr>
            <p:spPr>
              <a:xfrm>
                <a:off x="1718674" y="1749814"/>
                <a:ext cx="119954" cy="2759"/>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1" name="Straight Connector 284">
                <a:extLst>
                  <a:ext uri="{FF2B5EF4-FFF2-40B4-BE49-F238E27FC236}">
                    <a16:creationId xmlns:a16="http://schemas.microsoft.com/office/drawing/2014/main" id="{4309391F-A778-4AA0-AA93-F9E62C47C3AA}"/>
                  </a:ext>
                </a:extLst>
              </p:cNvPr>
              <p:cNvCxnSpPr>
                <a:cxnSpLocks/>
              </p:cNvCxnSpPr>
              <p:nvPr/>
            </p:nvCxnSpPr>
            <p:spPr>
              <a:xfrm>
                <a:off x="1839649" y="1740709"/>
                <a:ext cx="0" cy="15218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2" name="Straight Connector 285">
                <a:extLst>
                  <a:ext uri="{FF2B5EF4-FFF2-40B4-BE49-F238E27FC236}">
                    <a16:creationId xmlns:a16="http://schemas.microsoft.com/office/drawing/2014/main" id="{B878591D-AC8F-4BE0-9187-E2DB8BBED59E}"/>
                  </a:ext>
                </a:extLst>
              </p:cNvPr>
              <p:cNvCxnSpPr/>
              <p:nvPr/>
            </p:nvCxnSpPr>
            <p:spPr>
              <a:xfrm>
                <a:off x="1845453" y="1892889"/>
                <a:ext cx="129743"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3" name="Straight Connector 286">
                <a:extLst>
                  <a:ext uri="{FF2B5EF4-FFF2-40B4-BE49-F238E27FC236}">
                    <a16:creationId xmlns:a16="http://schemas.microsoft.com/office/drawing/2014/main" id="{D3463423-AB09-478F-B0FA-D9C472F9C058}"/>
                  </a:ext>
                </a:extLst>
              </p:cNvPr>
              <p:cNvCxnSpPr/>
              <p:nvPr/>
            </p:nvCxnSpPr>
            <p:spPr>
              <a:xfrm>
                <a:off x="1969208" y="1892889"/>
                <a:ext cx="0" cy="36361"/>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4" name="Straight Connector 287">
                <a:extLst>
                  <a:ext uri="{FF2B5EF4-FFF2-40B4-BE49-F238E27FC236}">
                    <a16:creationId xmlns:a16="http://schemas.microsoft.com/office/drawing/2014/main" id="{60423A39-9D09-4FE4-AB8B-420C9992E28F}"/>
                  </a:ext>
                </a:extLst>
              </p:cNvPr>
              <p:cNvCxnSpPr/>
              <p:nvPr/>
            </p:nvCxnSpPr>
            <p:spPr>
              <a:xfrm>
                <a:off x="1969208" y="1929250"/>
                <a:ext cx="77061"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5" name="Straight Connector 288">
                <a:extLst>
                  <a:ext uri="{FF2B5EF4-FFF2-40B4-BE49-F238E27FC236}">
                    <a16:creationId xmlns:a16="http://schemas.microsoft.com/office/drawing/2014/main" id="{73B20D35-EDAA-4A2D-B8C0-10A2F7A450B5}"/>
                  </a:ext>
                </a:extLst>
              </p:cNvPr>
              <p:cNvCxnSpPr>
                <a:cxnSpLocks/>
              </p:cNvCxnSpPr>
              <p:nvPr/>
            </p:nvCxnSpPr>
            <p:spPr>
              <a:xfrm flipH="1">
                <a:off x="2046268" y="1929250"/>
                <a:ext cx="1" cy="56153"/>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6" name="Straight Connector 289">
                <a:extLst>
                  <a:ext uri="{FF2B5EF4-FFF2-40B4-BE49-F238E27FC236}">
                    <a16:creationId xmlns:a16="http://schemas.microsoft.com/office/drawing/2014/main" id="{38FA8045-2581-47DB-B70A-9704B26E655E}"/>
                  </a:ext>
                </a:extLst>
              </p:cNvPr>
              <p:cNvCxnSpPr>
                <a:cxnSpLocks/>
              </p:cNvCxnSpPr>
              <p:nvPr/>
            </p:nvCxnSpPr>
            <p:spPr>
              <a:xfrm>
                <a:off x="2046268" y="1985403"/>
                <a:ext cx="49528"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7" name="Straight Connector 290">
                <a:extLst>
                  <a:ext uri="{FF2B5EF4-FFF2-40B4-BE49-F238E27FC236}">
                    <a16:creationId xmlns:a16="http://schemas.microsoft.com/office/drawing/2014/main" id="{1A900DC8-F9BD-44FC-9566-C50CDBEF8394}"/>
                  </a:ext>
                </a:extLst>
              </p:cNvPr>
              <p:cNvCxnSpPr/>
              <p:nvPr/>
            </p:nvCxnSpPr>
            <p:spPr>
              <a:xfrm>
                <a:off x="2087883" y="1972864"/>
                <a:ext cx="0" cy="169619"/>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8" name="Straight Connector 291">
                <a:extLst>
                  <a:ext uri="{FF2B5EF4-FFF2-40B4-BE49-F238E27FC236}">
                    <a16:creationId xmlns:a16="http://schemas.microsoft.com/office/drawing/2014/main" id="{F718BDA0-C184-40F2-99F4-318F75B2EC3D}"/>
                  </a:ext>
                </a:extLst>
              </p:cNvPr>
              <p:cNvCxnSpPr/>
              <p:nvPr/>
            </p:nvCxnSpPr>
            <p:spPr>
              <a:xfrm>
                <a:off x="2095796" y="2142484"/>
                <a:ext cx="65930"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59" name="Straight Connector 292">
                <a:extLst>
                  <a:ext uri="{FF2B5EF4-FFF2-40B4-BE49-F238E27FC236}">
                    <a16:creationId xmlns:a16="http://schemas.microsoft.com/office/drawing/2014/main" id="{E98765EF-5667-461E-87F9-5FF36CE9A5C7}"/>
                  </a:ext>
                </a:extLst>
              </p:cNvPr>
              <p:cNvCxnSpPr/>
              <p:nvPr/>
            </p:nvCxnSpPr>
            <p:spPr>
              <a:xfrm>
                <a:off x="2161726" y="2131116"/>
                <a:ext cx="0" cy="78513"/>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0" name="Straight Connector 293">
                <a:extLst>
                  <a:ext uri="{FF2B5EF4-FFF2-40B4-BE49-F238E27FC236}">
                    <a16:creationId xmlns:a16="http://schemas.microsoft.com/office/drawing/2014/main" id="{97C3B87C-8F0E-4302-967F-2572036728B2}"/>
                  </a:ext>
                </a:extLst>
              </p:cNvPr>
              <p:cNvCxnSpPr/>
              <p:nvPr/>
            </p:nvCxnSpPr>
            <p:spPr>
              <a:xfrm>
                <a:off x="2161726" y="2209629"/>
                <a:ext cx="61316"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1" name="Straight Connector 294">
                <a:extLst>
                  <a:ext uri="{FF2B5EF4-FFF2-40B4-BE49-F238E27FC236}">
                    <a16:creationId xmlns:a16="http://schemas.microsoft.com/office/drawing/2014/main" id="{E26B4642-99B7-4A15-9EDD-5598A1445BDD}"/>
                  </a:ext>
                </a:extLst>
              </p:cNvPr>
              <p:cNvCxnSpPr/>
              <p:nvPr/>
            </p:nvCxnSpPr>
            <p:spPr>
              <a:xfrm>
                <a:off x="2223041" y="2209629"/>
                <a:ext cx="0" cy="70387"/>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2" name="Straight Connector 295">
                <a:extLst>
                  <a:ext uri="{FF2B5EF4-FFF2-40B4-BE49-F238E27FC236}">
                    <a16:creationId xmlns:a16="http://schemas.microsoft.com/office/drawing/2014/main" id="{4C50A7E2-E23D-4A80-98B0-6FC8A3ACE518}"/>
                  </a:ext>
                </a:extLst>
              </p:cNvPr>
              <p:cNvCxnSpPr/>
              <p:nvPr/>
            </p:nvCxnSpPr>
            <p:spPr>
              <a:xfrm>
                <a:off x="2223041" y="2280016"/>
                <a:ext cx="61317"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3" name="Straight Connector 296">
                <a:extLst>
                  <a:ext uri="{FF2B5EF4-FFF2-40B4-BE49-F238E27FC236}">
                    <a16:creationId xmlns:a16="http://schemas.microsoft.com/office/drawing/2014/main" id="{BFABCE1F-AE71-49B8-8E81-2DA355655342}"/>
                  </a:ext>
                </a:extLst>
              </p:cNvPr>
              <p:cNvCxnSpPr/>
              <p:nvPr/>
            </p:nvCxnSpPr>
            <p:spPr>
              <a:xfrm>
                <a:off x="2284358" y="2280016"/>
                <a:ext cx="0" cy="31145"/>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4" name="Straight Connector 297">
                <a:extLst>
                  <a:ext uri="{FF2B5EF4-FFF2-40B4-BE49-F238E27FC236}">
                    <a16:creationId xmlns:a16="http://schemas.microsoft.com/office/drawing/2014/main" id="{47B8CCDD-A5F8-4352-A508-6555A164209F}"/>
                  </a:ext>
                </a:extLst>
              </p:cNvPr>
              <p:cNvCxnSpPr/>
              <p:nvPr/>
            </p:nvCxnSpPr>
            <p:spPr>
              <a:xfrm>
                <a:off x="2284358" y="2311161"/>
                <a:ext cx="127986"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5" name="Straight Connector 298">
                <a:extLst>
                  <a:ext uri="{FF2B5EF4-FFF2-40B4-BE49-F238E27FC236}">
                    <a16:creationId xmlns:a16="http://schemas.microsoft.com/office/drawing/2014/main" id="{1F5251B1-9764-4574-B1A7-45B925C41639}"/>
                  </a:ext>
                </a:extLst>
              </p:cNvPr>
              <p:cNvCxnSpPr/>
              <p:nvPr/>
            </p:nvCxnSpPr>
            <p:spPr>
              <a:xfrm>
                <a:off x="2412345" y="2311161"/>
                <a:ext cx="0" cy="75835"/>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6" name="Straight Connector 299">
                <a:extLst>
                  <a:ext uri="{FF2B5EF4-FFF2-40B4-BE49-F238E27FC236}">
                    <a16:creationId xmlns:a16="http://schemas.microsoft.com/office/drawing/2014/main" id="{E098910F-12BE-440D-BCE7-55115A932213}"/>
                  </a:ext>
                </a:extLst>
              </p:cNvPr>
              <p:cNvCxnSpPr/>
              <p:nvPr/>
            </p:nvCxnSpPr>
            <p:spPr>
              <a:xfrm>
                <a:off x="2412345" y="2386996"/>
                <a:ext cx="56637"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7" name="Straight Connector 300">
                <a:extLst>
                  <a:ext uri="{FF2B5EF4-FFF2-40B4-BE49-F238E27FC236}">
                    <a16:creationId xmlns:a16="http://schemas.microsoft.com/office/drawing/2014/main" id="{F3B0A444-FB92-409D-B4A9-5A5A7836061C}"/>
                  </a:ext>
                </a:extLst>
              </p:cNvPr>
              <p:cNvCxnSpPr/>
              <p:nvPr/>
            </p:nvCxnSpPr>
            <p:spPr>
              <a:xfrm>
                <a:off x="2468982" y="2386996"/>
                <a:ext cx="0" cy="20656"/>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8" name="Straight Connector 301">
                <a:extLst>
                  <a:ext uri="{FF2B5EF4-FFF2-40B4-BE49-F238E27FC236}">
                    <a16:creationId xmlns:a16="http://schemas.microsoft.com/office/drawing/2014/main" id="{F1D50A78-B9C5-4DAE-9E3A-AAF8182DD5AC}"/>
                  </a:ext>
                </a:extLst>
              </p:cNvPr>
              <p:cNvCxnSpPr/>
              <p:nvPr/>
            </p:nvCxnSpPr>
            <p:spPr>
              <a:xfrm>
                <a:off x="2468982" y="2407652"/>
                <a:ext cx="69873"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69" name="Straight Connector 302">
                <a:extLst>
                  <a:ext uri="{FF2B5EF4-FFF2-40B4-BE49-F238E27FC236}">
                    <a16:creationId xmlns:a16="http://schemas.microsoft.com/office/drawing/2014/main" id="{D7DF17A6-B9AE-442D-B3B0-361E1663E8BA}"/>
                  </a:ext>
                </a:extLst>
              </p:cNvPr>
              <p:cNvCxnSpPr/>
              <p:nvPr/>
            </p:nvCxnSpPr>
            <p:spPr>
              <a:xfrm>
                <a:off x="2538854" y="2407652"/>
                <a:ext cx="0" cy="79687"/>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0" name="Straight Connector 303">
                <a:extLst>
                  <a:ext uri="{FF2B5EF4-FFF2-40B4-BE49-F238E27FC236}">
                    <a16:creationId xmlns:a16="http://schemas.microsoft.com/office/drawing/2014/main" id="{1A877116-B0D0-4BFB-B455-B302F36D77AF}"/>
                  </a:ext>
                </a:extLst>
              </p:cNvPr>
              <p:cNvCxnSpPr/>
              <p:nvPr/>
            </p:nvCxnSpPr>
            <p:spPr>
              <a:xfrm>
                <a:off x="2538854" y="2487338"/>
                <a:ext cx="145708"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1" name="Straight Connector 304">
                <a:extLst>
                  <a:ext uri="{FF2B5EF4-FFF2-40B4-BE49-F238E27FC236}">
                    <a16:creationId xmlns:a16="http://schemas.microsoft.com/office/drawing/2014/main" id="{63A30D1F-683F-40F6-8494-814177449858}"/>
                  </a:ext>
                </a:extLst>
              </p:cNvPr>
              <p:cNvCxnSpPr/>
              <p:nvPr/>
            </p:nvCxnSpPr>
            <p:spPr>
              <a:xfrm>
                <a:off x="2684561" y="2487338"/>
                <a:ext cx="0" cy="49922"/>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2" name="Straight Connector 305">
                <a:extLst>
                  <a:ext uri="{FF2B5EF4-FFF2-40B4-BE49-F238E27FC236}">
                    <a16:creationId xmlns:a16="http://schemas.microsoft.com/office/drawing/2014/main" id="{D22EB259-F420-4D27-8786-192B4C960749}"/>
                  </a:ext>
                </a:extLst>
              </p:cNvPr>
              <p:cNvCxnSpPr/>
              <p:nvPr/>
            </p:nvCxnSpPr>
            <p:spPr>
              <a:xfrm>
                <a:off x="2684561" y="2537260"/>
                <a:ext cx="36262"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3" name="Straight Connector 306">
                <a:extLst>
                  <a:ext uri="{FF2B5EF4-FFF2-40B4-BE49-F238E27FC236}">
                    <a16:creationId xmlns:a16="http://schemas.microsoft.com/office/drawing/2014/main" id="{792081B3-9973-486F-AD57-D0E8A58ECA0E}"/>
                  </a:ext>
                </a:extLst>
              </p:cNvPr>
              <p:cNvCxnSpPr/>
              <p:nvPr/>
            </p:nvCxnSpPr>
            <p:spPr>
              <a:xfrm>
                <a:off x="2720823" y="2537260"/>
                <a:ext cx="0" cy="25919"/>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4" name="Straight Connector 307">
                <a:extLst>
                  <a:ext uri="{FF2B5EF4-FFF2-40B4-BE49-F238E27FC236}">
                    <a16:creationId xmlns:a16="http://schemas.microsoft.com/office/drawing/2014/main" id="{B142ED04-3999-413D-ACCF-0B71E2E544AA}"/>
                  </a:ext>
                </a:extLst>
              </p:cNvPr>
              <p:cNvCxnSpPr/>
              <p:nvPr/>
            </p:nvCxnSpPr>
            <p:spPr>
              <a:xfrm>
                <a:off x="2720823" y="2563179"/>
                <a:ext cx="65932"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5" name="Straight Connector 308">
                <a:extLst>
                  <a:ext uri="{FF2B5EF4-FFF2-40B4-BE49-F238E27FC236}">
                    <a16:creationId xmlns:a16="http://schemas.microsoft.com/office/drawing/2014/main" id="{84401D02-49C4-4FB2-B5A2-C1A5BFAFAE7E}"/>
                  </a:ext>
                </a:extLst>
              </p:cNvPr>
              <p:cNvCxnSpPr/>
              <p:nvPr/>
            </p:nvCxnSpPr>
            <p:spPr>
              <a:xfrm>
                <a:off x="2786756" y="2563179"/>
                <a:ext cx="0" cy="61388"/>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6" name="Straight Connector 309">
                <a:extLst>
                  <a:ext uri="{FF2B5EF4-FFF2-40B4-BE49-F238E27FC236}">
                    <a16:creationId xmlns:a16="http://schemas.microsoft.com/office/drawing/2014/main" id="{1CFACE32-EE2F-445E-979F-2E82A9755BF5}"/>
                  </a:ext>
                </a:extLst>
              </p:cNvPr>
              <p:cNvCxnSpPr/>
              <p:nvPr/>
            </p:nvCxnSpPr>
            <p:spPr>
              <a:xfrm>
                <a:off x="2786756" y="2624567"/>
                <a:ext cx="130622"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7" name="Straight Connector 310">
                <a:extLst>
                  <a:ext uri="{FF2B5EF4-FFF2-40B4-BE49-F238E27FC236}">
                    <a16:creationId xmlns:a16="http://schemas.microsoft.com/office/drawing/2014/main" id="{2708B9F8-B42F-499D-88F5-FC179030EE70}"/>
                  </a:ext>
                </a:extLst>
              </p:cNvPr>
              <p:cNvCxnSpPr/>
              <p:nvPr/>
            </p:nvCxnSpPr>
            <p:spPr>
              <a:xfrm>
                <a:off x="2917377" y="2624567"/>
                <a:ext cx="0" cy="52492"/>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8" name="Straight Connector 311">
                <a:extLst>
                  <a:ext uri="{FF2B5EF4-FFF2-40B4-BE49-F238E27FC236}">
                    <a16:creationId xmlns:a16="http://schemas.microsoft.com/office/drawing/2014/main" id="{443BBA58-65C8-4C36-A70B-FBBC484D60EC}"/>
                  </a:ext>
                </a:extLst>
              </p:cNvPr>
              <p:cNvCxnSpPr/>
              <p:nvPr/>
            </p:nvCxnSpPr>
            <p:spPr>
              <a:xfrm>
                <a:off x="2917377" y="2677059"/>
                <a:ext cx="187183"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79" name="Straight Connector 312">
                <a:extLst>
                  <a:ext uri="{FF2B5EF4-FFF2-40B4-BE49-F238E27FC236}">
                    <a16:creationId xmlns:a16="http://schemas.microsoft.com/office/drawing/2014/main" id="{3E1E32AD-63C3-4623-AAD2-93C0FAEAD72A}"/>
                  </a:ext>
                </a:extLst>
              </p:cNvPr>
              <p:cNvCxnSpPr/>
              <p:nvPr/>
            </p:nvCxnSpPr>
            <p:spPr>
              <a:xfrm>
                <a:off x="3104559" y="2677059"/>
                <a:ext cx="0" cy="34897"/>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0" name="Straight Connector 313">
                <a:extLst>
                  <a:ext uri="{FF2B5EF4-FFF2-40B4-BE49-F238E27FC236}">
                    <a16:creationId xmlns:a16="http://schemas.microsoft.com/office/drawing/2014/main" id="{E66E11C8-9534-4CF5-B444-CF1E20FFB778}"/>
                  </a:ext>
                </a:extLst>
              </p:cNvPr>
              <p:cNvCxnSpPr/>
              <p:nvPr/>
            </p:nvCxnSpPr>
            <p:spPr>
              <a:xfrm>
                <a:off x="3104559" y="2711956"/>
                <a:ext cx="131266"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1" name="Straight Connector 314">
                <a:extLst>
                  <a:ext uri="{FF2B5EF4-FFF2-40B4-BE49-F238E27FC236}">
                    <a16:creationId xmlns:a16="http://schemas.microsoft.com/office/drawing/2014/main" id="{1A32F837-E382-4171-973D-64F2BE098EFA}"/>
                  </a:ext>
                </a:extLst>
              </p:cNvPr>
              <p:cNvCxnSpPr/>
              <p:nvPr/>
            </p:nvCxnSpPr>
            <p:spPr>
              <a:xfrm>
                <a:off x="3235825" y="2711956"/>
                <a:ext cx="15088" cy="21955"/>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2" name="Straight Connector 315">
                <a:extLst>
                  <a:ext uri="{FF2B5EF4-FFF2-40B4-BE49-F238E27FC236}">
                    <a16:creationId xmlns:a16="http://schemas.microsoft.com/office/drawing/2014/main" id="{6E97C1D2-564E-4620-ACF7-12E155F334D0}"/>
                  </a:ext>
                </a:extLst>
              </p:cNvPr>
              <p:cNvCxnSpPr/>
              <p:nvPr/>
            </p:nvCxnSpPr>
            <p:spPr>
              <a:xfrm>
                <a:off x="3244397" y="2733911"/>
                <a:ext cx="53035"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3" name="Straight Connector 316">
                <a:extLst>
                  <a:ext uri="{FF2B5EF4-FFF2-40B4-BE49-F238E27FC236}">
                    <a16:creationId xmlns:a16="http://schemas.microsoft.com/office/drawing/2014/main" id="{D3BFE468-3840-41BA-A67C-A32442253195}"/>
                  </a:ext>
                </a:extLst>
              </p:cNvPr>
              <p:cNvCxnSpPr/>
              <p:nvPr/>
            </p:nvCxnSpPr>
            <p:spPr>
              <a:xfrm>
                <a:off x="3297432" y="2733911"/>
                <a:ext cx="0" cy="77101"/>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4" name="Straight Connector 317">
                <a:extLst>
                  <a:ext uri="{FF2B5EF4-FFF2-40B4-BE49-F238E27FC236}">
                    <a16:creationId xmlns:a16="http://schemas.microsoft.com/office/drawing/2014/main" id="{D6AFC94C-2DFA-49AB-A3B7-21AC50C7BF23}"/>
                  </a:ext>
                </a:extLst>
              </p:cNvPr>
              <p:cNvCxnSpPr/>
              <p:nvPr/>
            </p:nvCxnSpPr>
            <p:spPr>
              <a:xfrm>
                <a:off x="3297432" y="2811012"/>
                <a:ext cx="61609"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5" name="Straight Connector 318">
                <a:extLst>
                  <a:ext uri="{FF2B5EF4-FFF2-40B4-BE49-F238E27FC236}">
                    <a16:creationId xmlns:a16="http://schemas.microsoft.com/office/drawing/2014/main" id="{B2E2340D-1C4A-4939-8E3F-4CA4F201517C}"/>
                  </a:ext>
                </a:extLst>
              </p:cNvPr>
              <p:cNvCxnSpPr/>
              <p:nvPr/>
            </p:nvCxnSpPr>
            <p:spPr>
              <a:xfrm>
                <a:off x="3359040" y="2811012"/>
                <a:ext cx="0" cy="21027"/>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6" name="Straight Connector 319">
                <a:extLst>
                  <a:ext uri="{FF2B5EF4-FFF2-40B4-BE49-F238E27FC236}">
                    <a16:creationId xmlns:a16="http://schemas.microsoft.com/office/drawing/2014/main" id="{A85EBE53-DF28-496B-96CA-D5395619CB26}"/>
                  </a:ext>
                </a:extLst>
              </p:cNvPr>
              <p:cNvCxnSpPr/>
              <p:nvPr/>
            </p:nvCxnSpPr>
            <p:spPr>
              <a:xfrm>
                <a:off x="3359040" y="2832041"/>
                <a:ext cx="88694"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7" name="Straight Connector 320">
                <a:extLst>
                  <a:ext uri="{FF2B5EF4-FFF2-40B4-BE49-F238E27FC236}">
                    <a16:creationId xmlns:a16="http://schemas.microsoft.com/office/drawing/2014/main" id="{FC620E00-923A-42E4-A532-485FAAE74B79}"/>
                  </a:ext>
                </a:extLst>
              </p:cNvPr>
              <p:cNvCxnSpPr>
                <a:cxnSpLocks/>
              </p:cNvCxnSpPr>
              <p:nvPr/>
            </p:nvCxnSpPr>
            <p:spPr>
              <a:xfrm>
                <a:off x="3447734" y="2832041"/>
                <a:ext cx="0" cy="8448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8" name="Straight Connector 321">
                <a:extLst>
                  <a:ext uri="{FF2B5EF4-FFF2-40B4-BE49-F238E27FC236}">
                    <a16:creationId xmlns:a16="http://schemas.microsoft.com/office/drawing/2014/main" id="{60C11EC8-7CCD-4050-BD39-F21B4B505816}"/>
                  </a:ext>
                </a:extLst>
              </p:cNvPr>
              <p:cNvCxnSpPr/>
              <p:nvPr/>
            </p:nvCxnSpPr>
            <p:spPr>
              <a:xfrm>
                <a:off x="3447734" y="2916521"/>
                <a:ext cx="117750"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89" name="Straight Connector 322">
                <a:extLst>
                  <a:ext uri="{FF2B5EF4-FFF2-40B4-BE49-F238E27FC236}">
                    <a16:creationId xmlns:a16="http://schemas.microsoft.com/office/drawing/2014/main" id="{A25E75E7-9381-4F13-B78A-531EE41BD011}"/>
                  </a:ext>
                </a:extLst>
              </p:cNvPr>
              <p:cNvCxnSpPr/>
              <p:nvPr/>
            </p:nvCxnSpPr>
            <p:spPr>
              <a:xfrm>
                <a:off x="3565484" y="2916521"/>
                <a:ext cx="0" cy="24863"/>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90" name="Straight Connector 323">
                <a:extLst>
                  <a:ext uri="{FF2B5EF4-FFF2-40B4-BE49-F238E27FC236}">
                    <a16:creationId xmlns:a16="http://schemas.microsoft.com/office/drawing/2014/main" id="{7AAAB579-6310-42B6-BED0-57A4A9C23A28}"/>
                  </a:ext>
                </a:extLst>
              </p:cNvPr>
              <p:cNvCxnSpPr/>
              <p:nvPr/>
            </p:nvCxnSpPr>
            <p:spPr>
              <a:xfrm>
                <a:off x="3565484" y="2941384"/>
                <a:ext cx="112351"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91" name="Straight Connector 324">
                <a:extLst>
                  <a:ext uri="{FF2B5EF4-FFF2-40B4-BE49-F238E27FC236}">
                    <a16:creationId xmlns:a16="http://schemas.microsoft.com/office/drawing/2014/main" id="{FA1E5B52-D135-475F-A435-87B81DB16F75}"/>
                  </a:ext>
                </a:extLst>
              </p:cNvPr>
              <p:cNvCxnSpPr/>
              <p:nvPr/>
            </p:nvCxnSpPr>
            <p:spPr>
              <a:xfrm>
                <a:off x="3677835" y="2941384"/>
                <a:ext cx="0" cy="42056"/>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92" name="Straight Connector 325">
                <a:extLst>
                  <a:ext uri="{FF2B5EF4-FFF2-40B4-BE49-F238E27FC236}">
                    <a16:creationId xmlns:a16="http://schemas.microsoft.com/office/drawing/2014/main" id="{FCBBA0F6-67BB-4851-BED8-1E2B4B985256}"/>
                  </a:ext>
                </a:extLst>
              </p:cNvPr>
              <p:cNvCxnSpPr/>
              <p:nvPr/>
            </p:nvCxnSpPr>
            <p:spPr>
              <a:xfrm>
                <a:off x="3994000" y="2996487"/>
                <a:ext cx="8417" cy="34617"/>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193" name="Straight Connector 349">
                <a:extLst>
                  <a:ext uri="{FF2B5EF4-FFF2-40B4-BE49-F238E27FC236}">
                    <a16:creationId xmlns:a16="http://schemas.microsoft.com/office/drawing/2014/main" id="{D89CD02F-4586-48CD-B47F-1EAB1B91B4D4}"/>
                  </a:ext>
                </a:extLst>
              </p:cNvPr>
              <p:cNvCxnSpPr>
                <a:cxnSpLocks/>
              </p:cNvCxnSpPr>
              <p:nvPr/>
            </p:nvCxnSpPr>
            <p:spPr>
              <a:xfrm flipV="1">
                <a:off x="3752003" y="2517437"/>
                <a:ext cx="138668" cy="471"/>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194" name="Straight Connector 86">
                <a:extLst>
                  <a:ext uri="{FF2B5EF4-FFF2-40B4-BE49-F238E27FC236}">
                    <a16:creationId xmlns:a16="http://schemas.microsoft.com/office/drawing/2014/main" id="{2401BB24-2CEF-4F4D-A627-A49A33B38BCC}"/>
                  </a:ext>
                </a:extLst>
              </p:cNvPr>
              <p:cNvCxnSpPr/>
              <p:nvPr/>
            </p:nvCxnSpPr>
            <p:spPr>
              <a:xfrm flipV="1">
                <a:off x="7041876" y="1554738"/>
                <a:ext cx="0" cy="2277146"/>
              </a:xfrm>
              <a:prstGeom prst="line">
                <a:avLst/>
              </a:prstGeom>
            </p:spPr>
            <p:style>
              <a:lnRef idx="3">
                <a:schemeClr val="dk1"/>
              </a:lnRef>
              <a:fillRef idx="0">
                <a:schemeClr val="dk1"/>
              </a:fillRef>
              <a:effectRef idx="2">
                <a:schemeClr val="dk1"/>
              </a:effectRef>
              <a:fontRef idx="minor">
                <a:schemeClr val="tx1"/>
              </a:fontRef>
            </p:style>
          </p:cxnSp>
          <p:cxnSp>
            <p:nvCxnSpPr>
              <p:cNvPr id="195" name="Straight Connector 87">
                <a:extLst>
                  <a:ext uri="{FF2B5EF4-FFF2-40B4-BE49-F238E27FC236}">
                    <a16:creationId xmlns:a16="http://schemas.microsoft.com/office/drawing/2014/main" id="{12D2D765-DB7B-458B-A39B-05805648E91C}"/>
                  </a:ext>
                </a:extLst>
              </p:cNvPr>
              <p:cNvCxnSpPr/>
              <p:nvPr/>
            </p:nvCxnSpPr>
            <p:spPr>
              <a:xfrm>
                <a:off x="7041876" y="3831883"/>
                <a:ext cx="4056611" cy="0"/>
              </a:xfrm>
              <a:prstGeom prst="line">
                <a:avLst/>
              </a:prstGeom>
            </p:spPr>
            <p:style>
              <a:lnRef idx="3">
                <a:schemeClr val="dk1"/>
              </a:lnRef>
              <a:fillRef idx="0">
                <a:schemeClr val="dk1"/>
              </a:fillRef>
              <a:effectRef idx="2">
                <a:schemeClr val="dk1"/>
              </a:effectRef>
              <a:fontRef idx="minor">
                <a:schemeClr val="tx1"/>
              </a:fontRef>
            </p:style>
          </p:cxnSp>
          <p:cxnSp>
            <p:nvCxnSpPr>
              <p:cNvPr id="196" name="Straight Connector 88">
                <a:extLst>
                  <a:ext uri="{FF2B5EF4-FFF2-40B4-BE49-F238E27FC236}">
                    <a16:creationId xmlns:a16="http://schemas.microsoft.com/office/drawing/2014/main" id="{7D3CB5D4-0D22-440A-9E80-C281BE644D66}"/>
                  </a:ext>
                </a:extLst>
              </p:cNvPr>
              <p:cNvCxnSpPr/>
              <p:nvPr/>
            </p:nvCxnSpPr>
            <p:spPr>
              <a:xfrm flipV="1">
                <a:off x="9442675" y="1725310"/>
                <a:ext cx="0" cy="2106572"/>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7" name="Straight Connector 89">
                <a:extLst>
                  <a:ext uri="{FF2B5EF4-FFF2-40B4-BE49-F238E27FC236}">
                    <a16:creationId xmlns:a16="http://schemas.microsoft.com/office/drawing/2014/main" id="{41587FFD-0836-4E66-A651-280949CC90C9}"/>
                  </a:ext>
                </a:extLst>
              </p:cNvPr>
              <p:cNvCxnSpPr/>
              <p:nvPr/>
            </p:nvCxnSpPr>
            <p:spPr>
              <a:xfrm flipH="1">
                <a:off x="6978093" y="1685511"/>
                <a:ext cx="63783" cy="0"/>
              </a:xfrm>
              <a:prstGeom prst="line">
                <a:avLst/>
              </a:prstGeom>
            </p:spPr>
            <p:style>
              <a:lnRef idx="3">
                <a:schemeClr val="dk1"/>
              </a:lnRef>
              <a:fillRef idx="0">
                <a:schemeClr val="dk1"/>
              </a:fillRef>
              <a:effectRef idx="2">
                <a:schemeClr val="dk1"/>
              </a:effectRef>
              <a:fontRef idx="minor">
                <a:schemeClr val="tx1"/>
              </a:fontRef>
            </p:style>
          </p:cxnSp>
          <p:cxnSp>
            <p:nvCxnSpPr>
              <p:cNvPr id="198" name="Straight Connector 90">
                <a:extLst>
                  <a:ext uri="{FF2B5EF4-FFF2-40B4-BE49-F238E27FC236}">
                    <a16:creationId xmlns:a16="http://schemas.microsoft.com/office/drawing/2014/main" id="{AD14045E-B5CE-4C75-97B3-5EC562707784}"/>
                  </a:ext>
                </a:extLst>
              </p:cNvPr>
              <p:cNvCxnSpPr/>
              <p:nvPr/>
            </p:nvCxnSpPr>
            <p:spPr>
              <a:xfrm flipH="1">
                <a:off x="6978093" y="2197229"/>
                <a:ext cx="63783" cy="0"/>
              </a:xfrm>
              <a:prstGeom prst="line">
                <a:avLst/>
              </a:prstGeom>
            </p:spPr>
            <p:style>
              <a:lnRef idx="3">
                <a:schemeClr val="dk1"/>
              </a:lnRef>
              <a:fillRef idx="0">
                <a:schemeClr val="dk1"/>
              </a:fillRef>
              <a:effectRef idx="2">
                <a:schemeClr val="dk1"/>
              </a:effectRef>
              <a:fontRef idx="minor">
                <a:schemeClr val="tx1"/>
              </a:fontRef>
            </p:style>
          </p:cxnSp>
          <p:cxnSp>
            <p:nvCxnSpPr>
              <p:cNvPr id="199" name="Straight Connector 91">
                <a:extLst>
                  <a:ext uri="{FF2B5EF4-FFF2-40B4-BE49-F238E27FC236}">
                    <a16:creationId xmlns:a16="http://schemas.microsoft.com/office/drawing/2014/main" id="{F9214D8D-B4D5-493D-AB54-03BF77539CA9}"/>
                  </a:ext>
                </a:extLst>
              </p:cNvPr>
              <p:cNvCxnSpPr/>
              <p:nvPr/>
            </p:nvCxnSpPr>
            <p:spPr>
              <a:xfrm flipH="1">
                <a:off x="6970439" y="2700417"/>
                <a:ext cx="63783" cy="0"/>
              </a:xfrm>
              <a:prstGeom prst="line">
                <a:avLst/>
              </a:prstGeom>
            </p:spPr>
            <p:style>
              <a:lnRef idx="3">
                <a:schemeClr val="dk1"/>
              </a:lnRef>
              <a:fillRef idx="0">
                <a:schemeClr val="dk1"/>
              </a:fillRef>
              <a:effectRef idx="2">
                <a:schemeClr val="dk1"/>
              </a:effectRef>
              <a:fontRef idx="minor">
                <a:schemeClr val="tx1"/>
              </a:fontRef>
            </p:style>
          </p:cxnSp>
          <p:cxnSp>
            <p:nvCxnSpPr>
              <p:cNvPr id="200" name="Straight Connector 92">
                <a:extLst>
                  <a:ext uri="{FF2B5EF4-FFF2-40B4-BE49-F238E27FC236}">
                    <a16:creationId xmlns:a16="http://schemas.microsoft.com/office/drawing/2014/main" id="{A5C9E0A6-18A8-41F0-8934-9D3416404D92}"/>
                  </a:ext>
                </a:extLst>
              </p:cNvPr>
              <p:cNvCxnSpPr/>
              <p:nvPr/>
            </p:nvCxnSpPr>
            <p:spPr>
              <a:xfrm flipH="1">
                <a:off x="6970439" y="3216400"/>
                <a:ext cx="63783" cy="0"/>
              </a:xfrm>
              <a:prstGeom prst="line">
                <a:avLst/>
              </a:prstGeom>
            </p:spPr>
            <p:style>
              <a:lnRef idx="3">
                <a:schemeClr val="dk1"/>
              </a:lnRef>
              <a:fillRef idx="0">
                <a:schemeClr val="dk1"/>
              </a:fillRef>
              <a:effectRef idx="2">
                <a:schemeClr val="dk1"/>
              </a:effectRef>
              <a:fontRef idx="minor">
                <a:schemeClr val="tx1"/>
              </a:fontRef>
            </p:style>
          </p:cxnSp>
          <p:cxnSp>
            <p:nvCxnSpPr>
              <p:cNvPr id="201" name="Straight Connector 93">
                <a:extLst>
                  <a:ext uri="{FF2B5EF4-FFF2-40B4-BE49-F238E27FC236}">
                    <a16:creationId xmlns:a16="http://schemas.microsoft.com/office/drawing/2014/main" id="{8D3F6D2C-D072-4D47-ACAE-800B2297B1E1}"/>
                  </a:ext>
                </a:extLst>
              </p:cNvPr>
              <p:cNvCxnSpPr/>
              <p:nvPr/>
            </p:nvCxnSpPr>
            <p:spPr>
              <a:xfrm flipH="1">
                <a:off x="6978093" y="3715325"/>
                <a:ext cx="63783" cy="0"/>
              </a:xfrm>
              <a:prstGeom prst="line">
                <a:avLst/>
              </a:prstGeom>
            </p:spPr>
            <p:style>
              <a:lnRef idx="3">
                <a:schemeClr val="dk1"/>
              </a:lnRef>
              <a:fillRef idx="0">
                <a:schemeClr val="dk1"/>
              </a:fillRef>
              <a:effectRef idx="2">
                <a:schemeClr val="dk1"/>
              </a:effectRef>
              <a:fontRef idx="minor">
                <a:schemeClr val="tx1"/>
              </a:fontRef>
            </p:style>
          </p:cxnSp>
          <p:cxnSp>
            <p:nvCxnSpPr>
              <p:cNvPr id="202" name="Straight Connector 94">
                <a:extLst>
                  <a:ext uri="{FF2B5EF4-FFF2-40B4-BE49-F238E27FC236}">
                    <a16:creationId xmlns:a16="http://schemas.microsoft.com/office/drawing/2014/main" id="{B5881A88-2457-4188-AF59-DEA06514BF4A}"/>
                  </a:ext>
                </a:extLst>
              </p:cNvPr>
              <p:cNvCxnSpPr>
                <a:cxnSpLocks/>
              </p:cNvCxnSpPr>
              <p:nvPr/>
            </p:nvCxnSpPr>
            <p:spPr>
              <a:xfrm flipV="1">
                <a:off x="7230675" y="3824776"/>
                <a:ext cx="1" cy="73915"/>
              </a:xfrm>
              <a:prstGeom prst="line">
                <a:avLst/>
              </a:prstGeom>
            </p:spPr>
            <p:style>
              <a:lnRef idx="3">
                <a:schemeClr val="dk1"/>
              </a:lnRef>
              <a:fillRef idx="0">
                <a:schemeClr val="dk1"/>
              </a:fillRef>
              <a:effectRef idx="2">
                <a:schemeClr val="dk1"/>
              </a:effectRef>
              <a:fontRef idx="minor">
                <a:schemeClr val="tx1"/>
              </a:fontRef>
            </p:style>
          </p:cxnSp>
          <p:cxnSp>
            <p:nvCxnSpPr>
              <p:cNvPr id="203" name="Straight Connector 95">
                <a:extLst>
                  <a:ext uri="{FF2B5EF4-FFF2-40B4-BE49-F238E27FC236}">
                    <a16:creationId xmlns:a16="http://schemas.microsoft.com/office/drawing/2014/main" id="{7D74F1D0-122F-43D4-844D-6F922D76DC7E}"/>
                  </a:ext>
                </a:extLst>
              </p:cNvPr>
              <p:cNvCxnSpPr>
                <a:cxnSpLocks/>
              </p:cNvCxnSpPr>
              <p:nvPr/>
            </p:nvCxnSpPr>
            <p:spPr>
              <a:xfrm flipV="1">
                <a:off x="7839167" y="3824776"/>
                <a:ext cx="1" cy="73915"/>
              </a:xfrm>
              <a:prstGeom prst="line">
                <a:avLst/>
              </a:prstGeom>
            </p:spPr>
            <p:style>
              <a:lnRef idx="3">
                <a:schemeClr val="dk1"/>
              </a:lnRef>
              <a:fillRef idx="0">
                <a:schemeClr val="dk1"/>
              </a:fillRef>
              <a:effectRef idx="2">
                <a:schemeClr val="dk1"/>
              </a:effectRef>
              <a:fontRef idx="minor">
                <a:schemeClr val="tx1"/>
              </a:fontRef>
            </p:style>
          </p:cxnSp>
          <p:cxnSp>
            <p:nvCxnSpPr>
              <p:cNvPr id="204" name="Straight Connector 96">
                <a:extLst>
                  <a:ext uri="{FF2B5EF4-FFF2-40B4-BE49-F238E27FC236}">
                    <a16:creationId xmlns:a16="http://schemas.microsoft.com/office/drawing/2014/main" id="{28376A71-EEF8-40C2-B169-1BAFA8BBFC32}"/>
                  </a:ext>
                </a:extLst>
              </p:cNvPr>
              <p:cNvCxnSpPr>
                <a:cxnSpLocks/>
              </p:cNvCxnSpPr>
              <p:nvPr/>
            </p:nvCxnSpPr>
            <p:spPr>
              <a:xfrm flipV="1">
                <a:off x="8455312" y="3824776"/>
                <a:ext cx="1" cy="73915"/>
              </a:xfrm>
              <a:prstGeom prst="line">
                <a:avLst/>
              </a:prstGeom>
            </p:spPr>
            <p:style>
              <a:lnRef idx="3">
                <a:schemeClr val="dk1"/>
              </a:lnRef>
              <a:fillRef idx="0">
                <a:schemeClr val="dk1"/>
              </a:fillRef>
              <a:effectRef idx="2">
                <a:schemeClr val="dk1"/>
              </a:effectRef>
              <a:fontRef idx="minor">
                <a:schemeClr val="tx1"/>
              </a:fontRef>
            </p:style>
          </p:cxnSp>
          <p:cxnSp>
            <p:nvCxnSpPr>
              <p:cNvPr id="205" name="Straight Connector 97">
                <a:extLst>
                  <a:ext uri="{FF2B5EF4-FFF2-40B4-BE49-F238E27FC236}">
                    <a16:creationId xmlns:a16="http://schemas.microsoft.com/office/drawing/2014/main" id="{8598CDC4-3C44-4A04-B4E7-1A6A07B36A7E}"/>
                  </a:ext>
                </a:extLst>
              </p:cNvPr>
              <p:cNvCxnSpPr>
                <a:cxnSpLocks/>
              </p:cNvCxnSpPr>
              <p:nvPr/>
            </p:nvCxnSpPr>
            <p:spPr>
              <a:xfrm flipV="1">
                <a:off x="9070182" y="3824775"/>
                <a:ext cx="1" cy="73915"/>
              </a:xfrm>
              <a:prstGeom prst="line">
                <a:avLst/>
              </a:prstGeom>
            </p:spPr>
            <p:style>
              <a:lnRef idx="3">
                <a:schemeClr val="dk1"/>
              </a:lnRef>
              <a:fillRef idx="0">
                <a:schemeClr val="dk1"/>
              </a:fillRef>
              <a:effectRef idx="2">
                <a:schemeClr val="dk1"/>
              </a:effectRef>
              <a:fontRef idx="minor">
                <a:schemeClr val="tx1"/>
              </a:fontRef>
            </p:style>
          </p:cxnSp>
          <p:cxnSp>
            <p:nvCxnSpPr>
              <p:cNvPr id="206" name="Straight Connector 98">
                <a:extLst>
                  <a:ext uri="{FF2B5EF4-FFF2-40B4-BE49-F238E27FC236}">
                    <a16:creationId xmlns:a16="http://schemas.microsoft.com/office/drawing/2014/main" id="{FB11AD04-48A0-45FA-A906-23534246B1E8}"/>
                  </a:ext>
                </a:extLst>
              </p:cNvPr>
              <p:cNvCxnSpPr>
                <a:cxnSpLocks/>
              </p:cNvCxnSpPr>
              <p:nvPr/>
            </p:nvCxnSpPr>
            <p:spPr>
              <a:xfrm flipV="1">
                <a:off x="9686327" y="3824774"/>
                <a:ext cx="1" cy="73915"/>
              </a:xfrm>
              <a:prstGeom prst="line">
                <a:avLst/>
              </a:prstGeom>
            </p:spPr>
            <p:style>
              <a:lnRef idx="3">
                <a:schemeClr val="dk1"/>
              </a:lnRef>
              <a:fillRef idx="0">
                <a:schemeClr val="dk1"/>
              </a:fillRef>
              <a:effectRef idx="2">
                <a:schemeClr val="dk1"/>
              </a:effectRef>
              <a:fontRef idx="minor">
                <a:schemeClr val="tx1"/>
              </a:fontRef>
            </p:style>
          </p:cxnSp>
          <p:cxnSp>
            <p:nvCxnSpPr>
              <p:cNvPr id="207" name="Straight Connector 99">
                <a:extLst>
                  <a:ext uri="{FF2B5EF4-FFF2-40B4-BE49-F238E27FC236}">
                    <a16:creationId xmlns:a16="http://schemas.microsoft.com/office/drawing/2014/main" id="{63EA9FBB-74EC-4AA8-8AF6-4662A0344999}"/>
                  </a:ext>
                </a:extLst>
              </p:cNvPr>
              <p:cNvCxnSpPr>
                <a:cxnSpLocks/>
              </p:cNvCxnSpPr>
              <p:nvPr/>
            </p:nvCxnSpPr>
            <p:spPr>
              <a:xfrm flipV="1">
                <a:off x="10302472" y="3834726"/>
                <a:ext cx="1" cy="73915"/>
              </a:xfrm>
              <a:prstGeom prst="line">
                <a:avLst/>
              </a:prstGeom>
            </p:spPr>
            <p:style>
              <a:lnRef idx="3">
                <a:schemeClr val="dk1"/>
              </a:lnRef>
              <a:fillRef idx="0">
                <a:schemeClr val="dk1"/>
              </a:fillRef>
              <a:effectRef idx="2">
                <a:schemeClr val="dk1"/>
              </a:effectRef>
              <a:fontRef idx="minor">
                <a:schemeClr val="tx1"/>
              </a:fontRef>
            </p:style>
          </p:cxnSp>
          <p:cxnSp>
            <p:nvCxnSpPr>
              <p:cNvPr id="208" name="Straight Connector 100">
                <a:extLst>
                  <a:ext uri="{FF2B5EF4-FFF2-40B4-BE49-F238E27FC236}">
                    <a16:creationId xmlns:a16="http://schemas.microsoft.com/office/drawing/2014/main" id="{D018F62B-2A48-4239-BE30-84FB89317687}"/>
                  </a:ext>
                </a:extLst>
              </p:cNvPr>
              <p:cNvCxnSpPr>
                <a:cxnSpLocks/>
              </p:cNvCxnSpPr>
              <p:nvPr/>
            </p:nvCxnSpPr>
            <p:spPr>
              <a:xfrm flipV="1">
                <a:off x="10909689" y="3827619"/>
                <a:ext cx="1" cy="73915"/>
              </a:xfrm>
              <a:prstGeom prst="line">
                <a:avLst/>
              </a:prstGeom>
            </p:spPr>
            <p:style>
              <a:lnRef idx="3">
                <a:schemeClr val="dk1"/>
              </a:lnRef>
              <a:fillRef idx="0">
                <a:schemeClr val="dk1"/>
              </a:fillRef>
              <a:effectRef idx="2">
                <a:schemeClr val="dk1"/>
              </a:effectRef>
              <a:fontRef idx="minor">
                <a:schemeClr val="tx1"/>
              </a:fontRef>
            </p:style>
          </p:cxnSp>
          <p:sp>
            <p:nvSpPr>
              <p:cNvPr id="209" name="TextBox 101">
                <a:extLst>
                  <a:ext uri="{FF2B5EF4-FFF2-40B4-BE49-F238E27FC236}">
                    <a16:creationId xmlns:a16="http://schemas.microsoft.com/office/drawing/2014/main" id="{169D2779-5A10-401C-9C86-C2F8ED88DEDC}"/>
                  </a:ext>
                </a:extLst>
              </p:cNvPr>
              <p:cNvSpPr txBox="1"/>
              <p:nvPr/>
            </p:nvSpPr>
            <p:spPr>
              <a:xfrm>
                <a:off x="6507388" y="1520548"/>
                <a:ext cx="5255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100</a:t>
                </a:r>
              </a:p>
            </p:txBody>
          </p:sp>
          <p:sp>
            <p:nvSpPr>
              <p:cNvPr id="210" name="TextBox 102">
                <a:extLst>
                  <a:ext uri="{FF2B5EF4-FFF2-40B4-BE49-F238E27FC236}">
                    <a16:creationId xmlns:a16="http://schemas.microsoft.com/office/drawing/2014/main" id="{2A5C8432-AAE1-4A8C-93A6-4C738510C9C7}"/>
                  </a:ext>
                </a:extLst>
              </p:cNvPr>
              <p:cNvSpPr txBox="1"/>
              <p:nvPr/>
            </p:nvSpPr>
            <p:spPr>
              <a:xfrm>
                <a:off x="6507387" y="2038625"/>
                <a:ext cx="5255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75</a:t>
                </a:r>
              </a:p>
            </p:txBody>
          </p:sp>
          <p:sp>
            <p:nvSpPr>
              <p:cNvPr id="211" name="TextBox 103">
                <a:extLst>
                  <a:ext uri="{FF2B5EF4-FFF2-40B4-BE49-F238E27FC236}">
                    <a16:creationId xmlns:a16="http://schemas.microsoft.com/office/drawing/2014/main" id="{FC01F592-9B43-4130-A817-BF4D271D586D}"/>
                  </a:ext>
                </a:extLst>
              </p:cNvPr>
              <p:cNvSpPr txBox="1"/>
              <p:nvPr/>
            </p:nvSpPr>
            <p:spPr>
              <a:xfrm>
                <a:off x="6507387" y="2550342"/>
                <a:ext cx="5255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50</a:t>
                </a:r>
              </a:p>
            </p:txBody>
          </p:sp>
          <p:sp>
            <p:nvSpPr>
              <p:cNvPr id="212" name="TextBox 104">
                <a:extLst>
                  <a:ext uri="{FF2B5EF4-FFF2-40B4-BE49-F238E27FC236}">
                    <a16:creationId xmlns:a16="http://schemas.microsoft.com/office/drawing/2014/main" id="{9B303B80-D042-43ED-A33C-D498D688355C}"/>
                  </a:ext>
                </a:extLst>
              </p:cNvPr>
              <p:cNvSpPr txBox="1"/>
              <p:nvPr/>
            </p:nvSpPr>
            <p:spPr>
              <a:xfrm>
                <a:off x="6507387" y="3061308"/>
                <a:ext cx="5255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25</a:t>
                </a:r>
              </a:p>
            </p:txBody>
          </p:sp>
          <p:sp>
            <p:nvSpPr>
              <p:cNvPr id="213" name="TextBox 105">
                <a:extLst>
                  <a:ext uri="{FF2B5EF4-FFF2-40B4-BE49-F238E27FC236}">
                    <a16:creationId xmlns:a16="http://schemas.microsoft.com/office/drawing/2014/main" id="{6657BB97-8B76-42F4-9F5A-D2FE5B1BA4AD}"/>
                  </a:ext>
                </a:extLst>
              </p:cNvPr>
              <p:cNvSpPr txBox="1"/>
              <p:nvPr/>
            </p:nvSpPr>
            <p:spPr>
              <a:xfrm>
                <a:off x="6508025" y="3574608"/>
                <a:ext cx="525559"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0</a:t>
                </a:r>
              </a:p>
            </p:txBody>
          </p:sp>
          <p:sp>
            <p:nvSpPr>
              <p:cNvPr id="214" name="TextBox 106">
                <a:extLst>
                  <a:ext uri="{FF2B5EF4-FFF2-40B4-BE49-F238E27FC236}">
                    <a16:creationId xmlns:a16="http://schemas.microsoft.com/office/drawing/2014/main" id="{E7B89430-B5FE-4123-9680-9F71592115E1}"/>
                  </a:ext>
                </a:extLst>
              </p:cNvPr>
              <p:cNvSpPr txBox="1"/>
              <p:nvPr/>
            </p:nvSpPr>
            <p:spPr>
              <a:xfrm>
                <a:off x="6846722" y="3876025"/>
                <a:ext cx="525559"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0</a:t>
                </a:r>
              </a:p>
            </p:txBody>
          </p:sp>
          <p:sp>
            <p:nvSpPr>
              <p:cNvPr id="215" name="TextBox 107">
                <a:extLst>
                  <a:ext uri="{FF2B5EF4-FFF2-40B4-BE49-F238E27FC236}">
                    <a16:creationId xmlns:a16="http://schemas.microsoft.com/office/drawing/2014/main" id="{CAC69429-354E-4736-9BA0-14E478A3540B}"/>
                  </a:ext>
                </a:extLst>
              </p:cNvPr>
              <p:cNvSpPr txBox="1"/>
              <p:nvPr/>
            </p:nvSpPr>
            <p:spPr>
              <a:xfrm>
                <a:off x="7492215" y="3877368"/>
                <a:ext cx="525559"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10</a:t>
                </a:r>
              </a:p>
            </p:txBody>
          </p:sp>
          <p:sp>
            <p:nvSpPr>
              <p:cNvPr id="216" name="TextBox 108">
                <a:extLst>
                  <a:ext uri="{FF2B5EF4-FFF2-40B4-BE49-F238E27FC236}">
                    <a16:creationId xmlns:a16="http://schemas.microsoft.com/office/drawing/2014/main" id="{657385FE-15D2-4A9B-B596-77FE24E85AFC}"/>
                  </a:ext>
                </a:extLst>
              </p:cNvPr>
              <p:cNvSpPr txBox="1"/>
              <p:nvPr/>
            </p:nvSpPr>
            <p:spPr>
              <a:xfrm>
                <a:off x="8107084" y="3871683"/>
                <a:ext cx="525559"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20</a:t>
                </a:r>
              </a:p>
            </p:txBody>
          </p:sp>
          <p:sp>
            <p:nvSpPr>
              <p:cNvPr id="217" name="TextBox 109">
                <a:extLst>
                  <a:ext uri="{FF2B5EF4-FFF2-40B4-BE49-F238E27FC236}">
                    <a16:creationId xmlns:a16="http://schemas.microsoft.com/office/drawing/2014/main" id="{5FF95664-0527-4237-B28A-FD259745741A}"/>
                  </a:ext>
                </a:extLst>
              </p:cNvPr>
              <p:cNvSpPr txBox="1"/>
              <p:nvPr/>
            </p:nvSpPr>
            <p:spPr>
              <a:xfrm>
                <a:off x="8733433" y="3873662"/>
                <a:ext cx="525559"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30</a:t>
                </a:r>
              </a:p>
            </p:txBody>
          </p:sp>
          <p:sp>
            <p:nvSpPr>
              <p:cNvPr id="218" name="TextBox 110">
                <a:extLst>
                  <a:ext uri="{FF2B5EF4-FFF2-40B4-BE49-F238E27FC236}">
                    <a16:creationId xmlns:a16="http://schemas.microsoft.com/office/drawing/2014/main" id="{9939732C-3B19-445C-9E6E-3E4F5B468752}"/>
                  </a:ext>
                </a:extLst>
              </p:cNvPr>
              <p:cNvSpPr txBox="1"/>
              <p:nvPr/>
            </p:nvSpPr>
            <p:spPr>
              <a:xfrm>
                <a:off x="9340650" y="3877368"/>
                <a:ext cx="525559"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40</a:t>
                </a:r>
              </a:p>
            </p:txBody>
          </p:sp>
          <p:sp>
            <p:nvSpPr>
              <p:cNvPr id="219" name="TextBox 111">
                <a:extLst>
                  <a:ext uri="{FF2B5EF4-FFF2-40B4-BE49-F238E27FC236}">
                    <a16:creationId xmlns:a16="http://schemas.microsoft.com/office/drawing/2014/main" id="{0FDE840B-9869-435F-9EA1-6A0AC80EDBF3}"/>
                  </a:ext>
                </a:extLst>
              </p:cNvPr>
              <p:cNvSpPr txBox="1"/>
              <p:nvPr/>
            </p:nvSpPr>
            <p:spPr>
              <a:xfrm>
                <a:off x="9946591" y="3878952"/>
                <a:ext cx="525559"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50</a:t>
                </a:r>
              </a:p>
            </p:txBody>
          </p:sp>
          <p:sp>
            <p:nvSpPr>
              <p:cNvPr id="220" name="TextBox 112">
                <a:extLst>
                  <a:ext uri="{FF2B5EF4-FFF2-40B4-BE49-F238E27FC236}">
                    <a16:creationId xmlns:a16="http://schemas.microsoft.com/office/drawing/2014/main" id="{FDA13CBD-BD9A-4B58-A5D4-8CF21F0B1967}"/>
                  </a:ext>
                </a:extLst>
              </p:cNvPr>
              <p:cNvSpPr txBox="1"/>
              <p:nvPr/>
            </p:nvSpPr>
            <p:spPr>
              <a:xfrm>
                <a:off x="10566562" y="3873336"/>
                <a:ext cx="525559"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60</a:t>
                </a:r>
              </a:p>
            </p:txBody>
          </p:sp>
          <p:sp>
            <p:nvSpPr>
              <p:cNvPr id="221" name="TextBox 113">
                <a:extLst>
                  <a:ext uri="{FF2B5EF4-FFF2-40B4-BE49-F238E27FC236}">
                    <a16:creationId xmlns:a16="http://schemas.microsoft.com/office/drawing/2014/main" id="{274853BE-98D8-4C9C-A48C-B91E2FE4B682}"/>
                  </a:ext>
                </a:extLst>
              </p:cNvPr>
              <p:cNvSpPr txBox="1"/>
              <p:nvPr/>
            </p:nvSpPr>
            <p:spPr>
              <a:xfrm rot="16200000">
                <a:off x="5368526" y="2576024"/>
                <a:ext cx="2352083" cy="288274"/>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OS (%)</a:t>
                </a:r>
              </a:p>
            </p:txBody>
          </p:sp>
          <p:sp>
            <p:nvSpPr>
              <p:cNvPr id="222" name="TextBox 114">
                <a:extLst>
                  <a:ext uri="{FF2B5EF4-FFF2-40B4-BE49-F238E27FC236}">
                    <a16:creationId xmlns:a16="http://schemas.microsoft.com/office/drawing/2014/main" id="{0C38BE45-8545-44C0-BC6C-CE6008A2C96D}"/>
                  </a:ext>
                </a:extLst>
              </p:cNvPr>
              <p:cNvSpPr txBox="1"/>
              <p:nvPr/>
            </p:nvSpPr>
            <p:spPr>
              <a:xfrm>
                <a:off x="7585311" y="4127939"/>
                <a:ext cx="2541137"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Time from diagnosis (months)</a:t>
                </a:r>
              </a:p>
            </p:txBody>
          </p:sp>
          <p:cxnSp>
            <p:nvCxnSpPr>
              <p:cNvPr id="223" name="Straight Connector 116">
                <a:extLst>
                  <a:ext uri="{FF2B5EF4-FFF2-40B4-BE49-F238E27FC236}">
                    <a16:creationId xmlns:a16="http://schemas.microsoft.com/office/drawing/2014/main" id="{A1FFE7E8-7E82-4BCE-94C4-DF1FC306FB6B}"/>
                  </a:ext>
                </a:extLst>
              </p:cNvPr>
              <p:cNvCxnSpPr/>
              <p:nvPr/>
            </p:nvCxnSpPr>
            <p:spPr>
              <a:xfrm>
                <a:off x="7018670" y="5226713"/>
                <a:ext cx="163286"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224" name="Straight Connector 121">
                <a:extLst>
                  <a:ext uri="{FF2B5EF4-FFF2-40B4-BE49-F238E27FC236}">
                    <a16:creationId xmlns:a16="http://schemas.microsoft.com/office/drawing/2014/main" id="{A1BD6EAB-52EA-4ECE-97EB-44019B97150E}"/>
                  </a:ext>
                </a:extLst>
              </p:cNvPr>
              <p:cNvCxnSpPr/>
              <p:nvPr/>
            </p:nvCxnSpPr>
            <p:spPr>
              <a:xfrm>
                <a:off x="9448983" y="5226715"/>
                <a:ext cx="163286"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225" name="Straight Connector 187">
                <a:extLst>
                  <a:ext uri="{FF2B5EF4-FFF2-40B4-BE49-F238E27FC236}">
                    <a16:creationId xmlns:a16="http://schemas.microsoft.com/office/drawing/2014/main" id="{D2368295-3C2C-46F5-A811-F23549D55BA3}"/>
                  </a:ext>
                </a:extLst>
              </p:cNvPr>
              <p:cNvCxnSpPr/>
              <p:nvPr/>
            </p:nvCxnSpPr>
            <p:spPr>
              <a:xfrm>
                <a:off x="7295513" y="1657432"/>
                <a:ext cx="3378817" cy="0"/>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cxnSp>
            <p:nvCxnSpPr>
              <p:cNvPr id="226" name="Straight Connector 188">
                <a:extLst>
                  <a:ext uri="{FF2B5EF4-FFF2-40B4-BE49-F238E27FC236}">
                    <a16:creationId xmlns:a16="http://schemas.microsoft.com/office/drawing/2014/main" id="{71CDAFB5-BF8E-4AE0-8B7E-2B547C4C2F00}"/>
                  </a:ext>
                </a:extLst>
              </p:cNvPr>
              <p:cNvCxnSpPr/>
              <p:nvPr/>
            </p:nvCxnSpPr>
            <p:spPr>
              <a:xfrm>
                <a:off x="8265017" y="1694001"/>
                <a:ext cx="1131748"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227" name="Straight Connector 189">
                <a:extLst>
                  <a:ext uri="{FF2B5EF4-FFF2-40B4-BE49-F238E27FC236}">
                    <a16:creationId xmlns:a16="http://schemas.microsoft.com/office/drawing/2014/main" id="{CEC613B6-241F-4449-BEDB-9CE6562FCB1D}"/>
                  </a:ext>
                </a:extLst>
              </p:cNvPr>
              <p:cNvCxnSpPr>
                <a:cxnSpLocks/>
              </p:cNvCxnSpPr>
              <p:nvPr/>
            </p:nvCxnSpPr>
            <p:spPr>
              <a:xfrm flipV="1">
                <a:off x="9396765" y="1708254"/>
                <a:ext cx="439870" cy="2842"/>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228" name="Straight Connector 190">
                <a:extLst>
                  <a:ext uri="{FF2B5EF4-FFF2-40B4-BE49-F238E27FC236}">
                    <a16:creationId xmlns:a16="http://schemas.microsoft.com/office/drawing/2014/main" id="{90C8708F-A32D-4029-8B8F-6E77A05D7ED9}"/>
                  </a:ext>
                </a:extLst>
              </p:cNvPr>
              <p:cNvCxnSpPr>
                <a:cxnSpLocks/>
              </p:cNvCxnSpPr>
              <p:nvPr/>
            </p:nvCxnSpPr>
            <p:spPr>
              <a:xfrm flipV="1">
                <a:off x="9846020" y="1738668"/>
                <a:ext cx="720543" cy="838"/>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229" name="Straight Connector 191">
                <a:extLst>
                  <a:ext uri="{FF2B5EF4-FFF2-40B4-BE49-F238E27FC236}">
                    <a16:creationId xmlns:a16="http://schemas.microsoft.com/office/drawing/2014/main" id="{6B7B1A0E-4ED3-4BBD-A556-10BFCDED5ED7}"/>
                  </a:ext>
                </a:extLst>
              </p:cNvPr>
              <p:cNvCxnSpPr>
                <a:cxnSpLocks/>
              </p:cNvCxnSpPr>
              <p:nvPr/>
            </p:nvCxnSpPr>
            <p:spPr>
              <a:xfrm flipV="1">
                <a:off x="7326556" y="1702484"/>
                <a:ext cx="405369" cy="923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230" name="Straight Connector 192">
                <a:extLst>
                  <a:ext uri="{FF2B5EF4-FFF2-40B4-BE49-F238E27FC236}">
                    <a16:creationId xmlns:a16="http://schemas.microsoft.com/office/drawing/2014/main" id="{5412B5A3-E7CF-4F5F-BB38-FDFA3C604A29}"/>
                  </a:ext>
                </a:extLst>
              </p:cNvPr>
              <p:cNvCxnSpPr>
                <a:cxnSpLocks/>
              </p:cNvCxnSpPr>
              <p:nvPr/>
            </p:nvCxnSpPr>
            <p:spPr>
              <a:xfrm>
                <a:off x="8198325" y="1826909"/>
                <a:ext cx="202684"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231" name="Straight Connector 193">
                <a:extLst>
                  <a:ext uri="{FF2B5EF4-FFF2-40B4-BE49-F238E27FC236}">
                    <a16:creationId xmlns:a16="http://schemas.microsoft.com/office/drawing/2014/main" id="{3C54F6C9-A630-4A89-91ED-563FAAFD52B1}"/>
                  </a:ext>
                </a:extLst>
              </p:cNvPr>
              <p:cNvCxnSpPr>
                <a:cxnSpLocks/>
              </p:cNvCxnSpPr>
              <p:nvPr/>
            </p:nvCxnSpPr>
            <p:spPr>
              <a:xfrm>
                <a:off x="9015488" y="1988992"/>
                <a:ext cx="202684"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232" name="Straight Connector 194">
                <a:extLst>
                  <a:ext uri="{FF2B5EF4-FFF2-40B4-BE49-F238E27FC236}">
                    <a16:creationId xmlns:a16="http://schemas.microsoft.com/office/drawing/2014/main" id="{12FB533D-DEA0-4280-90D5-B04E0C77C314}"/>
                  </a:ext>
                </a:extLst>
              </p:cNvPr>
              <p:cNvCxnSpPr>
                <a:cxnSpLocks/>
              </p:cNvCxnSpPr>
              <p:nvPr/>
            </p:nvCxnSpPr>
            <p:spPr>
              <a:xfrm>
                <a:off x="9203575" y="2006649"/>
                <a:ext cx="202684"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233" name="Straight Connector 195">
                <a:extLst>
                  <a:ext uri="{FF2B5EF4-FFF2-40B4-BE49-F238E27FC236}">
                    <a16:creationId xmlns:a16="http://schemas.microsoft.com/office/drawing/2014/main" id="{44EC7670-FB28-4263-897B-1AE51DBF9854}"/>
                  </a:ext>
                </a:extLst>
              </p:cNvPr>
              <p:cNvCxnSpPr>
                <a:cxnSpLocks/>
              </p:cNvCxnSpPr>
              <p:nvPr/>
            </p:nvCxnSpPr>
            <p:spPr>
              <a:xfrm>
                <a:off x="9442676" y="2035744"/>
                <a:ext cx="403343"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234" name="Straight Connector 196">
                <a:extLst>
                  <a:ext uri="{FF2B5EF4-FFF2-40B4-BE49-F238E27FC236}">
                    <a16:creationId xmlns:a16="http://schemas.microsoft.com/office/drawing/2014/main" id="{6A823156-2512-4D40-B2D2-997F88875048}"/>
                  </a:ext>
                </a:extLst>
              </p:cNvPr>
              <p:cNvCxnSpPr>
                <a:cxnSpLocks/>
                <a:stCxn id="239" idx="0"/>
              </p:cNvCxnSpPr>
              <p:nvPr/>
            </p:nvCxnSpPr>
            <p:spPr>
              <a:xfrm>
                <a:off x="9836636" y="2086316"/>
                <a:ext cx="534172"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235" name="Straight Connector 197">
                <a:extLst>
                  <a:ext uri="{FF2B5EF4-FFF2-40B4-BE49-F238E27FC236}">
                    <a16:creationId xmlns:a16="http://schemas.microsoft.com/office/drawing/2014/main" id="{448B2C30-D593-4C06-9FF8-E2829157F799}"/>
                  </a:ext>
                </a:extLst>
              </p:cNvPr>
              <p:cNvCxnSpPr>
                <a:cxnSpLocks/>
              </p:cNvCxnSpPr>
              <p:nvPr/>
            </p:nvCxnSpPr>
            <p:spPr>
              <a:xfrm>
                <a:off x="10370807" y="2257507"/>
                <a:ext cx="151717"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236" name="Straight Connector 198">
                <a:extLst>
                  <a:ext uri="{FF2B5EF4-FFF2-40B4-BE49-F238E27FC236}">
                    <a16:creationId xmlns:a16="http://schemas.microsoft.com/office/drawing/2014/main" id="{55C11750-F222-410F-86CF-72ECB5447E07}"/>
                  </a:ext>
                </a:extLst>
              </p:cNvPr>
              <p:cNvCxnSpPr/>
              <p:nvPr/>
            </p:nvCxnSpPr>
            <p:spPr>
              <a:xfrm flipV="1">
                <a:off x="10370807" y="2075102"/>
                <a:ext cx="0" cy="182405"/>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sp>
            <p:nvSpPr>
              <p:cNvPr id="237" name="Freeform: Shape 199">
                <a:extLst>
                  <a:ext uri="{FF2B5EF4-FFF2-40B4-BE49-F238E27FC236}">
                    <a16:creationId xmlns:a16="http://schemas.microsoft.com/office/drawing/2014/main" id="{AE6B7597-21A8-4956-B6B1-A430C5DEEC75}"/>
                  </a:ext>
                </a:extLst>
              </p:cNvPr>
              <p:cNvSpPr/>
              <p:nvPr/>
            </p:nvSpPr>
            <p:spPr>
              <a:xfrm>
                <a:off x="7717872" y="1705372"/>
                <a:ext cx="496119" cy="125086"/>
              </a:xfrm>
              <a:custGeom>
                <a:avLst/>
                <a:gdLst>
                  <a:gd name="connsiteX0" fmla="*/ 964 w 411597"/>
                  <a:gd name="connsiteY0" fmla="*/ 0 h 93133"/>
                  <a:gd name="connsiteX1" fmla="*/ 5197 w 411597"/>
                  <a:gd name="connsiteY1" fmla="*/ 29633 h 93133"/>
                  <a:gd name="connsiteX2" fmla="*/ 102564 w 411597"/>
                  <a:gd name="connsiteY2" fmla="*/ 33867 h 93133"/>
                  <a:gd name="connsiteX3" fmla="*/ 115264 w 411597"/>
                  <a:gd name="connsiteY3" fmla="*/ 38100 h 93133"/>
                  <a:gd name="connsiteX4" fmla="*/ 166064 w 411597"/>
                  <a:gd name="connsiteY4" fmla="*/ 42333 h 93133"/>
                  <a:gd name="connsiteX5" fmla="*/ 178764 w 411597"/>
                  <a:gd name="connsiteY5" fmla="*/ 50800 h 93133"/>
                  <a:gd name="connsiteX6" fmla="*/ 212630 w 411597"/>
                  <a:gd name="connsiteY6" fmla="*/ 55033 h 93133"/>
                  <a:gd name="connsiteX7" fmla="*/ 314230 w 411597"/>
                  <a:gd name="connsiteY7" fmla="*/ 59267 h 93133"/>
                  <a:gd name="connsiteX8" fmla="*/ 381964 w 411597"/>
                  <a:gd name="connsiteY8" fmla="*/ 67733 h 93133"/>
                  <a:gd name="connsiteX9" fmla="*/ 403130 w 411597"/>
                  <a:gd name="connsiteY9" fmla="*/ 71967 h 93133"/>
                  <a:gd name="connsiteX10" fmla="*/ 411597 w 411597"/>
                  <a:gd name="connsiteY10" fmla="*/ 93133 h 9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597" h="93133">
                    <a:moveTo>
                      <a:pt x="964" y="0"/>
                    </a:moveTo>
                    <a:cubicBezTo>
                      <a:pt x="2375" y="9878"/>
                      <a:pt x="-4269" y="26478"/>
                      <a:pt x="5197" y="29633"/>
                    </a:cubicBezTo>
                    <a:cubicBezTo>
                      <a:pt x="36016" y="39906"/>
                      <a:pt x="70173" y="31375"/>
                      <a:pt x="102564" y="33867"/>
                    </a:cubicBezTo>
                    <a:cubicBezTo>
                      <a:pt x="107013" y="34209"/>
                      <a:pt x="110841" y="37510"/>
                      <a:pt x="115264" y="38100"/>
                    </a:cubicBezTo>
                    <a:cubicBezTo>
                      <a:pt x="132107" y="40346"/>
                      <a:pt x="149131" y="40922"/>
                      <a:pt x="166064" y="42333"/>
                    </a:cubicBezTo>
                    <a:cubicBezTo>
                      <a:pt x="170297" y="45155"/>
                      <a:pt x="173855" y="49461"/>
                      <a:pt x="178764" y="50800"/>
                    </a:cubicBezTo>
                    <a:cubicBezTo>
                      <a:pt x="189740" y="53793"/>
                      <a:pt x="201276" y="54323"/>
                      <a:pt x="212630" y="55033"/>
                    </a:cubicBezTo>
                    <a:cubicBezTo>
                      <a:pt x="246460" y="57147"/>
                      <a:pt x="280363" y="57856"/>
                      <a:pt x="314230" y="59267"/>
                    </a:cubicBezTo>
                    <a:cubicBezTo>
                      <a:pt x="334471" y="89627"/>
                      <a:pt x="314558" y="67733"/>
                      <a:pt x="381964" y="67733"/>
                    </a:cubicBezTo>
                    <a:cubicBezTo>
                      <a:pt x="389159" y="67733"/>
                      <a:pt x="396075" y="70556"/>
                      <a:pt x="403130" y="71967"/>
                    </a:cubicBezTo>
                    <a:cubicBezTo>
                      <a:pt x="408362" y="87660"/>
                      <a:pt x="405368" y="80676"/>
                      <a:pt x="411597" y="93133"/>
                    </a:cubicBezTo>
                  </a:path>
                </a:pathLst>
              </a:custGeom>
              <a:noFill/>
              <a:ln>
                <a:solidFill>
                  <a:srgbClr val="10487F"/>
                </a:solidFill>
              </a:ln>
            </p:spPr>
            <p:style>
              <a:lnRef idx="3">
                <a:schemeClr val="dk1"/>
              </a:lnRef>
              <a:fillRef idx="0">
                <a:schemeClr val="dk1"/>
              </a:fillRef>
              <a:effectRef idx="2">
                <a:schemeClr val="dk1"/>
              </a:effectRef>
              <a:fontRef idx="minor">
                <a:schemeClr val="tx1"/>
              </a:fontRef>
            </p:style>
            <p:txBody>
              <a:bodyPr rtlCol="0" anchor="ctr"/>
              <a:lstStyle/>
              <a:p>
                <a:pPr algn="ctr" defTabSz="685800">
                  <a:defRPr/>
                </a:pPr>
                <a:endParaRPr lang="en-GB" sz="825" b="1">
                  <a:solidFill>
                    <a:prstClr val="black"/>
                  </a:solidFill>
                  <a:latin typeface="Arial" panose="020B0604020202020204" pitchFamily="34" charset="0"/>
                  <a:cs typeface="Arial" panose="020B0604020202020204" pitchFamily="34" charset="0"/>
                </a:endParaRPr>
              </a:p>
            </p:txBody>
          </p:sp>
          <p:sp>
            <p:nvSpPr>
              <p:cNvPr id="238" name="Freeform: Shape 200">
                <a:extLst>
                  <a:ext uri="{FF2B5EF4-FFF2-40B4-BE49-F238E27FC236}">
                    <a16:creationId xmlns:a16="http://schemas.microsoft.com/office/drawing/2014/main" id="{A58363B0-DC16-4C36-802B-ED592506889E}"/>
                  </a:ext>
                </a:extLst>
              </p:cNvPr>
              <p:cNvSpPr/>
              <p:nvPr/>
            </p:nvSpPr>
            <p:spPr>
              <a:xfrm>
                <a:off x="8402789" y="1830458"/>
                <a:ext cx="617422" cy="164887"/>
              </a:xfrm>
              <a:custGeom>
                <a:avLst/>
                <a:gdLst>
                  <a:gd name="connsiteX0" fmla="*/ 0 w 512234"/>
                  <a:gd name="connsiteY0" fmla="*/ 0 h 122767"/>
                  <a:gd name="connsiteX1" fmla="*/ 21167 w 512234"/>
                  <a:gd name="connsiteY1" fmla="*/ 12700 h 122767"/>
                  <a:gd name="connsiteX2" fmla="*/ 55034 w 512234"/>
                  <a:gd name="connsiteY2" fmla="*/ 16934 h 122767"/>
                  <a:gd name="connsiteX3" fmla="*/ 118534 w 512234"/>
                  <a:gd name="connsiteY3" fmla="*/ 21167 h 122767"/>
                  <a:gd name="connsiteX4" fmla="*/ 131234 w 512234"/>
                  <a:gd name="connsiteY4" fmla="*/ 29634 h 122767"/>
                  <a:gd name="connsiteX5" fmla="*/ 211667 w 512234"/>
                  <a:gd name="connsiteY5" fmla="*/ 38100 h 122767"/>
                  <a:gd name="connsiteX6" fmla="*/ 215900 w 512234"/>
                  <a:gd name="connsiteY6" fmla="*/ 50800 h 122767"/>
                  <a:gd name="connsiteX7" fmla="*/ 258234 w 512234"/>
                  <a:gd name="connsiteY7" fmla="*/ 63500 h 122767"/>
                  <a:gd name="connsiteX8" fmla="*/ 287867 w 512234"/>
                  <a:gd name="connsiteY8" fmla="*/ 80434 h 122767"/>
                  <a:gd name="connsiteX9" fmla="*/ 300567 w 512234"/>
                  <a:gd name="connsiteY9" fmla="*/ 84667 h 122767"/>
                  <a:gd name="connsiteX10" fmla="*/ 406400 w 512234"/>
                  <a:gd name="connsiteY10" fmla="*/ 88900 h 122767"/>
                  <a:gd name="connsiteX11" fmla="*/ 499534 w 512234"/>
                  <a:gd name="connsiteY11" fmla="*/ 118534 h 122767"/>
                  <a:gd name="connsiteX12" fmla="*/ 512234 w 512234"/>
                  <a:gd name="connsiteY12" fmla="*/ 122767 h 12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2234" h="122767">
                    <a:moveTo>
                      <a:pt x="0" y="0"/>
                    </a:moveTo>
                    <a:cubicBezTo>
                      <a:pt x="7056" y="4233"/>
                      <a:pt x="13303" y="10280"/>
                      <a:pt x="21167" y="12700"/>
                    </a:cubicBezTo>
                    <a:cubicBezTo>
                      <a:pt x="32041" y="16046"/>
                      <a:pt x="43700" y="15948"/>
                      <a:pt x="55034" y="16934"/>
                    </a:cubicBezTo>
                    <a:cubicBezTo>
                      <a:pt x="76168" y="18772"/>
                      <a:pt x="97367" y="19756"/>
                      <a:pt x="118534" y="21167"/>
                    </a:cubicBezTo>
                    <a:cubicBezTo>
                      <a:pt x="122767" y="23989"/>
                      <a:pt x="126361" y="28172"/>
                      <a:pt x="131234" y="29634"/>
                    </a:cubicBezTo>
                    <a:cubicBezTo>
                      <a:pt x="143995" y="33462"/>
                      <a:pt x="208302" y="37820"/>
                      <a:pt x="211667" y="38100"/>
                    </a:cubicBezTo>
                    <a:cubicBezTo>
                      <a:pt x="213078" y="42333"/>
                      <a:pt x="213112" y="47315"/>
                      <a:pt x="215900" y="50800"/>
                    </a:cubicBezTo>
                    <a:cubicBezTo>
                      <a:pt x="225837" y="63221"/>
                      <a:pt x="245265" y="61647"/>
                      <a:pt x="258234" y="63500"/>
                    </a:cubicBezTo>
                    <a:cubicBezTo>
                      <a:pt x="265491" y="85272"/>
                      <a:pt x="257470" y="73679"/>
                      <a:pt x="287867" y="80434"/>
                    </a:cubicBezTo>
                    <a:cubicBezTo>
                      <a:pt x="292223" y="81402"/>
                      <a:pt x="296116" y="84349"/>
                      <a:pt x="300567" y="84667"/>
                    </a:cubicBezTo>
                    <a:cubicBezTo>
                      <a:pt x="335783" y="87182"/>
                      <a:pt x="371122" y="87489"/>
                      <a:pt x="406400" y="88900"/>
                    </a:cubicBezTo>
                    <a:cubicBezTo>
                      <a:pt x="423803" y="141107"/>
                      <a:pt x="405953" y="113854"/>
                      <a:pt x="499534" y="118534"/>
                    </a:cubicBezTo>
                    <a:lnTo>
                      <a:pt x="512234" y="122767"/>
                    </a:lnTo>
                  </a:path>
                </a:pathLst>
              </a:custGeom>
              <a:noFill/>
              <a:ln>
                <a:solidFill>
                  <a:srgbClr val="10487F"/>
                </a:solidFill>
              </a:ln>
            </p:spPr>
            <p:style>
              <a:lnRef idx="3">
                <a:schemeClr val="dk1"/>
              </a:lnRef>
              <a:fillRef idx="0">
                <a:schemeClr val="dk1"/>
              </a:fillRef>
              <a:effectRef idx="2">
                <a:schemeClr val="dk1"/>
              </a:effectRef>
              <a:fontRef idx="minor">
                <a:schemeClr val="tx1"/>
              </a:fontRef>
            </p:style>
            <p:txBody>
              <a:bodyPr rtlCol="0" anchor="ctr"/>
              <a:lstStyle/>
              <a:p>
                <a:pPr algn="ctr" defTabSz="685800">
                  <a:defRPr/>
                </a:pPr>
                <a:endParaRPr lang="en-GB" sz="825" b="1">
                  <a:solidFill>
                    <a:prstClr val="black"/>
                  </a:solidFill>
                  <a:latin typeface="Arial" panose="020B0604020202020204" pitchFamily="34" charset="0"/>
                  <a:cs typeface="Arial" panose="020B0604020202020204" pitchFamily="34" charset="0"/>
                </a:endParaRPr>
              </a:p>
            </p:txBody>
          </p:sp>
          <p:sp>
            <p:nvSpPr>
              <p:cNvPr id="239" name="Freeform: Shape 201">
                <a:extLst>
                  <a:ext uri="{FF2B5EF4-FFF2-40B4-BE49-F238E27FC236}">
                    <a16:creationId xmlns:a16="http://schemas.microsoft.com/office/drawing/2014/main" id="{7913ADBD-9E28-4D74-A2EF-0C77D868D5DB}"/>
                  </a:ext>
                </a:extLst>
              </p:cNvPr>
              <p:cNvSpPr/>
              <p:nvPr/>
            </p:nvSpPr>
            <p:spPr>
              <a:xfrm>
                <a:off x="9836636" y="2023775"/>
                <a:ext cx="0" cy="62542"/>
              </a:xfrm>
              <a:custGeom>
                <a:avLst/>
                <a:gdLst>
                  <a:gd name="connsiteX0" fmla="*/ 0 w 0"/>
                  <a:gd name="connsiteY0" fmla="*/ 46566 h 46566"/>
                  <a:gd name="connsiteX1" fmla="*/ 0 w 0"/>
                  <a:gd name="connsiteY1" fmla="*/ 0 h 46566"/>
                </a:gdLst>
                <a:ahLst/>
                <a:cxnLst>
                  <a:cxn ang="0">
                    <a:pos x="connsiteX0" y="connsiteY0"/>
                  </a:cxn>
                  <a:cxn ang="0">
                    <a:pos x="connsiteX1" y="connsiteY1"/>
                  </a:cxn>
                </a:cxnLst>
                <a:rect l="l" t="t" r="r" b="b"/>
                <a:pathLst>
                  <a:path h="46566">
                    <a:moveTo>
                      <a:pt x="0" y="46566"/>
                    </a:moveTo>
                    <a:lnTo>
                      <a:pt x="0" y="0"/>
                    </a:lnTo>
                  </a:path>
                </a:pathLst>
              </a:custGeom>
              <a:noFill/>
              <a:ln>
                <a:solidFill>
                  <a:srgbClr val="10487F"/>
                </a:solidFill>
              </a:ln>
            </p:spPr>
            <p:style>
              <a:lnRef idx="3">
                <a:schemeClr val="dk1"/>
              </a:lnRef>
              <a:fillRef idx="0">
                <a:schemeClr val="dk1"/>
              </a:fillRef>
              <a:effectRef idx="2">
                <a:schemeClr val="dk1"/>
              </a:effectRef>
              <a:fontRef idx="minor">
                <a:schemeClr val="tx1"/>
              </a:fontRef>
            </p:style>
            <p:txBody>
              <a:bodyPr rtlCol="0" anchor="ctr"/>
              <a:lstStyle/>
              <a:p>
                <a:pPr algn="ctr" defTabSz="685800">
                  <a:defRPr/>
                </a:pPr>
                <a:endParaRPr lang="en-GB" sz="825" b="1">
                  <a:solidFill>
                    <a:prstClr val="black"/>
                  </a:solidFill>
                  <a:latin typeface="Arial" panose="020B0604020202020204" pitchFamily="34" charset="0"/>
                  <a:cs typeface="Arial" panose="020B0604020202020204" pitchFamily="34" charset="0"/>
                </a:endParaRPr>
              </a:p>
            </p:txBody>
          </p:sp>
          <p:cxnSp>
            <p:nvCxnSpPr>
              <p:cNvPr id="240" name="Straight Connector 202">
                <a:extLst>
                  <a:ext uri="{FF2B5EF4-FFF2-40B4-BE49-F238E27FC236}">
                    <a16:creationId xmlns:a16="http://schemas.microsoft.com/office/drawing/2014/main" id="{C00AA51E-E838-4B74-A14B-15364B07D0CB}"/>
                  </a:ext>
                </a:extLst>
              </p:cNvPr>
              <p:cNvCxnSpPr>
                <a:cxnSpLocks/>
              </p:cNvCxnSpPr>
              <p:nvPr/>
            </p:nvCxnSpPr>
            <p:spPr>
              <a:xfrm>
                <a:off x="9465713" y="2639890"/>
                <a:ext cx="836759"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41" name="Straight Connector 203">
                <a:extLst>
                  <a:ext uri="{FF2B5EF4-FFF2-40B4-BE49-F238E27FC236}">
                    <a16:creationId xmlns:a16="http://schemas.microsoft.com/office/drawing/2014/main" id="{35BAE344-EDAE-44AD-8A07-46718DAAFC4C}"/>
                  </a:ext>
                </a:extLst>
              </p:cNvPr>
              <p:cNvCxnSpPr>
                <a:cxnSpLocks/>
              </p:cNvCxnSpPr>
              <p:nvPr/>
            </p:nvCxnSpPr>
            <p:spPr>
              <a:xfrm>
                <a:off x="9145761" y="2586665"/>
                <a:ext cx="296914"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42" name="Straight Connector 204">
                <a:extLst>
                  <a:ext uri="{FF2B5EF4-FFF2-40B4-BE49-F238E27FC236}">
                    <a16:creationId xmlns:a16="http://schemas.microsoft.com/office/drawing/2014/main" id="{7032547D-6318-4C6B-857B-0FE6219C48BC}"/>
                  </a:ext>
                </a:extLst>
              </p:cNvPr>
              <p:cNvCxnSpPr>
                <a:cxnSpLocks/>
              </p:cNvCxnSpPr>
              <p:nvPr/>
            </p:nvCxnSpPr>
            <p:spPr>
              <a:xfrm>
                <a:off x="8533977" y="2436301"/>
                <a:ext cx="373975"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43" name="Straight Connector 205">
                <a:extLst>
                  <a:ext uri="{FF2B5EF4-FFF2-40B4-BE49-F238E27FC236}">
                    <a16:creationId xmlns:a16="http://schemas.microsoft.com/office/drawing/2014/main" id="{84DF454B-E7F3-40BE-A879-5B2CE86BC2B7}"/>
                  </a:ext>
                </a:extLst>
              </p:cNvPr>
              <p:cNvCxnSpPr>
                <a:cxnSpLocks/>
              </p:cNvCxnSpPr>
              <p:nvPr/>
            </p:nvCxnSpPr>
            <p:spPr>
              <a:xfrm>
                <a:off x="8299668" y="2334402"/>
                <a:ext cx="155645"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44" name="Straight Connector 206">
                <a:extLst>
                  <a:ext uri="{FF2B5EF4-FFF2-40B4-BE49-F238E27FC236}">
                    <a16:creationId xmlns:a16="http://schemas.microsoft.com/office/drawing/2014/main" id="{789F4422-7823-4890-BC30-A7A02B02C65A}"/>
                  </a:ext>
                </a:extLst>
              </p:cNvPr>
              <p:cNvCxnSpPr>
                <a:cxnSpLocks/>
              </p:cNvCxnSpPr>
              <p:nvPr/>
            </p:nvCxnSpPr>
            <p:spPr>
              <a:xfrm>
                <a:off x="8160346" y="2165927"/>
                <a:ext cx="139320"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45" name="Straight Connector 207">
                <a:extLst>
                  <a:ext uri="{FF2B5EF4-FFF2-40B4-BE49-F238E27FC236}">
                    <a16:creationId xmlns:a16="http://schemas.microsoft.com/office/drawing/2014/main" id="{E76FDE8B-0326-4C42-9E48-31450DC30E2F}"/>
                  </a:ext>
                </a:extLst>
              </p:cNvPr>
              <p:cNvCxnSpPr>
                <a:cxnSpLocks/>
              </p:cNvCxnSpPr>
              <p:nvPr/>
            </p:nvCxnSpPr>
            <p:spPr>
              <a:xfrm>
                <a:off x="7707499" y="1844760"/>
                <a:ext cx="195484"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46" name="Straight Connector 208">
                <a:extLst>
                  <a:ext uri="{FF2B5EF4-FFF2-40B4-BE49-F238E27FC236}">
                    <a16:creationId xmlns:a16="http://schemas.microsoft.com/office/drawing/2014/main" id="{C54CD0A2-0A18-4156-B1AC-B81D92F8260C}"/>
                  </a:ext>
                </a:extLst>
              </p:cNvPr>
              <p:cNvCxnSpPr>
                <a:cxnSpLocks/>
              </p:cNvCxnSpPr>
              <p:nvPr/>
            </p:nvCxnSpPr>
            <p:spPr>
              <a:xfrm>
                <a:off x="7452003" y="1767914"/>
                <a:ext cx="195484"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sp>
            <p:nvSpPr>
              <p:cNvPr id="247" name="Freeform: Shape 209">
                <a:extLst>
                  <a:ext uri="{FF2B5EF4-FFF2-40B4-BE49-F238E27FC236}">
                    <a16:creationId xmlns:a16="http://schemas.microsoft.com/office/drawing/2014/main" id="{E027B996-8362-4842-BC1C-DA4229546CCE}"/>
                  </a:ext>
                </a:extLst>
              </p:cNvPr>
              <p:cNvSpPr/>
              <p:nvPr/>
            </p:nvSpPr>
            <p:spPr>
              <a:xfrm>
                <a:off x="7224076" y="1659885"/>
                <a:ext cx="239825" cy="119401"/>
              </a:xfrm>
              <a:custGeom>
                <a:avLst/>
                <a:gdLst>
                  <a:gd name="connsiteX0" fmla="*/ 0 w 198967"/>
                  <a:gd name="connsiteY0" fmla="*/ 0 h 88900"/>
                  <a:gd name="connsiteX1" fmla="*/ 46567 w 198967"/>
                  <a:gd name="connsiteY1" fmla="*/ 4234 h 88900"/>
                  <a:gd name="connsiteX2" fmla="*/ 50800 w 198967"/>
                  <a:gd name="connsiteY2" fmla="*/ 21167 h 88900"/>
                  <a:gd name="connsiteX3" fmla="*/ 55034 w 198967"/>
                  <a:gd name="connsiteY3" fmla="*/ 33867 h 88900"/>
                  <a:gd name="connsiteX4" fmla="*/ 194734 w 198967"/>
                  <a:gd name="connsiteY4" fmla="*/ 38100 h 88900"/>
                  <a:gd name="connsiteX5" fmla="*/ 198967 w 198967"/>
                  <a:gd name="connsiteY5" fmla="*/ 88900 h 8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967" h="88900">
                    <a:moveTo>
                      <a:pt x="0" y="0"/>
                    </a:moveTo>
                    <a:cubicBezTo>
                      <a:pt x="15522" y="1411"/>
                      <a:pt x="32180" y="-1761"/>
                      <a:pt x="46567" y="4234"/>
                    </a:cubicBezTo>
                    <a:cubicBezTo>
                      <a:pt x="51937" y="6472"/>
                      <a:pt x="49202" y="15573"/>
                      <a:pt x="50800" y="21167"/>
                    </a:cubicBezTo>
                    <a:cubicBezTo>
                      <a:pt x="52026" y="25458"/>
                      <a:pt x="50602" y="33346"/>
                      <a:pt x="55034" y="33867"/>
                    </a:cubicBezTo>
                    <a:cubicBezTo>
                      <a:pt x="101303" y="39310"/>
                      <a:pt x="148167" y="36689"/>
                      <a:pt x="194734" y="38100"/>
                    </a:cubicBezTo>
                    <a:cubicBezTo>
                      <a:pt x="199095" y="86072"/>
                      <a:pt x="198967" y="69081"/>
                      <a:pt x="198967" y="88900"/>
                    </a:cubicBezTo>
                  </a:path>
                </a:pathLst>
              </a:custGeom>
              <a:noFill/>
              <a:ln>
                <a:solidFill>
                  <a:srgbClr val="C00022"/>
                </a:solidFill>
              </a:ln>
            </p:spPr>
            <p:style>
              <a:lnRef idx="3">
                <a:schemeClr val="dk1"/>
              </a:lnRef>
              <a:fillRef idx="0">
                <a:schemeClr val="dk1"/>
              </a:fillRef>
              <a:effectRef idx="2">
                <a:schemeClr val="dk1"/>
              </a:effectRef>
              <a:fontRef idx="minor">
                <a:schemeClr val="tx1"/>
              </a:fontRef>
            </p:style>
            <p:txBody>
              <a:bodyPr rtlCol="0" anchor="ctr"/>
              <a:lstStyle/>
              <a:p>
                <a:pPr algn="ctr" defTabSz="685800">
                  <a:defRPr/>
                </a:pPr>
                <a:endParaRPr lang="en-GB" sz="825" b="1">
                  <a:solidFill>
                    <a:prstClr val="black"/>
                  </a:solidFill>
                  <a:latin typeface="Arial" panose="020B0604020202020204" pitchFamily="34" charset="0"/>
                  <a:cs typeface="Arial" panose="020B0604020202020204" pitchFamily="34" charset="0"/>
                </a:endParaRPr>
              </a:p>
            </p:txBody>
          </p:sp>
          <p:sp>
            <p:nvSpPr>
              <p:cNvPr id="248" name="TextBox 210">
                <a:extLst>
                  <a:ext uri="{FF2B5EF4-FFF2-40B4-BE49-F238E27FC236}">
                    <a16:creationId xmlns:a16="http://schemas.microsoft.com/office/drawing/2014/main" id="{CF174C87-7D97-432B-9FDB-D7EB63F7A90C}"/>
                  </a:ext>
                </a:extLst>
              </p:cNvPr>
              <p:cNvSpPr txBox="1"/>
              <p:nvPr/>
            </p:nvSpPr>
            <p:spPr>
              <a:xfrm>
                <a:off x="9188031" y="1425162"/>
                <a:ext cx="634822"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100%</a:t>
                </a:r>
              </a:p>
            </p:txBody>
          </p:sp>
          <p:sp>
            <p:nvSpPr>
              <p:cNvPr id="249" name="TextBox 211">
                <a:extLst>
                  <a:ext uri="{FF2B5EF4-FFF2-40B4-BE49-F238E27FC236}">
                    <a16:creationId xmlns:a16="http://schemas.microsoft.com/office/drawing/2014/main" id="{B12ABF7D-8C72-443C-B176-18DE0BC8D753}"/>
                  </a:ext>
                </a:extLst>
              </p:cNvPr>
              <p:cNvSpPr txBox="1"/>
              <p:nvPr/>
            </p:nvSpPr>
            <p:spPr>
              <a:xfrm>
                <a:off x="9245719" y="1663860"/>
                <a:ext cx="634822"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96%</a:t>
                </a:r>
              </a:p>
            </p:txBody>
          </p:sp>
          <p:sp>
            <p:nvSpPr>
              <p:cNvPr id="250" name="TextBox 212">
                <a:extLst>
                  <a:ext uri="{FF2B5EF4-FFF2-40B4-BE49-F238E27FC236}">
                    <a16:creationId xmlns:a16="http://schemas.microsoft.com/office/drawing/2014/main" id="{1899EABC-2E6F-4448-AAC5-796616051CD2}"/>
                  </a:ext>
                </a:extLst>
              </p:cNvPr>
              <p:cNvSpPr txBox="1"/>
              <p:nvPr/>
            </p:nvSpPr>
            <p:spPr>
              <a:xfrm>
                <a:off x="9245476" y="1820414"/>
                <a:ext cx="634822"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82%</a:t>
                </a:r>
              </a:p>
            </p:txBody>
          </p:sp>
          <p:sp>
            <p:nvSpPr>
              <p:cNvPr id="251" name="TextBox 213">
                <a:extLst>
                  <a:ext uri="{FF2B5EF4-FFF2-40B4-BE49-F238E27FC236}">
                    <a16:creationId xmlns:a16="http://schemas.microsoft.com/office/drawing/2014/main" id="{18B92389-0BDF-4945-BD2C-0EDDF7F0883F}"/>
                  </a:ext>
                </a:extLst>
              </p:cNvPr>
              <p:cNvSpPr txBox="1"/>
              <p:nvPr/>
            </p:nvSpPr>
            <p:spPr>
              <a:xfrm>
                <a:off x="9250816" y="2421403"/>
                <a:ext cx="634822" cy="233408"/>
              </a:xfrm>
              <a:prstGeom prst="rect">
                <a:avLst/>
              </a:prstGeom>
              <a:noFill/>
            </p:spPr>
            <p:txBody>
              <a:bodyPr wrap="square" rtlCol="0">
                <a:spAutoFit/>
              </a:bodyPr>
              <a:lstStyle/>
              <a:p>
                <a:pPr algn="r" defTabSz="685800">
                  <a:defRPr/>
                </a:pPr>
                <a:r>
                  <a:rPr lang="en-GB" sz="825" b="1">
                    <a:solidFill>
                      <a:prstClr val="black"/>
                    </a:solidFill>
                    <a:latin typeface="Arial" panose="020B0604020202020204" pitchFamily="34" charset="0"/>
                    <a:cs typeface="Arial" panose="020B0604020202020204" pitchFamily="34" charset="0"/>
                  </a:rPr>
                  <a:t>52%</a:t>
                </a:r>
              </a:p>
            </p:txBody>
          </p:sp>
          <p:sp>
            <p:nvSpPr>
              <p:cNvPr id="252" name="TextBox 214">
                <a:extLst>
                  <a:ext uri="{FF2B5EF4-FFF2-40B4-BE49-F238E27FC236}">
                    <a16:creationId xmlns:a16="http://schemas.microsoft.com/office/drawing/2014/main" id="{7B80E2E8-E86E-4545-A1A2-DEB9250EF247}"/>
                  </a:ext>
                </a:extLst>
              </p:cNvPr>
              <p:cNvSpPr txBox="1"/>
              <p:nvPr/>
            </p:nvSpPr>
            <p:spPr>
              <a:xfrm>
                <a:off x="6265839" y="3182991"/>
                <a:ext cx="1725665" cy="233408"/>
              </a:xfrm>
              <a:prstGeom prst="rect">
                <a:avLst/>
              </a:prstGeom>
              <a:noFill/>
            </p:spPr>
            <p:txBody>
              <a:bodyPr wrap="square" rtlCol="0">
                <a:spAutoFit/>
              </a:bodyPr>
              <a:lstStyle/>
              <a:p>
                <a:pPr algn="r" defTabSz="685800">
                  <a:defRPr/>
                </a:pPr>
                <a:r>
                  <a:rPr lang="en-GB" sz="825" b="1" i="1">
                    <a:solidFill>
                      <a:prstClr val="black"/>
                    </a:solidFill>
                    <a:latin typeface="Arial" panose="020B0604020202020204" pitchFamily="34" charset="0"/>
                    <a:cs typeface="Arial" panose="020B0604020202020204" pitchFamily="34" charset="0"/>
                  </a:rPr>
                  <a:t>P</a:t>
                </a:r>
                <a:r>
                  <a:rPr lang="en-GB" sz="825" b="1">
                    <a:solidFill>
                      <a:prstClr val="black"/>
                    </a:solidFill>
                    <a:latin typeface="Arial" panose="020B0604020202020204" pitchFamily="34" charset="0"/>
                    <a:cs typeface="Arial" panose="020B0604020202020204" pitchFamily="34" charset="0"/>
                  </a:rPr>
                  <a:t> &lt;.0001</a:t>
                </a:r>
              </a:p>
            </p:txBody>
          </p:sp>
          <p:cxnSp>
            <p:nvCxnSpPr>
              <p:cNvPr id="253" name="Straight Connector 326">
                <a:extLst>
                  <a:ext uri="{FF2B5EF4-FFF2-40B4-BE49-F238E27FC236}">
                    <a16:creationId xmlns:a16="http://schemas.microsoft.com/office/drawing/2014/main" id="{084D2CE7-9AA7-4BF4-9FDB-8618BCD96265}"/>
                  </a:ext>
                </a:extLst>
              </p:cNvPr>
              <p:cNvCxnSpPr/>
              <p:nvPr/>
            </p:nvCxnSpPr>
            <p:spPr>
              <a:xfrm>
                <a:off x="7647487" y="1763650"/>
                <a:ext cx="0" cy="4239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54" name="Straight Connector 327">
                <a:extLst>
                  <a:ext uri="{FF2B5EF4-FFF2-40B4-BE49-F238E27FC236}">
                    <a16:creationId xmlns:a16="http://schemas.microsoft.com/office/drawing/2014/main" id="{80134756-F243-4D04-BB64-95F8B2132A05}"/>
                  </a:ext>
                </a:extLst>
              </p:cNvPr>
              <p:cNvCxnSpPr/>
              <p:nvPr/>
            </p:nvCxnSpPr>
            <p:spPr>
              <a:xfrm>
                <a:off x="7647487" y="1806040"/>
                <a:ext cx="70385"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55" name="Straight Connector 328">
                <a:extLst>
                  <a:ext uri="{FF2B5EF4-FFF2-40B4-BE49-F238E27FC236}">
                    <a16:creationId xmlns:a16="http://schemas.microsoft.com/office/drawing/2014/main" id="{7ACE6CBA-C31F-4122-9526-20B01B190445}"/>
                  </a:ext>
                </a:extLst>
              </p:cNvPr>
              <p:cNvCxnSpPr/>
              <p:nvPr/>
            </p:nvCxnSpPr>
            <p:spPr>
              <a:xfrm>
                <a:off x="7717872" y="1806040"/>
                <a:ext cx="0" cy="3872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56" name="Straight Connector 329">
                <a:extLst>
                  <a:ext uri="{FF2B5EF4-FFF2-40B4-BE49-F238E27FC236}">
                    <a16:creationId xmlns:a16="http://schemas.microsoft.com/office/drawing/2014/main" id="{41E0FE56-5C0B-4DA6-8449-6D0AFFA5600B}"/>
                  </a:ext>
                </a:extLst>
              </p:cNvPr>
              <p:cNvCxnSpPr>
                <a:cxnSpLocks/>
              </p:cNvCxnSpPr>
              <p:nvPr/>
            </p:nvCxnSpPr>
            <p:spPr>
              <a:xfrm>
                <a:off x="7895330" y="1844760"/>
                <a:ext cx="0" cy="131791"/>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57" name="Straight Connector 330">
                <a:extLst>
                  <a:ext uri="{FF2B5EF4-FFF2-40B4-BE49-F238E27FC236}">
                    <a16:creationId xmlns:a16="http://schemas.microsoft.com/office/drawing/2014/main" id="{822115CB-3E24-4D84-83D1-E31F25520063}"/>
                  </a:ext>
                </a:extLst>
              </p:cNvPr>
              <p:cNvCxnSpPr/>
              <p:nvPr/>
            </p:nvCxnSpPr>
            <p:spPr>
              <a:xfrm>
                <a:off x="7895330" y="1976551"/>
                <a:ext cx="64683"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58" name="Straight Connector 331">
                <a:extLst>
                  <a:ext uri="{FF2B5EF4-FFF2-40B4-BE49-F238E27FC236}">
                    <a16:creationId xmlns:a16="http://schemas.microsoft.com/office/drawing/2014/main" id="{C9E85D8D-93E2-49B7-9952-2A413E068620}"/>
                  </a:ext>
                </a:extLst>
              </p:cNvPr>
              <p:cNvCxnSpPr/>
              <p:nvPr/>
            </p:nvCxnSpPr>
            <p:spPr>
              <a:xfrm>
                <a:off x="7960013" y="1976551"/>
                <a:ext cx="0" cy="29831"/>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59" name="Straight Connector 332">
                <a:extLst>
                  <a:ext uri="{FF2B5EF4-FFF2-40B4-BE49-F238E27FC236}">
                    <a16:creationId xmlns:a16="http://schemas.microsoft.com/office/drawing/2014/main" id="{34A59CD5-575C-4FD5-9517-B8638E21E7E1}"/>
                  </a:ext>
                </a:extLst>
              </p:cNvPr>
              <p:cNvCxnSpPr/>
              <p:nvPr/>
            </p:nvCxnSpPr>
            <p:spPr>
              <a:xfrm>
                <a:off x="7960013" y="2006383"/>
                <a:ext cx="57761"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0" name="Straight Connector 333">
                <a:extLst>
                  <a:ext uri="{FF2B5EF4-FFF2-40B4-BE49-F238E27FC236}">
                    <a16:creationId xmlns:a16="http://schemas.microsoft.com/office/drawing/2014/main" id="{E235D366-3EEA-43BD-AD9F-6C5ECA1A0964}"/>
                  </a:ext>
                </a:extLst>
              </p:cNvPr>
              <p:cNvCxnSpPr/>
              <p:nvPr/>
            </p:nvCxnSpPr>
            <p:spPr>
              <a:xfrm>
                <a:off x="8017774" y="2006383"/>
                <a:ext cx="0" cy="48663"/>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1" name="Straight Connector 334">
                <a:extLst>
                  <a:ext uri="{FF2B5EF4-FFF2-40B4-BE49-F238E27FC236}">
                    <a16:creationId xmlns:a16="http://schemas.microsoft.com/office/drawing/2014/main" id="{7B9A0ED8-EB05-4F6D-9DB5-85E7ABBD482F}"/>
                  </a:ext>
                </a:extLst>
              </p:cNvPr>
              <p:cNvCxnSpPr/>
              <p:nvPr/>
            </p:nvCxnSpPr>
            <p:spPr>
              <a:xfrm>
                <a:off x="8017774" y="2055046"/>
                <a:ext cx="66099"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2" name="Straight Connector 335">
                <a:extLst>
                  <a:ext uri="{FF2B5EF4-FFF2-40B4-BE49-F238E27FC236}">
                    <a16:creationId xmlns:a16="http://schemas.microsoft.com/office/drawing/2014/main" id="{1C658203-32C6-4019-BD5D-74D443706B99}"/>
                  </a:ext>
                </a:extLst>
              </p:cNvPr>
              <p:cNvCxnSpPr/>
              <p:nvPr/>
            </p:nvCxnSpPr>
            <p:spPr>
              <a:xfrm>
                <a:off x="8083873" y="2055046"/>
                <a:ext cx="0" cy="5473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3" name="Straight Connector 336">
                <a:extLst>
                  <a:ext uri="{FF2B5EF4-FFF2-40B4-BE49-F238E27FC236}">
                    <a16:creationId xmlns:a16="http://schemas.microsoft.com/office/drawing/2014/main" id="{7FACE992-A839-43C8-88D4-A7C5C1DB8B8C}"/>
                  </a:ext>
                </a:extLst>
              </p:cNvPr>
              <p:cNvCxnSpPr/>
              <p:nvPr/>
            </p:nvCxnSpPr>
            <p:spPr>
              <a:xfrm>
                <a:off x="8083873" y="2109776"/>
                <a:ext cx="76474"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4" name="Straight Connector 337">
                <a:extLst>
                  <a:ext uri="{FF2B5EF4-FFF2-40B4-BE49-F238E27FC236}">
                    <a16:creationId xmlns:a16="http://schemas.microsoft.com/office/drawing/2014/main" id="{86850544-9469-42FA-8F76-78B1A4BDBF0C}"/>
                  </a:ext>
                </a:extLst>
              </p:cNvPr>
              <p:cNvCxnSpPr/>
              <p:nvPr/>
            </p:nvCxnSpPr>
            <p:spPr>
              <a:xfrm>
                <a:off x="8160346" y="2109776"/>
                <a:ext cx="0" cy="56151"/>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5" name="Straight Connector 338">
                <a:extLst>
                  <a:ext uri="{FF2B5EF4-FFF2-40B4-BE49-F238E27FC236}">
                    <a16:creationId xmlns:a16="http://schemas.microsoft.com/office/drawing/2014/main" id="{6ABBE4DF-1925-447D-8000-0C6E425F6B5A}"/>
                  </a:ext>
                </a:extLst>
              </p:cNvPr>
              <p:cNvCxnSpPr/>
              <p:nvPr/>
            </p:nvCxnSpPr>
            <p:spPr>
              <a:xfrm>
                <a:off x="8299668" y="2155972"/>
                <a:ext cx="0" cy="189801"/>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6" name="Straight Connector 339">
                <a:extLst>
                  <a:ext uri="{FF2B5EF4-FFF2-40B4-BE49-F238E27FC236}">
                    <a16:creationId xmlns:a16="http://schemas.microsoft.com/office/drawing/2014/main" id="{693F1723-767B-4152-87BB-F78B2DB4F284}"/>
                  </a:ext>
                </a:extLst>
              </p:cNvPr>
              <p:cNvCxnSpPr/>
              <p:nvPr/>
            </p:nvCxnSpPr>
            <p:spPr>
              <a:xfrm>
                <a:off x="8451559" y="2345773"/>
                <a:ext cx="0" cy="61345"/>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7" name="Straight Connector 340">
                <a:extLst>
                  <a:ext uri="{FF2B5EF4-FFF2-40B4-BE49-F238E27FC236}">
                    <a16:creationId xmlns:a16="http://schemas.microsoft.com/office/drawing/2014/main" id="{3B01F742-8C6F-4F0C-BAFC-E6513FE2F001}"/>
                  </a:ext>
                </a:extLst>
              </p:cNvPr>
              <p:cNvCxnSpPr/>
              <p:nvPr/>
            </p:nvCxnSpPr>
            <p:spPr>
              <a:xfrm>
                <a:off x="8451559" y="2407117"/>
                <a:ext cx="82418"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8" name="Straight Connector 341">
                <a:extLst>
                  <a:ext uri="{FF2B5EF4-FFF2-40B4-BE49-F238E27FC236}">
                    <a16:creationId xmlns:a16="http://schemas.microsoft.com/office/drawing/2014/main" id="{651EA939-1B2A-493B-AF50-DE62261AFE12}"/>
                  </a:ext>
                </a:extLst>
              </p:cNvPr>
              <p:cNvCxnSpPr/>
              <p:nvPr/>
            </p:nvCxnSpPr>
            <p:spPr>
              <a:xfrm>
                <a:off x="8533977" y="2407117"/>
                <a:ext cx="0" cy="29184"/>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69" name="Straight Connector 342">
                <a:extLst>
                  <a:ext uri="{FF2B5EF4-FFF2-40B4-BE49-F238E27FC236}">
                    <a16:creationId xmlns:a16="http://schemas.microsoft.com/office/drawing/2014/main" id="{6083D3DE-5474-46A3-B0D7-1674C044C9D0}"/>
                  </a:ext>
                </a:extLst>
              </p:cNvPr>
              <p:cNvCxnSpPr/>
              <p:nvPr/>
            </p:nvCxnSpPr>
            <p:spPr>
              <a:xfrm>
                <a:off x="8907952" y="2436301"/>
                <a:ext cx="0" cy="36525"/>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70" name="Straight Connector 343">
                <a:extLst>
                  <a:ext uri="{FF2B5EF4-FFF2-40B4-BE49-F238E27FC236}">
                    <a16:creationId xmlns:a16="http://schemas.microsoft.com/office/drawing/2014/main" id="{7C4FE706-A358-4630-B3D6-5D237A116D0D}"/>
                  </a:ext>
                </a:extLst>
              </p:cNvPr>
              <p:cNvCxnSpPr/>
              <p:nvPr/>
            </p:nvCxnSpPr>
            <p:spPr>
              <a:xfrm>
                <a:off x="8907952" y="2472826"/>
                <a:ext cx="107537"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71" name="Straight Connector 344">
                <a:extLst>
                  <a:ext uri="{FF2B5EF4-FFF2-40B4-BE49-F238E27FC236}">
                    <a16:creationId xmlns:a16="http://schemas.microsoft.com/office/drawing/2014/main" id="{91E38A56-911F-4BE0-AE24-6CA650F7D9B7}"/>
                  </a:ext>
                </a:extLst>
              </p:cNvPr>
              <p:cNvCxnSpPr/>
              <p:nvPr/>
            </p:nvCxnSpPr>
            <p:spPr>
              <a:xfrm>
                <a:off x="9015488" y="2472826"/>
                <a:ext cx="0" cy="38451"/>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72" name="Straight Connector 345">
                <a:extLst>
                  <a:ext uri="{FF2B5EF4-FFF2-40B4-BE49-F238E27FC236}">
                    <a16:creationId xmlns:a16="http://schemas.microsoft.com/office/drawing/2014/main" id="{5B2CB363-68A5-43CD-82D6-0AFB6D993C95}"/>
                  </a:ext>
                </a:extLst>
              </p:cNvPr>
              <p:cNvCxnSpPr/>
              <p:nvPr/>
            </p:nvCxnSpPr>
            <p:spPr>
              <a:xfrm>
                <a:off x="9015488" y="2511277"/>
                <a:ext cx="63062"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73" name="Straight Connector 346">
                <a:extLst>
                  <a:ext uri="{FF2B5EF4-FFF2-40B4-BE49-F238E27FC236}">
                    <a16:creationId xmlns:a16="http://schemas.microsoft.com/office/drawing/2014/main" id="{4ECFF7F8-56C2-4B5D-914E-599D3C5BA375}"/>
                  </a:ext>
                </a:extLst>
              </p:cNvPr>
              <p:cNvCxnSpPr/>
              <p:nvPr/>
            </p:nvCxnSpPr>
            <p:spPr>
              <a:xfrm>
                <a:off x="9078550" y="2511277"/>
                <a:ext cx="0" cy="36182"/>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74" name="Straight Connector 347">
                <a:extLst>
                  <a:ext uri="{FF2B5EF4-FFF2-40B4-BE49-F238E27FC236}">
                    <a16:creationId xmlns:a16="http://schemas.microsoft.com/office/drawing/2014/main" id="{8E1328B3-4DA2-4119-8B1E-771453C6B091}"/>
                  </a:ext>
                </a:extLst>
              </p:cNvPr>
              <p:cNvCxnSpPr/>
              <p:nvPr/>
            </p:nvCxnSpPr>
            <p:spPr>
              <a:xfrm>
                <a:off x="9078550" y="2547461"/>
                <a:ext cx="67212"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75" name="Straight Connector 348">
                <a:extLst>
                  <a:ext uri="{FF2B5EF4-FFF2-40B4-BE49-F238E27FC236}">
                    <a16:creationId xmlns:a16="http://schemas.microsoft.com/office/drawing/2014/main" id="{68D9FBFB-5E7E-4CE1-83A1-D1BC87098A0E}"/>
                  </a:ext>
                </a:extLst>
              </p:cNvPr>
              <p:cNvCxnSpPr/>
              <p:nvPr/>
            </p:nvCxnSpPr>
            <p:spPr>
              <a:xfrm>
                <a:off x="9145761" y="2547461"/>
                <a:ext cx="0" cy="39204"/>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cxnSp>
            <p:nvCxnSpPr>
              <p:cNvPr id="276" name="Straight Connector 350">
                <a:extLst>
                  <a:ext uri="{FF2B5EF4-FFF2-40B4-BE49-F238E27FC236}">
                    <a16:creationId xmlns:a16="http://schemas.microsoft.com/office/drawing/2014/main" id="{D0447B2F-1770-4379-810A-2FAF7BF12242}"/>
                  </a:ext>
                </a:extLst>
              </p:cNvPr>
              <p:cNvCxnSpPr/>
              <p:nvPr/>
            </p:nvCxnSpPr>
            <p:spPr>
              <a:xfrm flipV="1">
                <a:off x="9396765" y="1676981"/>
                <a:ext cx="0" cy="49712"/>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277" name="Straight Connector 351">
                <a:extLst>
                  <a:ext uri="{FF2B5EF4-FFF2-40B4-BE49-F238E27FC236}">
                    <a16:creationId xmlns:a16="http://schemas.microsoft.com/office/drawing/2014/main" id="{2C923CBA-A8C9-4F90-AA03-3B178D9F5F4E}"/>
                  </a:ext>
                </a:extLst>
              </p:cNvPr>
              <p:cNvCxnSpPr/>
              <p:nvPr/>
            </p:nvCxnSpPr>
            <p:spPr>
              <a:xfrm flipV="1">
                <a:off x="9836636" y="1699687"/>
                <a:ext cx="0" cy="54017"/>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grpSp>
            <p:nvGrpSpPr>
              <p:cNvPr id="278" name="Group 4">
                <a:extLst>
                  <a:ext uri="{FF2B5EF4-FFF2-40B4-BE49-F238E27FC236}">
                    <a16:creationId xmlns:a16="http://schemas.microsoft.com/office/drawing/2014/main" id="{27F69126-5511-48A2-B004-1BF7E7259793}"/>
                  </a:ext>
                </a:extLst>
              </p:cNvPr>
              <p:cNvGrpSpPr/>
              <p:nvPr/>
            </p:nvGrpSpPr>
            <p:grpSpPr>
              <a:xfrm>
                <a:off x="387056" y="4261898"/>
                <a:ext cx="5467659" cy="808790"/>
                <a:chOff x="1556398" y="4344448"/>
                <a:chExt cx="4437660" cy="808790"/>
              </a:xfrm>
            </p:grpSpPr>
            <p:sp>
              <p:nvSpPr>
                <p:cNvPr id="314" name="TextBox 355">
                  <a:extLst>
                    <a:ext uri="{FF2B5EF4-FFF2-40B4-BE49-F238E27FC236}">
                      <a16:creationId xmlns:a16="http://schemas.microsoft.com/office/drawing/2014/main" id="{F0F7F8DA-62CA-45E7-AD68-239BECC19F12}"/>
                    </a:ext>
                  </a:extLst>
                </p:cNvPr>
                <p:cNvSpPr txBox="1"/>
                <p:nvPr/>
              </p:nvSpPr>
              <p:spPr>
                <a:xfrm>
                  <a:off x="1556398" y="4344448"/>
                  <a:ext cx="1062237" cy="233408"/>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Numbers at risk</a:t>
                  </a:r>
                </a:p>
              </p:txBody>
            </p:sp>
            <p:cxnSp>
              <p:nvCxnSpPr>
                <p:cNvPr id="315" name="Straight Connector 358">
                  <a:extLst>
                    <a:ext uri="{FF2B5EF4-FFF2-40B4-BE49-F238E27FC236}">
                      <a16:creationId xmlns:a16="http://schemas.microsoft.com/office/drawing/2014/main" id="{4B857EA1-23B1-4AC6-88A5-102786AD31B0}"/>
                    </a:ext>
                  </a:extLst>
                </p:cNvPr>
                <p:cNvCxnSpPr/>
                <p:nvPr/>
              </p:nvCxnSpPr>
              <p:spPr>
                <a:xfrm>
                  <a:off x="2273299" y="4587241"/>
                  <a:ext cx="135467"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316" name="Straight Connector 359">
                  <a:extLst>
                    <a:ext uri="{FF2B5EF4-FFF2-40B4-BE49-F238E27FC236}">
                      <a16:creationId xmlns:a16="http://schemas.microsoft.com/office/drawing/2014/main" id="{741971F3-9AD1-438C-802E-64064A162F8E}"/>
                    </a:ext>
                  </a:extLst>
                </p:cNvPr>
                <p:cNvCxnSpPr/>
                <p:nvPr/>
              </p:nvCxnSpPr>
              <p:spPr>
                <a:xfrm>
                  <a:off x="2273299" y="4731174"/>
                  <a:ext cx="135467" cy="0"/>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cxnSp>
              <p:nvCxnSpPr>
                <p:cNvPr id="317" name="Straight Connector 360">
                  <a:extLst>
                    <a:ext uri="{FF2B5EF4-FFF2-40B4-BE49-F238E27FC236}">
                      <a16:creationId xmlns:a16="http://schemas.microsoft.com/office/drawing/2014/main" id="{641081EE-AE70-4A17-BFBB-4CCDA204E921}"/>
                    </a:ext>
                  </a:extLst>
                </p:cNvPr>
                <p:cNvCxnSpPr/>
                <p:nvPr/>
              </p:nvCxnSpPr>
              <p:spPr>
                <a:xfrm>
                  <a:off x="2273299" y="4875107"/>
                  <a:ext cx="135467"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318" name="Straight Connector 361">
                  <a:extLst>
                    <a:ext uri="{FF2B5EF4-FFF2-40B4-BE49-F238E27FC236}">
                      <a16:creationId xmlns:a16="http://schemas.microsoft.com/office/drawing/2014/main" id="{C3DA61F2-BA1D-41F2-89AB-E571162EC118}"/>
                    </a:ext>
                  </a:extLst>
                </p:cNvPr>
                <p:cNvCxnSpPr/>
                <p:nvPr/>
              </p:nvCxnSpPr>
              <p:spPr>
                <a:xfrm>
                  <a:off x="2273299" y="5014807"/>
                  <a:ext cx="135467"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sp>
              <p:nvSpPr>
                <p:cNvPr id="319" name="TextBox 362">
                  <a:extLst>
                    <a:ext uri="{FF2B5EF4-FFF2-40B4-BE49-F238E27FC236}">
                      <a16:creationId xmlns:a16="http://schemas.microsoft.com/office/drawing/2014/main" id="{58EC2014-CC3F-4208-B01F-6ED23789D011}"/>
                    </a:ext>
                  </a:extLst>
                </p:cNvPr>
                <p:cNvSpPr txBox="1"/>
                <p:nvPr/>
              </p:nvSpPr>
              <p:spPr>
                <a:xfrm>
                  <a:off x="2285409" y="4485752"/>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36</a:t>
                  </a:r>
                </a:p>
              </p:txBody>
            </p:sp>
            <p:sp>
              <p:nvSpPr>
                <p:cNvPr id="320" name="TextBox 363">
                  <a:extLst>
                    <a:ext uri="{FF2B5EF4-FFF2-40B4-BE49-F238E27FC236}">
                      <a16:creationId xmlns:a16="http://schemas.microsoft.com/office/drawing/2014/main" id="{783E50EF-5ACD-4A0E-BF71-9FB6CA1C8EAD}"/>
                    </a:ext>
                  </a:extLst>
                </p:cNvPr>
                <p:cNvSpPr txBox="1"/>
                <p:nvPr/>
              </p:nvSpPr>
              <p:spPr>
                <a:xfrm>
                  <a:off x="2290231" y="4625451"/>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2</a:t>
                  </a:r>
                </a:p>
              </p:txBody>
            </p:sp>
            <p:sp>
              <p:nvSpPr>
                <p:cNvPr id="321" name="TextBox 364">
                  <a:extLst>
                    <a:ext uri="{FF2B5EF4-FFF2-40B4-BE49-F238E27FC236}">
                      <a16:creationId xmlns:a16="http://schemas.microsoft.com/office/drawing/2014/main" id="{181DE616-57C6-4A81-8422-1F198B73FAFB}"/>
                    </a:ext>
                  </a:extLst>
                </p:cNvPr>
                <p:cNvSpPr txBox="1"/>
                <p:nvPr/>
              </p:nvSpPr>
              <p:spPr>
                <a:xfrm>
                  <a:off x="2290231" y="4774911"/>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64</a:t>
                  </a:r>
                </a:p>
              </p:txBody>
            </p:sp>
            <p:sp>
              <p:nvSpPr>
                <p:cNvPr id="322" name="TextBox 365">
                  <a:extLst>
                    <a:ext uri="{FF2B5EF4-FFF2-40B4-BE49-F238E27FC236}">
                      <a16:creationId xmlns:a16="http://schemas.microsoft.com/office/drawing/2014/main" id="{24D12197-0E8F-4C73-B36F-90198655520F}"/>
                    </a:ext>
                  </a:extLst>
                </p:cNvPr>
                <p:cNvSpPr txBox="1"/>
                <p:nvPr/>
              </p:nvSpPr>
              <p:spPr>
                <a:xfrm>
                  <a:off x="2288054" y="4916907"/>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58</a:t>
                  </a:r>
                </a:p>
              </p:txBody>
            </p:sp>
            <p:sp>
              <p:nvSpPr>
                <p:cNvPr id="323" name="TextBox 366">
                  <a:extLst>
                    <a:ext uri="{FF2B5EF4-FFF2-40B4-BE49-F238E27FC236}">
                      <a16:creationId xmlns:a16="http://schemas.microsoft.com/office/drawing/2014/main" id="{8DD301BD-AB1B-4741-9C4D-AE55874043B7}"/>
                    </a:ext>
                  </a:extLst>
                </p:cNvPr>
                <p:cNvSpPr txBox="1"/>
                <p:nvPr/>
              </p:nvSpPr>
              <p:spPr>
                <a:xfrm>
                  <a:off x="2797704" y="4485751"/>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36</a:t>
                  </a:r>
                </a:p>
              </p:txBody>
            </p:sp>
            <p:sp>
              <p:nvSpPr>
                <p:cNvPr id="324" name="TextBox 367">
                  <a:extLst>
                    <a:ext uri="{FF2B5EF4-FFF2-40B4-BE49-F238E27FC236}">
                      <a16:creationId xmlns:a16="http://schemas.microsoft.com/office/drawing/2014/main" id="{D8A4DD73-8EB3-4354-88DA-DBF3C7B968FC}"/>
                    </a:ext>
                  </a:extLst>
                </p:cNvPr>
                <p:cNvSpPr txBox="1"/>
                <p:nvPr/>
              </p:nvSpPr>
              <p:spPr>
                <a:xfrm>
                  <a:off x="2797704" y="4625451"/>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2</a:t>
                  </a:r>
                </a:p>
              </p:txBody>
            </p:sp>
            <p:sp>
              <p:nvSpPr>
                <p:cNvPr id="325" name="TextBox 368">
                  <a:extLst>
                    <a:ext uri="{FF2B5EF4-FFF2-40B4-BE49-F238E27FC236}">
                      <a16:creationId xmlns:a16="http://schemas.microsoft.com/office/drawing/2014/main" id="{A20B8CEA-2F49-4E1E-9847-E2F1DCA6342E}"/>
                    </a:ext>
                  </a:extLst>
                </p:cNvPr>
                <p:cNvSpPr txBox="1"/>
                <p:nvPr/>
              </p:nvSpPr>
              <p:spPr>
                <a:xfrm>
                  <a:off x="2797704" y="4770387"/>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42</a:t>
                  </a:r>
                </a:p>
              </p:txBody>
            </p:sp>
            <p:sp>
              <p:nvSpPr>
                <p:cNvPr id="326" name="TextBox 369">
                  <a:extLst>
                    <a:ext uri="{FF2B5EF4-FFF2-40B4-BE49-F238E27FC236}">
                      <a16:creationId xmlns:a16="http://schemas.microsoft.com/office/drawing/2014/main" id="{B6A7D93F-184A-422C-8B62-2C920653EE7A}"/>
                    </a:ext>
                  </a:extLst>
                </p:cNvPr>
                <p:cNvSpPr txBox="1"/>
                <p:nvPr/>
              </p:nvSpPr>
              <p:spPr>
                <a:xfrm>
                  <a:off x="2797704" y="4915325"/>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42</a:t>
                  </a:r>
                </a:p>
              </p:txBody>
            </p:sp>
            <p:sp>
              <p:nvSpPr>
                <p:cNvPr id="327" name="TextBox 370">
                  <a:extLst>
                    <a:ext uri="{FF2B5EF4-FFF2-40B4-BE49-F238E27FC236}">
                      <a16:creationId xmlns:a16="http://schemas.microsoft.com/office/drawing/2014/main" id="{31ABF8DC-2B71-4158-A45A-302B4858375F}"/>
                    </a:ext>
                  </a:extLst>
                </p:cNvPr>
                <p:cNvSpPr txBox="1"/>
                <p:nvPr/>
              </p:nvSpPr>
              <p:spPr>
                <a:xfrm>
                  <a:off x="3309999" y="4485751"/>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34</a:t>
                  </a:r>
                </a:p>
              </p:txBody>
            </p:sp>
            <p:sp>
              <p:nvSpPr>
                <p:cNvPr id="328" name="TextBox 371">
                  <a:extLst>
                    <a:ext uri="{FF2B5EF4-FFF2-40B4-BE49-F238E27FC236}">
                      <a16:creationId xmlns:a16="http://schemas.microsoft.com/office/drawing/2014/main" id="{7013923F-BBF9-4F94-A096-E9F81D657C65}"/>
                    </a:ext>
                  </a:extLst>
                </p:cNvPr>
                <p:cNvSpPr txBox="1"/>
                <p:nvPr/>
              </p:nvSpPr>
              <p:spPr>
                <a:xfrm>
                  <a:off x="3309999" y="4631146"/>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2</a:t>
                  </a:r>
                </a:p>
              </p:txBody>
            </p:sp>
            <p:sp>
              <p:nvSpPr>
                <p:cNvPr id="329" name="TextBox 372">
                  <a:extLst>
                    <a:ext uri="{FF2B5EF4-FFF2-40B4-BE49-F238E27FC236}">
                      <a16:creationId xmlns:a16="http://schemas.microsoft.com/office/drawing/2014/main" id="{61B7BA61-361B-4DA6-A61E-AC1B00EC12B6}"/>
                    </a:ext>
                  </a:extLst>
                </p:cNvPr>
                <p:cNvSpPr txBox="1"/>
                <p:nvPr/>
              </p:nvSpPr>
              <p:spPr>
                <a:xfrm>
                  <a:off x="3305766" y="4773236"/>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25</a:t>
                  </a:r>
                </a:p>
              </p:txBody>
            </p:sp>
            <p:sp>
              <p:nvSpPr>
                <p:cNvPr id="330" name="TextBox 373">
                  <a:extLst>
                    <a:ext uri="{FF2B5EF4-FFF2-40B4-BE49-F238E27FC236}">
                      <a16:creationId xmlns:a16="http://schemas.microsoft.com/office/drawing/2014/main" id="{ECF17AD6-3563-4355-9633-DB1265EA9172}"/>
                    </a:ext>
                  </a:extLst>
                </p:cNvPr>
                <p:cNvSpPr txBox="1"/>
                <p:nvPr/>
              </p:nvSpPr>
              <p:spPr>
                <a:xfrm>
                  <a:off x="3309999" y="4918631"/>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2</a:t>
                  </a:r>
                </a:p>
              </p:txBody>
            </p:sp>
            <p:sp>
              <p:nvSpPr>
                <p:cNvPr id="331" name="TextBox 374">
                  <a:extLst>
                    <a:ext uri="{FF2B5EF4-FFF2-40B4-BE49-F238E27FC236}">
                      <a16:creationId xmlns:a16="http://schemas.microsoft.com/office/drawing/2014/main" id="{BE927482-D8D3-4839-ADEF-D8A02E6E8159}"/>
                    </a:ext>
                  </a:extLst>
                </p:cNvPr>
                <p:cNvSpPr txBox="1"/>
                <p:nvPr/>
              </p:nvSpPr>
              <p:spPr>
                <a:xfrm>
                  <a:off x="3825938" y="4488523"/>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26</a:t>
                  </a:r>
                </a:p>
              </p:txBody>
            </p:sp>
            <p:sp>
              <p:nvSpPr>
                <p:cNvPr id="332" name="TextBox 375">
                  <a:extLst>
                    <a:ext uri="{FF2B5EF4-FFF2-40B4-BE49-F238E27FC236}">
                      <a16:creationId xmlns:a16="http://schemas.microsoft.com/office/drawing/2014/main" id="{137F2703-A7CA-49A0-B8CE-AF8FC7B523DC}"/>
                    </a:ext>
                  </a:extLst>
                </p:cNvPr>
                <p:cNvSpPr txBox="1"/>
                <p:nvPr/>
              </p:nvSpPr>
              <p:spPr>
                <a:xfrm>
                  <a:off x="3825938" y="4626912"/>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0</a:t>
                  </a:r>
                </a:p>
              </p:txBody>
            </p:sp>
            <p:sp>
              <p:nvSpPr>
                <p:cNvPr id="333" name="TextBox 376">
                  <a:extLst>
                    <a:ext uri="{FF2B5EF4-FFF2-40B4-BE49-F238E27FC236}">
                      <a16:creationId xmlns:a16="http://schemas.microsoft.com/office/drawing/2014/main" id="{5789D498-F012-4946-AF92-F12063A85A69}"/>
                    </a:ext>
                  </a:extLst>
                </p:cNvPr>
                <p:cNvSpPr txBox="1"/>
                <p:nvPr/>
              </p:nvSpPr>
              <p:spPr>
                <a:xfrm>
                  <a:off x="3825938" y="4769002"/>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04</a:t>
                  </a:r>
                </a:p>
              </p:txBody>
            </p:sp>
            <p:sp>
              <p:nvSpPr>
                <p:cNvPr id="334" name="TextBox 377">
                  <a:extLst>
                    <a:ext uri="{FF2B5EF4-FFF2-40B4-BE49-F238E27FC236}">
                      <a16:creationId xmlns:a16="http://schemas.microsoft.com/office/drawing/2014/main" id="{E1D50B80-6C96-46B4-B29E-C974E132636E}"/>
                    </a:ext>
                  </a:extLst>
                </p:cNvPr>
                <p:cNvSpPr txBox="1"/>
                <p:nvPr/>
              </p:nvSpPr>
              <p:spPr>
                <a:xfrm>
                  <a:off x="3825938" y="4919830"/>
                  <a:ext cx="642408" cy="233408"/>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24</a:t>
                  </a:r>
                </a:p>
              </p:txBody>
            </p:sp>
            <p:sp>
              <p:nvSpPr>
                <p:cNvPr id="335" name="TextBox 378">
                  <a:extLst>
                    <a:ext uri="{FF2B5EF4-FFF2-40B4-BE49-F238E27FC236}">
                      <a16:creationId xmlns:a16="http://schemas.microsoft.com/office/drawing/2014/main" id="{D0935A20-18C2-40D2-8185-6A63368FFB84}"/>
                    </a:ext>
                  </a:extLst>
                </p:cNvPr>
                <p:cNvSpPr txBox="1"/>
                <p:nvPr/>
              </p:nvSpPr>
              <p:spPr>
                <a:xfrm>
                  <a:off x="4329767" y="4489441"/>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65</a:t>
                  </a:r>
                </a:p>
              </p:txBody>
            </p:sp>
            <p:sp>
              <p:nvSpPr>
                <p:cNvPr id="336" name="TextBox 379">
                  <a:extLst>
                    <a:ext uri="{FF2B5EF4-FFF2-40B4-BE49-F238E27FC236}">
                      <a16:creationId xmlns:a16="http://schemas.microsoft.com/office/drawing/2014/main" id="{3C45E723-041C-4145-B124-B7E4FB1AACD0}"/>
                    </a:ext>
                  </a:extLst>
                </p:cNvPr>
                <p:cNvSpPr txBox="1"/>
                <p:nvPr/>
              </p:nvSpPr>
              <p:spPr>
                <a:xfrm>
                  <a:off x="4329196" y="4631144"/>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7</a:t>
                  </a:r>
                </a:p>
              </p:txBody>
            </p:sp>
            <p:sp>
              <p:nvSpPr>
                <p:cNvPr id="337" name="TextBox 380">
                  <a:extLst>
                    <a:ext uri="{FF2B5EF4-FFF2-40B4-BE49-F238E27FC236}">
                      <a16:creationId xmlns:a16="http://schemas.microsoft.com/office/drawing/2014/main" id="{FB95AB49-7C03-420F-915D-094BEFF0C1B8}"/>
                    </a:ext>
                  </a:extLst>
                </p:cNvPr>
                <p:cNvSpPr txBox="1"/>
                <p:nvPr/>
              </p:nvSpPr>
              <p:spPr>
                <a:xfrm>
                  <a:off x="4329196" y="4775351"/>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45</a:t>
                  </a:r>
                </a:p>
              </p:txBody>
            </p:sp>
            <p:sp>
              <p:nvSpPr>
                <p:cNvPr id="338" name="TextBox 381">
                  <a:extLst>
                    <a:ext uri="{FF2B5EF4-FFF2-40B4-BE49-F238E27FC236}">
                      <a16:creationId xmlns:a16="http://schemas.microsoft.com/office/drawing/2014/main" id="{F3B718DB-96D4-4F2F-AB4C-5205489829E0}"/>
                    </a:ext>
                  </a:extLst>
                </p:cNvPr>
                <p:cNvSpPr txBox="1"/>
                <p:nvPr/>
              </p:nvSpPr>
              <p:spPr>
                <a:xfrm>
                  <a:off x="4329196" y="4915325"/>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3</a:t>
                  </a:r>
                </a:p>
              </p:txBody>
            </p:sp>
            <p:sp>
              <p:nvSpPr>
                <p:cNvPr id="339" name="TextBox 382">
                  <a:extLst>
                    <a:ext uri="{FF2B5EF4-FFF2-40B4-BE49-F238E27FC236}">
                      <a16:creationId xmlns:a16="http://schemas.microsoft.com/office/drawing/2014/main" id="{661F3BB1-7623-4862-8024-293E54F62DA1}"/>
                    </a:ext>
                  </a:extLst>
                </p:cNvPr>
                <p:cNvSpPr txBox="1"/>
                <p:nvPr/>
              </p:nvSpPr>
              <p:spPr>
                <a:xfrm>
                  <a:off x="4832879" y="4480703"/>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4</a:t>
                  </a:r>
                </a:p>
              </p:txBody>
            </p:sp>
            <p:sp>
              <p:nvSpPr>
                <p:cNvPr id="340" name="TextBox 383">
                  <a:extLst>
                    <a:ext uri="{FF2B5EF4-FFF2-40B4-BE49-F238E27FC236}">
                      <a16:creationId xmlns:a16="http://schemas.microsoft.com/office/drawing/2014/main" id="{EB340D96-9D71-4AFF-A2A0-31A32F1A8E0A}"/>
                    </a:ext>
                  </a:extLst>
                </p:cNvPr>
                <p:cNvSpPr txBox="1"/>
                <p:nvPr/>
              </p:nvSpPr>
              <p:spPr>
                <a:xfrm>
                  <a:off x="4828646" y="4631142"/>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4</a:t>
                  </a:r>
                </a:p>
              </p:txBody>
            </p:sp>
            <p:sp>
              <p:nvSpPr>
                <p:cNvPr id="341" name="TextBox 384">
                  <a:extLst>
                    <a:ext uri="{FF2B5EF4-FFF2-40B4-BE49-F238E27FC236}">
                      <a16:creationId xmlns:a16="http://schemas.microsoft.com/office/drawing/2014/main" id="{CA6F7905-D1A2-490A-AA6A-B9A1CF1704F7}"/>
                    </a:ext>
                  </a:extLst>
                </p:cNvPr>
                <p:cNvSpPr txBox="1"/>
                <p:nvPr/>
              </p:nvSpPr>
              <p:spPr>
                <a:xfrm>
                  <a:off x="4832879" y="4773350"/>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5</a:t>
                  </a:r>
                </a:p>
              </p:txBody>
            </p:sp>
            <p:sp>
              <p:nvSpPr>
                <p:cNvPr id="342" name="TextBox 385">
                  <a:extLst>
                    <a:ext uri="{FF2B5EF4-FFF2-40B4-BE49-F238E27FC236}">
                      <a16:creationId xmlns:a16="http://schemas.microsoft.com/office/drawing/2014/main" id="{1C0ED4F6-D65A-4B0A-A654-37F6B5CB60CB}"/>
                    </a:ext>
                  </a:extLst>
                </p:cNvPr>
                <p:cNvSpPr txBox="1"/>
                <p:nvPr/>
              </p:nvSpPr>
              <p:spPr>
                <a:xfrm>
                  <a:off x="4830763" y="4916787"/>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a:t>
                  </a:r>
                </a:p>
              </p:txBody>
            </p:sp>
            <p:sp>
              <p:nvSpPr>
                <p:cNvPr id="343" name="TextBox 386">
                  <a:extLst>
                    <a:ext uri="{FF2B5EF4-FFF2-40B4-BE49-F238E27FC236}">
                      <a16:creationId xmlns:a16="http://schemas.microsoft.com/office/drawing/2014/main" id="{D0416F1A-F02E-4D65-915D-334947F1ABED}"/>
                    </a:ext>
                  </a:extLst>
                </p:cNvPr>
                <p:cNvSpPr txBox="1"/>
                <p:nvPr/>
              </p:nvSpPr>
              <p:spPr>
                <a:xfrm>
                  <a:off x="5345112" y="4485751"/>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0</a:t>
                  </a:r>
                </a:p>
              </p:txBody>
            </p:sp>
            <p:sp>
              <p:nvSpPr>
                <p:cNvPr id="344" name="TextBox 387">
                  <a:extLst>
                    <a:ext uri="{FF2B5EF4-FFF2-40B4-BE49-F238E27FC236}">
                      <a16:creationId xmlns:a16="http://schemas.microsoft.com/office/drawing/2014/main" id="{75A8D1F0-F223-4AFB-8A63-1826A1E9EFDF}"/>
                    </a:ext>
                  </a:extLst>
                </p:cNvPr>
                <p:cNvSpPr txBox="1"/>
                <p:nvPr/>
              </p:nvSpPr>
              <p:spPr>
                <a:xfrm>
                  <a:off x="5348393" y="4629551"/>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0</a:t>
                  </a:r>
                </a:p>
              </p:txBody>
            </p:sp>
            <p:sp>
              <p:nvSpPr>
                <p:cNvPr id="345" name="TextBox 388">
                  <a:extLst>
                    <a:ext uri="{FF2B5EF4-FFF2-40B4-BE49-F238E27FC236}">
                      <a16:creationId xmlns:a16="http://schemas.microsoft.com/office/drawing/2014/main" id="{1DEA296D-6DF8-49A8-9EEB-B1B8DD25FB0A}"/>
                    </a:ext>
                  </a:extLst>
                </p:cNvPr>
                <p:cNvSpPr txBox="1"/>
                <p:nvPr/>
              </p:nvSpPr>
              <p:spPr>
                <a:xfrm>
                  <a:off x="5351650" y="477323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0</a:t>
                  </a:r>
                </a:p>
              </p:txBody>
            </p:sp>
            <p:sp>
              <p:nvSpPr>
                <p:cNvPr id="346" name="TextBox 389">
                  <a:extLst>
                    <a:ext uri="{FF2B5EF4-FFF2-40B4-BE49-F238E27FC236}">
                      <a16:creationId xmlns:a16="http://schemas.microsoft.com/office/drawing/2014/main" id="{D466CD3C-EF6A-4DBE-9EB2-51BFFA5FF2DF}"/>
                    </a:ext>
                  </a:extLst>
                </p:cNvPr>
                <p:cNvSpPr txBox="1"/>
                <p:nvPr/>
              </p:nvSpPr>
              <p:spPr>
                <a:xfrm>
                  <a:off x="5347604" y="4913460"/>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0</a:t>
                  </a:r>
                </a:p>
              </p:txBody>
            </p:sp>
          </p:grpSp>
          <p:grpSp>
            <p:nvGrpSpPr>
              <p:cNvPr id="279" name="Group 7">
                <a:extLst>
                  <a:ext uri="{FF2B5EF4-FFF2-40B4-BE49-F238E27FC236}">
                    <a16:creationId xmlns:a16="http://schemas.microsoft.com/office/drawing/2014/main" id="{FFD7A95F-24E8-479C-A5E8-0FB0FE1EB2BC}"/>
                  </a:ext>
                </a:extLst>
              </p:cNvPr>
              <p:cNvGrpSpPr/>
              <p:nvPr/>
            </p:nvGrpSpPr>
            <p:grpSpPr>
              <a:xfrm>
                <a:off x="6067368" y="4272900"/>
                <a:ext cx="5261567" cy="816955"/>
                <a:chOff x="6067368" y="4340275"/>
                <a:chExt cx="5261567" cy="816955"/>
              </a:xfrm>
            </p:grpSpPr>
            <p:grpSp>
              <p:nvGrpSpPr>
                <p:cNvPr id="280" name="Group 5">
                  <a:extLst>
                    <a:ext uri="{FF2B5EF4-FFF2-40B4-BE49-F238E27FC236}">
                      <a16:creationId xmlns:a16="http://schemas.microsoft.com/office/drawing/2014/main" id="{C9D62A0C-3094-47D4-8435-3C3DBC342CA1}"/>
                    </a:ext>
                  </a:extLst>
                </p:cNvPr>
                <p:cNvGrpSpPr/>
                <p:nvPr/>
              </p:nvGrpSpPr>
              <p:grpSpPr>
                <a:xfrm>
                  <a:off x="6823436" y="4482848"/>
                  <a:ext cx="4505499" cy="674382"/>
                  <a:chOff x="6399924" y="4482848"/>
                  <a:chExt cx="3720759" cy="674382"/>
                </a:xfrm>
              </p:grpSpPr>
              <p:cxnSp>
                <p:nvCxnSpPr>
                  <p:cNvPr id="282" name="Straight Connector 392">
                    <a:extLst>
                      <a:ext uri="{FF2B5EF4-FFF2-40B4-BE49-F238E27FC236}">
                        <a16:creationId xmlns:a16="http://schemas.microsoft.com/office/drawing/2014/main" id="{6188AEB1-60DE-4B46-A7FD-BFD83BFECA8D}"/>
                      </a:ext>
                    </a:extLst>
                  </p:cNvPr>
                  <p:cNvCxnSpPr/>
                  <p:nvPr/>
                </p:nvCxnSpPr>
                <p:spPr>
                  <a:xfrm>
                    <a:off x="6399924" y="4589386"/>
                    <a:ext cx="135467" cy="0"/>
                  </a:xfrm>
                  <a:prstGeom prst="line">
                    <a:avLst/>
                  </a:prstGeom>
                  <a:ln>
                    <a:solidFill>
                      <a:srgbClr val="35ABE1"/>
                    </a:solidFill>
                  </a:ln>
                </p:spPr>
                <p:style>
                  <a:lnRef idx="3">
                    <a:schemeClr val="dk1"/>
                  </a:lnRef>
                  <a:fillRef idx="0">
                    <a:schemeClr val="dk1"/>
                  </a:fillRef>
                  <a:effectRef idx="2">
                    <a:schemeClr val="dk1"/>
                  </a:effectRef>
                  <a:fontRef idx="minor">
                    <a:schemeClr val="tx1"/>
                  </a:fontRef>
                </p:style>
              </p:cxnSp>
              <p:cxnSp>
                <p:nvCxnSpPr>
                  <p:cNvPr id="283" name="Straight Connector 393">
                    <a:extLst>
                      <a:ext uri="{FF2B5EF4-FFF2-40B4-BE49-F238E27FC236}">
                        <a16:creationId xmlns:a16="http://schemas.microsoft.com/office/drawing/2014/main" id="{DFA15956-4D58-4E38-A9C3-3C1AE308CABE}"/>
                      </a:ext>
                    </a:extLst>
                  </p:cNvPr>
                  <p:cNvCxnSpPr/>
                  <p:nvPr/>
                </p:nvCxnSpPr>
                <p:spPr>
                  <a:xfrm>
                    <a:off x="6399924" y="4733319"/>
                    <a:ext cx="135467" cy="0"/>
                  </a:xfrm>
                  <a:prstGeom prst="line">
                    <a:avLst/>
                  </a:prstGeom>
                  <a:ln>
                    <a:solidFill>
                      <a:srgbClr val="BA6812"/>
                    </a:solidFill>
                  </a:ln>
                </p:spPr>
                <p:style>
                  <a:lnRef idx="3">
                    <a:schemeClr val="dk1"/>
                  </a:lnRef>
                  <a:fillRef idx="0">
                    <a:schemeClr val="dk1"/>
                  </a:fillRef>
                  <a:effectRef idx="2">
                    <a:schemeClr val="dk1"/>
                  </a:effectRef>
                  <a:fontRef idx="minor">
                    <a:schemeClr val="tx1"/>
                  </a:fontRef>
                </p:style>
              </p:cxnSp>
              <p:cxnSp>
                <p:nvCxnSpPr>
                  <p:cNvPr id="284" name="Straight Connector 394">
                    <a:extLst>
                      <a:ext uri="{FF2B5EF4-FFF2-40B4-BE49-F238E27FC236}">
                        <a16:creationId xmlns:a16="http://schemas.microsoft.com/office/drawing/2014/main" id="{5DCC981F-D6FF-46E6-8564-57519B8088FA}"/>
                      </a:ext>
                    </a:extLst>
                  </p:cNvPr>
                  <p:cNvCxnSpPr/>
                  <p:nvPr/>
                </p:nvCxnSpPr>
                <p:spPr>
                  <a:xfrm>
                    <a:off x="6399924" y="4877252"/>
                    <a:ext cx="135467" cy="0"/>
                  </a:xfrm>
                  <a:prstGeom prst="line">
                    <a:avLst/>
                  </a:prstGeom>
                  <a:ln>
                    <a:solidFill>
                      <a:srgbClr val="10487F"/>
                    </a:solidFill>
                  </a:ln>
                </p:spPr>
                <p:style>
                  <a:lnRef idx="3">
                    <a:schemeClr val="dk1"/>
                  </a:lnRef>
                  <a:fillRef idx="0">
                    <a:schemeClr val="dk1"/>
                  </a:fillRef>
                  <a:effectRef idx="2">
                    <a:schemeClr val="dk1"/>
                  </a:effectRef>
                  <a:fontRef idx="minor">
                    <a:schemeClr val="tx1"/>
                  </a:fontRef>
                </p:style>
              </p:cxnSp>
              <p:cxnSp>
                <p:nvCxnSpPr>
                  <p:cNvPr id="285" name="Straight Connector 395">
                    <a:extLst>
                      <a:ext uri="{FF2B5EF4-FFF2-40B4-BE49-F238E27FC236}">
                        <a16:creationId xmlns:a16="http://schemas.microsoft.com/office/drawing/2014/main" id="{866B7B01-77AC-467B-A870-1227FEFE735D}"/>
                      </a:ext>
                    </a:extLst>
                  </p:cNvPr>
                  <p:cNvCxnSpPr/>
                  <p:nvPr/>
                </p:nvCxnSpPr>
                <p:spPr>
                  <a:xfrm>
                    <a:off x="6399924" y="5016952"/>
                    <a:ext cx="135467" cy="0"/>
                  </a:xfrm>
                  <a:prstGeom prst="line">
                    <a:avLst/>
                  </a:prstGeom>
                  <a:ln>
                    <a:solidFill>
                      <a:srgbClr val="C00022"/>
                    </a:solidFill>
                  </a:ln>
                </p:spPr>
                <p:style>
                  <a:lnRef idx="3">
                    <a:schemeClr val="dk1"/>
                  </a:lnRef>
                  <a:fillRef idx="0">
                    <a:schemeClr val="dk1"/>
                  </a:fillRef>
                  <a:effectRef idx="2">
                    <a:schemeClr val="dk1"/>
                  </a:effectRef>
                  <a:fontRef idx="minor">
                    <a:schemeClr val="tx1"/>
                  </a:fontRef>
                </p:style>
              </p:cxnSp>
              <p:sp>
                <p:nvSpPr>
                  <p:cNvPr id="286" name="TextBox 396">
                    <a:extLst>
                      <a:ext uri="{FF2B5EF4-FFF2-40B4-BE49-F238E27FC236}">
                        <a16:creationId xmlns:a16="http://schemas.microsoft.com/office/drawing/2014/main" id="{241A4E29-FC1E-45D0-9A33-1C7049929081}"/>
                      </a:ext>
                    </a:extLst>
                  </p:cNvPr>
                  <p:cNvSpPr txBox="1"/>
                  <p:nvPr/>
                </p:nvSpPr>
                <p:spPr>
                  <a:xfrm>
                    <a:off x="6412034" y="4487897"/>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36</a:t>
                    </a:r>
                  </a:p>
                </p:txBody>
              </p:sp>
              <p:sp>
                <p:nvSpPr>
                  <p:cNvPr id="287" name="TextBox 397">
                    <a:extLst>
                      <a:ext uri="{FF2B5EF4-FFF2-40B4-BE49-F238E27FC236}">
                        <a16:creationId xmlns:a16="http://schemas.microsoft.com/office/drawing/2014/main" id="{68F577C5-DAE7-4F68-A420-0ECB82FC3192}"/>
                      </a:ext>
                    </a:extLst>
                  </p:cNvPr>
                  <p:cNvSpPr txBox="1"/>
                  <p:nvPr/>
                </p:nvSpPr>
                <p:spPr>
                  <a:xfrm>
                    <a:off x="6416856" y="462759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2</a:t>
                    </a:r>
                  </a:p>
                </p:txBody>
              </p:sp>
              <p:sp>
                <p:nvSpPr>
                  <p:cNvPr id="288" name="TextBox 398">
                    <a:extLst>
                      <a:ext uri="{FF2B5EF4-FFF2-40B4-BE49-F238E27FC236}">
                        <a16:creationId xmlns:a16="http://schemas.microsoft.com/office/drawing/2014/main" id="{37154CCB-F0A0-4833-9B36-4E446DC76301}"/>
                      </a:ext>
                    </a:extLst>
                  </p:cNvPr>
                  <p:cNvSpPr txBox="1"/>
                  <p:nvPr/>
                </p:nvSpPr>
                <p:spPr>
                  <a:xfrm>
                    <a:off x="6416856" y="477705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64</a:t>
                    </a:r>
                  </a:p>
                </p:txBody>
              </p:sp>
              <p:sp>
                <p:nvSpPr>
                  <p:cNvPr id="289" name="TextBox 399">
                    <a:extLst>
                      <a:ext uri="{FF2B5EF4-FFF2-40B4-BE49-F238E27FC236}">
                        <a16:creationId xmlns:a16="http://schemas.microsoft.com/office/drawing/2014/main" id="{5498AE57-F42E-42B1-8124-448B547D5C13}"/>
                      </a:ext>
                    </a:extLst>
                  </p:cNvPr>
                  <p:cNvSpPr txBox="1"/>
                  <p:nvPr/>
                </p:nvSpPr>
                <p:spPr>
                  <a:xfrm>
                    <a:off x="6421029" y="4923821"/>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58</a:t>
                    </a:r>
                  </a:p>
                </p:txBody>
              </p:sp>
              <p:sp>
                <p:nvSpPr>
                  <p:cNvPr id="290" name="TextBox 400">
                    <a:extLst>
                      <a:ext uri="{FF2B5EF4-FFF2-40B4-BE49-F238E27FC236}">
                        <a16:creationId xmlns:a16="http://schemas.microsoft.com/office/drawing/2014/main" id="{DCF4D6B9-8C2A-4969-88E6-D160A29F8467}"/>
                      </a:ext>
                    </a:extLst>
                  </p:cNvPr>
                  <p:cNvSpPr txBox="1"/>
                  <p:nvPr/>
                </p:nvSpPr>
                <p:spPr>
                  <a:xfrm>
                    <a:off x="6924329" y="448789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36</a:t>
                    </a:r>
                  </a:p>
                </p:txBody>
              </p:sp>
              <p:sp>
                <p:nvSpPr>
                  <p:cNvPr id="291" name="TextBox 401">
                    <a:extLst>
                      <a:ext uri="{FF2B5EF4-FFF2-40B4-BE49-F238E27FC236}">
                        <a16:creationId xmlns:a16="http://schemas.microsoft.com/office/drawing/2014/main" id="{A96CF3CF-1C23-4D01-8613-34B3D233B79D}"/>
                      </a:ext>
                    </a:extLst>
                  </p:cNvPr>
                  <p:cNvSpPr txBox="1"/>
                  <p:nvPr/>
                </p:nvSpPr>
                <p:spPr>
                  <a:xfrm>
                    <a:off x="6924329" y="462759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2</a:t>
                    </a:r>
                  </a:p>
                </p:txBody>
              </p:sp>
              <p:sp>
                <p:nvSpPr>
                  <p:cNvPr id="292" name="TextBox 402">
                    <a:extLst>
                      <a:ext uri="{FF2B5EF4-FFF2-40B4-BE49-F238E27FC236}">
                        <a16:creationId xmlns:a16="http://schemas.microsoft.com/office/drawing/2014/main" id="{0EBED115-BBF9-4AB2-8CCB-2F3412178787}"/>
                      </a:ext>
                    </a:extLst>
                  </p:cNvPr>
                  <p:cNvSpPr txBox="1"/>
                  <p:nvPr/>
                </p:nvSpPr>
                <p:spPr>
                  <a:xfrm>
                    <a:off x="6924329" y="4772533"/>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57</a:t>
                    </a:r>
                  </a:p>
                </p:txBody>
              </p:sp>
              <p:sp>
                <p:nvSpPr>
                  <p:cNvPr id="293" name="TextBox 403">
                    <a:extLst>
                      <a:ext uri="{FF2B5EF4-FFF2-40B4-BE49-F238E27FC236}">
                        <a16:creationId xmlns:a16="http://schemas.microsoft.com/office/drawing/2014/main" id="{F0F647A0-55C1-43DD-9B1A-F8D05687210B}"/>
                      </a:ext>
                    </a:extLst>
                  </p:cNvPr>
                  <p:cNvSpPr txBox="1"/>
                  <p:nvPr/>
                </p:nvSpPr>
                <p:spPr>
                  <a:xfrm>
                    <a:off x="6924329" y="4917470"/>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53</a:t>
                    </a:r>
                  </a:p>
                </p:txBody>
              </p:sp>
              <p:sp>
                <p:nvSpPr>
                  <p:cNvPr id="294" name="TextBox 404">
                    <a:extLst>
                      <a:ext uri="{FF2B5EF4-FFF2-40B4-BE49-F238E27FC236}">
                        <a16:creationId xmlns:a16="http://schemas.microsoft.com/office/drawing/2014/main" id="{F86A854F-A453-4D9D-8576-F0A3DFFB724B}"/>
                      </a:ext>
                    </a:extLst>
                  </p:cNvPr>
                  <p:cNvSpPr txBox="1"/>
                  <p:nvPr/>
                </p:nvSpPr>
                <p:spPr>
                  <a:xfrm>
                    <a:off x="7436625" y="448789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34</a:t>
                    </a:r>
                  </a:p>
                </p:txBody>
              </p:sp>
              <p:sp>
                <p:nvSpPr>
                  <p:cNvPr id="295" name="TextBox 405">
                    <a:extLst>
                      <a:ext uri="{FF2B5EF4-FFF2-40B4-BE49-F238E27FC236}">
                        <a16:creationId xmlns:a16="http://schemas.microsoft.com/office/drawing/2014/main" id="{590F4AD7-971B-4590-B3B5-F393DF8536A2}"/>
                      </a:ext>
                    </a:extLst>
                  </p:cNvPr>
                  <p:cNvSpPr txBox="1"/>
                  <p:nvPr/>
                </p:nvSpPr>
                <p:spPr>
                  <a:xfrm>
                    <a:off x="7436625" y="4633291"/>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2</a:t>
                    </a:r>
                  </a:p>
                </p:txBody>
              </p:sp>
              <p:sp>
                <p:nvSpPr>
                  <p:cNvPr id="296" name="TextBox 406">
                    <a:extLst>
                      <a:ext uri="{FF2B5EF4-FFF2-40B4-BE49-F238E27FC236}">
                        <a16:creationId xmlns:a16="http://schemas.microsoft.com/office/drawing/2014/main" id="{95044521-8A68-43A8-87A8-7BE7BDFE90FF}"/>
                      </a:ext>
                    </a:extLst>
                  </p:cNvPr>
                  <p:cNvSpPr txBox="1"/>
                  <p:nvPr/>
                </p:nvSpPr>
                <p:spPr>
                  <a:xfrm>
                    <a:off x="7432391" y="4775381"/>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47</a:t>
                    </a:r>
                  </a:p>
                </p:txBody>
              </p:sp>
              <p:sp>
                <p:nvSpPr>
                  <p:cNvPr id="297" name="TextBox 407">
                    <a:extLst>
                      <a:ext uri="{FF2B5EF4-FFF2-40B4-BE49-F238E27FC236}">
                        <a16:creationId xmlns:a16="http://schemas.microsoft.com/office/drawing/2014/main" id="{7654209E-F5B5-4134-BE8A-D90A9BBD56E6}"/>
                      </a:ext>
                    </a:extLst>
                  </p:cNvPr>
                  <p:cNvSpPr txBox="1"/>
                  <p:nvPr/>
                </p:nvSpPr>
                <p:spPr>
                  <a:xfrm>
                    <a:off x="7436625" y="492077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9</a:t>
                    </a:r>
                  </a:p>
                </p:txBody>
              </p:sp>
              <p:sp>
                <p:nvSpPr>
                  <p:cNvPr id="298" name="TextBox 408">
                    <a:extLst>
                      <a:ext uri="{FF2B5EF4-FFF2-40B4-BE49-F238E27FC236}">
                        <a16:creationId xmlns:a16="http://schemas.microsoft.com/office/drawing/2014/main" id="{70D08671-0CDD-4731-9C91-2FCF91523CB7}"/>
                      </a:ext>
                    </a:extLst>
                  </p:cNvPr>
                  <p:cNvSpPr txBox="1"/>
                  <p:nvPr/>
                </p:nvSpPr>
                <p:spPr>
                  <a:xfrm>
                    <a:off x="7958913" y="4484318"/>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29</a:t>
                    </a:r>
                  </a:p>
                </p:txBody>
              </p:sp>
              <p:sp>
                <p:nvSpPr>
                  <p:cNvPr id="299" name="TextBox 409">
                    <a:extLst>
                      <a:ext uri="{FF2B5EF4-FFF2-40B4-BE49-F238E27FC236}">
                        <a16:creationId xmlns:a16="http://schemas.microsoft.com/office/drawing/2014/main" id="{3B151F69-CADA-4D4E-8532-B92E70040C21}"/>
                      </a:ext>
                    </a:extLst>
                  </p:cNvPr>
                  <p:cNvSpPr txBox="1"/>
                  <p:nvPr/>
                </p:nvSpPr>
                <p:spPr>
                  <a:xfrm>
                    <a:off x="7952563" y="4629057"/>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1</a:t>
                    </a:r>
                  </a:p>
                </p:txBody>
              </p:sp>
              <p:sp>
                <p:nvSpPr>
                  <p:cNvPr id="300" name="TextBox 410">
                    <a:extLst>
                      <a:ext uri="{FF2B5EF4-FFF2-40B4-BE49-F238E27FC236}">
                        <a16:creationId xmlns:a16="http://schemas.microsoft.com/office/drawing/2014/main" id="{CEC16EBE-D430-4340-9119-90C40CB8EF3F}"/>
                      </a:ext>
                    </a:extLst>
                  </p:cNvPr>
                  <p:cNvSpPr txBox="1"/>
                  <p:nvPr/>
                </p:nvSpPr>
                <p:spPr>
                  <a:xfrm>
                    <a:off x="7952563" y="4771147"/>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28</a:t>
                    </a:r>
                  </a:p>
                </p:txBody>
              </p:sp>
              <p:sp>
                <p:nvSpPr>
                  <p:cNvPr id="301" name="TextBox 411">
                    <a:extLst>
                      <a:ext uri="{FF2B5EF4-FFF2-40B4-BE49-F238E27FC236}">
                        <a16:creationId xmlns:a16="http://schemas.microsoft.com/office/drawing/2014/main" id="{E9A24763-7DD4-4A28-82CD-E73B986D0D3C}"/>
                      </a:ext>
                    </a:extLst>
                  </p:cNvPr>
                  <p:cNvSpPr txBox="1"/>
                  <p:nvPr/>
                </p:nvSpPr>
                <p:spPr>
                  <a:xfrm>
                    <a:off x="7952563" y="4921975"/>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33</a:t>
                    </a:r>
                  </a:p>
                </p:txBody>
              </p:sp>
              <p:sp>
                <p:nvSpPr>
                  <p:cNvPr id="302" name="TextBox 412">
                    <a:extLst>
                      <a:ext uri="{FF2B5EF4-FFF2-40B4-BE49-F238E27FC236}">
                        <a16:creationId xmlns:a16="http://schemas.microsoft.com/office/drawing/2014/main" id="{1FAE2F04-3D0D-41D4-9508-4858E06102A0}"/>
                      </a:ext>
                    </a:extLst>
                  </p:cNvPr>
                  <p:cNvSpPr txBox="1"/>
                  <p:nvPr/>
                </p:nvSpPr>
                <p:spPr>
                  <a:xfrm>
                    <a:off x="8465917" y="4488412"/>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67</a:t>
                    </a:r>
                  </a:p>
                </p:txBody>
              </p:sp>
              <p:sp>
                <p:nvSpPr>
                  <p:cNvPr id="303" name="TextBox 413">
                    <a:extLst>
                      <a:ext uri="{FF2B5EF4-FFF2-40B4-BE49-F238E27FC236}">
                        <a16:creationId xmlns:a16="http://schemas.microsoft.com/office/drawing/2014/main" id="{F5784453-B4B4-4F2E-8D5C-60874DBBBACA}"/>
                      </a:ext>
                    </a:extLst>
                  </p:cNvPr>
                  <p:cNvSpPr txBox="1"/>
                  <p:nvPr/>
                </p:nvSpPr>
                <p:spPr>
                  <a:xfrm>
                    <a:off x="8455821" y="4633289"/>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8</a:t>
                    </a:r>
                  </a:p>
                </p:txBody>
              </p:sp>
              <p:sp>
                <p:nvSpPr>
                  <p:cNvPr id="304" name="TextBox 414">
                    <a:extLst>
                      <a:ext uri="{FF2B5EF4-FFF2-40B4-BE49-F238E27FC236}">
                        <a16:creationId xmlns:a16="http://schemas.microsoft.com/office/drawing/2014/main" id="{886A4785-B8AC-4A75-853D-25C1A45C88CA}"/>
                      </a:ext>
                    </a:extLst>
                  </p:cNvPr>
                  <p:cNvSpPr txBox="1"/>
                  <p:nvPr/>
                </p:nvSpPr>
                <p:spPr>
                  <a:xfrm>
                    <a:off x="8455821" y="477749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63</a:t>
                    </a:r>
                  </a:p>
                </p:txBody>
              </p:sp>
              <p:sp>
                <p:nvSpPr>
                  <p:cNvPr id="305" name="TextBox 415">
                    <a:extLst>
                      <a:ext uri="{FF2B5EF4-FFF2-40B4-BE49-F238E27FC236}">
                        <a16:creationId xmlns:a16="http://schemas.microsoft.com/office/drawing/2014/main" id="{67761CDF-8EB8-4B1B-AE94-973350062FB1}"/>
                      </a:ext>
                    </a:extLst>
                  </p:cNvPr>
                  <p:cNvSpPr txBox="1"/>
                  <p:nvPr/>
                </p:nvSpPr>
                <p:spPr>
                  <a:xfrm>
                    <a:off x="8455821" y="4917470"/>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6</a:t>
                    </a:r>
                  </a:p>
                </p:txBody>
              </p:sp>
              <p:sp>
                <p:nvSpPr>
                  <p:cNvPr id="306" name="TextBox 416">
                    <a:extLst>
                      <a:ext uri="{FF2B5EF4-FFF2-40B4-BE49-F238E27FC236}">
                        <a16:creationId xmlns:a16="http://schemas.microsoft.com/office/drawing/2014/main" id="{C16B2049-EDFB-41C5-99B4-9DF2E666FEBC}"/>
                      </a:ext>
                    </a:extLst>
                  </p:cNvPr>
                  <p:cNvSpPr txBox="1"/>
                  <p:nvPr/>
                </p:nvSpPr>
                <p:spPr>
                  <a:xfrm>
                    <a:off x="8959504" y="4482848"/>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4</a:t>
                    </a:r>
                  </a:p>
                </p:txBody>
              </p:sp>
              <p:sp>
                <p:nvSpPr>
                  <p:cNvPr id="307" name="TextBox 417">
                    <a:extLst>
                      <a:ext uri="{FF2B5EF4-FFF2-40B4-BE49-F238E27FC236}">
                        <a16:creationId xmlns:a16="http://schemas.microsoft.com/office/drawing/2014/main" id="{5B52812D-DF2D-4D80-A18D-9FEBF3F31E59}"/>
                      </a:ext>
                    </a:extLst>
                  </p:cNvPr>
                  <p:cNvSpPr txBox="1"/>
                  <p:nvPr/>
                </p:nvSpPr>
                <p:spPr>
                  <a:xfrm>
                    <a:off x="8955270" y="4633288"/>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5</a:t>
                    </a:r>
                  </a:p>
                </p:txBody>
              </p:sp>
              <p:sp>
                <p:nvSpPr>
                  <p:cNvPr id="308" name="TextBox 418">
                    <a:extLst>
                      <a:ext uri="{FF2B5EF4-FFF2-40B4-BE49-F238E27FC236}">
                        <a16:creationId xmlns:a16="http://schemas.microsoft.com/office/drawing/2014/main" id="{22274744-D924-481C-AFD7-39F7F5095941}"/>
                      </a:ext>
                    </a:extLst>
                  </p:cNvPr>
                  <p:cNvSpPr txBox="1"/>
                  <p:nvPr/>
                </p:nvSpPr>
                <p:spPr>
                  <a:xfrm>
                    <a:off x="8959504" y="4775495"/>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12</a:t>
                    </a:r>
                  </a:p>
                </p:txBody>
              </p:sp>
              <p:sp>
                <p:nvSpPr>
                  <p:cNvPr id="309" name="TextBox 419">
                    <a:extLst>
                      <a:ext uri="{FF2B5EF4-FFF2-40B4-BE49-F238E27FC236}">
                        <a16:creationId xmlns:a16="http://schemas.microsoft.com/office/drawing/2014/main" id="{F2CE3225-FECD-4319-8A0E-3B7BCAD7826B}"/>
                      </a:ext>
                    </a:extLst>
                  </p:cNvPr>
                  <p:cNvSpPr txBox="1"/>
                  <p:nvPr/>
                </p:nvSpPr>
                <p:spPr>
                  <a:xfrm>
                    <a:off x="8957388" y="4918932"/>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2</a:t>
                    </a:r>
                  </a:p>
                </p:txBody>
              </p:sp>
              <p:sp>
                <p:nvSpPr>
                  <p:cNvPr id="310" name="TextBox 420">
                    <a:extLst>
                      <a:ext uri="{FF2B5EF4-FFF2-40B4-BE49-F238E27FC236}">
                        <a16:creationId xmlns:a16="http://schemas.microsoft.com/office/drawing/2014/main" id="{B76430A9-9FB5-4D06-9390-887AD319095B}"/>
                      </a:ext>
                    </a:extLst>
                  </p:cNvPr>
                  <p:cNvSpPr txBox="1"/>
                  <p:nvPr/>
                </p:nvSpPr>
                <p:spPr>
                  <a:xfrm>
                    <a:off x="9471737" y="448789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0</a:t>
                    </a:r>
                  </a:p>
                </p:txBody>
              </p:sp>
              <p:sp>
                <p:nvSpPr>
                  <p:cNvPr id="311" name="TextBox 421">
                    <a:extLst>
                      <a:ext uri="{FF2B5EF4-FFF2-40B4-BE49-F238E27FC236}">
                        <a16:creationId xmlns:a16="http://schemas.microsoft.com/office/drawing/2014/main" id="{B0AEE4A8-EF3E-435F-85DB-C5DCD3B4E3FF}"/>
                      </a:ext>
                    </a:extLst>
                  </p:cNvPr>
                  <p:cNvSpPr txBox="1"/>
                  <p:nvPr/>
                </p:nvSpPr>
                <p:spPr>
                  <a:xfrm>
                    <a:off x="9475018" y="4631696"/>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0</a:t>
                    </a:r>
                  </a:p>
                </p:txBody>
              </p:sp>
              <p:sp>
                <p:nvSpPr>
                  <p:cNvPr id="312" name="TextBox 422">
                    <a:extLst>
                      <a:ext uri="{FF2B5EF4-FFF2-40B4-BE49-F238E27FC236}">
                        <a16:creationId xmlns:a16="http://schemas.microsoft.com/office/drawing/2014/main" id="{6B42CAEB-113B-46C0-A85B-434057D756C7}"/>
                      </a:ext>
                    </a:extLst>
                  </p:cNvPr>
                  <p:cNvSpPr txBox="1"/>
                  <p:nvPr/>
                </p:nvSpPr>
                <p:spPr>
                  <a:xfrm>
                    <a:off x="9478275" y="4775381"/>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0</a:t>
                    </a:r>
                  </a:p>
                </p:txBody>
              </p:sp>
              <p:sp>
                <p:nvSpPr>
                  <p:cNvPr id="313" name="TextBox 423">
                    <a:extLst>
                      <a:ext uri="{FF2B5EF4-FFF2-40B4-BE49-F238E27FC236}">
                        <a16:creationId xmlns:a16="http://schemas.microsoft.com/office/drawing/2014/main" id="{40CCC9A8-0C41-402E-B768-E360BDCDAB27}"/>
                      </a:ext>
                    </a:extLst>
                  </p:cNvPr>
                  <p:cNvSpPr txBox="1"/>
                  <p:nvPr/>
                </p:nvSpPr>
                <p:spPr>
                  <a:xfrm>
                    <a:off x="9474229" y="4915605"/>
                    <a:ext cx="642408" cy="233409"/>
                  </a:xfrm>
                  <a:prstGeom prst="rect">
                    <a:avLst/>
                  </a:prstGeom>
                  <a:noFill/>
                </p:spPr>
                <p:txBody>
                  <a:bodyPr wrap="square" rtlCol="0">
                    <a:spAutoFit/>
                  </a:bodyPr>
                  <a:lstStyle/>
                  <a:p>
                    <a:pPr algn="ctr" defTabSz="685800">
                      <a:defRPr/>
                    </a:pPr>
                    <a:r>
                      <a:rPr lang="en-GB" sz="825">
                        <a:solidFill>
                          <a:prstClr val="black"/>
                        </a:solidFill>
                        <a:latin typeface="Arial" panose="020B0604020202020204" pitchFamily="34" charset="0"/>
                        <a:cs typeface="Arial" panose="020B0604020202020204" pitchFamily="34" charset="0"/>
                      </a:rPr>
                      <a:t>0</a:t>
                    </a:r>
                  </a:p>
                </p:txBody>
              </p:sp>
            </p:grpSp>
            <p:sp>
              <p:nvSpPr>
                <p:cNvPr id="281" name="TextBox 424">
                  <a:extLst>
                    <a:ext uri="{FF2B5EF4-FFF2-40B4-BE49-F238E27FC236}">
                      <a16:creationId xmlns:a16="http://schemas.microsoft.com/office/drawing/2014/main" id="{5A4D9210-95F8-43BD-921C-618F8BADDFCB}"/>
                    </a:ext>
                  </a:extLst>
                </p:cNvPr>
                <p:cNvSpPr txBox="1"/>
                <p:nvPr/>
              </p:nvSpPr>
              <p:spPr>
                <a:xfrm>
                  <a:off x="6067368" y="4340275"/>
                  <a:ext cx="1278422" cy="233409"/>
                </a:xfrm>
                <a:prstGeom prst="rect">
                  <a:avLst/>
                </a:prstGeom>
                <a:noFill/>
              </p:spPr>
              <p:txBody>
                <a:bodyPr wrap="square" rtlCol="0">
                  <a:spAutoFit/>
                </a:bodyPr>
                <a:lstStyle/>
                <a:p>
                  <a:pPr algn="r" defTabSz="685800">
                    <a:defRPr/>
                  </a:pPr>
                  <a:r>
                    <a:rPr lang="en-GB" sz="825">
                      <a:solidFill>
                        <a:prstClr val="black"/>
                      </a:solidFill>
                      <a:latin typeface="Arial" panose="020B0604020202020204" pitchFamily="34" charset="0"/>
                      <a:cs typeface="Arial" panose="020B0604020202020204" pitchFamily="34" charset="0"/>
                    </a:rPr>
                    <a:t>Numbers at risk</a:t>
                  </a:r>
                </a:p>
              </p:txBody>
            </p:sp>
          </p:grpSp>
        </p:grpSp>
      </p:grpSp>
      <p:sp>
        <p:nvSpPr>
          <p:cNvPr id="347" name="Título 2"/>
          <p:cNvSpPr txBox="1">
            <a:spLocks/>
          </p:cNvSpPr>
          <p:nvPr/>
        </p:nvSpPr>
        <p:spPr>
          <a:xfrm>
            <a:off x="142843" y="92266"/>
            <a:ext cx="9001157"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latin typeface="Arial" panose="020B0604020202020204" pitchFamily="34" charset="0"/>
                <a:cs typeface="Arial" panose="020B0604020202020204" pitchFamily="34" charset="0"/>
              </a:rPr>
              <a:t>Can uMRD Abrogate the Poor Prognosis of High-Risk Cytogenetics?</a:t>
            </a:r>
          </a:p>
        </p:txBody>
      </p:sp>
      <p:sp>
        <p:nvSpPr>
          <p:cNvPr id="348"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Results from the GEM2012MENOS65 (</a:t>
            </a:r>
            <a:r>
              <a:rPr lang="en-US" sz="1800" b="1" u="sng">
                <a:solidFill>
                  <a:prstClr val="black">
                    <a:lumMod val="65000"/>
                    <a:lumOff val="35000"/>
                  </a:prstClr>
                </a:solidFill>
              </a:rPr>
              <a:t>10</a:t>
            </a:r>
            <a:r>
              <a:rPr lang="en-US" sz="1800" b="1" u="sng" baseline="30000">
                <a:solidFill>
                  <a:prstClr val="black">
                    <a:lumMod val="65000"/>
                    <a:lumOff val="35000"/>
                  </a:prstClr>
                </a:solidFill>
              </a:rPr>
              <a:t>-6</a:t>
            </a:r>
            <a:r>
              <a:rPr lang="en-US" sz="1800" b="1" u="sng">
                <a:solidFill>
                  <a:prstClr val="black">
                    <a:lumMod val="65000"/>
                    <a:lumOff val="35000"/>
                  </a:prstClr>
                </a:solidFill>
              </a:rPr>
              <a:t>, 2-yr maintenance, Len-Dex</a:t>
            </a:r>
            <a:r>
              <a:rPr lang="en-US" sz="1800" b="1">
                <a:solidFill>
                  <a:prstClr val="black">
                    <a:lumMod val="65000"/>
                    <a:lumOff val="35000"/>
                  </a:prstClr>
                </a:solidFill>
              </a:rPr>
              <a:t>)</a:t>
            </a:r>
          </a:p>
        </p:txBody>
      </p:sp>
    </p:spTree>
    <p:extLst>
      <p:ext uri="{BB962C8B-B14F-4D97-AF65-F5344CB8AC3E}">
        <p14:creationId xmlns:p14="http://schemas.microsoft.com/office/powerpoint/2010/main" val="24161504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Box 2">
            <a:extLst>
              <a:ext uri="{FF2B5EF4-FFF2-40B4-BE49-F238E27FC236}">
                <a16:creationId xmlns:a16="http://schemas.microsoft.com/office/drawing/2014/main" id="{AB6888E5-FED9-0C40-98FC-840B215A7A84}"/>
              </a:ext>
            </a:extLst>
          </p:cNvPr>
          <p:cNvSpPr txBox="1">
            <a:spLocks noChangeArrowheads="1"/>
          </p:cNvSpPr>
          <p:nvPr/>
        </p:nvSpPr>
        <p:spPr bwMode="auto">
          <a:xfrm rot="16200000">
            <a:off x="-190279" y="2147508"/>
            <a:ext cx="2262159" cy="600164"/>
          </a:xfrm>
          <a:prstGeom prst="rect">
            <a:avLst/>
          </a:prstGeom>
          <a:solidFill>
            <a:srgbClr val="0099FF"/>
          </a:solidFill>
          <a:ln w="9525">
            <a:solidFill>
              <a:srgbClr val="000000"/>
            </a:solidFill>
            <a:miter lim="800000"/>
            <a:headEnd/>
            <a:tailEnd/>
          </a:ln>
        </p:spPr>
        <p:txBody>
          <a:bodyPr wrap="none">
            <a:spAutoFit/>
          </a:bodyP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algn="ctr" defTabSz="685800" fontAlgn="base">
              <a:spcBef>
                <a:spcPct val="0"/>
              </a:spcBef>
              <a:spcAft>
                <a:spcPct val="0"/>
              </a:spcAft>
              <a:buClrTx/>
              <a:buSzTx/>
              <a:buNone/>
              <a:defRPr/>
            </a:pPr>
            <a:r>
              <a:rPr lang="es-ES" altLang="ca-ES" sz="2100" b="1" kern="0">
                <a:solidFill>
                  <a:srgbClr val="000000"/>
                </a:solidFill>
                <a:ea typeface="ＭＳ Ｐゴシック" panose="020B0600070205080204" pitchFamily="34" charset="-128"/>
              </a:rPr>
              <a:t>GEM12menos65</a:t>
            </a:r>
          </a:p>
          <a:p>
            <a:pPr algn="ctr" defTabSz="685800" fontAlgn="base">
              <a:spcBef>
                <a:spcPct val="0"/>
              </a:spcBef>
              <a:spcAft>
                <a:spcPct val="0"/>
              </a:spcAft>
              <a:buClrTx/>
              <a:buSzTx/>
              <a:buNone/>
              <a:defRPr/>
            </a:pPr>
            <a:r>
              <a:rPr lang="es-ES" altLang="ca-ES" sz="1200" b="1" kern="0">
                <a:solidFill>
                  <a:srgbClr val="000000"/>
                </a:solidFill>
                <a:ea typeface="ＭＳ Ｐゴシック" panose="020B0600070205080204" pitchFamily="34" charset="-128"/>
              </a:rPr>
              <a:t>At least stable disease</a:t>
            </a:r>
          </a:p>
        </p:txBody>
      </p:sp>
      <p:sp>
        <p:nvSpPr>
          <p:cNvPr id="24" name="Oval 3">
            <a:extLst>
              <a:ext uri="{FF2B5EF4-FFF2-40B4-BE49-F238E27FC236}">
                <a16:creationId xmlns:a16="http://schemas.microsoft.com/office/drawing/2014/main" id="{860C49A8-5766-7B46-B942-3FE71DEB3076}"/>
              </a:ext>
            </a:extLst>
          </p:cNvPr>
          <p:cNvSpPr>
            <a:spLocks noChangeArrowheads="1"/>
          </p:cNvSpPr>
          <p:nvPr/>
        </p:nvSpPr>
        <p:spPr bwMode="auto">
          <a:xfrm>
            <a:off x="1281914" y="2256494"/>
            <a:ext cx="323850" cy="323850"/>
          </a:xfrm>
          <a:prstGeom prst="ellipse">
            <a:avLst/>
          </a:prstGeom>
          <a:solidFill>
            <a:srgbClr val="FF9900"/>
          </a:solidFill>
          <a:ln w="9525">
            <a:solidFill>
              <a:srgbClr val="000000"/>
            </a:solidFill>
            <a:round/>
            <a:headEnd/>
            <a:tailEnd/>
          </a:ln>
        </p:spPr>
        <p:txBody>
          <a:bodyPr wrap="none" anchor="ct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algn="ctr" defTabSz="685800" fontAlgn="base">
              <a:spcBef>
                <a:spcPct val="0"/>
              </a:spcBef>
              <a:spcAft>
                <a:spcPct val="0"/>
              </a:spcAft>
              <a:buClrTx/>
              <a:buSzTx/>
              <a:buNone/>
              <a:defRPr/>
            </a:pPr>
            <a:r>
              <a:rPr lang="es-ES" altLang="ca-ES" sz="1800" b="1" kern="0">
                <a:solidFill>
                  <a:srgbClr val="000000"/>
                </a:solidFill>
                <a:ea typeface="ＭＳ Ｐゴシック" panose="020B0600070205080204" pitchFamily="34" charset="-128"/>
              </a:rPr>
              <a:t>R</a:t>
            </a:r>
          </a:p>
        </p:txBody>
      </p:sp>
      <p:sp>
        <p:nvSpPr>
          <p:cNvPr id="25" name="Line 5">
            <a:extLst>
              <a:ext uri="{FF2B5EF4-FFF2-40B4-BE49-F238E27FC236}">
                <a16:creationId xmlns:a16="http://schemas.microsoft.com/office/drawing/2014/main" id="{51F7F038-2251-2849-BD21-F7CC8D841EE0}"/>
              </a:ext>
            </a:extLst>
          </p:cNvPr>
          <p:cNvSpPr>
            <a:spLocks noChangeShapeType="1"/>
          </p:cNvSpPr>
          <p:nvPr/>
        </p:nvSpPr>
        <p:spPr bwMode="auto">
          <a:xfrm>
            <a:off x="1714111" y="1662373"/>
            <a:ext cx="0" cy="151209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26" name="Line 6">
            <a:extLst>
              <a:ext uri="{FF2B5EF4-FFF2-40B4-BE49-F238E27FC236}">
                <a16:creationId xmlns:a16="http://schemas.microsoft.com/office/drawing/2014/main" id="{551D5246-570F-844A-81A8-DD197FC73507}"/>
              </a:ext>
            </a:extLst>
          </p:cNvPr>
          <p:cNvSpPr>
            <a:spLocks noChangeShapeType="1"/>
          </p:cNvSpPr>
          <p:nvPr/>
        </p:nvSpPr>
        <p:spPr bwMode="auto">
          <a:xfrm>
            <a:off x="1712922" y="1662372"/>
            <a:ext cx="378619"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27" name="Line 7">
            <a:extLst>
              <a:ext uri="{FF2B5EF4-FFF2-40B4-BE49-F238E27FC236}">
                <a16:creationId xmlns:a16="http://schemas.microsoft.com/office/drawing/2014/main" id="{FA0038BA-684F-8847-A2FE-D80F41E6CC2E}"/>
              </a:ext>
            </a:extLst>
          </p:cNvPr>
          <p:cNvSpPr>
            <a:spLocks noChangeShapeType="1"/>
          </p:cNvSpPr>
          <p:nvPr/>
        </p:nvSpPr>
        <p:spPr bwMode="auto">
          <a:xfrm>
            <a:off x="1714112" y="3174466"/>
            <a:ext cx="378619"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28" name="Text Box 8">
            <a:extLst>
              <a:ext uri="{FF2B5EF4-FFF2-40B4-BE49-F238E27FC236}">
                <a16:creationId xmlns:a16="http://schemas.microsoft.com/office/drawing/2014/main" id="{3AEEA1F6-56BB-E845-AC60-19B1A1BCB767}"/>
              </a:ext>
            </a:extLst>
          </p:cNvPr>
          <p:cNvSpPr txBox="1">
            <a:spLocks noChangeArrowheads="1"/>
          </p:cNvSpPr>
          <p:nvPr/>
        </p:nvSpPr>
        <p:spPr bwMode="auto">
          <a:xfrm>
            <a:off x="2080824" y="1230176"/>
            <a:ext cx="2270173" cy="830997"/>
          </a:xfrm>
          <a:prstGeom prst="rect">
            <a:avLst/>
          </a:prstGeom>
          <a:solidFill>
            <a:srgbClr val="FFFF99"/>
          </a:solidFill>
          <a:ln w="9525">
            <a:solidFill>
              <a:srgbClr val="000000"/>
            </a:solidFill>
            <a:miter lim="800000"/>
            <a:headEnd/>
            <a:tailEnd/>
          </a:ln>
        </p:spPr>
        <p:txBody>
          <a:bodyPr wrap="none">
            <a:spAutoFit/>
          </a:bodyP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defTabSz="685800" fontAlgn="base">
              <a:spcBef>
                <a:spcPct val="0"/>
              </a:spcBef>
              <a:spcAft>
                <a:spcPct val="0"/>
              </a:spcAft>
              <a:buClrTx/>
              <a:buSzTx/>
              <a:buNone/>
              <a:defRPr/>
            </a:pPr>
            <a:r>
              <a:rPr lang="es-ES" altLang="ca-ES" sz="1350" b="1" kern="0">
                <a:solidFill>
                  <a:srgbClr val="000000"/>
                </a:solidFill>
                <a:ea typeface="ＭＳ Ｐゴシック" panose="020B0600070205080204" pitchFamily="34" charset="-128"/>
              </a:rPr>
              <a:t>Arm A</a:t>
            </a:r>
            <a:r>
              <a:rPr lang="es-ES" altLang="ca-ES" sz="1350" kern="0">
                <a:solidFill>
                  <a:srgbClr val="000000"/>
                </a:solidFill>
                <a:ea typeface="ＭＳ Ｐゴシック" panose="020B0600070205080204" pitchFamily="34" charset="-128"/>
              </a:rPr>
              <a:t> (28-day cycles)</a:t>
            </a:r>
          </a:p>
          <a:p>
            <a:pPr defTabSz="685800" fontAlgn="base">
              <a:spcBef>
                <a:spcPct val="0"/>
              </a:spcBef>
              <a:spcAft>
                <a:spcPct val="0"/>
              </a:spcAft>
              <a:buClrTx/>
              <a:buSzTx/>
              <a:buNone/>
              <a:defRPr/>
            </a:pPr>
            <a:r>
              <a:rPr lang="es-ES" altLang="ca-ES" sz="1350" b="1" kern="0">
                <a:solidFill>
                  <a:srgbClr val="000000"/>
                </a:solidFill>
                <a:ea typeface="ＭＳ Ｐゴシック" panose="020B0600070205080204" pitchFamily="34" charset="-128"/>
              </a:rPr>
              <a:t>Rd</a:t>
            </a:r>
          </a:p>
          <a:p>
            <a:pPr defTabSz="685800" fontAlgn="base">
              <a:spcBef>
                <a:spcPct val="0"/>
              </a:spcBef>
              <a:spcAft>
                <a:spcPct val="0"/>
              </a:spcAft>
              <a:buClrTx/>
              <a:buSzTx/>
              <a:buNone/>
              <a:defRPr/>
            </a:pPr>
            <a:r>
              <a:rPr lang="es-ES" altLang="ca-ES" sz="1050" kern="0">
                <a:solidFill>
                  <a:srgbClr val="000000"/>
                </a:solidFill>
                <a:ea typeface="ＭＳ Ｐゴシック" panose="020B0600070205080204" pitchFamily="34" charset="-128"/>
              </a:rPr>
              <a:t>Lenalidomide 15 mg/d × 21 d</a:t>
            </a:r>
          </a:p>
          <a:p>
            <a:pPr defTabSz="685800" fontAlgn="base">
              <a:spcBef>
                <a:spcPct val="0"/>
              </a:spcBef>
              <a:spcAft>
                <a:spcPct val="0"/>
              </a:spcAft>
              <a:buClrTx/>
              <a:buSzTx/>
              <a:buNone/>
              <a:defRPr/>
            </a:pPr>
            <a:r>
              <a:rPr lang="es-ES" altLang="ca-ES" sz="1050" kern="0">
                <a:solidFill>
                  <a:srgbClr val="000000"/>
                </a:solidFill>
                <a:ea typeface="ＭＳ Ｐゴシック" panose="020B0600070205080204" pitchFamily="34" charset="-128"/>
              </a:rPr>
              <a:t>Dexamethasone 20 mg d 1-4, 9-12</a:t>
            </a:r>
          </a:p>
        </p:txBody>
      </p:sp>
      <p:sp>
        <p:nvSpPr>
          <p:cNvPr id="29" name="Text Box 9">
            <a:extLst>
              <a:ext uri="{FF2B5EF4-FFF2-40B4-BE49-F238E27FC236}">
                <a16:creationId xmlns:a16="http://schemas.microsoft.com/office/drawing/2014/main" id="{82E19EC1-337F-4F46-B808-3ACFBDBF722A}"/>
              </a:ext>
            </a:extLst>
          </p:cNvPr>
          <p:cNvSpPr txBox="1">
            <a:spLocks noChangeArrowheads="1"/>
          </p:cNvSpPr>
          <p:nvPr/>
        </p:nvSpPr>
        <p:spPr bwMode="auto">
          <a:xfrm>
            <a:off x="2145116" y="2742270"/>
            <a:ext cx="2205879" cy="830997"/>
          </a:xfrm>
          <a:prstGeom prst="rect">
            <a:avLst/>
          </a:prstGeom>
          <a:solidFill>
            <a:srgbClr val="FFFF99"/>
          </a:solidFill>
          <a:ln w="9525">
            <a:solidFill>
              <a:srgbClr val="000000"/>
            </a:solidFill>
            <a:miter lim="800000"/>
            <a:headEnd/>
            <a:tailEnd/>
          </a:ln>
        </p:spPr>
        <p:txBody>
          <a:bodyPr wrap="square">
            <a:spAutoFit/>
          </a:bodyP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defTabSz="685800" fontAlgn="base">
              <a:spcBef>
                <a:spcPct val="0"/>
              </a:spcBef>
              <a:spcAft>
                <a:spcPct val="0"/>
              </a:spcAft>
              <a:buClrTx/>
              <a:buSzTx/>
              <a:buNone/>
              <a:defRPr/>
            </a:pPr>
            <a:r>
              <a:rPr lang="es-ES" altLang="ca-ES" sz="1350" b="1" kern="0">
                <a:solidFill>
                  <a:srgbClr val="000000"/>
                </a:solidFill>
                <a:ea typeface="ＭＳ Ｐゴシック" panose="020B0600070205080204" pitchFamily="34" charset="-128"/>
              </a:rPr>
              <a:t>Arm B</a:t>
            </a:r>
            <a:r>
              <a:rPr lang="es-ES" altLang="ca-ES" sz="1350" kern="0">
                <a:solidFill>
                  <a:srgbClr val="000000"/>
                </a:solidFill>
                <a:ea typeface="ＭＳ Ｐゴシック" panose="020B0600070205080204" pitchFamily="34" charset="-128"/>
              </a:rPr>
              <a:t> (28-day cycles)</a:t>
            </a:r>
          </a:p>
          <a:p>
            <a:pPr defTabSz="685800" fontAlgn="base">
              <a:spcBef>
                <a:spcPct val="0"/>
              </a:spcBef>
              <a:spcAft>
                <a:spcPct val="0"/>
              </a:spcAft>
              <a:buClrTx/>
              <a:buSzTx/>
              <a:buNone/>
              <a:defRPr/>
            </a:pPr>
            <a:r>
              <a:rPr lang="es-ES" altLang="ca-ES" sz="1350" b="1" kern="0">
                <a:solidFill>
                  <a:srgbClr val="000000"/>
                </a:solidFill>
                <a:ea typeface="ＭＳ Ｐゴシック" panose="020B0600070205080204" pitchFamily="34" charset="-128"/>
              </a:rPr>
              <a:t>IRd</a:t>
            </a:r>
            <a:r>
              <a:rPr lang="es-ES" altLang="ca-ES" sz="1350" kern="0">
                <a:solidFill>
                  <a:srgbClr val="000000"/>
                </a:solidFill>
                <a:ea typeface="ＭＳ Ｐゴシック" panose="020B0600070205080204" pitchFamily="34" charset="-128"/>
              </a:rPr>
              <a:t> </a:t>
            </a:r>
          </a:p>
          <a:p>
            <a:pPr defTabSz="685800" fontAlgn="base">
              <a:spcBef>
                <a:spcPct val="0"/>
              </a:spcBef>
              <a:spcAft>
                <a:spcPct val="0"/>
              </a:spcAft>
              <a:buClrTx/>
              <a:buSzTx/>
              <a:buNone/>
              <a:defRPr/>
            </a:pPr>
            <a:r>
              <a:rPr lang="es-ES" altLang="ca-ES" sz="1050" kern="0">
                <a:solidFill>
                  <a:srgbClr val="000000"/>
                </a:solidFill>
                <a:ea typeface="ＭＳ Ｐゴシック" panose="020B0600070205080204" pitchFamily="34" charset="-128"/>
              </a:rPr>
              <a:t>Len-Dex + </a:t>
            </a:r>
          </a:p>
          <a:p>
            <a:pPr defTabSz="685800" fontAlgn="base">
              <a:spcBef>
                <a:spcPct val="0"/>
              </a:spcBef>
              <a:spcAft>
                <a:spcPct val="0"/>
              </a:spcAft>
              <a:buClrTx/>
              <a:buSzTx/>
              <a:buNone/>
              <a:defRPr/>
            </a:pPr>
            <a:r>
              <a:rPr lang="es-ES" altLang="ca-ES" sz="1050" kern="0">
                <a:solidFill>
                  <a:srgbClr val="000000"/>
                </a:solidFill>
                <a:ea typeface="ＭＳ Ｐゴシック" panose="020B0600070205080204" pitchFamily="34" charset="-128"/>
              </a:rPr>
              <a:t>Ixazomib 4 mg d 1, 8, 15</a:t>
            </a:r>
          </a:p>
        </p:txBody>
      </p:sp>
      <p:sp>
        <p:nvSpPr>
          <p:cNvPr id="30" name="Line 11">
            <a:extLst>
              <a:ext uri="{FF2B5EF4-FFF2-40B4-BE49-F238E27FC236}">
                <a16:creationId xmlns:a16="http://schemas.microsoft.com/office/drawing/2014/main" id="{AE86703F-AD3A-A745-AEDB-1F4398C6B9E6}"/>
              </a:ext>
            </a:extLst>
          </p:cNvPr>
          <p:cNvSpPr>
            <a:spLocks noChangeShapeType="1"/>
          </p:cNvSpPr>
          <p:nvPr/>
        </p:nvSpPr>
        <p:spPr bwMode="auto">
          <a:xfrm>
            <a:off x="4353051" y="1640954"/>
            <a:ext cx="61722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31" name="Line 12">
            <a:extLst>
              <a:ext uri="{FF2B5EF4-FFF2-40B4-BE49-F238E27FC236}">
                <a16:creationId xmlns:a16="http://schemas.microsoft.com/office/drawing/2014/main" id="{4AC95CBC-EE4D-5B48-8E98-4B79A158ADFC}"/>
              </a:ext>
            </a:extLst>
          </p:cNvPr>
          <p:cNvSpPr>
            <a:spLocks noChangeShapeType="1"/>
          </p:cNvSpPr>
          <p:nvPr/>
        </p:nvSpPr>
        <p:spPr bwMode="auto">
          <a:xfrm>
            <a:off x="4353051" y="3180186"/>
            <a:ext cx="61722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32" name="Text Box 10">
            <a:extLst>
              <a:ext uri="{FF2B5EF4-FFF2-40B4-BE49-F238E27FC236}">
                <a16:creationId xmlns:a16="http://schemas.microsoft.com/office/drawing/2014/main" id="{F6E3927B-D79A-E64C-B523-5CE4BC4FBC1F}"/>
              </a:ext>
            </a:extLst>
          </p:cNvPr>
          <p:cNvSpPr txBox="1">
            <a:spLocks noChangeArrowheads="1"/>
          </p:cNvSpPr>
          <p:nvPr/>
        </p:nvSpPr>
        <p:spPr bwMode="auto">
          <a:xfrm rot="16200000">
            <a:off x="3885885" y="2336610"/>
            <a:ext cx="2536031" cy="323165"/>
          </a:xfrm>
          <a:prstGeom prst="rect">
            <a:avLst/>
          </a:prstGeom>
          <a:solidFill>
            <a:srgbClr val="0099FF"/>
          </a:solidFill>
          <a:ln w="9525">
            <a:solidFill>
              <a:srgbClr val="000000"/>
            </a:solidFill>
            <a:miter lim="800000"/>
            <a:headEnd/>
            <a:tailEnd/>
          </a:ln>
        </p:spPr>
        <p:txBody>
          <a:bodyPr>
            <a:spAutoFit/>
          </a:bodyP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algn="ctr" defTabSz="685800" fontAlgn="base">
              <a:spcBef>
                <a:spcPct val="0"/>
              </a:spcBef>
              <a:spcAft>
                <a:spcPct val="0"/>
              </a:spcAft>
              <a:buClrTx/>
              <a:buSzTx/>
              <a:buNone/>
              <a:defRPr/>
            </a:pPr>
            <a:r>
              <a:rPr lang="es-ES" altLang="ca-ES" sz="1500" b="1" kern="0">
                <a:solidFill>
                  <a:srgbClr val="000000"/>
                </a:solidFill>
                <a:ea typeface="ＭＳ Ｐゴシック" panose="020B0600070205080204" pitchFamily="34" charset="-128"/>
              </a:rPr>
              <a:t>MRD at 2 years</a:t>
            </a:r>
          </a:p>
        </p:txBody>
      </p:sp>
      <p:sp>
        <p:nvSpPr>
          <p:cNvPr id="33" name="Line 17">
            <a:extLst>
              <a:ext uri="{FF2B5EF4-FFF2-40B4-BE49-F238E27FC236}">
                <a16:creationId xmlns:a16="http://schemas.microsoft.com/office/drawing/2014/main" id="{E54BEA02-205B-D548-BACA-E6B537B8C8A9}"/>
              </a:ext>
            </a:extLst>
          </p:cNvPr>
          <p:cNvSpPr>
            <a:spLocks noChangeShapeType="1"/>
          </p:cNvSpPr>
          <p:nvPr/>
        </p:nvSpPr>
        <p:spPr bwMode="auto">
          <a:xfrm>
            <a:off x="5303918" y="1640954"/>
            <a:ext cx="34290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34" name="Line 18">
            <a:extLst>
              <a:ext uri="{FF2B5EF4-FFF2-40B4-BE49-F238E27FC236}">
                <a16:creationId xmlns:a16="http://schemas.microsoft.com/office/drawing/2014/main" id="{F72C691A-F3DF-2C4B-8768-4258F94841AC}"/>
              </a:ext>
            </a:extLst>
          </p:cNvPr>
          <p:cNvSpPr>
            <a:spLocks noChangeShapeType="1"/>
          </p:cNvSpPr>
          <p:nvPr/>
        </p:nvSpPr>
        <p:spPr bwMode="auto">
          <a:xfrm>
            <a:off x="5318666" y="3202308"/>
            <a:ext cx="34290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35" name="Text Box 15">
            <a:extLst>
              <a:ext uri="{FF2B5EF4-FFF2-40B4-BE49-F238E27FC236}">
                <a16:creationId xmlns:a16="http://schemas.microsoft.com/office/drawing/2014/main" id="{B30E39C4-1B61-A447-AE25-0EB75301B1C3}"/>
              </a:ext>
            </a:extLst>
          </p:cNvPr>
          <p:cNvSpPr txBox="1">
            <a:spLocks noChangeArrowheads="1"/>
          </p:cNvSpPr>
          <p:nvPr/>
        </p:nvSpPr>
        <p:spPr bwMode="auto">
          <a:xfrm>
            <a:off x="5693253" y="1502246"/>
            <a:ext cx="921272" cy="300082"/>
          </a:xfrm>
          <a:prstGeom prst="rect">
            <a:avLst/>
          </a:prstGeom>
          <a:solidFill>
            <a:srgbClr val="33CCCC"/>
          </a:solidFill>
          <a:ln w="9525">
            <a:solidFill>
              <a:srgbClr val="000000"/>
            </a:solidFill>
            <a:miter lim="800000"/>
            <a:headEnd/>
            <a:tailEnd/>
          </a:ln>
        </p:spPr>
        <p:txBody>
          <a:bodyPr wrap="square">
            <a:spAutoFit/>
          </a:bodyP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defTabSz="685800" fontAlgn="base">
              <a:spcBef>
                <a:spcPct val="0"/>
              </a:spcBef>
              <a:spcAft>
                <a:spcPct val="0"/>
              </a:spcAft>
              <a:buClrTx/>
              <a:buSzTx/>
              <a:buNone/>
              <a:defRPr/>
            </a:pPr>
            <a:r>
              <a:rPr lang="es-ES" altLang="ca-ES" sz="1350" kern="0">
                <a:solidFill>
                  <a:srgbClr val="000000"/>
                </a:solidFill>
                <a:ea typeface="ＭＳ Ｐゴシック" panose="020B0600070205080204" pitchFamily="34" charset="-128"/>
              </a:rPr>
              <a:t>MRD neg</a:t>
            </a:r>
          </a:p>
        </p:txBody>
      </p:sp>
      <p:sp>
        <p:nvSpPr>
          <p:cNvPr id="36" name="Text Box 13">
            <a:extLst>
              <a:ext uri="{FF2B5EF4-FFF2-40B4-BE49-F238E27FC236}">
                <a16:creationId xmlns:a16="http://schemas.microsoft.com/office/drawing/2014/main" id="{8C8A6F4F-10F4-A94B-BEF1-2D9EEE67A203}"/>
              </a:ext>
            </a:extLst>
          </p:cNvPr>
          <p:cNvSpPr txBox="1">
            <a:spLocks noChangeArrowheads="1"/>
          </p:cNvSpPr>
          <p:nvPr/>
        </p:nvSpPr>
        <p:spPr bwMode="auto">
          <a:xfrm>
            <a:off x="5708001" y="3061219"/>
            <a:ext cx="921272" cy="300082"/>
          </a:xfrm>
          <a:prstGeom prst="rect">
            <a:avLst/>
          </a:prstGeom>
          <a:solidFill>
            <a:srgbClr val="33CCCC"/>
          </a:solidFill>
          <a:ln w="9525">
            <a:solidFill>
              <a:srgbClr val="000000"/>
            </a:solidFill>
            <a:miter lim="800000"/>
            <a:headEnd/>
            <a:tailEnd/>
          </a:ln>
        </p:spPr>
        <p:txBody>
          <a:bodyPr wrap="square">
            <a:spAutoFit/>
          </a:bodyP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defTabSz="685800" fontAlgn="base">
              <a:spcBef>
                <a:spcPct val="0"/>
              </a:spcBef>
              <a:spcAft>
                <a:spcPct val="0"/>
              </a:spcAft>
              <a:buClrTx/>
              <a:buSzTx/>
              <a:buNone/>
              <a:defRPr/>
            </a:pPr>
            <a:r>
              <a:rPr lang="es-ES" altLang="ca-ES" sz="1350" kern="0">
                <a:solidFill>
                  <a:srgbClr val="000000"/>
                </a:solidFill>
                <a:ea typeface="ＭＳ Ｐゴシック" panose="020B0600070205080204" pitchFamily="34" charset="-128"/>
              </a:rPr>
              <a:t>MRD pos</a:t>
            </a:r>
          </a:p>
        </p:txBody>
      </p:sp>
      <p:sp>
        <p:nvSpPr>
          <p:cNvPr id="37" name="Line 19">
            <a:extLst>
              <a:ext uri="{FF2B5EF4-FFF2-40B4-BE49-F238E27FC236}">
                <a16:creationId xmlns:a16="http://schemas.microsoft.com/office/drawing/2014/main" id="{180E5F97-57F7-C74A-802E-FE31A334A329}"/>
              </a:ext>
            </a:extLst>
          </p:cNvPr>
          <p:cNvSpPr>
            <a:spLocks noChangeShapeType="1"/>
          </p:cNvSpPr>
          <p:nvPr/>
        </p:nvSpPr>
        <p:spPr bwMode="auto">
          <a:xfrm>
            <a:off x="6633461" y="1640954"/>
            <a:ext cx="34290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38" name="Line 20">
            <a:extLst>
              <a:ext uri="{FF2B5EF4-FFF2-40B4-BE49-F238E27FC236}">
                <a16:creationId xmlns:a16="http://schemas.microsoft.com/office/drawing/2014/main" id="{25A01ABD-3426-6B43-A4DA-623F05D7D0FD}"/>
              </a:ext>
            </a:extLst>
          </p:cNvPr>
          <p:cNvSpPr>
            <a:spLocks noChangeShapeType="1"/>
          </p:cNvSpPr>
          <p:nvPr/>
        </p:nvSpPr>
        <p:spPr bwMode="auto">
          <a:xfrm>
            <a:off x="6648209" y="3202308"/>
            <a:ext cx="34290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39" name="Text Box 14">
            <a:extLst>
              <a:ext uri="{FF2B5EF4-FFF2-40B4-BE49-F238E27FC236}">
                <a16:creationId xmlns:a16="http://schemas.microsoft.com/office/drawing/2014/main" id="{66C5046D-75BA-B24A-B12A-833D4432AD20}"/>
              </a:ext>
            </a:extLst>
          </p:cNvPr>
          <p:cNvSpPr txBox="1">
            <a:spLocks noChangeArrowheads="1"/>
          </p:cNvSpPr>
          <p:nvPr/>
        </p:nvSpPr>
        <p:spPr bwMode="auto">
          <a:xfrm>
            <a:off x="7014104" y="1502246"/>
            <a:ext cx="723275" cy="300082"/>
          </a:xfrm>
          <a:prstGeom prst="rect">
            <a:avLst/>
          </a:prstGeom>
          <a:solidFill>
            <a:srgbClr val="FFFF99"/>
          </a:solidFill>
          <a:ln w="9525">
            <a:solidFill>
              <a:srgbClr val="000000"/>
            </a:solidFill>
            <a:miter lim="800000"/>
            <a:headEnd/>
            <a:tailEnd/>
          </a:ln>
        </p:spPr>
        <p:txBody>
          <a:bodyPr wrap="none">
            <a:spAutoFit/>
          </a:bodyP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defTabSz="685800" fontAlgn="base">
              <a:spcBef>
                <a:spcPct val="0"/>
              </a:spcBef>
              <a:spcAft>
                <a:spcPct val="0"/>
              </a:spcAft>
              <a:buClrTx/>
              <a:buSzTx/>
              <a:buNone/>
              <a:defRPr/>
            </a:pPr>
            <a:r>
              <a:rPr lang="es-ES" altLang="ca-ES" sz="1350" kern="0">
                <a:solidFill>
                  <a:srgbClr val="000000"/>
                </a:solidFill>
                <a:ea typeface="ＭＳ Ｐゴシック" panose="020B0600070205080204" pitchFamily="34" charset="-128"/>
              </a:rPr>
              <a:t>Stop tx</a:t>
            </a:r>
          </a:p>
        </p:txBody>
      </p:sp>
      <p:sp>
        <p:nvSpPr>
          <p:cNvPr id="40" name="Text Box 16">
            <a:extLst>
              <a:ext uri="{FF2B5EF4-FFF2-40B4-BE49-F238E27FC236}">
                <a16:creationId xmlns:a16="http://schemas.microsoft.com/office/drawing/2014/main" id="{56B9ACDC-EB2C-0340-86C4-134DFABEDD80}"/>
              </a:ext>
            </a:extLst>
          </p:cNvPr>
          <p:cNvSpPr txBox="1">
            <a:spLocks noChangeArrowheads="1"/>
          </p:cNvSpPr>
          <p:nvPr/>
        </p:nvSpPr>
        <p:spPr bwMode="auto">
          <a:xfrm>
            <a:off x="7028852" y="2959935"/>
            <a:ext cx="973343" cy="507831"/>
          </a:xfrm>
          <a:prstGeom prst="rect">
            <a:avLst/>
          </a:prstGeom>
          <a:solidFill>
            <a:srgbClr val="FFFF99"/>
          </a:solidFill>
          <a:ln w="9525">
            <a:solidFill>
              <a:srgbClr val="000000"/>
            </a:solidFill>
            <a:miter lim="800000"/>
            <a:headEnd/>
            <a:tailEnd/>
          </a:ln>
        </p:spPr>
        <p:txBody>
          <a:bodyPr wrap="none">
            <a:spAutoFit/>
          </a:bodyP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defTabSz="685800" fontAlgn="base">
              <a:spcBef>
                <a:spcPct val="0"/>
              </a:spcBef>
              <a:spcAft>
                <a:spcPct val="0"/>
              </a:spcAft>
              <a:buClrTx/>
              <a:buSzTx/>
              <a:buNone/>
              <a:defRPr/>
            </a:pPr>
            <a:r>
              <a:rPr lang="es-ES" altLang="ca-ES" sz="1350" kern="0">
                <a:solidFill>
                  <a:srgbClr val="000000"/>
                </a:solidFill>
                <a:ea typeface="ＭＳ Ｐゴシック" panose="020B0600070205080204" pitchFamily="34" charset="-128"/>
              </a:rPr>
              <a:t>Len-Dex</a:t>
            </a:r>
          </a:p>
          <a:p>
            <a:pPr defTabSz="685800" fontAlgn="base">
              <a:spcBef>
                <a:spcPct val="0"/>
              </a:spcBef>
              <a:spcAft>
                <a:spcPct val="0"/>
              </a:spcAft>
              <a:buClrTx/>
              <a:buSzTx/>
              <a:buNone/>
              <a:defRPr/>
            </a:pPr>
            <a:r>
              <a:rPr lang="es-ES" altLang="ca-ES" sz="1350" kern="0">
                <a:solidFill>
                  <a:srgbClr val="000000"/>
                </a:solidFill>
                <a:ea typeface="ＭＳ Ｐゴシック" panose="020B0600070205080204" pitchFamily="34" charset="-128"/>
              </a:rPr>
              <a:t>× 3 years</a:t>
            </a:r>
          </a:p>
        </p:txBody>
      </p:sp>
      <p:sp>
        <p:nvSpPr>
          <p:cNvPr id="41" name="Text Box 22">
            <a:extLst>
              <a:ext uri="{FF2B5EF4-FFF2-40B4-BE49-F238E27FC236}">
                <a16:creationId xmlns:a16="http://schemas.microsoft.com/office/drawing/2014/main" id="{337E390D-A17F-554E-87F4-78B20028FFA0}"/>
              </a:ext>
            </a:extLst>
          </p:cNvPr>
          <p:cNvSpPr txBox="1">
            <a:spLocks noChangeArrowheads="1"/>
          </p:cNvSpPr>
          <p:nvPr/>
        </p:nvSpPr>
        <p:spPr bwMode="auto">
          <a:xfrm>
            <a:off x="3804848" y="4349614"/>
            <a:ext cx="1165704" cy="300082"/>
          </a:xfrm>
          <a:prstGeom prst="rect">
            <a:avLst/>
          </a:prstGeom>
          <a:solidFill>
            <a:srgbClr val="33CCCC"/>
          </a:solidFill>
          <a:ln w="9525">
            <a:solidFill>
              <a:srgbClr val="000000"/>
            </a:solidFill>
            <a:miter lim="800000"/>
            <a:headEnd/>
            <a:tailEnd/>
          </a:ln>
        </p:spPr>
        <p:txBody>
          <a:bodyPr wrap="none">
            <a:spAutoFit/>
          </a:bodyPr>
          <a:lstStyle>
            <a:lvl1pPr>
              <a:spcBef>
                <a:spcPct val="20000"/>
              </a:spcBef>
              <a:buClr>
                <a:schemeClr val="accent1"/>
              </a:buClr>
              <a:buSzPct val="85000"/>
              <a:buFont typeface="Arial" panose="020B0604020202020204" pitchFamily="34" charset="0"/>
              <a:buChar char="•"/>
              <a:defRPr sz="2400">
                <a:solidFill>
                  <a:schemeClr val="tx1"/>
                </a:solidFill>
                <a:latin typeface="Arial" panose="020B0604020202020204" pitchFamily="34" charset="0"/>
              </a:defRPr>
            </a:lvl1pPr>
            <a:lvl2pPr marL="742950" indent="-285750">
              <a:spcBef>
                <a:spcPct val="20000"/>
              </a:spcBef>
              <a:buClr>
                <a:schemeClr val="accent1"/>
              </a:buClr>
              <a:buSzPct val="85000"/>
              <a:buFont typeface="Arial" panose="020B0604020202020204" pitchFamily="34" charset="0"/>
              <a:buChar char="•"/>
              <a:defRPr sz="2000">
                <a:solidFill>
                  <a:schemeClr val="tx1"/>
                </a:solidFill>
                <a:latin typeface="Arial" panose="020B0604020202020204" pitchFamily="34" charset="0"/>
              </a:defRPr>
            </a:lvl2pPr>
            <a:lvl3pPr marL="1143000" indent="-228600">
              <a:spcBef>
                <a:spcPct val="20000"/>
              </a:spcBef>
              <a:buClr>
                <a:schemeClr val="accent1"/>
              </a:buClr>
              <a:buSzPct val="90000"/>
              <a:buFont typeface="Arial" panose="020B0604020202020204" pitchFamily="34" charset="0"/>
              <a:buChar char="•"/>
              <a:defRPr>
                <a:solidFill>
                  <a:schemeClr val="tx1"/>
                </a:solidFill>
                <a:latin typeface="Arial" panose="020B0604020202020204" pitchFamily="34" charset="0"/>
              </a:defRPr>
            </a:lvl3pPr>
            <a:lvl4pPr marL="1600200" indent="-228600">
              <a:spcBef>
                <a:spcPct val="20000"/>
              </a:spcBef>
              <a:buClr>
                <a:schemeClr val="accent1"/>
              </a:buClr>
              <a:buFont typeface="Arial" panose="020B0604020202020204" pitchFamily="34" charset="0"/>
              <a:buChar char="•"/>
              <a:defRPr sz="1600">
                <a:solidFill>
                  <a:schemeClr val="tx1"/>
                </a:solidFill>
                <a:latin typeface="Arial" panose="020B0604020202020204" pitchFamily="34" charset="0"/>
              </a:defRPr>
            </a:lvl4pPr>
            <a:lvl5pPr marL="2057400" indent="-228600">
              <a:spcBef>
                <a:spcPct val="20000"/>
              </a:spcBef>
              <a:buClr>
                <a:schemeClr val="accent1"/>
              </a:buClr>
              <a:buSzPct val="100000"/>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100000"/>
              <a:buFont typeface="Arial" panose="020B0604020202020204" pitchFamily="34" charset="0"/>
              <a:buChar char="•"/>
              <a:defRPr sz="1400">
                <a:solidFill>
                  <a:schemeClr val="tx1"/>
                </a:solidFill>
                <a:latin typeface="Arial" panose="020B0604020202020204" pitchFamily="34" charset="0"/>
              </a:defRPr>
            </a:lvl9pPr>
          </a:lstStyle>
          <a:p>
            <a:pPr defTabSz="685800" fontAlgn="base">
              <a:spcBef>
                <a:spcPct val="0"/>
              </a:spcBef>
              <a:spcAft>
                <a:spcPct val="0"/>
              </a:spcAft>
              <a:buClrTx/>
              <a:buSzTx/>
              <a:buNone/>
              <a:defRPr/>
            </a:pPr>
            <a:r>
              <a:rPr lang="es-ES" altLang="ca-ES" sz="1350" kern="0">
                <a:solidFill>
                  <a:srgbClr val="000000"/>
                </a:solidFill>
                <a:ea typeface="ＭＳ Ｐゴシック" panose="020B0600070205080204" pitchFamily="34" charset="-128"/>
              </a:rPr>
              <a:t>Annual MRD</a:t>
            </a:r>
          </a:p>
        </p:txBody>
      </p:sp>
      <p:sp>
        <p:nvSpPr>
          <p:cNvPr id="42" name="Line 23">
            <a:extLst>
              <a:ext uri="{FF2B5EF4-FFF2-40B4-BE49-F238E27FC236}">
                <a16:creationId xmlns:a16="http://schemas.microsoft.com/office/drawing/2014/main" id="{B2383C4C-0883-414F-9E37-A1C9C5EB067A}"/>
              </a:ext>
            </a:extLst>
          </p:cNvPr>
          <p:cNvSpPr>
            <a:spLocks noChangeShapeType="1"/>
          </p:cNvSpPr>
          <p:nvPr/>
        </p:nvSpPr>
        <p:spPr bwMode="auto">
          <a:xfrm flipH="1">
            <a:off x="1497417" y="4469866"/>
            <a:ext cx="2268141"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43" name="Line 24">
            <a:extLst>
              <a:ext uri="{FF2B5EF4-FFF2-40B4-BE49-F238E27FC236}">
                <a16:creationId xmlns:a16="http://schemas.microsoft.com/office/drawing/2014/main" id="{7217284A-DD9A-F047-96DE-6457B5AD2781}"/>
              </a:ext>
            </a:extLst>
          </p:cNvPr>
          <p:cNvSpPr>
            <a:spLocks noChangeShapeType="1"/>
          </p:cNvSpPr>
          <p:nvPr/>
        </p:nvSpPr>
        <p:spPr bwMode="auto">
          <a:xfrm>
            <a:off x="5008572" y="4469866"/>
            <a:ext cx="226814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defRPr/>
            </a:pPr>
            <a:endParaRPr lang="es-ES" sz="1350" kern="0">
              <a:solidFill>
                <a:srgbClr val="000000"/>
              </a:solidFill>
              <a:latin typeface="Arial" panose="020B0604020202020204" pitchFamily="34" charset="0"/>
            </a:endParaRPr>
          </a:p>
        </p:txBody>
      </p:sp>
      <p:sp>
        <p:nvSpPr>
          <p:cNvPr id="44" name="Rectángulo 152">
            <a:extLst>
              <a:ext uri="{FF2B5EF4-FFF2-40B4-BE49-F238E27FC236}">
                <a16:creationId xmlns:a16="http://schemas.microsoft.com/office/drawing/2014/main" id="{A94D26F4-917E-4275-9D7C-571889C7AA9B}"/>
              </a:ext>
            </a:extLst>
          </p:cNvPr>
          <p:cNvSpPr>
            <a:spLocks noChangeArrowheads="1"/>
          </p:cNvSpPr>
          <p:nvPr/>
        </p:nvSpPr>
        <p:spPr bwMode="auto">
          <a:xfrm>
            <a:off x="6479898" y="4936080"/>
            <a:ext cx="266410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algn="r" defTabSz="685800">
              <a:buNone/>
              <a:defRPr/>
            </a:pPr>
            <a:r>
              <a:rPr lang="it-IT" sz="750">
                <a:solidFill>
                  <a:prstClr val="black"/>
                </a:solidFill>
                <a:latin typeface="Arial" panose="020B0604020202020204" pitchFamily="34" charset="0"/>
                <a:cs typeface="Arial" panose="020B0604020202020204" pitchFamily="34" charset="0"/>
              </a:rPr>
              <a:t>Rosiñol L, et al. </a:t>
            </a:r>
            <a:r>
              <a:rPr lang="en-US" sz="750" i="1">
                <a:solidFill>
                  <a:prstClr val="black"/>
                </a:solidFill>
                <a:latin typeface="Arial" panose="020B0604020202020204" pitchFamily="34" charset="0"/>
                <a:cs typeface="Arial" panose="020B0604020202020204" pitchFamily="34" charset="0"/>
              </a:rPr>
              <a:t>Blood.</a:t>
            </a:r>
            <a:r>
              <a:rPr lang="en-US" sz="750">
                <a:solidFill>
                  <a:prstClr val="black"/>
                </a:solidFill>
                <a:latin typeface="Arial" panose="020B0604020202020204" pitchFamily="34" charset="0"/>
                <a:cs typeface="Arial" panose="020B0604020202020204" pitchFamily="34" charset="0"/>
              </a:rPr>
              <a:t> 2021;138(suppl 1): abstract 466.</a:t>
            </a:r>
            <a:endParaRPr lang="it-IT" sz="750">
              <a:solidFill>
                <a:prstClr val="black"/>
              </a:solidFill>
              <a:latin typeface="Arial" panose="020B0604020202020204" pitchFamily="34" charset="0"/>
              <a:cs typeface="Arial" panose="020B0604020202020204" pitchFamily="34" charset="0"/>
            </a:endParaRPr>
          </a:p>
        </p:txBody>
      </p:sp>
      <p:sp>
        <p:nvSpPr>
          <p:cNvPr id="45" name="Título 2"/>
          <p:cNvSpPr txBox="1">
            <a:spLocks/>
          </p:cNvSpPr>
          <p:nvPr/>
        </p:nvSpPr>
        <p:spPr>
          <a:xfrm>
            <a:off x="142843" y="92266"/>
            <a:ext cx="9001157"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latin typeface="Arial" panose="020B0604020202020204" pitchFamily="34" charset="0"/>
                <a:cs typeface="Arial" panose="020B0604020202020204" pitchFamily="34" charset="0"/>
              </a:rPr>
              <a:t>Can MRD be Used to Interrupt or Prolong Treatment?</a:t>
            </a:r>
          </a:p>
        </p:txBody>
      </p:sp>
      <p:sp>
        <p:nvSpPr>
          <p:cNvPr id="46"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Results from the GEM2014MAIN trial</a:t>
            </a:r>
          </a:p>
        </p:txBody>
      </p:sp>
    </p:spTree>
    <p:extLst>
      <p:ext uri="{BB962C8B-B14F-4D97-AF65-F5344CB8AC3E}">
        <p14:creationId xmlns:p14="http://schemas.microsoft.com/office/powerpoint/2010/main" val="20310654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ítulo 2"/>
          <p:cNvSpPr txBox="1">
            <a:spLocks/>
          </p:cNvSpPr>
          <p:nvPr/>
        </p:nvSpPr>
        <p:spPr>
          <a:xfrm>
            <a:off x="142843" y="92266"/>
            <a:ext cx="9001157"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latin typeface="Arial" panose="020B0604020202020204" pitchFamily="34" charset="0"/>
                <a:cs typeface="Arial" panose="020B0604020202020204" pitchFamily="34" charset="0"/>
              </a:rPr>
              <a:t>Can MRD be Used to Interrupt or Prolong Treatment?</a:t>
            </a:r>
          </a:p>
        </p:txBody>
      </p:sp>
      <p:sp>
        <p:nvSpPr>
          <p:cNvPr id="46"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Results from the GEM2014MAIN trial</a:t>
            </a:r>
          </a:p>
        </p:txBody>
      </p:sp>
      <p:grpSp>
        <p:nvGrpSpPr>
          <p:cNvPr id="47" name="9 Grupo"/>
          <p:cNvGrpSpPr>
            <a:grpSpLocks/>
          </p:cNvGrpSpPr>
          <p:nvPr/>
        </p:nvGrpSpPr>
        <p:grpSpPr bwMode="auto">
          <a:xfrm>
            <a:off x="1198960" y="988718"/>
            <a:ext cx="5345906" cy="3780234"/>
            <a:chOff x="683568" y="1124744"/>
            <a:chExt cx="7200800" cy="5032088"/>
          </a:xfrm>
        </p:grpSpPr>
        <p:pic>
          <p:nvPicPr>
            <p:cNvPr id="48"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83568" y="1700808"/>
              <a:ext cx="7200800" cy="4456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6 CuadroTexto"/>
            <p:cNvSpPr txBox="1">
              <a:spLocks noChangeArrowheads="1"/>
            </p:cNvSpPr>
            <p:nvPr/>
          </p:nvSpPr>
          <p:spPr bwMode="auto">
            <a:xfrm>
              <a:off x="1476374" y="4941888"/>
              <a:ext cx="980711" cy="338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eaLnBrk="1" hangingPunct="1">
                <a:defRPr/>
              </a:pPr>
              <a:r>
                <a:rPr lang="es-ES" altLang="es-ES" sz="1050" i="1">
                  <a:solidFill>
                    <a:prstClr val="black"/>
                  </a:solidFill>
                </a:rPr>
                <a:t>P </a:t>
              </a:r>
              <a:r>
                <a:rPr lang="es-ES" altLang="es-ES" sz="1050">
                  <a:solidFill>
                    <a:prstClr val="black"/>
                  </a:solidFill>
                </a:rPr>
                <a:t>&lt;.0001</a:t>
              </a:r>
            </a:p>
          </p:txBody>
        </p:sp>
        <p:sp>
          <p:nvSpPr>
            <p:cNvPr id="50" name="3 CuadroTexto"/>
            <p:cNvSpPr txBox="1">
              <a:spLocks noChangeArrowheads="1"/>
            </p:cNvSpPr>
            <p:nvPr/>
          </p:nvSpPr>
          <p:spPr bwMode="auto">
            <a:xfrm>
              <a:off x="5940151" y="1988840"/>
              <a:ext cx="1557219" cy="368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eaLnBrk="1" hangingPunct="1">
                <a:defRPr/>
              </a:pPr>
              <a:r>
                <a:rPr lang="es-ES" altLang="es-ES" sz="1200">
                  <a:solidFill>
                    <a:prstClr val="black"/>
                  </a:solidFill>
                </a:rPr>
                <a:t>MRD negative</a:t>
              </a:r>
            </a:p>
          </p:txBody>
        </p:sp>
        <p:sp>
          <p:nvSpPr>
            <p:cNvPr id="51" name="4 CuadroTexto"/>
            <p:cNvSpPr txBox="1">
              <a:spLocks noChangeArrowheads="1"/>
            </p:cNvSpPr>
            <p:nvPr/>
          </p:nvSpPr>
          <p:spPr bwMode="auto">
            <a:xfrm>
              <a:off x="6084169" y="2996952"/>
              <a:ext cx="1477328" cy="368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eaLnBrk="1" hangingPunct="1">
                <a:defRPr/>
              </a:pPr>
              <a:r>
                <a:rPr lang="es-ES" altLang="es-ES" sz="1200">
                  <a:solidFill>
                    <a:prstClr val="black"/>
                  </a:solidFill>
                </a:rPr>
                <a:t>MRD positive</a:t>
              </a:r>
            </a:p>
          </p:txBody>
        </p:sp>
        <p:sp>
          <p:nvSpPr>
            <p:cNvPr id="52" name="7 Flecha abajo"/>
            <p:cNvSpPr/>
            <p:nvPr/>
          </p:nvSpPr>
          <p:spPr>
            <a:xfrm>
              <a:off x="1618549" y="1484518"/>
              <a:ext cx="73772" cy="361359"/>
            </a:xfrm>
            <a:prstGeom prst="downArrow">
              <a:avLst/>
            </a:prstGeom>
            <a:solidFill>
              <a:srgbClr val="CC3300"/>
            </a:solidFill>
            <a:ln>
              <a:solidFill>
                <a:srgbClr val="CC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s-ES" sz="1350">
                <a:solidFill>
                  <a:prstClr val="white"/>
                </a:solidFill>
                <a:latin typeface="Calibri" panose="020F0502020204030204"/>
              </a:endParaRPr>
            </a:p>
          </p:txBody>
        </p:sp>
        <p:sp>
          <p:nvSpPr>
            <p:cNvPr id="53" name="9 CuadroTexto"/>
            <p:cNvSpPr txBox="1">
              <a:spLocks noChangeArrowheads="1"/>
            </p:cNvSpPr>
            <p:nvPr/>
          </p:nvSpPr>
          <p:spPr bwMode="auto">
            <a:xfrm>
              <a:off x="1013742" y="1124744"/>
              <a:ext cx="1552900" cy="338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eaLnBrk="1" hangingPunct="1">
                <a:defRPr/>
              </a:pPr>
              <a:r>
                <a:rPr lang="es-ES" altLang="es-ES" sz="1050" b="1">
                  <a:solidFill>
                    <a:prstClr val="black"/>
                  </a:solidFill>
                </a:rPr>
                <a:t>MRD at 2 years</a:t>
              </a:r>
            </a:p>
          </p:txBody>
        </p:sp>
      </p:grpSp>
      <p:sp>
        <p:nvSpPr>
          <p:cNvPr id="54" name="5 CuadroTexto"/>
          <p:cNvSpPr txBox="1">
            <a:spLocks noChangeArrowheads="1"/>
          </p:cNvSpPr>
          <p:nvPr/>
        </p:nvSpPr>
        <p:spPr bwMode="auto">
          <a:xfrm>
            <a:off x="820341" y="4416527"/>
            <a:ext cx="2611612" cy="646331"/>
          </a:xfrm>
          <a:prstGeom prst="rect">
            <a:avLst/>
          </a:prstGeom>
          <a:solidFill>
            <a:schemeClr val="bg1">
              <a:lumMod val="85000"/>
            </a:schemeClr>
          </a:solidFill>
          <a:ln w="9525">
            <a:noFill/>
            <a:miter lim="800000"/>
            <a:headEnd/>
            <a:tailEnd/>
          </a:ln>
        </p:spPr>
        <p:txBody>
          <a:bodyPr wrap="none">
            <a:spAutoFit/>
          </a:bodyPr>
          <a:lstStyle/>
          <a:p>
            <a:pPr defTabSz="685800">
              <a:defRPr/>
            </a:pPr>
            <a:r>
              <a:rPr lang="es-ES" sz="1200">
                <a:solidFill>
                  <a:prstClr val="black"/>
                </a:solidFill>
                <a:latin typeface="Arial" charset="0"/>
              </a:rPr>
              <a:t>MRD at 2 years</a:t>
            </a:r>
          </a:p>
          <a:p>
            <a:pPr defTabSz="685800">
              <a:buFont typeface="Arial" pitchFamily="34" charset="0"/>
              <a:buChar char="•"/>
              <a:defRPr/>
            </a:pPr>
            <a:r>
              <a:rPr lang="es-ES" sz="1200">
                <a:solidFill>
                  <a:prstClr val="black"/>
                </a:solidFill>
                <a:latin typeface="Arial" charset="0"/>
              </a:rPr>
              <a:t>  Negative: stop </a:t>
            </a:r>
            <a:r>
              <a:rPr lang="es-ES" sz="1200" err="1">
                <a:solidFill>
                  <a:prstClr val="black"/>
                </a:solidFill>
                <a:latin typeface="Arial" charset="0"/>
              </a:rPr>
              <a:t>maintenance</a:t>
            </a:r>
            <a:endParaRPr lang="es-ES" sz="1200">
              <a:solidFill>
                <a:prstClr val="black"/>
              </a:solidFill>
              <a:latin typeface="Arial" charset="0"/>
            </a:endParaRPr>
          </a:p>
          <a:p>
            <a:pPr defTabSz="685800">
              <a:buFont typeface="Arial" pitchFamily="34" charset="0"/>
              <a:buChar char="•"/>
              <a:defRPr/>
            </a:pPr>
            <a:r>
              <a:rPr lang="es-ES" sz="1200">
                <a:solidFill>
                  <a:prstClr val="black"/>
                </a:solidFill>
                <a:latin typeface="Arial" charset="0"/>
              </a:rPr>
              <a:t>  Positive: Rd for 3 </a:t>
            </a:r>
            <a:r>
              <a:rPr lang="es-ES" sz="1200" err="1">
                <a:solidFill>
                  <a:prstClr val="black"/>
                </a:solidFill>
                <a:latin typeface="Arial" charset="0"/>
              </a:rPr>
              <a:t>additional</a:t>
            </a:r>
            <a:r>
              <a:rPr lang="es-ES" sz="1200">
                <a:solidFill>
                  <a:prstClr val="black"/>
                </a:solidFill>
                <a:latin typeface="Arial" charset="0"/>
              </a:rPr>
              <a:t> years</a:t>
            </a:r>
          </a:p>
        </p:txBody>
      </p:sp>
      <p:sp>
        <p:nvSpPr>
          <p:cNvPr id="13" name="Rectángulo 152">
            <a:extLst>
              <a:ext uri="{FF2B5EF4-FFF2-40B4-BE49-F238E27FC236}">
                <a16:creationId xmlns:a16="http://schemas.microsoft.com/office/drawing/2014/main" id="{01A13270-C9C8-43C3-A4D1-AAA248AE6F71}"/>
              </a:ext>
            </a:extLst>
          </p:cNvPr>
          <p:cNvSpPr>
            <a:spLocks noChangeArrowheads="1"/>
          </p:cNvSpPr>
          <p:nvPr/>
        </p:nvSpPr>
        <p:spPr bwMode="auto">
          <a:xfrm>
            <a:off x="6479898" y="4936080"/>
            <a:ext cx="266410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algn="r" defTabSz="685800">
              <a:buNone/>
              <a:defRPr/>
            </a:pPr>
            <a:r>
              <a:rPr lang="it-IT" sz="750">
                <a:solidFill>
                  <a:prstClr val="black"/>
                </a:solidFill>
                <a:latin typeface="Arial" panose="020B0604020202020204" pitchFamily="34" charset="0"/>
                <a:cs typeface="Arial" panose="020B0604020202020204" pitchFamily="34" charset="0"/>
              </a:rPr>
              <a:t>Rosiñol L, et al. </a:t>
            </a:r>
            <a:r>
              <a:rPr lang="en-US" sz="750" i="1">
                <a:solidFill>
                  <a:prstClr val="black"/>
                </a:solidFill>
                <a:latin typeface="Arial" panose="020B0604020202020204" pitchFamily="34" charset="0"/>
                <a:cs typeface="Arial" panose="020B0604020202020204" pitchFamily="34" charset="0"/>
              </a:rPr>
              <a:t>Blood.</a:t>
            </a:r>
            <a:r>
              <a:rPr lang="en-US" sz="750">
                <a:solidFill>
                  <a:prstClr val="black"/>
                </a:solidFill>
                <a:latin typeface="Arial" panose="020B0604020202020204" pitchFamily="34" charset="0"/>
                <a:cs typeface="Arial" panose="020B0604020202020204" pitchFamily="34" charset="0"/>
              </a:rPr>
              <a:t> 2021;138(suppl 1): abstract 466.</a:t>
            </a:r>
            <a:endParaRPr lang="it-IT" sz="75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31271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2"/>
          <p:cNvSpPr txBox="1">
            <a:spLocks/>
          </p:cNvSpPr>
          <p:nvPr/>
        </p:nvSpPr>
        <p:spPr>
          <a:xfrm>
            <a:off x="142844" y="92266"/>
            <a:ext cx="8718414"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solidFill>
                  <a:srgbClr val="800000"/>
                </a:solidFill>
                <a:latin typeface="Arial" panose="020B0604020202020204" pitchFamily="34" charset="0"/>
                <a:cs typeface="Arial" panose="020B0604020202020204" pitchFamily="34" charset="0"/>
              </a:rPr>
              <a:t>Detecting MRD Using NGF in Blood Predicts Imminent Relapse</a:t>
            </a:r>
          </a:p>
        </p:txBody>
      </p:sp>
      <p:sp>
        <p:nvSpPr>
          <p:cNvPr id="8" name="Marcador de texto 3"/>
          <p:cNvSpPr txBox="1">
            <a:spLocks/>
          </p:cNvSpPr>
          <p:nvPr/>
        </p:nvSpPr>
        <p:spPr>
          <a:xfrm>
            <a:off x="142845" y="459322"/>
            <a:ext cx="8786873" cy="345356"/>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Partial correlation with false-negative results in blood (40%) </a:t>
            </a:r>
            <a:endParaRPr lang="es-ES" sz="1800" b="1">
              <a:solidFill>
                <a:prstClr val="black">
                  <a:lumMod val="65000"/>
                  <a:lumOff val="35000"/>
                </a:prstClr>
              </a:solidFill>
            </a:endParaRPr>
          </a:p>
        </p:txBody>
      </p:sp>
      <p:pic>
        <p:nvPicPr>
          <p:cNvPr id="11" name="Picture 14">
            <a:extLst>
              <a:ext uri="{FF2B5EF4-FFF2-40B4-BE49-F238E27FC236}">
                <a16:creationId xmlns:a16="http://schemas.microsoft.com/office/drawing/2014/main" id="{838951A2-60BB-4823-8E65-DA8354C53CE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7298" y="4728211"/>
            <a:ext cx="682955" cy="350750"/>
          </a:xfrm>
          <a:prstGeom prst="rect">
            <a:avLst/>
          </a:prstGeom>
        </p:spPr>
      </p:pic>
      <p:sp>
        <p:nvSpPr>
          <p:cNvPr id="12" name="Rectángulo 11">
            <a:extLst>
              <a:ext uri="{FF2B5EF4-FFF2-40B4-BE49-F238E27FC236}">
                <a16:creationId xmlns:a16="http://schemas.microsoft.com/office/drawing/2014/main" id="{436A7538-5F00-4CE9-B749-B72DEEABA87D}"/>
              </a:ext>
            </a:extLst>
          </p:cNvPr>
          <p:cNvSpPr/>
          <p:nvPr/>
        </p:nvSpPr>
        <p:spPr>
          <a:xfrm>
            <a:off x="6788868" y="4937679"/>
            <a:ext cx="2355133" cy="207749"/>
          </a:xfrm>
          <a:prstGeom prst="rect">
            <a:avLst/>
          </a:prstGeom>
        </p:spPr>
        <p:txBody>
          <a:bodyPr wrap="none">
            <a:spAutoFit/>
          </a:bodyPr>
          <a:lstStyle/>
          <a:p>
            <a:pPr algn="r" defTabSz="685783" eaLnBrk="0" fontAlgn="base" hangingPunct="0">
              <a:spcBef>
                <a:spcPct val="0"/>
              </a:spcBef>
              <a:spcAft>
                <a:spcPct val="0"/>
              </a:spcAft>
              <a:defRPr/>
            </a:pPr>
            <a:r>
              <a:rPr lang="en-US" sz="750">
                <a:solidFill>
                  <a:srgbClr val="000000"/>
                </a:solidFill>
                <a:latin typeface="Arial" panose="020B0604020202020204" pitchFamily="34" charset="0"/>
                <a:ea typeface="ＭＳ Ｐゴシック" charset="-128"/>
                <a:cs typeface="Arial"/>
              </a:rPr>
              <a:t>Sanoja-Flores L, et al. </a:t>
            </a:r>
            <a:r>
              <a:rPr lang="en-US" sz="750" i="1">
                <a:solidFill>
                  <a:srgbClr val="000000"/>
                </a:solidFill>
                <a:latin typeface="Arial" panose="020B0604020202020204" pitchFamily="34" charset="0"/>
                <a:ea typeface="ＭＳ Ｐゴシック" charset="-128"/>
                <a:cs typeface="Arial"/>
              </a:rPr>
              <a:t>Blood</a:t>
            </a:r>
            <a:r>
              <a:rPr lang="en-US" sz="750">
                <a:solidFill>
                  <a:srgbClr val="000000"/>
                </a:solidFill>
                <a:latin typeface="Arial" panose="020B0604020202020204" pitchFamily="34" charset="0"/>
                <a:ea typeface="ＭＳ Ｐゴシック" charset="-128"/>
                <a:cs typeface="Arial"/>
              </a:rPr>
              <a:t>. 2019;134:2218-2222.</a:t>
            </a:r>
            <a:endParaRPr lang="en-US" sz="750" i="1">
              <a:solidFill>
                <a:srgbClr val="000000"/>
              </a:solidFill>
              <a:latin typeface="Arial" panose="020B0604020202020204" pitchFamily="34" charset="0"/>
              <a:ea typeface="ＭＳ Ｐゴシック" charset="-128"/>
              <a:cs typeface="Arial"/>
            </a:endParaRPr>
          </a:p>
        </p:txBody>
      </p:sp>
      <p:grpSp>
        <p:nvGrpSpPr>
          <p:cNvPr id="3" name="Group 2">
            <a:extLst>
              <a:ext uri="{FF2B5EF4-FFF2-40B4-BE49-F238E27FC236}">
                <a16:creationId xmlns:a16="http://schemas.microsoft.com/office/drawing/2014/main" id="{BB0AFE15-5BF1-4697-88BF-492CF94FB08F}"/>
              </a:ext>
            </a:extLst>
          </p:cNvPr>
          <p:cNvGrpSpPr/>
          <p:nvPr/>
        </p:nvGrpSpPr>
        <p:grpSpPr>
          <a:xfrm>
            <a:off x="558210" y="1171735"/>
            <a:ext cx="7934546" cy="3219095"/>
            <a:chOff x="1027004" y="1721186"/>
            <a:chExt cx="8925208" cy="3677866"/>
          </a:xfrm>
        </p:grpSpPr>
        <p:grpSp>
          <p:nvGrpSpPr>
            <p:cNvPr id="13" name="Grupo 12"/>
            <p:cNvGrpSpPr/>
            <p:nvPr/>
          </p:nvGrpSpPr>
          <p:grpSpPr>
            <a:xfrm>
              <a:off x="1027004" y="1721186"/>
              <a:ext cx="8925208" cy="3677866"/>
              <a:chOff x="1915346" y="1920622"/>
              <a:chExt cx="3336925" cy="1156028"/>
            </a:xfrm>
          </p:grpSpPr>
          <p:pic>
            <p:nvPicPr>
              <p:cNvPr id="14" name="New picture"/>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915346" y="1920622"/>
                <a:ext cx="3336925" cy="999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pic>
            <p:nvPicPr>
              <p:cNvPr id="15" name="New picture"/>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915346" y="2920181"/>
                <a:ext cx="3336925" cy="156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grpSp>
        <p:sp>
          <p:nvSpPr>
            <p:cNvPr id="2" name="Rectángulo 1"/>
            <p:cNvSpPr/>
            <p:nvPr/>
          </p:nvSpPr>
          <p:spPr>
            <a:xfrm>
              <a:off x="1134894" y="2211421"/>
              <a:ext cx="214008" cy="272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0" name="Rectángulo 9"/>
            <p:cNvSpPr/>
            <p:nvPr/>
          </p:nvSpPr>
          <p:spPr>
            <a:xfrm>
              <a:off x="4069405" y="2211420"/>
              <a:ext cx="214008" cy="272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6" name="Rectángulo 15"/>
            <p:cNvSpPr/>
            <p:nvPr/>
          </p:nvSpPr>
          <p:spPr>
            <a:xfrm>
              <a:off x="7111806" y="2211419"/>
              <a:ext cx="214008" cy="272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spTree>
    <p:extLst>
      <p:ext uri="{BB962C8B-B14F-4D97-AF65-F5344CB8AC3E}">
        <p14:creationId xmlns:p14="http://schemas.microsoft.com/office/powerpoint/2010/main" val="124836165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2"/>
          <p:cNvSpPr txBox="1">
            <a:spLocks/>
          </p:cNvSpPr>
          <p:nvPr/>
        </p:nvSpPr>
        <p:spPr>
          <a:xfrm>
            <a:off x="142844" y="92266"/>
            <a:ext cx="8229600"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solidFill>
                  <a:srgbClr val="800000"/>
                </a:solidFill>
                <a:latin typeface="Arial" panose="020B0604020202020204" pitchFamily="34" charset="0"/>
                <a:cs typeface="Arial" panose="020B0604020202020204" pitchFamily="34" charset="0"/>
              </a:rPr>
              <a:t>Hypothetical Scenario to Assess MRD in BM and PB</a:t>
            </a:r>
          </a:p>
        </p:txBody>
      </p:sp>
      <p:sp>
        <p:nvSpPr>
          <p:cNvPr id="8" name="Marcador de texto 3"/>
          <p:cNvSpPr txBox="1">
            <a:spLocks/>
          </p:cNvSpPr>
          <p:nvPr/>
        </p:nvSpPr>
        <p:spPr>
          <a:xfrm>
            <a:off x="142845" y="459322"/>
            <a:ext cx="8786873" cy="345356"/>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More frequent (minimally invasive) monitoring at later stages</a:t>
            </a:r>
            <a:endParaRPr lang="es-ES" sz="1800" b="1">
              <a:solidFill>
                <a:prstClr val="black">
                  <a:lumMod val="65000"/>
                  <a:lumOff val="35000"/>
                </a:prstClr>
              </a:solidFill>
            </a:endParaRPr>
          </a:p>
        </p:txBody>
      </p:sp>
      <p:sp>
        <p:nvSpPr>
          <p:cNvPr id="17" name="Rectángulo 16">
            <a:extLst>
              <a:ext uri="{FF2B5EF4-FFF2-40B4-BE49-F238E27FC236}">
                <a16:creationId xmlns:a16="http://schemas.microsoft.com/office/drawing/2014/main" id="{0609333F-4C93-4238-A489-B8D7A5AB092F}"/>
              </a:ext>
            </a:extLst>
          </p:cNvPr>
          <p:cNvSpPr/>
          <p:nvPr/>
        </p:nvSpPr>
        <p:spPr>
          <a:xfrm>
            <a:off x="4641550" y="1913195"/>
            <a:ext cx="4106190" cy="1369120"/>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18" name="Rectángulo 17">
            <a:extLst>
              <a:ext uri="{FF2B5EF4-FFF2-40B4-BE49-F238E27FC236}">
                <a16:creationId xmlns:a16="http://schemas.microsoft.com/office/drawing/2014/main" id="{032B4E03-67F7-466C-92F8-029C3C4AD07F}"/>
              </a:ext>
            </a:extLst>
          </p:cNvPr>
          <p:cNvSpPr/>
          <p:nvPr/>
        </p:nvSpPr>
        <p:spPr>
          <a:xfrm>
            <a:off x="271516" y="1913195"/>
            <a:ext cx="4237922" cy="1369120"/>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19" name="CuadroTexto 18">
            <a:extLst>
              <a:ext uri="{FF2B5EF4-FFF2-40B4-BE49-F238E27FC236}">
                <a16:creationId xmlns:a16="http://schemas.microsoft.com/office/drawing/2014/main" id="{7A7EF529-4355-4766-AE94-8176902133FA}"/>
              </a:ext>
            </a:extLst>
          </p:cNvPr>
          <p:cNvSpPr txBox="1"/>
          <p:nvPr/>
        </p:nvSpPr>
        <p:spPr>
          <a:xfrm>
            <a:off x="471441" y="1983764"/>
            <a:ext cx="3916457"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MRD assessment during induction/intensification</a:t>
            </a:r>
          </a:p>
        </p:txBody>
      </p:sp>
      <p:sp>
        <p:nvSpPr>
          <p:cNvPr id="20" name="Flecha: a la derecha 10">
            <a:extLst>
              <a:ext uri="{FF2B5EF4-FFF2-40B4-BE49-F238E27FC236}">
                <a16:creationId xmlns:a16="http://schemas.microsoft.com/office/drawing/2014/main" id="{F3503F8F-A858-4499-AB88-705296B757C5}"/>
              </a:ext>
            </a:extLst>
          </p:cNvPr>
          <p:cNvSpPr/>
          <p:nvPr/>
        </p:nvSpPr>
        <p:spPr>
          <a:xfrm rot="5400000">
            <a:off x="1033964" y="2381080"/>
            <a:ext cx="538369" cy="427521"/>
          </a:xfrm>
          <a:prstGeom prst="rightArrow">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21" name="Flecha: a la derecha 10">
            <a:extLst>
              <a:ext uri="{FF2B5EF4-FFF2-40B4-BE49-F238E27FC236}">
                <a16:creationId xmlns:a16="http://schemas.microsoft.com/office/drawing/2014/main" id="{F3503F8F-A858-4499-AB88-705296B757C5}"/>
              </a:ext>
            </a:extLst>
          </p:cNvPr>
          <p:cNvSpPr/>
          <p:nvPr/>
        </p:nvSpPr>
        <p:spPr>
          <a:xfrm rot="5400000">
            <a:off x="2024137" y="2381080"/>
            <a:ext cx="538369" cy="427521"/>
          </a:xfrm>
          <a:prstGeom prst="rightArrow">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22" name="Flecha: a la derecha 10">
            <a:extLst>
              <a:ext uri="{FF2B5EF4-FFF2-40B4-BE49-F238E27FC236}">
                <a16:creationId xmlns:a16="http://schemas.microsoft.com/office/drawing/2014/main" id="{F3503F8F-A858-4499-AB88-705296B757C5}"/>
              </a:ext>
            </a:extLst>
          </p:cNvPr>
          <p:cNvSpPr/>
          <p:nvPr/>
        </p:nvSpPr>
        <p:spPr>
          <a:xfrm rot="5400000">
            <a:off x="3014311" y="2381080"/>
            <a:ext cx="538369" cy="427521"/>
          </a:xfrm>
          <a:prstGeom prst="rightArrow">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23" name="CuadroTexto 22"/>
          <p:cNvSpPr txBox="1"/>
          <p:nvPr/>
        </p:nvSpPr>
        <p:spPr>
          <a:xfrm>
            <a:off x="1104054" y="2864025"/>
            <a:ext cx="444352"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BM</a:t>
            </a:r>
          </a:p>
        </p:txBody>
      </p:sp>
      <p:sp>
        <p:nvSpPr>
          <p:cNvPr id="24" name="CuadroTexto 23"/>
          <p:cNvSpPr txBox="1"/>
          <p:nvPr/>
        </p:nvSpPr>
        <p:spPr>
          <a:xfrm>
            <a:off x="2094227" y="2864025"/>
            <a:ext cx="444352"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BM</a:t>
            </a:r>
          </a:p>
        </p:txBody>
      </p:sp>
      <p:sp>
        <p:nvSpPr>
          <p:cNvPr id="25" name="CuadroTexto 24"/>
          <p:cNvSpPr txBox="1"/>
          <p:nvPr/>
        </p:nvSpPr>
        <p:spPr>
          <a:xfrm>
            <a:off x="3084401" y="2864025"/>
            <a:ext cx="444352"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BM</a:t>
            </a:r>
          </a:p>
        </p:txBody>
      </p:sp>
      <p:sp>
        <p:nvSpPr>
          <p:cNvPr id="26" name="CuadroTexto 25">
            <a:extLst>
              <a:ext uri="{FF2B5EF4-FFF2-40B4-BE49-F238E27FC236}">
                <a16:creationId xmlns:a16="http://schemas.microsoft.com/office/drawing/2014/main" id="{7A7EF529-4355-4766-AE94-8176902133FA}"/>
              </a:ext>
            </a:extLst>
          </p:cNvPr>
          <p:cNvSpPr txBox="1"/>
          <p:nvPr/>
        </p:nvSpPr>
        <p:spPr>
          <a:xfrm>
            <a:off x="4664839" y="1983764"/>
            <a:ext cx="4060727"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MRD assessment during maintenance/observation</a:t>
            </a:r>
          </a:p>
        </p:txBody>
      </p:sp>
      <p:sp>
        <p:nvSpPr>
          <p:cNvPr id="27" name="Flecha: a la derecha 10">
            <a:extLst>
              <a:ext uri="{FF2B5EF4-FFF2-40B4-BE49-F238E27FC236}">
                <a16:creationId xmlns:a16="http://schemas.microsoft.com/office/drawing/2014/main" id="{F3503F8F-A858-4499-AB88-705296B757C5}"/>
              </a:ext>
            </a:extLst>
          </p:cNvPr>
          <p:cNvSpPr/>
          <p:nvPr/>
        </p:nvSpPr>
        <p:spPr>
          <a:xfrm rot="5400000">
            <a:off x="5383995" y="2381081"/>
            <a:ext cx="538369" cy="427521"/>
          </a:xfrm>
          <a:prstGeom prst="rightArrow">
            <a:avLst/>
          </a:prstGeom>
          <a:noFill/>
          <a:ln w="127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28" name="Flecha: a la derecha 10">
            <a:extLst>
              <a:ext uri="{FF2B5EF4-FFF2-40B4-BE49-F238E27FC236}">
                <a16:creationId xmlns:a16="http://schemas.microsoft.com/office/drawing/2014/main" id="{F3503F8F-A858-4499-AB88-705296B757C5}"/>
              </a:ext>
            </a:extLst>
          </p:cNvPr>
          <p:cNvSpPr/>
          <p:nvPr/>
        </p:nvSpPr>
        <p:spPr>
          <a:xfrm rot="5400000">
            <a:off x="6040458" y="2381081"/>
            <a:ext cx="538369" cy="427521"/>
          </a:xfrm>
          <a:prstGeom prst="rightArrow">
            <a:avLst/>
          </a:prstGeom>
          <a:noFill/>
          <a:ln w="127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29" name="Flecha: a la derecha 10">
            <a:extLst>
              <a:ext uri="{FF2B5EF4-FFF2-40B4-BE49-F238E27FC236}">
                <a16:creationId xmlns:a16="http://schemas.microsoft.com/office/drawing/2014/main" id="{F3503F8F-A858-4499-AB88-705296B757C5}"/>
              </a:ext>
            </a:extLst>
          </p:cNvPr>
          <p:cNvSpPr/>
          <p:nvPr/>
        </p:nvSpPr>
        <p:spPr>
          <a:xfrm rot="5400000">
            <a:off x="6696920" y="2381081"/>
            <a:ext cx="538369" cy="427521"/>
          </a:xfrm>
          <a:prstGeom prst="rightArrow">
            <a:avLst/>
          </a:prstGeom>
          <a:noFill/>
          <a:ln w="127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30" name="CuadroTexto 29"/>
          <p:cNvSpPr txBox="1"/>
          <p:nvPr/>
        </p:nvSpPr>
        <p:spPr>
          <a:xfrm>
            <a:off x="5468676" y="2864026"/>
            <a:ext cx="415498"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PB</a:t>
            </a:r>
          </a:p>
        </p:txBody>
      </p:sp>
      <p:sp>
        <p:nvSpPr>
          <p:cNvPr id="31" name="CuadroTexto 30"/>
          <p:cNvSpPr txBox="1"/>
          <p:nvPr/>
        </p:nvSpPr>
        <p:spPr>
          <a:xfrm>
            <a:off x="6125140" y="2864026"/>
            <a:ext cx="415498"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PB</a:t>
            </a:r>
          </a:p>
        </p:txBody>
      </p:sp>
      <p:sp>
        <p:nvSpPr>
          <p:cNvPr id="32" name="CuadroTexto 31"/>
          <p:cNvSpPr txBox="1"/>
          <p:nvPr/>
        </p:nvSpPr>
        <p:spPr>
          <a:xfrm>
            <a:off x="6781601" y="2864026"/>
            <a:ext cx="415498"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PB</a:t>
            </a:r>
          </a:p>
        </p:txBody>
      </p:sp>
      <p:sp>
        <p:nvSpPr>
          <p:cNvPr id="33" name="Flecha: a la derecha 10">
            <a:extLst>
              <a:ext uri="{FF2B5EF4-FFF2-40B4-BE49-F238E27FC236}">
                <a16:creationId xmlns:a16="http://schemas.microsoft.com/office/drawing/2014/main" id="{F3503F8F-A858-4499-AB88-705296B757C5}"/>
              </a:ext>
            </a:extLst>
          </p:cNvPr>
          <p:cNvSpPr/>
          <p:nvPr/>
        </p:nvSpPr>
        <p:spPr>
          <a:xfrm rot="5400000">
            <a:off x="4741146" y="2381080"/>
            <a:ext cx="538369" cy="427521"/>
          </a:xfrm>
          <a:prstGeom prst="rightArrow">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34" name="CuadroTexto 33"/>
          <p:cNvSpPr txBox="1"/>
          <p:nvPr/>
        </p:nvSpPr>
        <p:spPr>
          <a:xfrm>
            <a:off x="4811237" y="2864025"/>
            <a:ext cx="444352"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BM</a:t>
            </a:r>
          </a:p>
        </p:txBody>
      </p:sp>
      <p:sp>
        <p:nvSpPr>
          <p:cNvPr id="35" name="Flecha: a la derecha 10">
            <a:extLst>
              <a:ext uri="{FF2B5EF4-FFF2-40B4-BE49-F238E27FC236}">
                <a16:creationId xmlns:a16="http://schemas.microsoft.com/office/drawing/2014/main" id="{F3503F8F-A858-4499-AB88-705296B757C5}"/>
              </a:ext>
            </a:extLst>
          </p:cNvPr>
          <p:cNvSpPr/>
          <p:nvPr/>
        </p:nvSpPr>
        <p:spPr>
          <a:xfrm rot="5400000">
            <a:off x="7999393" y="2381081"/>
            <a:ext cx="538369" cy="427521"/>
          </a:xfrm>
          <a:prstGeom prst="rightArrow">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36" name="CuadroTexto 35"/>
          <p:cNvSpPr txBox="1"/>
          <p:nvPr/>
        </p:nvSpPr>
        <p:spPr>
          <a:xfrm>
            <a:off x="8069483" y="2864026"/>
            <a:ext cx="444352"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BM</a:t>
            </a:r>
          </a:p>
        </p:txBody>
      </p:sp>
      <p:sp>
        <p:nvSpPr>
          <p:cNvPr id="37" name="Flecha: a la derecha 10">
            <a:extLst>
              <a:ext uri="{FF2B5EF4-FFF2-40B4-BE49-F238E27FC236}">
                <a16:creationId xmlns:a16="http://schemas.microsoft.com/office/drawing/2014/main" id="{F3503F8F-A858-4499-AB88-705296B757C5}"/>
              </a:ext>
            </a:extLst>
          </p:cNvPr>
          <p:cNvSpPr/>
          <p:nvPr/>
        </p:nvSpPr>
        <p:spPr>
          <a:xfrm rot="5400000">
            <a:off x="7340823" y="2381081"/>
            <a:ext cx="538369" cy="427521"/>
          </a:xfrm>
          <a:prstGeom prst="rightArrow">
            <a:avLst/>
          </a:prstGeom>
          <a:noFill/>
          <a:ln w="127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panose="020B0604020202020204" pitchFamily="34" charset="0"/>
              <a:cs typeface="Arial" panose="020B0604020202020204" pitchFamily="34" charset="0"/>
            </a:endParaRPr>
          </a:p>
        </p:txBody>
      </p:sp>
      <p:sp>
        <p:nvSpPr>
          <p:cNvPr id="38" name="CuadroTexto 37"/>
          <p:cNvSpPr txBox="1"/>
          <p:nvPr/>
        </p:nvSpPr>
        <p:spPr>
          <a:xfrm>
            <a:off x="7425505" y="2864026"/>
            <a:ext cx="415498" cy="300082"/>
          </a:xfrm>
          <a:prstGeom prst="rect">
            <a:avLst/>
          </a:prstGeom>
          <a:noFill/>
        </p:spPr>
        <p:txBody>
          <a:bodyPr wrap="none" rtlCol="0">
            <a:spAutoFit/>
          </a:bodyPr>
          <a:lstStyle/>
          <a:p>
            <a:pPr defTabSz="685800">
              <a:defRPr/>
            </a:pPr>
            <a:r>
              <a:rPr lang="en-US" sz="1350">
                <a:solidFill>
                  <a:prstClr val="black"/>
                </a:solidFill>
                <a:latin typeface="Arial" panose="020B0604020202020204" pitchFamily="34" charset="0"/>
                <a:cs typeface="Arial" panose="020B0604020202020204" pitchFamily="34" charset="0"/>
              </a:rPr>
              <a:t>PB</a:t>
            </a:r>
          </a:p>
        </p:txBody>
      </p:sp>
    </p:spTree>
    <p:extLst>
      <p:ext uri="{BB962C8B-B14F-4D97-AF65-F5344CB8AC3E}">
        <p14:creationId xmlns:p14="http://schemas.microsoft.com/office/powerpoint/2010/main" val="343803413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Hexágono 4"/>
          <p:cNvSpPr/>
          <p:nvPr/>
        </p:nvSpPr>
        <p:spPr>
          <a:xfrm>
            <a:off x="2911092" y="1735634"/>
            <a:ext cx="1620000" cy="1485000"/>
          </a:xfrm>
          <a:prstGeom prst="hexagon">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6" name="CuadroTexto 5"/>
          <p:cNvSpPr txBox="1"/>
          <p:nvPr/>
        </p:nvSpPr>
        <p:spPr>
          <a:xfrm>
            <a:off x="3372278" y="2328093"/>
            <a:ext cx="697628" cy="323165"/>
          </a:xfrm>
          <a:prstGeom prst="rect">
            <a:avLst/>
          </a:prstGeom>
          <a:noFill/>
        </p:spPr>
        <p:txBody>
          <a:bodyPr wrap="none" rtlCol="0">
            <a:spAutoFit/>
          </a:bodyPr>
          <a:lstStyle/>
          <a:p>
            <a:pPr algn="ctr" defTabSz="685800">
              <a:defRPr/>
            </a:pPr>
            <a:r>
              <a:rPr lang="en-US" sz="1500" b="1">
                <a:solidFill>
                  <a:prstClr val="black"/>
                </a:solidFill>
                <a:latin typeface="Arial" panose="020B0604020202020204" pitchFamily="34" charset="0"/>
                <a:cs typeface="Arial" panose="020B0604020202020204" pitchFamily="34" charset="0"/>
              </a:rPr>
              <a:t>R-ISS</a:t>
            </a:r>
          </a:p>
        </p:txBody>
      </p:sp>
      <p:sp>
        <p:nvSpPr>
          <p:cNvPr id="7" name="Hexágono 6"/>
          <p:cNvSpPr/>
          <p:nvPr/>
        </p:nvSpPr>
        <p:spPr>
          <a:xfrm>
            <a:off x="2893559" y="3520716"/>
            <a:ext cx="1620000" cy="1485000"/>
          </a:xfrm>
          <a:prstGeom prst="hexagon">
            <a:avLst/>
          </a:prstGeom>
          <a:solidFill>
            <a:srgbClr val="FF0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8" name="CuadroTexto 7"/>
          <p:cNvSpPr txBox="1"/>
          <p:nvPr/>
        </p:nvSpPr>
        <p:spPr>
          <a:xfrm>
            <a:off x="3394572" y="4113175"/>
            <a:ext cx="612668" cy="323165"/>
          </a:xfrm>
          <a:prstGeom prst="rect">
            <a:avLst/>
          </a:prstGeom>
          <a:noFill/>
        </p:spPr>
        <p:txBody>
          <a:bodyPr wrap="none" rtlCol="0">
            <a:spAutoFit/>
          </a:bodyPr>
          <a:lstStyle/>
          <a:p>
            <a:pPr algn="ctr" defTabSz="685800">
              <a:defRPr/>
            </a:pPr>
            <a:r>
              <a:rPr lang="en-US" sz="1500" b="1">
                <a:solidFill>
                  <a:prstClr val="white"/>
                </a:solidFill>
                <a:latin typeface="Arial" panose="020B0604020202020204" pitchFamily="34" charset="0"/>
                <a:cs typeface="Arial" panose="020B0604020202020204" pitchFamily="34" charset="0"/>
              </a:rPr>
              <a:t>EMD</a:t>
            </a:r>
          </a:p>
        </p:txBody>
      </p:sp>
      <p:sp>
        <p:nvSpPr>
          <p:cNvPr id="9" name="Hexágono 8"/>
          <p:cNvSpPr/>
          <p:nvPr/>
        </p:nvSpPr>
        <p:spPr>
          <a:xfrm>
            <a:off x="4323033" y="2628175"/>
            <a:ext cx="1620000" cy="1485000"/>
          </a:xfrm>
          <a:prstGeom prst="hexagon">
            <a:avLst/>
          </a:prstGeom>
          <a:solidFill>
            <a:schemeClr val="accent4">
              <a:lumMod val="5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0" name="CuadroTexto 9"/>
          <p:cNvSpPr txBox="1"/>
          <p:nvPr/>
        </p:nvSpPr>
        <p:spPr>
          <a:xfrm>
            <a:off x="4749508" y="3220634"/>
            <a:ext cx="761747" cy="323165"/>
          </a:xfrm>
          <a:prstGeom prst="rect">
            <a:avLst/>
          </a:prstGeom>
          <a:noFill/>
        </p:spPr>
        <p:txBody>
          <a:bodyPr wrap="none" rtlCol="0">
            <a:spAutoFit/>
          </a:bodyPr>
          <a:lstStyle/>
          <a:p>
            <a:pPr algn="ctr" defTabSz="685800">
              <a:defRPr/>
            </a:pPr>
            <a:r>
              <a:rPr lang="en-US" sz="1500" b="1">
                <a:solidFill>
                  <a:prstClr val="white"/>
                </a:solidFill>
                <a:latin typeface="Arial" panose="020B0604020202020204" pitchFamily="34" charset="0"/>
                <a:cs typeface="Arial" panose="020B0604020202020204" pitchFamily="34" charset="0"/>
              </a:rPr>
              <a:t>Frailty</a:t>
            </a:r>
          </a:p>
        </p:txBody>
      </p:sp>
      <p:sp>
        <p:nvSpPr>
          <p:cNvPr id="11" name="Hexágono 10"/>
          <p:cNvSpPr/>
          <p:nvPr/>
        </p:nvSpPr>
        <p:spPr>
          <a:xfrm>
            <a:off x="4323033" y="959394"/>
            <a:ext cx="1620000" cy="1485000"/>
          </a:xfrm>
          <a:prstGeom prst="hexagon">
            <a:avLst/>
          </a:prstGeom>
          <a:solidFill>
            <a:schemeClr val="accent4">
              <a:lumMod val="5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2" name="CuadroTexto 11"/>
          <p:cNvSpPr txBox="1"/>
          <p:nvPr/>
        </p:nvSpPr>
        <p:spPr>
          <a:xfrm>
            <a:off x="4460968" y="1551853"/>
            <a:ext cx="1338829" cy="323165"/>
          </a:xfrm>
          <a:prstGeom prst="rect">
            <a:avLst/>
          </a:prstGeom>
          <a:noFill/>
        </p:spPr>
        <p:txBody>
          <a:bodyPr wrap="none" rtlCol="0">
            <a:spAutoFit/>
          </a:bodyPr>
          <a:lstStyle/>
          <a:p>
            <a:pPr algn="ctr" defTabSz="685800">
              <a:defRPr/>
            </a:pPr>
            <a:r>
              <a:rPr lang="en-US" sz="1500" b="1">
                <a:solidFill>
                  <a:prstClr val="white"/>
                </a:solidFill>
                <a:latin typeface="Arial" panose="020B0604020202020204" pitchFamily="34" charset="0"/>
                <a:cs typeface="Arial" panose="020B0604020202020204" pitchFamily="34" charset="0"/>
              </a:rPr>
              <a:t>Renal failure</a:t>
            </a:r>
          </a:p>
        </p:txBody>
      </p:sp>
      <p:sp>
        <p:nvSpPr>
          <p:cNvPr id="13" name="Hexágono 12"/>
          <p:cNvSpPr/>
          <p:nvPr/>
        </p:nvSpPr>
        <p:spPr>
          <a:xfrm>
            <a:off x="1499150" y="906952"/>
            <a:ext cx="1620000" cy="1485000"/>
          </a:xfrm>
          <a:prstGeom prst="hexagon">
            <a:avLst/>
          </a:prstGeom>
          <a:solidFill>
            <a:srgbClr val="7030A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4" name="CuadroTexto 13"/>
          <p:cNvSpPr txBox="1"/>
          <p:nvPr/>
        </p:nvSpPr>
        <p:spPr>
          <a:xfrm>
            <a:off x="1877535" y="1499411"/>
            <a:ext cx="857928" cy="323165"/>
          </a:xfrm>
          <a:prstGeom prst="rect">
            <a:avLst/>
          </a:prstGeom>
          <a:noFill/>
        </p:spPr>
        <p:txBody>
          <a:bodyPr wrap="none" rtlCol="0">
            <a:spAutoFit/>
          </a:bodyPr>
          <a:lstStyle/>
          <a:p>
            <a:pPr algn="ctr" defTabSz="685800">
              <a:defRPr/>
            </a:pPr>
            <a:r>
              <a:rPr lang="en-US" sz="1500" b="1">
                <a:solidFill>
                  <a:prstClr val="white"/>
                </a:solidFill>
                <a:latin typeface="Arial" panose="020B0604020202020204" pitchFamily="34" charset="0"/>
                <a:cs typeface="Arial" panose="020B0604020202020204" pitchFamily="34" charset="0"/>
              </a:rPr>
              <a:t>1q amp</a:t>
            </a:r>
          </a:p>
        </p:txBody>
      </p:sp>
      <p:sp>
        <p:nvSpPr>
          <p:cNvPr id="15" name="Hexágono 14"/>
          <p:cNvSpPr/>
          <p:nvPr/>
        </p:nvSpPr>
        <p:spPr>
          <a:xfrm>
            <a:off x="86323" y="1799493"/>
            <a:ext cx="1620000" cy="1485000"/>
          </a:xfrm>
          <a:prstGeom prst="hexagon">
            <a:avLst/>
          </a:prstGeom>
          <a:solidFill>
            <a:srgbClr val="7030A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6" name="CuadroTexto 15"/>
          <p:cNvSpPr txBox="1"/>
          <p:nvPr/>
        </p:nvSpPr>
        <p:spPr>
          <a:xfrm>
            <a:off x="193001" y="2391952"/>
            <a:ext cx="1401346" cy="323165"/>
          </a:xfrm>
          <a:prstGeom prst="rect">
            <a:avLst/>
          </a:prstGeom>
          <a:noFill/>
        </p:spPr>
        <p:txBody>
          <a:bodyPr wrap="none" rtlCol="0">
            <a:spAutoFit/>
          </a:bodyPr>
          <a:lstStyle/>
          <a:p>
            <a:pPr algn="ctr" defTabSz="685800">
              <a:defRPr/>
            </a:pPr>
            <a:r>
              <a:rPr lang="en-US" sz="1500" b="1" i="1">
                <a:solidFill>
                  <a:prstClr val="white"/>
                </a:solidFill>
                <a:latin typeface="Arial" panose="020B0604020202020204" pitchFamily="34" charset="0"/>
                <a:cs typeface="Arial" panose="020B0604020202020204" pitchFamily="34" charset="0"/>
              </a:rPr>
              <a:t>TP53</a:t>
            </a:r>
            <a:r>
              <a:rPr lang="en-US" sz="1500" b="1">
                <a:solidFill>
                  <a:prstClr val="white"/>
                </a:solidFill>
                <a:latin typeface="Arial" panose="020B0604020202020204" pitchFamily="34" charset="0"/>
                <a:cs typeface="Arial" panose="020B0604020202020204" pitchFamily="34" charset="0"/>
              </a:rPr>
              <a:t> biallelic</a:t>
            </a:r>
          </a:p>
        </p:txBody>
      </p:sp>
      <p:sp>
        <p:nvSpPr>
          <p:cNvPr id="17" name="Hexágono 16"/>
          <p:cNvSpPr/>
          <p:nvPr/>
        </p:nvSpPr>
        <p:spPr>
          <a:xfrm>
            <a:off x="1499150" y="2628175"/>
            <a:ext cx="1620000" cy="1485000"/>
          </a:xfrm>
          <a:prstGeom prst="hexagon">
            <a:avLst/>
          </a:prstGeom>
          <a:solidFill>
            <a:srgbClr val="FF0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8" name="CuadroTexto 17"/>
          <p:cNvSpPr txBox="1"/>
          <p:nvPr/>
        </p:nvSpPr>
        <p:spPr>
          <a:xfrm>
            <a:off x="1641893" y="3220634"/>
            <a:ext cx="1329211" cy="323165"/>
          </a:xfrm>
          <a:prstGeom prst="rect">
            <a:avLst/>
          </a:prstGeom>
          <a:noFill/>
        </p:spPr>
        <p:txBody>
          <a:bodyPr wrap="none" rtlCol="0">
            <a:spAutoFit/>
          </a:bodyPr>
          <a:lstStyle/>
          <a:p>
            <a:pPr algn="ctr" defTabSz="685800">
              <a:defRPr/>
            </a:pPr>
            <a:r>
              <a:rPr lang="en-US" sz="1500" b="1">
                <a:solidFill>
                  <a:prstClr val="white"/>
                </a:solidFill>
                <a:latin typeface="Arial" panose="020B0604020202020204" pitchFamily="34" charset="0"/>
                <a:cs typeface="Arial" panose="020B0604020202020204" pitchFamily="34" charset="0"/>
              </a:rPr>
              <a:t>PC leukemia</a:t>
            </a:r>
          </a:p>
        </p:txBody>
      </p:sp>
      <p:sp>
        <p:nvSpPr>
          <p:cNvPr id="19" name="Hexágono 18"/>
          <p:cNvSpPr/>
          <p:nvPr/>
        </p:nvSpPr>
        <p:spPr>
          <a:xfrm>
            <a:off x="86323" y="3520716"/>
            <a:ext cx="1620000" cy="1485000"/>
          </a:xfrm>
          <a:prstGeom prst="hexagon">
            <a:avLst/>
          </a:prstGeom>
          <a:solidFill>
            <a:srgbClr val="FF0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20" name="CuadroTexto 19"/>
          <p:cNvSpPr txBox="1"/>
          <p:nvPr/>
        </p:nvSpPr>
        <p:spPr>
          <a:xfrm>
            <a:off x="549669" y="4113175"/>
            <a:ext cx="688009" cy="323165"/>
          </a:xfrm>
          <a:prstGeom prst="rect">
            <a:avLst/>
          </a:prstGeom>
          <a:noFill/>
        </p:spPr>
        <p:txBody>
          <a:bodyPr wrap="none" rtlCol="0">
            <a:spAutoFit/>
          </a:bodyPr>
          <a:lstStyle/>
          <a:p>
            <a:pPr algn="ctr" defTabSz="685800">
              <a:defRPr/>
            </a:pPr>
            <a:r>
              <a:rPr lang="en-US" sz="1500" b="1">
                <a:solidFill>
                  <a:prstClr val="white"/>
                </a:solidFill>
                <a:latin typeface="Arial" panose="020B0604020202020204" pitchFamily="34" charset="0"/>
                <a:cs typeface="Arial" panose="020B0604020202020204" pitchFamily="34" charset="0"/>
              </a:rPr>
              <a:t>CTCs</a:t>
            </a:r>
          </a:p>
        </p:txBody>
      </p:sp>
      <p:sp>
        <p:nvSpPr>
          <p:cNvPr id="21" name="Flecha a la derecha con bandas 20"/>
          <p:cNvSpPr/>
          <p:nvPr/>
        </p:nvSpPr>
        <p:spPr>
          <a:xfrm>
            <a:off x="5734976" y="1851936"/>
            <a:ext cx="1639008" cy="1368698"/>
          </a:xfrm>
          <a:prstGeom prst="stripedRightArrow">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22" name="CuadroTexto 21"/>
          <p:cNvSpPr txBox="1"/>
          <p:nvPr/>
        </p:nvSpPr>
        <p:spPr>
          <a:xfrm>
            <a:off x="5795121" y="2391952"/>
            <a:ext cx="1578863" cy="323165"/>
          </a:xfrm>
          <a:prstGeom prst="rect">
            <a:avLst/>
          </a:prstGeom>
          <a:noFill/>
        </p:spPr>
        <p:txBody>
          <a:bodyPr wrap="square" rtlCol="0">
            <a:spAutoFit/>
          </a:bodyPr>
          <a:lstStyle/>
          <a:p>
            <a:pPr algn="ctr" defTabSz="685800">
              <a:defRPr/>
            </a:pPr>
            <a:r>
              <a:rPr lang="en-US" sz="1500" b="1">
                <a:solidFill>
                  <a:prstClr val="black"/>
                </a:solidFill>
                <a:latin typeface="Arial" panose="020B0604020202020204" pitchFamily="34" charset="0"/>
                <a:cs typeface="Arial" panose="020B0604020202020204" pitchFamily="34" charset="0"/>
              </a:rPr>
              <a:t>Treatment</a:t>
            </a:r>
          </a:p>
        </p:txBody>
      </p:sp>
      <p:sp>
        <p:nvSpPr>
          <p:cNvPr id="23" name="Hexágono 22"/>
          <p:cNvSpPr/>
          <p:nvPr/>
        </p:nvSpPr>
        <p:spPr>
          <a:xfrm>
            <a:off x="7472724" y="1799493"/>
            <a:ext cx="1620000" cy="1485000"/>
          </a:xfrm>
          <a:prstGeom prst="hexagon">
            <a:avLst/>
          </a:prstGeom>
          <a:solidFill>
            <a:srgbClr val="0000F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24" name="CuadroTexto 23"/>
          <p:cNvSpPr txBox="1"/>
          <p:nvPr/>
        </p:nvSpPr>
        <p:spPr>
          <a:xfrm>
            <a:off x="7968128" y="2391952"/>
            <a:ext cx="623890" cy="323165"/>
          </a:xfrm>
          <a:prstGeom prst="rect">
            <a:avLst/>
          </a:prstGeom>
          <a:noFill/>
        </p:spPr>
        <p:txBody>
          <a:bodyPr wrap="none" rtlCol="0">
            <a:spAutoFit/>
          </a:bodyPr>
          <a:lstStyle/>
          <a:p>
            <a:pPr algn="ctr" defTabSz="685800">
              <a:defRPr/>
            </a:pPr>
            <a:r>
              <a:rPr lang="en-US" sz="1500" b="1">
                <a:solidFill>
                  <a:prstClr val="white"/>
                </a:solidFill>
                <a:latin typeface="Arial" panose="020B0604020202020204" pitchFamily="34" charset="0"/>
                <a:cs typeface="Arial" panose="020B0604020202020204" pitchFamily="34" charset="0"/>
              </a:rPr>
              <a:t>MRD</a:t>
            </a:r>
          </a:p>
        </p:txBody>
      </p:sp>
      <p:sp>
        <p:nvSpPr>
          <p:cNvPr id="25" name="Título 2"/>
          <p:cNvSpPr txBox="1">
            <a:spLocks/>
          </p:cNvSpPr>
          <p:nvPr/>
        </p:nvSpPr>
        <p:spPr>
          <a:xfrm>
            <a:off x="142844" y="92266"/>
            <a:ext cx="8229600" cy="375032"/>
          </a:xfrm>
          <a:prstGeom prst="rect">
            <a:avLst/>
          </a:prstGeom>
        </p:spPr>
        <p:txBody>
          <a:bodyPr/>
          <a:lstStyle>
            <a:lvl1pPr algn="l" rtl="0" eaLnBrk="0" fontAlgn="base" hangingPunct="0">
              <a:spcBef>
                <a:spcPct val="0"/>
              </a:spcBef>
              <a:spcAft>
                <a:spcPct val="0"/>
              </a:spcAft>
              <a:defRPr lang="es-ES" sz="2400" b="1" kern="1200" dirty="0">
                <a:solidFill>
                  <a:srgbClr val="8F251C"/>
                </a:solidFill>
                <a:latin typeface="Trebuchet MS" pitchFamily="34" charset="0"/>
                <a:ea typeface="+mn-ea"/>
                <a:cs typeface="Arial"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685800">
              <a:defRPr/>
            </a:pPr>
            <a:r>
              <a:rPr lang="en-US" sz="2100">
                <a:solidFill>
                  <a:srgbClr val="800000"/>
                </a:solidFill>
                <a:latin typeface="Arial" panose="020B0604020202020204" pitchFamily="34" charset="0"/>
                <a:cs typeface="Arial" panose="020B0604020202020204" pitchFamily="34" charset="0"/>
              </a:rPr>
              <a:t>Comprehensive Patient Characterization for Precision Medicine</a:t>
            </a:r>
          </a:p>
          <a:p>
            <a:pPr defTabSz="685800">
              <a:defRPr/>
            </a:pPr>
            <a:endParaRPr lang="en-US" sz="2100">
              <a:solidFill>
                <a:srgbClr val="800000"/>
              </a:solidFill>
              <a:latin typeface="Arial" panose="020B0604020202020204" pitchFamily="34" charset="0"/>
              <a:cs typeface="Arial" panose="020B0604020202020204" pitchFamily="34" charset="0"/>
            </a:endParaRPr>
          </a:p>
        </p:txBody>
      </p:sp>
      <p:sp>
        <p:nvSpPr>
          <p:cNvPr id="26" name="Marcador de texto 3"/>
          <p:cNvSpPr txBox="1">
            <a:spLocks/>
          </p:cNvSpPr>
          <p:nvPr/>
        </p:nvSpPr>
        <p:spPr>
          <a:xfrm>
            <a:off x="142844" y="467298"/>
            <a:ext cx="8786874" cy="322255"/>
          </a:xfrm>
          <a:prstGeom prst="rect">
            <a:avLst/>
          </a:prstGeom>
        </p:spPr>
        <p:txBody>
          <a:bodyPr vert="horz" lIns="68580" tIns="34290" rIns="68580" bIns="34290" rtlCol="0" anchor="ctr"/>
          <a:lstStyle>
            <a:defPPr>
              <a:defRPr lang="es-ES"/>
            </a:defPPr>
            <a:lvl1pPr algn="ctr" rtl="0" fontAlgn="base">
              <a:spcBef>
                <a:spcPct val="0"/>
              </a:spcBef>
              <a:spcAft>
                <a:spcPct val="0"/>
              </a:spcAft>
              <a:defRPr sz="1200" kern="120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685800">
              <a:defRPr/>
            </a:pPr>
            <a:r>
              <a:rPr lang="en-US" sz="1800" b="1">
                <a:solidFill>
                  <a:prstClr val="black">
                    <a:lumMod val="65000"/>
                    <a:lumOff val="35000"/>
                  </a:prstClr>
                </a:solidFill>
              </a:rPr>
              <a:t>Role for MRD assessment</a:t>
            </a:r>
          </a:p>
        </p:txBody>
      </p:sp>
      <p:sp>
        <p:nvSpPr>
          <p:cNvPr id="27" name="Rectángulo 26">
            <a:extLst>
              <a:ext uri="{FF2B5EF4-FFF2-40B4-BE49-F238E27FC236}">
                <a16:creationId xmlns:a16="http://schemas.microsoft.com/office/drawing/2014/main" id="{436A7538-5F00-4CE9-B749-B72DEEABA87D}"/>
              </a:ext>
            </a:extLst>
          </p:cNvPr>
          <p:cNvSpPr/>
          <p:nvPr/>
        </p:nvSpPr>
        <p:spPr>
          <a:xfrm>
            <a:off x="7418849" y="4937679"/>
            <a:ext cx="1725152" cy="207749"/>
          </a:xfrm>
          <a:prstGeom prst="rect">
            <a:avLst/>
          </a:prstGeom>
        </p:spPr>
        <p:txBody>
          <a:bodyPr wrap="none">
            <a:spAutoFit/>
          </a:bodyPr>
          <a:lstStyle/>
          <a:p>
            <a:pPr algn="r" defTabSz="685783" eaLnBrk="0" fontAlgn="base" hangingPunct="0">
              <a:spcBef>
                <a:spcPct val="0"/>
              </a:spcBef>
              <a:spcAft>
                <a:spcPct val="0"/>
              </a:spcAft>
              <a:defRPr/>
            </a:pPr>
            <a:r>
              <a:rPr lang="en-US" sz="750">
                <a:solidFill>
                  <a:srgbClr val="000000"/>
                </a:solidFill>
                <a:latin typeface="Arial" panose="020B0604020202020204" pitchFamily="34" charset="0"/>
                <a:ea typeface="ＭＳ Ｐゴシック" charset="-128"/>
                <a:cs typeface="Arial"/>
              </a:rPr>
              <a:t>Slide from Dr GJ Morgan (modified).</a:t>
            </a:r>
            <a:endParaRPr lang="en-US" sz="750" i="1">
              <a:solidFill>
                <a:srgbClr val="000000"/>
              </a:solidFill>
              <a:latin typeface="Arial" panose="020B0604020202020204" pitchFamily="34" charset="0"/>
              <a:ea typeface="ＭＳ Ｐゴシック" charset="-128"/>
              <a:cs typeface="Arial"/>
            </a:endParaRPr>
          </a:p>
        </p:txBody>
      </p:sp>
    </p:spTree>
    <p:extLst>
      <p:ext uri="{BB962C8B-B14F-4D97-AF65-F5344CB8AC3E}">
        <p14:creationId xmlns:p14="http://schemas.microsoft.com/office/powerpoint/2010/main" val="80240672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72855" y="205979"/>
            <a:ext cx="8117146" cy="857250"/>
          </a:xfrm>
        </p:spPr>
        <p:txBody>
          <a:bodyPr/>
          <a:lstStyle/>
          <a:p>
            <a:r>
              <a:rPr lang="en-US" b="1" u="sng" noProof="0"/>
              <a:t>Will</a:t>
            </a:r>
            <a:r>
              <a:rPr lang="en-US" noProof="0"/>
              <a:t> you perform MRD and genetic testing in routine practice? </a:t>
            </a:r>
          </a:p>
        </p:txBody>
      </p:sp>
      <p:sp>
        <p:nvSpPr>
          <p:cNvPr id="3" name="Marcador de contenido 2"/>
          <p:cNvSpPr>
            <a:spLocks noGrp="1"/>
          </p:cNvSpPr>
          <p:nvPr>
            <p:ph idx="1"/>
          </p:nvPr>
        </p:nvSpPr>
        <p:spPr/>
        <p:txBody>
          <a:bodyPr vert="horz" lIns="91440" tIns="45720" rIns="91440" bIns="45720" rtlCol="0" anchor="t">
            <a:normAutofit/>
          </a:bodyPr>
          <a:lstStyle/>
          <a:p>
            <a:endParaRPr lang="en-US" noProof="0"/>
          </a:p>
          <a:p>
            <a:pPr marL="342900" indent="-342900">
              <a:lnSpc>
                <a:spcPct val="90000"/>
              </a:lnSpc>
              <a:spcBef>
                <a:spcPts val="600"/>
              </a:spcBef>
              <a:buClr>
                <a:schemeClr val="accent1"/>
              </a:buClr>
              <a:buFont typeface="+mj-lt"/>
              <a:buAutoNum type="arabicPeriod"/>
            </a:pPr>
            <a:r>
              <a:rPr lang="en-US" sz="2000" noProof="0">
                <a:solidFill>
                  <a:schemeClr val="tx1">
                    <a:lumMod val="85000"/>
                    <a:lumOff val="15000"/>
                  </a:schemeClr>
                </a:solidFill>
                <a:latin typeface="Arial"/>
                <a:cs typeface="Arial"/>
              </a:rPr>
              <a:t>Yes</a:t>
            </a:r>
          </a:p>
          <a:p>
            <a:pPr marL="342900" indent="-342900">
              <a:lnSpc>
                <a:spcPct val="90000"/>
              </a:lnSpc>
              <a:spcBef>
                <a:spcPts val="600"/>
              </a:spcBef>
              <a:buClr>
                <a:schemeClr val="accent1"/>
              </a:buClr>
              <a:buFont typeface="+mj-lt"/>
              <a:buAutoNum type="arabicPeriod"/>
            </a:pPr>
            <a:r>
              <a:rPr lang="en-US" sz="2000" noProof="0">
                <a:solidFill>
                  <a:schemeClr val="tx1">
                    <a:lumMod val="85000"/>
                    <a:lumOff val="15000"/>
                  </a:schemeClr>
                </a:solidFill>
                <a:latin typeface="Arial"/>
                <a:cs typeface="Arial"/>
              </a:rPr>
              <a:t>No</a:t>
            </a:r>
          </a:p>
        </p:txBody>
      </p:sp>
      <p:grpSp>
        <p:nvGrpSpPr>
          <p:cNvPr id="4" name="Group 3">
            <a:extLst>
              <a:ext uri="{FF2B5EF4-FFF2-40B4-BE49-F238E27FC236}">
                <a16:creationId xmlns:a16="http://schemas.microsoft.com/office/drawing/2014/main" id="{A6567FD3-E021-4F06-A612-984F6583F6DF}"/>
              </a:ext>
            </a:extLst>
          </p:cNvPr>
          <p:cNvGrpSpPr/>
          <p:nvPr/>
        </p:nvGrpSpPr>
        <p:grpSpPr>
          <a:xfrm>
            <a:off x="52855" y="60269"/>
            <a:ext cx="720000" cy="720000"/>
            <a:chOff x="8151603" y="218984"/>
            <a:chExt cx="720000" cy="720000"/>
          </a:xfrm>
        </p:grpSpPr>
        <p:sp>
          <p:nvSpPr>
            <p:cNvPr id="5" name="Teardrop 4">
              <a:extLst>
                <a:ext uri="{FF2B5EF4-FFF2-40B4-BE49-F238E27FC236}">
                  <a16:creationId xmlns:a16="http://schemas.microsoft.com/office/drawing/2014/main" id="{B2CCF259-DD5E-43EE-84FE-08C6F3D53C47}"/>
                </a:ext>
              </a:extLst>
            </p:cNvPr>
            <p:cNvSpPr/>
            <p:nvPr/>
          </p:nvSpPr>
          <p:spPr bwMode="auto">
            <a:xfrm rot="5400000">
              <a:off x="8151603" y="218984"/>
              <a:ext cx="720000" cy="720000"/>
            </a:xfrm>
            <a:prstGeom prst="teardrop">
              <a:avLst/>
            </a:prstGeom>
            <a:solidFill>
              <a:srgbClr val="00AAB8"/>
            </a:solidFill>
            <a:ln w="25400" cap="flat" cmpd="sng" algn="ctr">
              <a:solidFill>
                <a:srgbClr val="00AAB8"/>
              </a:solidFill>
              <a:prstDash val="soli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defRPr/>
              </a:pPr>
              <a:endParaRPr lang="en-NL" sz="2100" b="1" kern="0">
                <a:solidFill>
                  <a:srgbClr val="FFFF00"/>
                </a:solidFill>
                <a:latin typeface="Arial" pitchFamily="34" charset="0"/>
              </a:endParaRPr>
            </a:p>
          </p:txBody>
        </p:sp>
        <p:sp>
          <p:nvSpPr>
            <p:cNvPr id="6" name="TextBox 5">
              <a:extLst>
                <a:ext uri="{FF2B5EF4-FFF2-40B4-BE49-F238E27FC236}">
                  <a16:creationId xmlns:a16="http://schemas.microsoft.com/office/drawing/2014/main" id="{BE39E1D7-2C24-4007-8D17-7606CCCCF92E}"/>
                </a:ext>
              </a:extLst>
            </p:cNvPr>
            <p:cNvSpPr txBox="1"/>
            <p:nvPr/>
          </p:nvSpPr>
          <p:spPr>
            <a:xfrm>
              <a:off x="8278208" y="240432"/>
              <a:ext cx="466795" cy="677108"/>
            </a:xfrm>
            <a:prstGeom prst="rect">
              <a:avLst/>
            </a:prstGeom>
            <a:noFill/>
            <a:ln>
              <a:noFill/>
            </a:ln>
          </p:spPr>
          <p:txBody>
            <a:bodyPr wrap="square" rtlCol="0" anchor="ctr">
              <a:spAutoFit/>
            </a:bodyPr>
            <a:lstStyle/>
            <a:p>
              <a:pPr algn="ctr" defTabSz="342900">
                <a:defRPr/>
              </a:pPr>
              <a:r>
                <a:rPr lang="en-US" sz="2700" b="1" kern="0">
                  <a:solidFill>
                    <a:srgbClr val="FFFFFF"/>
                  </a:solidFill>
                  <a:latin typeface="Arial" panose="020B0604020202020204" pitchFamily="34" charset="0"/>
                  <a:cs typeface="Arial" panose="020B0604020202020204" pitchFamily="34" charset="0"/>
                </a:rPr>
                <a:t>?</a:t>
              </a:r>
              <a:endParaRPr lang="en-NL" sz="2700" b="1" kern="0">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266963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99A7C-B547-49DC-84D3-C0C57E87487E}"/>
              </a:ext>
            </a:extLst>
          </p:cNvPr>
          <p:cNvSpPr>
            <a:spLocks noGrp="1"/>
          </p:cNvSpPr>
          <p:nvPr>
            <p:ph type="title"/>
          </p:nvPr>
        </p:nvSpPr>
        <p:spPr>
          <a:xfrm>
            <a:off x="179110" y="173418"/>
            <a:ext cx="8766928" cy="527130"/>
          </a:xfrm>
        </p:spPr>
        <p:txBody>
          <a:bodyPr anchor="ctr"/>
          <a:lstStyle/>
          <a:p>
            <a:r>
              <a:rPr lang="en-US" noProof="0"/>
              <a:t>Functionality and Settings: Q&amp;A</a:t>
            </a:r>
          </a:p>
        </p:txBody>
      </p:sp>
      <p:sp>
        <p:nvSpPr>
          <p:cNvPr id="32" name="Content Placeholder 4">
            <a:extLst>
              <a:ext uri="{FF2B5EF4-FFF2-40B4-BE49-F238E27FC236}">
                <a16:creationId xmlns:a16="http://schemas.microsoft.com/office/drawing/2014/main" id="{2BE2EC0C-5645-4C81-9C2F-81C05093A729}"/>
              </a:ext>
            </a:extLst>
          </p:cNvPr>
          <p:cNvSpPr txBox="1">
            <a:spLocks/>
          </p:cNvSpPr>
          <p:nvPr/>
        </p:nvSpPr>
        <p:spPr>
          <a:xfrm>
            <a:off x="183902" y="808559"/>
            <a:ext cx="8776355" cy="3378958"/>
          </a:xfrm>
          <a:prstGeom prst="rect">
            <a:avLst/>
          </a:prstGeom>
        </p:spPr>
        <p:txBody>
          <a:bodyPr>
            <a:noAutofit/>
          </a:bodyPr>
          <a:lstStyle>
            <a:lvl1pPr marL="171450" indent="-171450" algn="l" defTabSz="685800" rtl="0" eaLnBrk="1" latinLnBrk="0" hangingPunct="1">
              <a:lnSpc>
                <a:spcPct val="90000"/>
              </a:lnSpc>
              <a:spcBef>
                <a:spcPts val="750"/>
              </a:spcBef>
              <a:buClr>
                <a:schemeClr val="accent1"/>
              </a:buClr>
              <a:buFont typeface="System Font Regular"/>
              <a:buChar char="&gt;"/>
              <a:defRPr sz="2000" kern="1200">
                <a:solidFill>
                  <a:schemeClr val="tx1">
                    <a:lumMod val="85000"/>
                    <a:lumOff val="15000"/>
                  </a:schemeClr>
                </a:solidFill>
                <a:latin typeface="Arial Nova" panose="020B0504020202020204" pitchFamily="34" charset="0"/>
                <a:ea typeface="+mn-ea"/>
                <a:cs typeface="+mn-cs"/>
              </a:defRPr>
            </a:lvl1pPr>
            <a:lvl2pPr marL="514350" indent="-171450" algn="l" defTabSz="685800" rtl="0" eaLnBrk="1" latinLnBrk="0" hangingPunct="1">
              <a:lnSpc>
                <a:spcPct val="90000"/>
              </a:lnSpc>
              <a:spcBef>
                <a:spcPts val="375"/>
              </a:spcBef>
              <a:buClr>
                <a:schemeClr val="accent1"/>
              </a:buClr>
              <a:buFont typeface="System Font Regular"/>
              <a:buChar char="–"/>
              <a:defRPr sz="1800" kern="1200">
                <a:solidFill>
                  <a:schemeClr val="tx1">
                    <a:lumMod val="85000"/>
                    <a:lumOff val="15000"/>
                  </a:schemeClr>
                </a:solidFill>
                <a:latin typeface="Arial Nova" panose="020B0504020202020204" pitchFamily="34" charset="0"/>
                <a:ea typeface="+mn-ea"/>
                <a:cs typeface="+mn-cs"/>
              </a:defRPr>
            </a:lvl2pPr>
            <a:lvl3pPr marL="857250" indent="-171450" algn="l" defTabSz="685800" rtl="0" eaLnBrk="1" latinLnBrk="0" hangingPunct="1">
              <a:lnSpc>
                <a:spcPct val="90000"/>
              </a:lnSpc>
              <a:spcBef>
                <a:spcPts val="375"/>
              </a:spcBef>
              <a:buClr>
                <a:schemeClr val="accent1"/>
              </a:buClr>
              <a:buFont typeface="Arial" panose="020B0604020202020204" pitchFamily="34" charset="0"/>
              <a:buChar char="•"/>
              <a:defRPr sz="1500" kern="1200">
                <a:solidFill>
                  <a:schemeClr val="tx1">
                    <a:lumMod val="85000"/>
                    <a:lumOff val="15000"/>
                  </a:schemeClr>
                </a:solidFill>
                <a:latin typeface="Arial Nova" panose="020B0504020202020204" pitchFamily="34" charset="0"/>
                <a:ea typeface="+mn-ea"/>
                <a:cs typeface="+mn-cs"/>
              </a:defRPr>
            </a:lvl3pPr>
            <a:lvl4pPr marL="1200150" indent="-171450" algn="l" defTabSz="685800" rtl="0" eaLnBrk="1" latinLnBrk="0" hangingPunct="1">
              <a:lnSpc>
                <a:spcPct val="90000"/>
              </a:lnSpc>
              <a:spcBef>
                <a:spcPts val="375"/>
              </a:spcBef>
              <a:buClr>
                <a:schemeClr val="accent1"/>
              </a:buClr>
              <a:buFont typeface="Wingdings" pitchFamily="2" charset="2"/>
              <a:buChar char="§"/>
              <a:defRPr sz="1350" kern="1200">
                <a:solidFill>
                  <a:schemeClr val="tx1">
                    <a:lumMod val="85000"/>
                    <a:lumOff val="15000"/>
                  </a:schemeClr>
                </a:solidFill>
                <a:latin typeface="Arial Nova" panose="020B0504020202020204" pitchFamily="34" charset="0"/>
                <a:ea typeface="+mn-ea"/>
                <a:cs typeface="+mn-cs"/>
              </a:defRPr>
            </a:lvl4pPr>
            <a:lvl5pPr marL="1543050" indent="-171450" algn="l" defTabSz="685800" rtl="0" eaLnBrk="1" latinLnBrk="0" hangingPunct="1">
              <a:lnSpc>
                <a:spcPct val="90000"/>
              </a:lnSpc>
              <a:spcBef>
                <a:spcPts val="375"/>
              </a:spcBef>
              <a:buClr>
                <a:schemeClr val="accent1"/>
              </a:buClr>
              <a:buFont typeface="System Font Regular"/>
              <a:buChar char="–"/>
              <a:defRPr sz="1350" kern="1200">
                <a:solidFill>
                  <a:schemeClr val="tx1">
                    <a:lumMod val="85000"/>
                    <a:lumOff val="15000"/>
                  </a:schemeClr>
                </a:solidFill>
                <a:latin typeface="Arial Nova" panose="020B05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600"/>
              </a:spcBef>
              <a:spcAft>
                <a:spcPts val="0"/>
              </a:spcAft>
              <a:buClr>
                <a:srgbClr val="00A9B7"/>
              </a:buClr>
              <a:buSzTx/>
              <a:buFont typeface="System Font Regular"/>
              <a:buNone/>
              <a:tabLst/>
              <a:defRPr/>
            </a:pPr>
            <a:r>
              <a:rPr kumimoji="0" lang="en-US" sz="1700" b="0" i="0" u="none" strike="noStrike" kern="1200" cap="none" spc="0" normalizeH="0" baseline="0" noProof="0">
                <a:ln>
                  <a:noFill/>
                </a:ln>
                <a:solidFill>
                  <a:srgbClr val="000000">
                    <a:lumMod val="85000"/>
                    <a:lumOff val="15000"/>
                  </a:srgbClr>
                </a:solidFill>
                <a:effectLst/>
                <a:uLnTx/>
                <a:uFillTx/>
                <a:latin typeface="Arial Nova" panose="020B0504020202020204" pitchFamily="34" charset="0"/>
                <a:ea typeface="+mn-ea"/>
                <a:cs typeface="+mn-cs"/>
              </a:rPr>
              <a:t>After each presentation, there will be 5 minutes for Q&amp;A</a:t>
            </a:r>
          </a:p>
          <a:p>
            <a:pPr marL="0" marR="0" lvl="0" indent="0" algn="l" defTabSz="685800" rtl="0" eaLnBrk="1" fontAlgn="auto" latinLnBrk="0" hangingPunct="1">
              <a:lnSpc>
                <a:spcPct val="100000"/>
              </a:lnSpc>
              <a:spcBef>
                <a:spcPts val="600"/>
              </a:spcBef>
              <a:spcAft>
                <a:spcPts val="0"/>
              </a:spcAft>
              <a:buClr>
                <a:srgbClr val="00A9B7"/>
              </a:buClr>
              <a:buSzTx/>
              <a:buFont typeface="System Font Regular"/>
              <a:buNone/>
              <a:tabLst/>
              <a:defRPr/>
            </a:pPr>
            <a:endParaRPr kumimoji="0" lang="en-US" sz="1700" b="0" i="0" u="none" strike="noStrike" kern="1200" cap="none" spc="0" normalizeH="0" baseline="0" noProof="0">
              <a:ln>
                <a:noFill/>
              </a:ln>
              <a:solidFill>
                <a:srgbClr val="000000">
                  <a:lumMod val="85000"/>
                  <a:lumOff val="15000"/>
                </a:srgbClr>
              </a:solidFill>
              <a:effectLst/>
              <a:uLnTx/>
              <a:uFillTx/>
              <a:latin typeface="Arial Nova" panose="020B0504020202020204" pitchFamily="34" charset="0"/>
              <a:ea typeface="+mn-ea"/>
              <a:cs typeface="+mn-cs"/>
            </a:endParaRPr>
          </a:p>
          <a:p>
            <a:pPr marL="0" marR="0" lvl="0" indent="0" algn="l" defTabSz="685800" rtl="0" eaLnBrk="1" fontAlgn="auto" latinLnBrk="0" hangingPunct="1">
              <a:lnSpc>
                <a:spcPct val="100000"/>
              </a:lnSpc>
              <a:spcBef>
                <a:spcPts val="600"/>
              </a:spcBef>
              <a:spcAft>
                <a:spcPts val="0"/>
              </a:spcAft>
              <a:buClr>
                <a:srgbClr val="00A9B7"/>
              </a:buClr>
              <a:buSzTx/>
              <a:buFont typeface="System Font Regular"/>
              <a:buNone/>
              <a:tabLst/>
              <a:defRPr/>
            </a:pPr>
            <a:r>
              <a:rPr kumimoji="0" lang="en-US" sz="1700" b="0" i="0" u="none" strike="noStrike" kern="1200" cap="none" spc="0" normalizeH="0" baseline="0" noProof="0">
                <a:ln>
                  <a:noFill/>
                </a:ln>
                <a:solidFill>
                  <a:srgbClr val="000000">
                    <a:lumMod val="85000"/>
                    <a:lumOff val="15000"/>
                  </a:srgbClr>
                </a:solidFill>
                <a:effectLst/>
                <a:uLnTx/>
                <a:uFillTx/>
                <a:latin typeface="Arial Nova" panose="020B0504020202020204" pitchFamily="34" charset="0"/>
                <a:ea typeface="+mn-ea"/>
                <a:cs typeface="+mn-cs"/>
              </a:rPr>
              <a:t>Questions can be asked in two ways</a:t>
            </a:r>
          </a:p>
          <a:p>
            <a:pPr marL="171450" marR="0" lvl="0" indent="-171450" algn="l" defTabSz="685800" rtl="0" eaLnBrk="1" fontAlgn="auto" latinLnBrk="0" hangingPunct="1">
              <a:lnSpc>
                <a:spcPct val="100000"/>
              </a:lnSpc>
              <a:spcBef>
                <a:spcPts val="600"/>
              </a:spcBef>
              <a:spcAft>
                <a:spcPts val="0"/>
              </a:spcAft>
              <a:buClr>
                <a:srgbClr val="00A9B7"/>
              </a:buClr>
              <a:buSzTx/>
              <a:buFont typeface="System Font Regular"/>
              <a:buChar char="&gt;"/>
              <a:tabLst/>
              <a:defRPr/>
            </a:pPr>
            <a:r>
              <a:rPr kumimoji="0" lang="en-US" sz="1700" b="1" i="0" u="none" strike="noStrike" kern="1200" cap="none" spc="0" normalizeH="0" baseline="0" noProof="0">
                <a:ln>
                  <a:noFill/>
                </a:ln>
                <a:solidFill>
                  <a:srgbClr val="000000">
                    <a:lumMod val="85000"/>
                    <a:lumOff val="15000"/>
                  </a:srgbClr>
                </a:solidFill>
                <a:effectLst/>
                <a:uLnTx/>
                <a:uFillTx/>
                <a:latin typeface="Arial Nova" panose="020B0504020202020204" pitchFamily="34" charset="0"/>
                <a:ea typeface="+mn-ea"/>
                <a:cs typeface="+mn-cs"/>
              </a:rPr>
              <a:t>Q&amp;A box </a:t>
            </a:r>
            <a:r>
              <a:rPr kumimoji="0" lang="en-US" sz="1700" b="0" i="0" u="none" strike="noStrike" kern="1200" cap="none" spc="0" normalizeH="0" baseline="0" noProof="0">
                <a:ln>
                  <a:noFill/>
                </a:ln>
                <a:solidFill>
                  <a:srgbClr val="000000">
                    <a:lumMod val="85000"/>
                    <a:lumOff val="15000"/>
                  </a:srgbClr>
                </a:solidFill>
                <a:effectLst/>
                <a:uLnTx/>
                <a:uFillTx/>
                <a:latin typeface="Arial Nova" panose="020B0504020202020204" pitchFamily="34" charset="0"/>
                <a:ea typeface="+mn-ea"/>
                <a:cs typeface="+mn-cs"/>
              </a:rPr>
              <a:t>– type your question in the box</a:t>
            </a:r>
          </a:p>
          <a:p>
            <a:pPr marL="171450" marR="0" lvl="0" indent="-171450" algn="l" defTabSz="685800" rtl="0" eaLnBrk="1" fontAlgn="auto" latinLnBrk="0" hangingPunct="1">
              <a:lnSpc>
                <a:spcPct val="100000"/>
              </a:lnSpc>
              <a:spcBef>
                <a:spcPts val="600"/>
              </a:spcBef>
              <a:spcAft>
                <a:spcPts val="0"/>
              </a:spcAft>
              <a:buClr>
                <a:srgbClr val="00A9B7"/>
              </a:buClr>
              <a:buSzTx/>
              <a:buFont typeface="System Font Regular"/>
              <a:buChar char="&gt;"/>
              <a:tabLst/>
              <a:defRPr/>
            </a:pPr>
            <a:r>
              <a:rPr lang="en-US" sz="1700" b="1">
                <a:solidFill>
                  <a:srgbClr val="000000">
                    <a:lumMod val="85000"/>
                    <a:lumOff val="15000"/>
                  </a:srgbClr>
                </a:solidFill>
              </a:rPr>
              <a:t>Raise Hand </a:t>
            </a:r>
            <a:r>
              <a:rPr lang="en-US" sz="1700">
                <a:solidFill>
                  <a:srgbClr val="000000">
                    <a:lumMod val="85000"/>
                    <a:lumOff val="15000"/>
                  </a:srgbClr>
                </a:solidFill>
              </a:rPr>
              <a:t>– click to raise hand and the chair will invite you to comment and you will be unmuted</a:t>
            </a:r>
            <a:endParaRPr kumimoji="0" lang="en-US" sz="1700" b="0" i="0" u="none" strike="noStrike" kern="1200" cap="none" spc="0" normalizeH="0" baseline="0" noProof="0">
              <a:ln>
                <a:noFill/>
              </a:ln>
              <a:solidFill>
                <a:srgbClr val="000000">
                  <a:lumMod val="85000"/>
                  <a:lumOff val="15000"/>
                </a:srgbClr>
              </a:solidFill>
              <a:effectLst/>
              <a:uLnTx/>
              <a:uFillTx/>
              <a:latin typeface="Arial Nova" panose="020B0504020202020204" pitchFamily="34" charset="0"/>
              <a:ea typeface="+mn-ea"/>
              <a:cs typeface="+mn-cs"/>
            </a:endParaRPr>
          </a:p>
          <a:p>
            <a:pPr marL="171450" marR="0" lvl="0" indent="-171450" algn="l" defTabSz="685800" rtl="0" eaLnBrk="1" fontAlgn="auto" latinLnBrk="0" hangingPunct="1">
              <a:lnSpc>
                <a:spcPct val="100000"/>
              </a:lnSpc>
              <a:spcBef>
                <a:spcPts val="600"/>
              </a:spcBef>
              <a:spcAft>
                <a:spcPts val="0"/>
              </a:spcAft>
              <a:buClr>
                <a:srgbClr val="00A9B7"/>
              </a:buClr>
              <a:buSzTx/>
              <a:buFont typeface="System Font Regular"/>
              <a:buChar char="&gt;"/>
              <a:tabLst/>
              <a:defRPr/>
            </a:pPr>
            <a:endParaRPr kumimoji="0" lang="en-US" sz="1800" b="0" i="0" u="none" strike="noStrike" kern="1200" cap="none" spc="0" normalizeH="0" baseline="0" noProof="0">
              <a:ln>
                <a:noFill/>
              </a:ln>
              <a:solidFill>
                <a:srgbClr val="000000">
                  <a:lumMod val="85000"/>
                  <a:lumOff val="15000"/>
                </a:srgbClr>
              </a:solidFill>
              <a:effectLst/>
              <a:uLnTx/>
              <a:uFillTx/>
              <a:latin typeface="Arial Nova" panose="020B0504020202020204" pitchFamily="34" charset="0"/>
              <a:ea typeface="+mn-ea"/>
              <a:cs typeface="+mn-cs"/>
            </a:endParaRPr>
          </a:p>
        </p:txBody>
      </p:sp>
      <p:pic>
        <p:nvPicPr>
          <p:cNvPr id="3" name="Picture 2" descr="Zoom Meetings Review | PCMag">
            <a:extLst>
              <a:ext uri="{FF2B5EF4-FFF2-40B4-BE49-F238E27FC236}">
                <a16:creationId xmlns:a16="http://schemas.microsoft.com/office/drawing/2014/main" id="{BB849A84-8CE0-4EA3-8821-9CC1F5DCBC6C}"/>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366281" y="4709922"/>
            <a:ext cx="771664" cy="43357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77249A87-0A34-4850-8C31-FC639C3CC0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81490" y="3423164"/>
            <a:ext cx="513387" cy="560515"/>
          </a:xfrm>
          <a:prstGeom prst="rect">
            <a:avLst/>
          </a:prstGeom>
        </p:spPr>
      </p:pic>
      <p:pic>
        <p:nvPicPr>
          <p:cNvPr id="8" name="Picture 7">
            <a:extLst>
              <a:ext uri="{FF2B5EF4-FFF2-40B4-BE49-F238E27FC236}">
                <a16:creationId xmlns:a16="http://schemas.microsoft.com/office/drawing/2014/main" id="{8B5DE9F3-0A48-4580-8C25-A1EF2544BD7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994878" y="3423164"/>
            <a:ext cx="822582" cy="560515"/>
          </a:xfrm>
          <a:prstGeom prst="rect">
            <a:avLst/>
          </a:prstGeom>
        </p:spPr>
      </p:pic>
    </p:spTree>
    <p:extLst>
      <p:ext uri="{BB962C8B-B14F-4D97-AF65-F5344CB8AC3E}">
        <p14:creationId xmlns:p14="http://schemas.microsoft.com/office/powerpoint/2010/main" val="2046482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871EA-1F01-48C4-B482-CB79F20CA107}"/>
              </a:ext>
            </a:extLst>
          </p:cNvPr>
          <p:cNvSpPr>
            <a:spLocks noGrp="1"/>
          </p:cNvSpPr>
          <p:nvPr>
            <p:ph type="ctrTitle"/>
          </p:nvPr>
        </p:nvSpPr>
        <p:spPr/>
        <p:txBody>
          <a:bodyPr>
            <a:normAutofit/>
          </a:bodyPr>
          <a:lstStyle/>
          <a:p>
            <a:r>
              <a:rPr lang="en-US" sz="3200" noProof="0"/>
              <a:t>Discussion</a:t>
            </a:r>
          </a:p>
        </p:txBody>
      </p:sp>
    </p:spTree>
    <p:extLst>
      <p:ext uri="{BB962C8B-B14F-4D97-AF65-F5344CB8AC3E}">
        <p14:creationId xmlns:p14="http://schemas.microsoft.com/office/powerpoint/2010/main" val="19716875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2F03D-68CC-C841-9D78-6BABB5EAD251}"/>
              </a:ext>
            </a:extLst>
          </p:cNvPr>
          <p:cNvSpPr>
            <a:spLocks noGrp="1"/>
          </p:cNvSpPr>
          <p:nvPr>
            <p:ph type="ctrTitle"/>
          </p:nvPr>
        </p:nvSpPr>
        <p:spPr>
          <a:xfrm>
            <a:off x="4270617" y="1259922"/>
            <a:ext cx="4534294" cy="1548390"/>
          </a:xfrm>
        </p:spPr>
        <p:txBody>
          <a:bodyPr>
            <a:normAutofit fontScale="90000"/>
          </a:bodyPr>
          <a:lstStyle/>
          <a:p>
            <a:pPr algn="l">
              <a:lnSpc>
                <a:spcPct val="100000"/>
              </a:lnSpc>
              <a:spcBef>
                <a:spcPts val="0"/>
              </a:spcBef>
              <a:spcAft>
                <a:spcPts val="0"/>
              </a:spcAft>
            </a:pPr>
            <a:r>
              <a:rPr lang="en-US" sz="2800" b="1" u="none" kern="1200" spc="-10" baseline="0" noProof="0">
                <a:effectLst/>
                <a:latin typeface="Arial" panose="020B0604020202020204" pitchFamily="34" charset="0"/>
                <a:cs typeface="Arial" panose="020B0604020202020204" pitchFamily="34" charset="0"/>
              </a:rPr>
              <a:t>Frontline Therapy for Newly Diagnosed Transplant-Eligible Multiple Myeloma: The Role of Transplantation</a:t>
            </a:r>
            <a:endParaRPr lang="en-US" sz="2800" b="1" u="none" spc="-10" baseline="0" noProof="0">
              <a:effectLst/>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5B1A592A-AF74-0E4A-BEBF-BA3B930B790E}"/>
              </a:ext>
            </a:extLst>
          </p:cNvPr>
          <p:cNvSpPr>
            <a:spLocks noGrp="1"/>
          </p:cNvSpPr>
          <p:nvPr>
            <p:ph type="subTitle" idx="1"/>
          </p:nvPr>
        </p:nvSpPr>
        <p:spPr>
          <a:xfrm>
            <a:off x="4270617" y="2962618"/>
            <a:ext cx="4534294" cy="1073784"/>
          </a:xfrm>
        </p:spPr>
        <p:txBody>
          <a:bodyPr>
            <a:normAutofit/>
          </a:bodyPr>
          <a:lstStyle/>
          <a:p>
            <a:pPr algn="l">
              <a:lnSpc>
                <a:spcPct val="100000"/>
              </a:lnSpc>
              <a:spcBef>
                <a:spcPts val="0"/>
              </a:spcBef>
              <a:spcAft>
                <a:spcPts val="0"/>
              </a:spcAft>
            </a:pPr>
            <a:r>
              <a:rPr lang="en-US" sz="1800" b="0" u="none" kern="1200" noProof="0">
                <a:effectLst/>
                <a:latin typeface="Arial" panose="020B0604020202020204" pitchFamily="34" charset="0"/>
                <a:cs typeface="Arial" panose="020B0604020202020204" pitchFamily="34" charset="0"/>
              </a:rPr>
              <a:t>María-Victoria Mateos, MD, PhD</a:t>
            </a:r>
          </a:p>
        </p:txBody>
      </p:sp>
      <p:pic>
        <p:nvPicPr>
          <p:cNvPr id="5" name="Picture 4">
            <a:extLst>
              <a:ext uri="{FF2B5EF4-FFF2-40B4-BE49-F238E27FC236}">
                <a16:creationId xmlns:a16="http://schemas.microsoft.com/office/drawing/2014/main" id="{C8F7CE31-E189-4BB1-AB5D-780479616B4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5400000">
            <a:off x="4270617" y="3411022"/>
            <a:ext cx="1179576" cy="1179576"/>
          </a:xfrm>
          <a:prstGeom prst="teardrop">
            <a:avLst/>
          </a:prstGeom>
        </p:spPr>
      </p:pic>
    </p:spTree>
    <p:extLst>
      <p:ext uri="{BB962C8B-B14F-4D97-AF65-F5344CB8AC3E}">
        <p14:creationId xmlns:p14="http://schemas.microsoft.com/office/powerpoint/2010/main" val="257751083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BA0E3-58C9-43CA-A9C7-DBB166EABF77}"/>
              </a:ext>
            </a:extLst>
          </p:cNvPr>
          <p:cNvSpPr>
            <a:spLocks noGrp="1"/>
          </p:cNvSpPr>
          <p:nvPr>
            <p:ph type="ctrTitle"/>
          </p:nvPr>
        </p:nvSpPr>
        <p:spPr>
          <a:xfrm>
            <a:off x="791581" y="1859098"/>
            <a:ext cx="7508432" cy="1620203"/>
          </a:xfrm>
        </p:spPr>
        <p:txBody>
          <a:bodyPr>
            <a:noAutofit/>
          </a:bodyPr>
          <a:lstStyle/>
          <a:p>
            <a:pPr algn="ctr"/>
            <a:r>
              <a:rPr lang="en-US" sz="3300" b="1" noProof="0">
                <a:solidFill>
                  <a:srgbClr val="595454"/>
                </a:solidFill>
                <a:latin typeface="+mn-lt"/>
              </a:rPr>
              <a:t>Frontline Therapy for Newly Diagnosed Transplant-Eligible Multiple Myeloma: The Role of Transplantation</a:t>
            </a:r>
            <a:endParaRPr lang="en-US" sz="3000" b="1" noProof="0">
              <a:latin typeface="+mn-lt"/>
            </a:endParaRPr>
          </a:p>
        </p:txBody>
      </p:sp>
      <p:sp>
        <p:nvSpPr>
          <p:cNvPr id="15" name="Marcador de contenido 14">
            <a:extLst>
              <a:ext uri="{FF2B5EF4-FFF2-40B4-BE49-F238E27FC236}">
                <a16:creationId xmlns:a16="http://schemas.microsoft.com/office/drawing/2014/main" id="{5AFE7063-4362-6B40-AFD6-4120445A73D4}"/>
              </a:ext>
            </a:extLst>
          </p:cNvPr>
          <p:cNvSpPr>
            <a:spLocks noGrp="1"/>
          </p:cNvSpPr>
          <p:nvPr>
            <p:ph type="body" sz="quarter" idx="11"/>
          </p:nvPr>
        </p:nvSpPr>
        <p:spPr>
          <a:xfrm>
            <a:off x="2244646" y="3973996"/>
            <a:ext cx="4773410" cy="433983"/>
          </a:xfrm>
        </p:spPr>
        <p:txBody>
          <a:bodyPr anchor="ctr">
            <a:noAutofit/>
          </a:bodyPr>
          <a:lstStyle/>
          <a:p>
            <a:pPr algn="ctr" defTabSz="771525" eaLnBrk="0" fontAlgn="base" hangingPunct="0">
              <a:spcAft>
                <a:spcPct val="0"/>
              </a:spcAft>
              <a:defRPr/>
            </a:pPr>
            <a:r>
              <a:rPr lang="en-US" sz="1350" b="1" noProof="0">
                <a:solidFill>
                  <a:srgbClr val="595454"/>
                </a:solidFill>
              </a:rPr>
              <a:t>María-Victoria Mateos</a:t>
            </a:r>
          </a:p>
          <a:p>
            <a:pPr algn="ctr" defTabSz="771525" eaLnBrk="0" fontAlgn="base" hangingPunct="0">
              <a:spcAft>
                <a:spcPct val="0"/>
              </a:spcAft>
              <a:defRPr/>
            </a:pPr>
            <a:r>
              <a:rPr lang="en-US" sz="1350" b="1" noProof="0">
                <a:solidFill>
                  <a:srgbClr val="595454"/>
                </a:solidFill>
              </a:rPr>
              <a:t>Salamanca, Spain</a:t>
            </a:r>
          </a:p>
          <a:p>
            <a:pPr algn="ctr" defTabSz="771525" eaLnBrk="0" fontAlgn="base" hangingPunct="0">
              <a:lnSpc>
                <a:spcPct val="120000"/>
              </a:lnSpc>
              <a:spcBef>
                <a:spcPct val="20000"/>
              </a:spcBef>
              <a:spcAft>
                <a:spcPct val="0"/>
              </a:spcAft>
              <a:defRPr/>
            </a:pPr>
            <a:endParaRPr lang="en-US" sz="1350" b="1" noProof="0"/>
          </a:p>
        </p:txBody>
      </p:sp>
      <p:grpSp>
        <p:nvGrpSpPr>
          <p:cNvPr id="10" name="Group 14">
            <a:extLst>
              <a:ext uri="{FF2B5EF4-FFF2-40B4-BE49-F238E27FC236}">
                <a16:creationId xmlns:a16="http://schemas.microsoft.com/office/drawing/2014/main" id="{116482C2-DFFC-4BD8-8323-1E730E15347E}"/>
              </a:ext>
            </a:extLst>
          </p:cNvPr>
          <p:cNvGrpSpPr>
            <a:grpSpLocks/>
          </p:cNvGrpSpPr>
          <p:nvPr/>
        </p:nvGrpSpPr>
        <p:grpSpPr bwMode="auto">
          <a:xfrm>
            <a:off x="6428441" y="559981"/>
            <a:ext cx="1777119" cy="1184412"/>
            <a:chOff x="2333" y="164"/>
            <a:chExt cx="1769" cy="1179"/>
          </a:xfrm>
        </p:grpSpPr>
        <p:pic>
          <p:nvPicPr>
            <p:cNvPr id="11" name="Picture 11">
              <a:extLst>
                <a:ext uri="{FF2B5EF4-FFF2-40B4-BE49-F238E27FC236}">
                  <a16:creationId xmlns:a16="http://schemas.microsoft.com/office/drawing/2014/main" id="{E00DD340-3F1F-49F8-AB27-8CC1F55C6A6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2804" y="164"/>
              <a:ext cx="852" cy="8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ext Box 12">
              <a:extLst>
                <a:ext uri="{FF2B5EF4-FFF2-40B4-BE49-F238E27FC236}">
                  <a16:creationId xmlns:a16="http://schemas.microsoft.com/office/drawing/2014/main" id="{D8858435-242F-4041-AC68-A170984723EE}"/>
                </a:ext>
              </a:extLst>
            </p:cNvPr>
            <p:cNvSpPr txBox="1">
              <a:spLocks noChangeArrowheads="1"/>
            </p:cNvSpPr>
            <p:nvPr/>
          </p:nvSpPr>
          <p:spPr bwMode="auto">
            <a:xfrm>
              <a:off x="2333" y="1117"/>
              <a:ext cx="1769" cy="2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338138" indent="-338138">
                <a:defRPr sz="2800" b="1">
                  <a:solidFill>
                    <a:schemeClr val="tx1"/>
                  </a:solidFill>
                  <a:latin typeface="Arial" charset="0"/>
                  <a:ea typeface="ＭＳ Ｐゴシック" charset="0"/>
                  <a:cs typeface="ＭＳ Ｐゴシック" charset="0"/>
                </a:defRPr>
              </a:lvl1pPr>
              <a:lvl2pPr marL="37931725" indent="-37474525">
                <a:defRPr sz="2800" b="1">
                  <a:solidFill>
                    <a:schemeClr val="tx1"/>
                  </a:solidFill>
                  <a:latin typeface="Arial" charset="0"/>
                  <a:ea typeface="ＭＳ Ｐゴシック" charset="0"/>
                </a:defRPr>
              </a:lvl2pPr>
              <a:lvl3pPr>
                <a:defRPr sz="2800" b="1">
                  <a:solidFill>
                    <a:schemeClr val="tx1"/>
                  </a:solidFill>
                  <a:latin typeface="Arial" charset="0"/>
                  <a:ea typeface="ＭＳ Ｐゴシック" charset="0"/>
                </a:defRPr>
              </a:lvl3pPr>
              <a:lvl4pPr>
                <a:defRPr sz="2800" b="1">
                  <a:solidFill>
                    <a:schemeClr val="tx1"/>
                  </a:solidFill>
                  <a:latin typeface="Arial" charset="0"/>
                  <a:ea typeface="ＭＳ Ｐゴシック" charset="0"/>
                </a:defRPr>
              </a:lvl4pPr>
              <a:lvl5pPr>
                <a:defRPr sz="2800" b="1">
                  <a:solidFill>
                    <a:schemeClr val="tx1"/>
                  </a:solidFill>
                  <a:latin typeface="Arial" charset="0"/>
                  <a:ea typeface="ＭＳ Ｐゴシック" charset="0"/>
                </a:defRPr>
              </a:lvl5pPr>
              <a:lvl6pPr marL="457200" eaLnBrk="0" fontAlgn="base" hangingPunct="0">
                <a:spcBef>
                  <a:spcPct val="20000"/>
                </a:spcBef>
                <a:spcAft>
                  <a:spcPct val="0"/>
                </a:spcAft>
                <a:defRPr sz="2800" b="1">
                  <a:solidFill>
                    <a:schemeClr val="tx1"/>
                  </a:solidFill>
                  <a:latin typeface="Arial" charset="0"/>
                  <a:ea typeface="ＭＳ Ｐゴシック" charset="0"/>
                </a:defRPr>
              </a:lvl6pPr>
              <a:lvl7pPr marL="914400" eaLnBrk="0" fontAlgn="base" hangingPunct="0">
                <a:spcBef>
                  <a:spcPct val="20000"/>
                </a:spcBef>
                <a:spcAft>
                  <a:spcPct val="0"/>
                </a:spcAft>
                <a:defRPr sz="2800" b="1">
                  <a:solidFill>
                    <a:schemeClr val="tx1"/>
                  </a:solidFill>
                  <a:latin typeface="Arial" charset="0"/>
                  <a:ea typeface="ＭＳ Ｐゴシック" charset="0"/>
                </a:defRPr>
              </a:lvl7pPr>
              <a:lvl8pPr marL="1371600" eaLnBrk="0" fontAlgn="base" hangingPunct="0">
                <a:spcBef>
                  <a:spcPct val="20000"/>
                </a:spcBef>
                <a:spcAft>
                  <a:spcPct val="0"/>
                </a:spcAft>
                <a:defRPr sz="2800" b="1">
                  <a:solidFill>
                    <a:schemeClr val="tx1"/>
                  </a:solidFill>
                  <a:latin typeface="Arial" charset="0"/>
                  <a:ea typeface="ＭＳ Ｐゴシック" charset="0"/>
                </a:defRPr>
              </a:lvl8pPr>
              <a:lvl9pPr marL="1828800" eaLnBrk="0" fontAlgn="base" hangingPunct="0">
                <a:spcBef>
                  <a:spcPct val="20000"/>
                </a:spcBef>
                <a:spcAft>
                  <a:spcPct val="0"/>
                </a:spcAft>
                <a:defRPr sz="2800" b="1">
                  <a:solidFill>
                    <a:schemeClr val="tx1"/>
                  </a:solidFill>
                  <a:latin typeface="Arial" charset="0"/>
                  <a:ea typeface="ＭＳ Ｐゴシック" charset="0"/>
                </a:defRPr>
              </a:lvl9pPr>
            </a:lstStyle>
            <a:p>
              <a:pPr marL="213991" marR="0" lvl="0" indent="-213991" algn="ctr" defTabSz="578678" rtl="0" eaLnBrk="0" fontAlgn="base" latinLnBrk="0" hangingPunct="0">
                <a:lnSpc>
                  <a:spcPct val="90000"/>
                </a:lnSpc>
                <a:spcBef>
                  <a:spcPct val="70000"/>
                </a:spcBef>
                <a:spcAft>
                  <a:spcPct val="0"/>
                </a:spcAft>
                <a:buClr>
                  <a:srgbClr val="66FFFF"/>
                </a:buClr>
                <a:buSzTx/>
                <a:buFontTx/>
                <a:buNone/>
                <a:tabLst/>
                <a:defRPr/>
              </a:pPr>
              <a:r>
                <a:rPr kumimoji="0" lang="es-ES_tradnl" sz="1013" b="1" i="0" u="none" strike="noStrike" kern="0" cap="none" spc="0" normalizeH="0" baseline="0" noProof="0">
                  <a:ln>
                    <a:noFill/>
                  </a:ln>
                  <a:solidFill>
                    <a:srgbClr val="595454"/>
                  </a:solidFill>
                  <a:effectLst/>
                  <a:uLnTx/>
                  <a:uFillTx/>
                  <a:latin typeface="Arial" charset="0"/>
                  <a:ea typeface="ＭＳ Ｐゴシック" charset="0"/>
                </a:rPr>
                <a:t>University of Salamanca</a:t>
              </a:r>
            </a:p>
          </p:txBody>
        </p:sp>
      </p:grpSp>
      <p:pic>
        <p:nvPicPr>
          <p:cNvPr id="13" name="Picture 9">
            <a:extLst>
              <a:ext uri="{FF2B5EF4-FFF2-40B4-BE49-F238E27FC236}">
                <a16:creationId xmlns:a16="http://schemas.microsoft.com/office/drawing/2014/main" id="{3F1C3AA7-8236-4CF2-8E96-B7F9962503E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876151" y="903972"/>
            <a:ext cx="1763056" cy="496430"/>
          </a:xfrm>
          <a:prstGeom prst="rect">
            <a:avLst/>
          </a:prstGeom>
          <a:noFill/>
          <a:ln>
            <a:solidFill>
              <a:srgbClr val="1B5C67"/>
            </a:solid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807E743D-1BB2-4CF2-9C3E-5748987B237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39770" y="831236"/>
            <a:ext cx="1397405" cy="641903"/>
          </a:xfrm>
          <a:prstGeom prst="rect">
            <a:avLst/>
          </a:prstGeom>
        </p:spPr>
      </p:pic>
      <p:pic>
        <p:nvPicPr>
          <p:cNvPr id="16" name="Picture 4" descr="Centro de Investigación del Cáncer | Salamanca, Spain | CIC">
            <a:extLst>
              <a:ext uri="{FF2B5EF4-FFF2-40B4-BE49-F238E27FC236}">
                <a16:creationId xmlns:a16="http://schemas.microsoft.com/office/drawing/2014/main" id="{8C8D6934-7CE6-44D9-992A-A8F61B79B9E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374238" y="752782"/>
            <a:ext cx="1917140" cy="798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072730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3760C10B-4ADC-C94C-BB07-C69F58667FDD}"/>
              </a:ext>
            </a:extLst>
          </p:cNvPr>
          <p:cNvSpPr>
            <a:spLocks noGrp="1"/>
          </p:cNvSpPr>
          <p:nvPr>
            <p:ph type="title"/>
          </p:nvPr>
        </p:nvSpPr>
        <p:spPr/>
        <p:txBody>
          <a:bodyPr/>
          <a:lstStyle/>
          <a:p>
            <a:r>
              <a:rPr lang="en-US" noProof="0"/>
              <a:t>Disclosures </a:t>
            </a:r>
          </a:p>
        </p:txBody>
      </p:sp>
      <p:sp>
        <p:nvSpPr>
          <p:cNvPr id="7" name="Marcador de contenido 6">
            <a:extLst>
              <a:ext uri="{FF2B5EF4-FFF2-40B4-BE49-F238E27FC236}">
                <a16:creationId xmlns:a16="http://schemas.microsoft.com/office/drawing/2014/main" id="{7FF6BAC1-2964-334A-AC8A-783F420485EE}"/>
              </a:ext>
            </a:extLst>
          </p:cNvPr>
          <p:cNvSpPr>
            <a:spLocks noGrp="1"/>
          </p:cNvSpPr>
          <p:nvPr>
            <p:ph idx="1"/>
          </p:nvPr>
        </p:nvSpPr>
        <p:spPr>
          <a:xfrm>
            <a:off x="369736" y="812529"/>
            <a:ext cx="8424407" cy="3240000"/>
          </a:xfrm>
        </p:spPr>
        <p:txBody>
          <a:bodyPr/>
          <a:lstStyle/>
          <a:p>
            <a:pPr marL="230188" indent="-230188"/>
            <a:r>
              <a:rPr lang="en-US" sz="2000" noProof="0"/>
              <a:t>Honoraria derived from lectures and participation in advisory boards from Janssen, Celgene, Takeda, Amgen, GSK, AbbVie, Pfizer, Regeneron, Adaptive, Roche, Sanofi, Oncopeptides, Seagen</a:t>
            </a:r>
          </a:p>
          <a:p>
            <a:endParaRPr lang="en-US" sz="2000" noProof="0"/>
          </a:p>
        </p:txBody>
      </p:sp>
    </p:spTree>
    <p:extLst>
      <p:ext uri="{BB962C8B-B14F-4D97-AF65-F5344CB8AC3E}">
        <p14:creationId xmlns:p14="http://schemas.microsoft.com/office/powerpoint/2010/main" val="217524729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4ACA308-C77E-314F-B970-D3A408D5E8F1}"/>
              </a:ext>
            </a:extLst>
          </p:cNvPr>
          <p:cNvSpPr>
            <a:spLocks noGrp="1"/>
          </p:cNvSpPr>
          <p:nvPr>
            <p:ph type="title"/>
          </p:nvPr>
        </p:nvSpPr>
        <p:spPr>
          <a:xfrm>
            <a:off x="1019907" y="274320"/>
            <a:ext cx="7706651" cy="685800"/>
          </a:xfrm>
        </p:spPr>
        <p:txBody>
          <a:bodyPr/>
          <a:lstStyle/>
          <a:p>
            <a:r>
              <a:rPr lang="en-US" noProof="0"/>
              <a:t>Is a patient with NDMM and transplant eligible potentially curable?</a:t>
            </a:r>
          </a:p>
        </p:txBody>
      </p:sp>
      <p:sp>
        <p:nvSpPr>
          <p:cNvPr id="3" name="Marcador de contenido 2">
            <a:extLst>
              <a:ext uri="{FF2B5EF4-FFF2-40B4-BE49-F238E27FC236}">
                <a16:creationId xmlns:a16="http://schemas.microsoft.com/office/drawing/2014/main" id="{7590A881-1064-F449-94A3-7D67067D5040}"/>
              </a:ext>
            </a:extLst>
          </p:cNvPr>
          <p:cNvSpPr>
            <a:spLocks noGrp="1"/>
          </p:cNvSpPr>
          <p:nvPr>
            <p:ph idx="1"/>
          </p:nvPr>
        </p:nvSpPr>
        <p:spPr/>
        <p:txBody>
          <a:bodyPr vert="horz" lIns="0" tIns="0" rIns="0" bIns="0" spcCol="301752" rtlCol="0" anchor="t">
            <a:noAutofit/>
          </a:bodyPr>
          <a:lstStyle/>
          <a:p>
            <a:pPr marL="342900" marR="0" lvl="0" indent="-342900" algn="l" defTabSz="685800" rtl="0" eaLnBrk="1" fontAlgn="auto" latinLnBrk="0" hangingPunct="1">
              <a:lnSpc>
                <a:spcPct val="90000"/>
              </a:lnSpc>
              <a:spcBef>
                <a:spcPts val="600"/>
              </a:spcBef>
              <a:spcAft>
                <a:spcPts val="0"/>
              </a:spcAft>
              <a:buClr>
                <a:srgbClr val="4F81BD"/>
              </a:buClr>
              <a:buSzTx/>
              <a:buFont typeface="+mj-lt"/>
              <a:buAutoNum type="arabicPeriod"/>
              <a:tabLst/>
              <a:defRPr/>
            </a:pPr>
            <a:r>
              <a:rPr kumimoji="0" lang="en-US" sz="2000" b="0" i="0" u="none" strike="noStrike" kern="1200" cap="none" spc="0" normalizeH="0" baseline="0" noProof="0">
                <a:ln>
                  <a:noFill/>
                </a:ln>
                <a:effectLst/>
                <a:uLnTx/>
                <a:uFillTx/>
                <a:latin typeface="Arial"/>
                <a:cs typeface="Arial"/>
              </a:rPr>
              <a:t>Yes</a:t>
            </a:r>
            <a:endParaRPr lang="en-US" sz="2000" b="0" i="0" u="none" strike="noStrike" kern="1200" cap="none" spc="0" normalizeH="0" baseline="0" noProof="0">
              <a:ln>
                <a:noFill/>
              </a:ln>
              <a:effectLst/>
              <a:uLnTx/>
              <a:uFillTx/>
              <a:latin typeface="Arial"/>
              <a:cs typeface="Arial"/>
            </a:endParaRPr>
          </a:p>
          <a:p>
            <a:pPr marL="342900" marR="0" lvl="0" indent="-342900" algn="l" defTabSz="685800" rtl="0" eaLnBrk="1" fontAlgn="auto" latinLnBrk="0" hangingPunct="1">
              <a:lnSpc>
                <a:spcPct val="90000"/>
              </a:lnSpc>
              <a:spcBef>
                <a:spcPts val="600"/>
              </a:spcBef>
              <a:spcAft>
                <a:spcPts val="0"/>
              </a:spcAft>
              <a:buClr>
                <a:srgbClr val="4F81BD"/>
              </a:buClr>
              <a:buSzTx/>
              <a:buFont typeface="+mj-lt"/>
              <a:buAutoNum type="arabicPeriod"/>
              <a:tabLst/>
              <a:defRPr/>
            </a:pPr>
            <a:r>
              <a:rPr kumimoji="0" lang="en-US" sz="2000" b="0" i="0" u="none" strike="noStrike" kern="1200" cap="none" spc="0" normalizeH="0" baseline="0" noProof="0">
                <a:ln>
                  <a:noFill/>
                </a:ln>
                <a:effectLst/>
                <a:uLnTx/>
                <a:uFillTx/>
                <a:latin typeface="Arial"/>
                <a:cs typeface="Arial"/>
              </a:rPr>
              <a:t>No</a:t>
            </a:r>
            <a:endParaRPr lang="en-US" sz="2000" b="0" i="0" u="none" strike="noStrike" kern="1200" cap="none" spc="0" normalizeH="0" baseline="0" noProof="0">
              <a:ln>
                <a:noFill/>
              </a:ln>
              <a:effectLst/>
              <a:uLnTx/>
              <a:uFillTx/>
              <a:latin typeface="Arial"/>
              <a:cs typeface="Arial"/>
            </a:endParaRPr>
          </a:p>
        </p:txBody>
      </p:sp>
      <p:grpSp>
        <p:nvGrpSpPr>
          <p:cNvPr id="8" name="Group 7">
            <a:extLst>
              <a:ext uri="{FF2B5EF4-FFF2-40B4-BE49-F238E27FC236}">
                <a16:creationId xmlns:a16="http://schemas.microsoft.com/office/drawing/2014/main" id="{7B46C4B5-95D7-4965-9BD2-66463891ACCE}"/>
              </a:ext>
            </a:extLst>
          </p:cNvPr>
          <p:cNvGrpSpPr/>
          <p:nvPr/>
        </p:nvGrpSpPr>
        <p:grpSpPr>
          <a:xfrm>
            <a:off x="52855" y="67643"/>
            <a:ext cx="720000" cy="720000"/>
            <a:chOff x="8151603" y="218984"/>
            <a:chExt cx="720000" cy="720000"/>
          </a:xfrm>
        </p:grpSpPr>
        <p:sp>
          <p:nvSpPr>
            <p:cNvPr id="9" name="Teardrop 8">
              <a:extLst>
                <a:ext uri="{FF2B5EF4-FFF2-40B4-BE49-F238E27FC236}">
                  <a16:creationId xmlns:a16="http://schemas.microsoft.com/office/drawing/2014/main" id="{7A2FA523-B16B-449B-AE9A-57AA7FB3EA36}"/>
                </a:ext>
              </a:extLst>
            </p:cNvPr>
            <p:cNvSpPr/>
            <p:nvPr/>
          </p:nvSpPr>
          <p:spPr bwMode="auto">
            <a:xfrm rot="5400000">
              <a:off x="8151603" y="218984"/>
              <a:ext cx="720000" cy="720000"/>
            </a:xfrm>
            <a:prstGeom prst="teardrop">
              <a:avLst/>
            </a:prstGeom>
            <a:solidFill>
              <a:srgbClr val="00AAB8"/>
            </a:solidFill>
            <a:ln w="25400" cap="flat" cmpd="sng" algn="ctr">
              <a:solidFill>
                <a:srgbClr val="00AAB8"/>
              </a:solidFill>
              <a:prstDash val="soli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800" eaLnBrk="0" fontAlgn="base" hangingPunct="0">
                <a:spcBef>
                  <a:spcPct val="0"/>
                </a:spcBef>
                <a:spcAft>
                  <a:spcPct val="0"/>
                </a:spcAft>
                <a:defRPr/>
              </a:pPr>
              <a:endParaRPr lang="en-NL" sz="2100" b="1" kern="0">
                <a:solidFill>
                  <a:srgbClr val="FFFF00"/>
                </a:solidFill>
                <a:latin typeface="Arial" pitchFamily="34" charset="0"/>
              </a:endParaRPr>
            </a:p>
          </p:txBody>
        </p:sp>
        <p:sp>
          <p:nvSpPr>
            <p:cNvPr id="10" name="TextBox 9">
              <a:extLst>
                <a:ext uri="{FF2B5EF4-FFF2-40B4-BE49-F238E27FC236}">
                  <a16:creationId xmlns:a16="http://schemas.microsoft.com/office/drawing/2014/main" id="{A602E9D4-4962-4643-90E2-DA324B53E8EC}"/>
                </a:ext>
              </a:extLst>
            </p:cNvPr>
            <p:cNvSpPr txBox="1"/>
            <p:nvPr/>
          </p:nvSpPr>
          <p:spPr>
            <a:xfrm>
              <a:off x="8278208" y="240432"/>
              <a:ext cx="466795" cy="677108"/>
            </a:xfrm>
            <a:prstGeom prst="rect">
              <a:avLst/>
            </a:prstGeom>
            <a:noFill/>
            <a:ln>
              <a:noFill/>
            </a:ln>
          </p:spPr>
          <p:txBody>
            <a:bodyPr wrap="square" rtlCol="0" anchor="ctr">
              <a:spAutoFit/>
            </a:bodyPr>
            <a:lstStyle/>
            <a:p>
              <a:pPr algn="ctr" defTabSz="342900">
                <a:defRPr/>
              </a:pPr>
              <a:r>
                <a:rPr lang="en-US" sz="2700" b="1" kern="0">
                  <a:solidFill>
                    <a:srgbClr val="FFFFFF"/>
                  </a:solidFill>
                  <a:latin typeface="Arial" panose="020B0604020202020204" pitchFamily="34" charset="0"/>
                  <a:cs typeface="Arial" panose="020B0604020202020204" pitchFamily="34" charset="0"/>
                </a:rPr>
                <a:t>?</a:t>
              </a:r>
              <a:endParaRPr lang="en-NL" sz="2700" b="1" kern="0">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64199886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nchor="t">
            <a:normAutofit/>
          </a:bodyPr>
          <a:lstStyle/>
          <a:p>
            <a:pPr>
              <a:defRPr/>
            </a:pPr>
            <a:r>
              <a:rPr lang="en-US" noProof="0">
                <a:ea typeface=""/>
                <a:cs typeface=""/>
              </a:rPr>
              <a:t>What should the optimal treatment goals be for NDMM patients?</a:t>
            </a:r>
          </a:p>
        </p:txBody>
      </p:sp>
      <p:sp>
        <p:nvSpPr>
          <p:cNvPr id="41987" name="Content Placeholder 2"/>
          <p:cNvSpPr>
            <a:spLocks noGrp="1"/>
          </p:cNvSpPr>
          <p:nvPr>
            <p:ph idx="1"/>
          </p:nvPr>
        </p:nvSpPr>
        <p:spPr>
          <a:xfrm>
            <a:off x="381043" y="768872"/>
            <a:ext cx="8595360" cy="3240000"/>
          </a:xfrm>
        </p:spPr>
        <p:txBody>
          <a:bodyPr/>
          <a:lstStyle/>
          <a:p>
            <a:pPr marL="230188" lvl="0" indent="-230188">
              <a:lnSpc>
                <a:spcPct val="150000"/>
              </a:lnSpc>
              <a:spcBef>
                <a:spcPct val="0"/>
              </a:spcBef>
              <a:buClr>
                <a:schemeClr val="tx1"/>
              </a:buClr>
              <a:buSzTx/>
              <a:buFont typeface="Arial" panose="020B0604020202020204" pitchFamily="34" charset="0"/>
              <a:buChar char="•"/>
            </a:pPr>
            <a:r>
              <a:rPr lang="en-US" altLang="x-none" sz="1700" b="1" noProof="0">
                <a:solidFill>
                  <a:srgbClr val="BE2BBB"/>
                </a:solidFill>
                <a:cs typeface="Arial"/>
              </a:rPr>
              <a:t>It is possible to cure some patients through the generation of surrogate markers</a:t>
            </a:r>
          </a:p>
          <a:p>
            <a:pPr marL="230188" lvl="0" indent="-230188">
              <a:lnSpc>
                <a:spcPct val="150000"/>
              </a:lnSpc>
              <a:spcBef>
                <a:spcPct val="0"/>
              </a:spcBef>
              <a:buClr>
                <a:schemeClr val="tx1"/>
              </a:buClr>
              <a:buSzTx/>
              <a:buFont typeface="Arial" panose="020B0604020202020204" pitchFamily="34" charset="0"/>
              <a:buChar char="•"/>
            </a:pPr>
            <a:r>
              <a:rPr lang="en-US" sz="1700" b="1" noProof="0">
                <a:cs typeface="Arial"/>
              </a:rPr>
              <a:t>Prolong survival</a:t>
            </a:r>
          </a:p>
          <a:p>
            <a:pPr marL="230188" lvl="0" indent="-230188">
              <a:lnSpc>
                <a:spcPct val="150000"/>
              </a:lnSpc>
              <a:spcBef>
                <a:spcPct val="0"/>
              </a:spcBef>
              <a:buClr>
                <a:schemeClr val="tx1"/>
              </a:buClr>
              <a:buSzTx/>
              <a:buFont typeface="Arial" panose="020B0604020202020204" pitchFamily="34" charset="0"/>
              <a:buChar char="•"/>
            </a:pPr>
            <a:r>
              <a:rPr lang="en-US" sz="1700" b="1" noProof="0">
                <a:cs typeface="Arial"/>
              </a:rPr>
              <a:t>Delay disease progression</a:t>
            </a:r>
          </a:p>
          <a:p>
            <a:pPr marL="230188" lvl="0" indent="-230188">
              <a:lnSpc>
                <a:spcPct val="150000"/>
              </a:lnSpc>
              <a:spcBef>
                <a:spcPct val="0"/>
              </a:spcBef>
              <a:buClr>
                <a:schemeClr val="tx1"/>
              </a:buClr>
              <a:buSzTx/>
              <a:buFont typeface="Arial" panose="020B0604020202020204" pitchFamily="34" charset="0"/>
              <a:buChar char="•"/>
            </a:pPr>
            <a:r>
              <a:rPr lang="en-US" sz="1700" b="1" noProof="0">
                <a:cs typeface="Arial"/>
              </a:rPr>
              <a:t>Ensure good quality of life</a:t>
            </a:r>
          </a:p>
          <a:p>
            <a:pPr>
              <a:lnSpc>
                <a:spcPct val="150000"/>
              </a:lnSpc>
              <a:buClr>
                <a:schemeClr val="tx1"/>
              </a:buClr>
              <a:buFont typeface="Arial" panose="020B0604020202020204" pitchFamily="34" charset="0"/>
              <a:buChar char="•"/>
              <a:defRPr/>
            </a:pPr>
            <a:endParaRPr lang="en-US" sz="1700" b="1" noProof="0">
              <a:cs typeface="Arial"/>
            </a:endParaRPr>
          </a:p>
          <a:p>
            <a:pPr marL="0" indent="0" algn="ctr">
              <a:lnSpc>
                <a:spcPct val="150000"/>
              </a:lnSpc>
              <a:buClr>
                <a:schemeClr val="tx1"/>
              </a:buClr>
              <a:buNone/>
              <a:defRPr/>
            </a:pPr>
            <a:r>
              <a:rPr lang="en-US" altLang="x-none" sz="1700" b="1" noProof="0">
                <a:solidFill>
                  <a:srgbClr val="FF8000"/>
                </a:solidFill>
              </a:rPr>
              <a:t>Eradication or at least major reduction of the tumor clone is required</a:t>
            </a:r>
          </a:p>
          <a:p>
            <a:pPr>
              <a:lnSpc>
                <a:spcPct val="150000"/>
              </a:lnSpc>
              <a:buClr>
                <a:schemeClr val="tx1"/>
              </a:buClr>
              <a:buFont typeface="Arial" panose="020B0604020202020204" pitchFamily="34" charset="0"/>
              <a:buChar char="•"/>
              <a:defRPr/>
            </a:pPr>
            <a:endParaRPr lang="en-US" sz="1700" b="1" noProof="0">
              <a:solidFill>
                <a:srgbClr val="FF8000"/>
              </a:solidFill>
              <a:cs typeface="Arial"/>
            </a:endParaRPr>
          </a:p>
          <a:p>
            <a:pPr>
              <a:lnSpc>
                <a:spcPct val="150000"/>
              </a:lnSpc>
              <a:buClr>
                <a:schemeClr val="tx1"/>
              </a:buClr>
              <a:buFont typeface="Arial" panose="020B0604020202020204" pitchFamily="34" charset="0"/>
              <a:buChar char="•"/>
              <a:defRPr/>
            </a:pPr>
            <a:endParaRPr lang="en-US" sz="1700" noProof="0"/>
          </a:p>
          <a:p>
            <a:pPr>
              <a:lnSpc>
                <a:spcPct val="150000"/>
              </a:lnSpc>
              <a:buClr>
                <a:schemeClr val="tx1"/>
              </a:buClr>
              <a:buFont typeface="Arial" panose="020B0604020202020204" pitchFamily="34" charset="0"/>
              <a:buChar char="•"/>
              <a:defRPr/>
            </a:pPr>
            <a:endParaRPr lang="en-US" sz="1700" noProof="0"/>
          </a:p>
        </p:txBody>
      </p:sp>
      <p:sp>
        <p:nvSpPr>
          <p:cNvPr id="9" name="Line 4"/>
          <p:cNvSpPr>
            <a:spLocks noChangeShapeType="1"/>
          </p:cNvSpPr>
          <p:nvPr/>
        </p:nvSpPr>
        <p:spPr bwMode="auto">
          <a:xfrm>
            <a:off x="1148621" y="3213367"/>
            <a:ext cx="7040880" cy="0"/>
          </a:xfrm>
          <a:prstGeom prst="line">
            <a:avLst/>
          </a:prstGeom>
          <a:noFill/>
          <a:ln w="19050">
            <a:solidFill>
              <a:srgbClr val="FFFF00"/>
            </a:solidFill>
            <a:round/>
            <a:headEnd/>
            <a:tailEnd/>
          </a:ln>
          <a:effectLst>
            <a:outerShdw dist="35921" dir="2700000" algn="ctr" rotWithShape="0">
              <a:srgbClr val="0B0B0B"/>
            </a:outerShdw>
          </a:effectLst>
          <a:extLst>
            <a:ext uri="{909E8E84-426E-40DD-AFC4-6F175D3DCCD1}">
              <a14:hiddenFill xmlns:a14="http://schemas.microsoft.com/office/drawing/2010/main">
                <a:noFill/>
              </a14:hiddenFill>
            </a:ext>
          </a:extLst>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1851" b="1" i="0" u="none" strike="noStrike" kern="1200" cap="none" spc="0" normalizeH="0" baseline="0" noProof="0">
              <a:ln>
                <a:noFill/>
              </a:ln>
              <a:solidFill>
                <a:srgbClr val="000000"/>
              </a:solidFill>
              <a:effectLst/>
              <a:uLnTx/>
              <a:uFillTx/>
              <a:latin typeface="Times New Roman" charset="0"/>
              <a:ea typeface="ＭＳ Ｐゴシック" charset="-128"/>
              <a:cs typeface="ＭＳ Ｐゴシック" charset="-128"/>
            </a:endParaRPr>
          </a:p>
        </p:txBody>
      </p:sp>
      <p:sp>
        <p:nvSpPr>
          <p:cNvPr id="5" name="CuadroTexto 7">
            <a:extLst>
              <a:ext uri="{FF2B5EF4-FFF2-40B4-BE49-F238E27FC236}">
                <a16:creationId xmlns:a16="http://schemas.microsoft.com/office/drawing/2014/main" id="{1377E3E8-AA78-3F40-A8FD-14B8C1A88A2D}"/>
              </a:ext>
            </a:extLst>
          </p:cNvPr>
          <p:cNvSpPr txBox="1">
            <a:spLocks noChangeArrowheads="1"/>
          </p:cNvSpPr>
          <p:nvPr/>
        </p:nvSpPr>
        <p:spPr bwMode="auto">
          <a:xfrm>
            <a:off x="5363246" y="4786980"/>
            <a:ext cx="36205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42950" indent="-285750">
              <a:spcBef>
                <a:spcPct val="20000"/>
              </a:spcBef>
              <a:buFont typeface="Arial" panose="020B0604020202020204" pitchFamily="34" charset="0"/>
              <a:buChar char="–"/>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spcBef>
                <a:spcPct val="20000"/>
              </a:spcBef>
              <a:buFont typeface="Wingdings" panose="05000000000000000000" pitchFamily="2" charset="2"/>
              <a:buChar char="§"/>
              <a:defRPr sz="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spcBef>
                <a:spcPct val="20000"/>
              </a:spcBef>
              <a:buFont typeface="Arial" panose="020B0604020202020204" pitchFamily="34" charset="0"/>
              <a:buChar cha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marR="0" lvl="0" indent="0" algn="r" defTabSz="578630" rtl="0" eaLnBrk="0" fontAlgn="auto" latinLnBrk="0" hangingPunct="0">
              <a:lnSpc>
                <a:spcPct val="100000"/>
              </a:lnSpc>
              <a:spcBef>
                <a:spcPct val="20000"/>
              </a:spcBef>
              <a:spcAft>
                <a:spcPts val="0"/>
              </a:spcAft>
              <a:buClrTx/>
              <a:buSzTx/>
              <a:buFont typeface="Wingdings" panose="05000000000000000000" pitchFamily="2" charset="2"/>
              <a:buNone/>
              <a:tabLst/>
              <a:defRPr/>
            </a:pPr>
            <a:r>
              <a:rPr kumimoji="0" lang="fr-FR" sz="1000" b="0" i="0" u="none" strike="noStrike" kern="1200" cap="none" spc="0" normalizeH="0" baseline="0" noProof="0">
                <a:ln>
                  <a:noFill/>
                </a:ln>
                <a:solidFill>
                  <a:srgbClr val="000020"/>
                </a:solidFill>
                <a:effectLst/>
                <a:uLnTx/>
                <a:uFillTx/>
                <a:latin typeface="Trebuchet MS"/>
                <a:ea typeface="ＭＳ Ｐゴシック" pitchFamily="84" charset="-128"/>
              </a:rPr>
              <a:t>Mateos MV. Personal communication.</a:t>
            </a:r>
          </a:p>
        </p:txBody>
      </p:sp>
    </p:spTree>
    <p:extLst>
      <p:ext uri="{BB962C8B-B14F-4D97-AF65-F5344CB8AC3E}">
        <p14:creationId xmlns:p14="http://schemas.microsoft.com/office/powerpoint/2010/main" val="41582938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
          <p:cNvSpPr txBox="1">
            <a:spLocks/>
          </p:cNvSpPr>
          <p:nvPr/>
        </p:nvSpPr>
        <p:spPr bwMode="auto">
          <a:xfrm>
            <a:off x="1717195" y="384508"/>
            <a:ext cx="5438347" cy="544739"/>
          </a:xfrm>
          <a:prstGeom prst="rect">
            <a:avLst/>
          </a:prstGeom>
          <a:noFill/>
          <a:ln>
            <a:noFill/>
          </a:ln>
          <a:extLst>
            <a:ext uri="{FAA26D3D-D897-4be2-8F04-BA451C77F1D7}">
              <ma14:placeholderFlag xmlns="" xmlns:ma14="http://schemas.microsoft.com/office/mac/drawingml/2011/main" val="1"/>
            </a:ext>
            <a:ext uri="{909E8E84-426E-40dd-AFC4-6F175D3DCCD1}"/>
            <a:ext uri="{91240B29-F687-4f45-9708-019B960494DF}"/>
          </a:extLst>
        </p:spPr>
        <p:txBody>
          <a:bodyPr vert="horz" wrap="square" lIns="57865" tIns="28932" rIns="57865" bIns="28932" numCol="1" anchor="ctr" anchorCtr="0" compatLnSpc="1">
            <a:prstTxWarp prst="textNoShape">
              <a:avLst/>
            </a:prstTxWarp>
          </a:bodyPr>
          <a:lstStyle>
            <a:lvl1pPr algn="ctr" rtl="0" eaLnBrk="0" fontAlgn="base" hangingPunct="0">
              <a:spcBef>
                <a:spcPct val="0"/>
              </a:spcBef>
              <a:spcAft>
                <a:spcPct val="0"/>
              </a:spcAft>
              <a:defRPr sz="2468" b="1">
                <a:solidFill>
                  <a:srgbClr val="FFFF00"/>
                </a:solidFill>
                <a:latin typeface="+mj-lt"/>
                <a:ea typeface="ＭＳ Ｐゴシック" charset="-128"/>
                <a:cs typeface="ＭＳ Ｐゴシック" charset="-128"/>
              </a:defRPr>
            </a:lvl1pPr>
            <a:lvl2pPr algn="ctr" rtl="0" eaLnBrk="0" fontAlgn="base" hangingPunct="0">
              <a:spcBef>
                <a:spcPct val="0"/>
              </a:spcBef>
              <a:spcAft>
                <a:spcPct val="0"/>
              </a:spcAft>
              <a:defRPr sz="2468" b="1">
                <a:solidFill>
                  <a:srgbClr val="FFFF00"/>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2468" b="1">
                <a:solidFill>
                  <a:srgbClr val="FFFF00"/>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2468" b="1">
                <a:solidFill>
                  <a:srgbClr val="FFFF00"/>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2468" b="1">
                <a:solidFill>
                  <a:srgbClr val="FFFF00"/>
                </a:solidFill>
                <a:latin typeface="Arial" pitchFamily="34" charset="0"/>
                <a:ea typeface="ＭＳ Ｐゴシック" charset="-128"/>
                <a:cs typeface="ＭＳ Ｐゴシック" charset="-128"/>
              </a:defRPr>
            </a:lvl5pPr>
            <a:lvl6pPr marL="325511" algn="ctr" rtl="0" fontAlgn="base">
              <a:spcBef>
                <a:spcPct val="0"/>
              </a:spcBef>
              <a:spcAft>
                <a:spcPct val="0"/>
              </a:spcAft>
              <a:defRPr sz="2492" b="1">
                <a:solidFill>
                  <a:srgbClr val="FFFF00"/>
                </a:solidFill>
                <a:latin typeface="Arial" pitchFamily="34" charset="0"/>
              </a:defRPr>
            </a:lvl6pPr>
            <a:lvl7pPr marL="651021" algn="ctr" rtl="0" fontAlgn="base">
              <a:spcBef>
                <a:spcPct val="0"/>
              </a:spcBef>
              <a:spcAft>
                <a:spcPct val="0"/>
              </a:spcAft>
              <a:defRPr sz="2492" b="1">
                <a:solidFill>
                  <a:srgbClr val="FFFF00"/>
                </a:solidFill>
                <a:latin typeface="Arial" pitchFamily="34" charset="0"/>
              </a:defRPr>
            </a:lvl7pPr>
            <a:lvl8pPr marL="976531" algn="ctr" rtl="0" fontAlgn="base">
              <a:spcBef>
                <a:spcPct val="0"/>
              </a:spcBef>
              <a:spcAft>
                <a:spcPct val="0"/>
              </a:spcAft>
              <a:defRPr sz="2492" b="1">
                <a:solidFill>
                  <a:srgbClr val="FFFF00"/>
                </a:solidFill>
                <a:latin typeface="Arial" pitchFamily="34" charset="0"/>
              </a:defRPr>
            </a:lvl8pPr>
            <a:lvl9pPr marL="1302042" algn="ctr" rtl="0" fontAlgn="base">
              <a:spcBef>
                <a:spcPct val="0"/>
              </a:spcBef>
              <a:spcAft>
                <a:spcPct val="0"/>
              </a:spcAft>
              <a:defRPr sz="2492" b="1">
                <a:solidFill>
                  <a:srgbClr val="FFFF00"/>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altLang="x-none" sz="1709" b="1" i="0" u="none" strike="noStrike" kern="0" cap="none" spc="0" normalizeH="0" baseline="0" noProof="0">
              <a:ln>
                <a:noFill/>
              </a:ln>
              <a:solidFill>
                <a:srgbClr val="FFFF00"/>
              </a:solidFill>
              <a:effectLst/>
              <a:uLnTx/>
              <a:uFillTx/>
              <a:latin typeface="Trebuchet MS"/>
              <a:ea typeface="ＭＳ Ｐゴシック" charset="-128"/>
            </a:endParaRPr>
          </a:p>
        </p:txBody>
      </p:sp>
      <p:sp>
        <p:nvSpPr>
          <p:cNvPr id="11" name="CuadroTexto 7">
            <a:extLst>
              <a:ext uri="{FF2B5EF4-FFF2-40B4-BE49-F238E27FC236}">
                <a16:creationId xmlns:a16="http://schemas.microsoft.com/office/drawing/2014/main" id="{C5E5EBFE-41F2-40FD-9C78-C8EDF4B2C574}"/>
              </a:ext>
            </a:extLst>
          </p:cNvPr>
          <p:cNvSpPr txBox="1">
            <a:spLocks noChangeArrowheads="1"/>
          </p:cNvSpPr>
          <p:nvPr/>
        </p:nvSpPr>
        <p:spPr bwMode="auto">
          <a:xfrm>
            <a:off x="5362073" y="4783257"/>
            <a:ext cx="36205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42950" indent="-285750">
              <a:spcBef>
                <a:spcPct val="20000"/>
              </a:spcBef>
              <a:buFont typeface="Arial" panose="020B0604020202020204" pitchFamily="34" charset="0"/>
              <a:buChar char="–"/>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spcBef>
                <a:spcPct val="20000"/>
              </a:spcBef>
              <a:buFont typeface="Wingdings" panose="05000000000000000000" pitchFamily="2" charset="2"/>
              <a:buChar char="§"/>
              <a:defRPr sz="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spcBef>
                <a:spcPct val="20000"/>
              </a:spcBef>
              <a:buFont typeface="Arial" panose="020B0604020202020204" pitchFamily="34" charset="0"/>
              <a:buChar cha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marR="0" lvl="0" indent="0" algn="r" defTabSz="433972"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fr-FR" altLang="es-ES" sz="1000" b="0" i="0" u="none" strike="noStrike" kern="1200" cap="none" spc="0" normalizeH="0" baseline="0" noProof="0">
                <a:ln>
                  <a:noFill/>
                </a:ln>
                <a:solidFill>
                  <a:srgbClr val="000020"/>
                </a:solidFill>
                <a:effectLst/>
                <a:uLnTx/>
                <a:uFillTx/>
                <a:latin typeface="Trebuchet MS"/>
                <a:ea typeface="Verdana" panose="020B0604030504040204" pitchFamily="34" charset="0"/>
                <a:cs typeface="Arial" panose="020B0604020202020204" pitchFamily="34" charset="0"/>
              </a:rPr>
              <a:t>Munshi N, et al. </a:t>
            </a:r>
            <a:r>
              <a:rPr kumimoji="0" lang="fr-FR" altLang="es-ES" sz="1000" b="0" i="1" u="none" strike="noStrike" kern="1200" cap="none" spc="0" normalizeH="0" baseline="0" noProof="0">
                <a:ln>
                  <a:noFill/>
                </a:ln>
                <a:solidFill>
                  <a:srgbClr val="000020"/>
                </a:solidFill>
                <a:effectLst/>
                <a:uLnTx/>
                <a:uFillTx/>
                <a:latin typeface="Trebuchet MS"/>
                <a:ea typeface="Verdana" panose="020B0604030504040204" pitchFamily="34" charset="0"/>
                <a:cs typeface="Arial" panose="020B0604020202020204" pitchFamily="34" charset="0"/>
              </a:rPr>
              <a:t>Blood Adv</a:t>
            </a:r>
            <a:r>
              <a:rPr kumimoji="0" lang="fr-FR" altLang="es-ES" sz="1000" b="0" i="0" u="none" strike="noStrike" kern="1200" cap="none" spc="0" normalizeH="0" baseline="0" noProof="0">
                <a:ln>
                  <a:noFill/>
                </a:ln>
                <a:solidFill>
                  <a:srgbClr val="000020"/>
                </a:solidFill>
                <a:effectLst/>
                <a:uLnTx/>
                <a:uFillTx/>
                <a:latin typeface="Trebuchet MS"/>
                <a:ea typeface="Verdana" panose="020B0604030504040204" pitchFamily="34" charset="0"/>
                <a:cs typeface="Arial" panose="020B0604020202020204" pitchFamily="34" charset="0"/>
              </a:rPr>
              <a:t>. 2020;4(23):5988-5999.</a:t>
            </a:r>
          </a:p>
        </p:txBody>
      </p:sp>
      <p:sp>
        <p:nvSpPr>
          <p:cNvPr id="2" name="Title 1">
            <a:extLst>
              <a:ext uri="{FF2B5EF4-FFF2-40B4-BE49-F238E27FC236}">
                <a16:creationId xmlns:a16="http://schemas.microsoft.com/office/drawing/2014/main" id="{D54CB38C-C873-4B1D-9D43-D99DA61A1CDB}"/>
              </a:ext>
            </a:extLst>
          </p:cNvPr>
          <p:cNvSpPr>
            <a:spLocks noGrp="1"/>
          </p:cNvSpPr>
          <p:nvPr>
            <p:ph type="title"/>
          </p:nvPr>
        </p:nvSpPr>
        <p:spPr/>
        <p:txBody>
          <a:bodyPr/>
          <a:lstStyle/>
          <a:p>
            <a:r>
              <a:rPr lang="en-US" sz="2030" noProof="0"/>
              <a:t>MRD as predictor across MM patient subgroups</a:t>
            </a:r>
          </a:p>
        </p:txBody>
      </p:sp>
      <p:sp>
        <p:nvSpPr>
          <p:cNvPr id="16" name="TextBox 15">
            <a:extLst>
              <a:ext uri="{FF2B5EF4-FFF2-40B4-BE49-F238E27FC236}">
                <a16:creationId xmlns:a16="http://schemas.microsoft.com/office/drawing/2014/main" id="{BF3054DD-5296-4B49-9CA4-5B1208B0A443}"/>
              </a:ext>
            </a:extLst>
          </p:cNvPr>
          <p:cNvSpPr txBox="1"/>
          <p:nvPr/>
        </p:nvSpPr>
        <p:spPr>
          <a:xfrm>
            <a:off x="0" y="4510072"/>
            <a:ext cx="7561690" cy="215444"/>
          </a:xfrm>
          <a:prstGeom prst="rect">
            <a:avLst/>
          </a:prstGeom>
          <a:noFill/>
        </p:spPr>
        <p:txBody>
          <a:bodyPr wrap="square" rtlCol="0" anchor="b">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800" b="0" i="0" u="none" strike="noStrike" kern="1200" cap="none" spc="0" normalizeH="0" baseline="0" noProof="0">
                <a:ln>
                  <a:noFill/>
                </a:ln>
                <a:solidFill>
                  <a:srgbClr val="000020"/>
                </a:solidFill>
                <a:effectLst/>
                <a:uLnTx/>
                <a:uFillTx/>
                <a:latin typeface="Trebuchet MS"/>
                <a:ea typeface="+mn-ea"/>
                <a:cs typeface="Arial" panose="020B0604020202020204" pitchFamily="34" charset="0"/>
              </a:rPr>
              <a:t>MRD, minimal residual disease; NDMM, newly diagnosed multiple myeloma; PFS, progression-free survival; RRMM, relapsed/refractory multiple myeloma.</a:t>
            </a:r>
          </a:p>
        </p:txBody>
      </p:sp>
      <p:pic>
        <p:nvPicPr>
          <p:cNvPr id="17" name="New picture">
            <a:extLst>
              <a:ext uri="{FF2B5EF4-FFF2-40B4-BE49-F238E27FC236}">
                <a16:creationId xmlns:a16="http://schemas.microsoft.com/office/drawing/2014/main" id="{465ABEBB-C433-4D4E-83EB-B21136009E8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19263" y="1070308"/>
            <a:ext cx="3868601" cy="2646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pic>
        <p:nvPicPr>
          <p:cNvPr id="18" name="New picture">
            <a:extLst>
              <a:ext uri="{FF2B5EF4-FFF2-40B4-BE49-F238E27FC236}">
                <a16:creationId xmlns:a16="http://schemas.microsoft.com/office/drawing/2014/main" id="{B43D127C-FB6F-C543-8395-1070ABE888C0}"/>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099803" y="1144988"/>
            <a:ext cx="4920895" cy="249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Tree>
    <p:extLst>
      <p:ext uri="{BB962C8B-B14F-4D97-AF65-F5344CB8AC3E}">
        <p14:creationId xmlns:p14="http://schemas.microsoft.com/office/powerpoint/2010/main" val="183474811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p:nvPr>
        </p:nvSpPr>
        <p:spPr>
          <a:xfrm>
            <a:off x="263416" y="269645"/>
            <a:ext cx="7412324" cy="581471"/>
          </a:xfrm>
        </p:spPr>
        <p:txBody>
          <a:bodyPr/>
          <a:lstStyle/>
          <a:p>
            <a:r>
              <a:rPr lang="en-US" noProof="0"/>
              <a:t>Impact of PET-CT negativity on clinical outcomes</a:t>
            </a:r>
            <a:br>
              <a:rPr lang="en-US" noProof="0"/>
            </a:br>
            <a:endParaRPr lang="en-US" noProof="0"/>
          </a:p>
        </p:txBody>
      </p:sp>
      <p:pic>
        <p:nvPicPr>
          <p:cNvPr id="76" name="Imagen 75">
            <a:extLst>
              <a:ext uri="{FF2B5EF4-FFF2-40B4-BE49-F238E27FC236}">
                <a16:creationId xmlns:a16="http://schemas.microsoft.com/office/drawing/2014/main" id="{875AFAEA-A12E-9440-B2F4-907A72EF6E7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23561" y="851116"/>
            <a:ext cx="4562172" cy="3547085"/>
          </a:xfrm>
          <a:prstGeom prst="rect">
            <a:avLst/>
          </a:prstGeom>
        </p:spPr>
      </p:pic>
      <p:sp>
        <p:nvSpPr>
          <p:cNvPr id="78" name="Rectángulo 77">
            <a:extLst>
              <a:ext uri="{FF2B5EF4-FFF2-40B4-BE49-F238E27FC236}">
                <a16:creationId xmlns:a16="http://schemas.microsoft.com/office/drawing/2014/main" id="{7B5B1C68-6200-444E-893A-39EC026723EC}"/>
              </a:ext>
            </a:extLst>
          </p:cNvPr>
          <p:cNvSpPr/>
          <p:nvPr/>
        </p:nvSpPr>
        <p:spPr>
          <a:xfrm>
            <a:off x="279319" y="851266"/>
            <a:ext cx="3378281" cy="29997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81" b="1" i="0" u="none" strike="noStrike" kern="1200" cap="none" spc="0" normalizeH="0" baseline="0" noProof="0">
                <a:ln>
                  <a:noFill/>
                </a:ln>
                <a:solidFill>
                  <a:srgbClr val="BE2BBB"/>
                </a:solidFill>
                <a:effectLst/>
                <a:uLnTx/>
                <a:uFillTx/>
                <a:latin typeface="Trebuchet MS"/>
                <a:ea typeface="+mn-ea"/>
                <a:cs typeface="Arial" panose="020B0604020202020204" pitchFamily="34" charset="0"/>
              </a:rPr>
              <a:t>Deauville scores (DS) to focal lesions (FS &lt;4) and bone marrow uptake (BMS) showing the liver background (DS &lt;4) as the best cutoff to define PET-CT negativity after therapy and complete metabolic response (CM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81" b="1" i="0" u="none" strike="noStrike" kern="1200" cap="none" spc="0" normalizeH="0" baseline="0" noProof="0">
              <a:ln>
                <a:noFill/>
              </a:ln>
              <a:solidFill>
                <a:srgbClr val="FFC000"/>
              </a:solidFill>
              <a:effectLst/>
              <a:uLnTx/>
              <a:uFillTx/>
              <a:latin typeface="Trebuchet MS"/>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81" b="1" i="0" u="none" strike="noStrike" kern="1200" cap="none" spc="0" normalizeH="0" baseline="0" noProof="0">
              <a:ln>
                <a:noFill/>
              </a:ln>
              <a:solidFill>
                <a:srgbClr val="FFC000"/>
              </a:solidFill>
              <a:effectLst/>
              <a:uLnTx/>
              <a:uFillTx/>
              <a:latin typeface="Trebuchet MS"/>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81" b="1" i="0" u="none" strike="noStrike" kern="1200" cap="none" spc="0" normalizeH="0" baseline="0" noProof="0">
                <a:ln>
                  <a:noFill/>
                </a:ln>
                <a:solidFill>
                  <a:srgbClr val="595454"/>
                </a:solidFill>
                <a:effectLst/>
                <a:uLnTx/>
                <a:uFillTx/>
                <a:latin typeface="Trebuchet MS"/>
                <a:ea typeface="+mn-ea"/>
                <a:cs typeface="Arial" panose="020B0604020202020204" pitchFamily="34" charset="0"/>
              </a:rPr>
              <a:t>Complete metabolic respon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81" b="1" i="0" u="none" strike="noStrike" kern="1200" cap="none" spc="0" normalizeH="0" baseline="0" noProof="0">
                <a:ln>
                  <a:noFill/>
                </a:ln>
                <a:solidFill>
                  <a:srgbClr val="595454"/>
                </a:solidFill>
                <a:effectLst/>
                <a:uLnTx/>
                <a:uFillTx/>
                <a:latin typeface="Trebuchet MS"/>
                <a:ea typeface="+mn-ea"/>
                <a:cs typeface="Arial" panose="020B0604020202020204" pitchFamily="34" charset="0"/>
              </a:rPr>
              <a:t>At PM, PET-CT negativity according to DS &lt;4 was present in 80% in the FLs and 85% in the BM, respectivel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81" b="1" i="0" u="none" strike="noStrike" kern="1200" cap="none" spc="0" normalizeH="0" baseline="0" noProof="0">
              <a:ln>
                <a:noFill/>
              </a:ln>
              <a:solidFill>
                <a:srgbClr val="595454"/>
              </a:solidFill>
              <a:effectLst/>
              <a:uLnTx/>
              <a:uFillTx/>
              <a:latin typeface="Trebuchet MS"/>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81" b="1" i="0" u="none" strike="noStrike" kern="1200" cap="none" spc="0" normalizeH="0" baseline="0" noProof="0">
                <a:ln>
                  <a:noFill/>
                </a:ln>
                <a:solidFill>
                  <a:srgbClr val="595454"/>
                </a:solidFill>
                <a:effectLst/>
                <a:uLnTx/>
                <a:uFillTx/>
                <a:latin typeface="Trebuchet MS"/>
                <a:ea typeface="+mn-ea"/>
                <a:cs typeface="Arial" panose="020B0604020202020204" pitchFamily="34" charset="0"/>
              </a:rPr>
              <a:t>The achievement of a best CR significantly correlated with BMS &lt;4 at pre-maintenance (</a:t>
            </a:r>
            <a:r>
              <a:rPr kumimoji="0" lang="en-GB" sz="1181" b="1" i="1" u="none" strike="noStrike" kern="1200" cap="none" spc="0" normalizeH="0" baseline="0" noProof="0">
                <a:ln>
                  <a:noFill/>
                </a:ln>
                <a:solidFill>
                  <a:srgbClr val="595454"/>
                </a:solidFill>
                <a:effectLst/>
                <a:uLnTx/>
                <a:uFillTx/>
                <a:latin typeface="Trebuchet MS"/>
                <a:ea typeface="+mn-ea"/>
                <a:cs typeface="Arial" panose="020B0604020202020204" pitchFamily="34" charset="0"/>
              </a:rPr>
              <a:t>P </a:t>
            </a:r>
            <a:r>
              <a:rPr kumimoji="0" lang="en-GB" sz="1181" b="1" i="0" u="none" strike="noStrike" kern="1200" cap="none" spc="0" normalizeH="0" baseline="0" noProof="0">
                <a:ln>
                  <a:noFill/>
                </a:ln>
                <a:solidFill>
                  <a:srgbClr val="595454"/>
                </a:solidFill>
                <a:effectLst/>
                <a:uLnTx/>
                <a:uFillTx/>
                <a:latin typeface="Trebuchet MS"/>
                <a:ea typeface="+mn-ea"/>
                <a:cs typeface="Arial" panose="020B0604020202020204" pitchFamily="34" charset="0"/>
              </a:rPr>
              <a:t>= .00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81" b="1" i="0" u="none" strike="noStrike" kern="1200" cap="none" spc="0" normalizeH="0" baseline="0" noProof="0">
              <a:ln>
                <a:noFill/>
              </a:ln>
              <a:solidFill>
                <a:srgbClr val="595454"/>
              </a:solidFill>
              <a:effectLst/>
              <a:uLnTx/>
              <a:uFillTx/>
              <a:latin typeface="Trebuchet MS"/>
              <a:ea typeface="+mn-ea"/>
              <a:cs typeface="Arial" panose="020B0604020202020204" pitchFamily="34" charset="0"/>
            </a:endParaRPr>
          </a:p>
        </p:txBody>
      </p:sp>
      <p:sp>
        <p:nvSpPr>
          <p:cNvPr id="8" name="CuadroTexto 7">
            <a:extLst>
              <a:ext uri="{FF2B5EF4-FFF2-40B4-BE49-F238E27FC236}">
                <a16:creationId xmlns:a16="http://schemas.microsoft.com/office/drawing/2014/main" id="{9413C4EC-EB86-473D-8DAA-E27C14CE4617}"/>
              </a:ext>
            </a:extLst>
          </p:cNvPr>
          <p:cNvSpPr txBox="1">
            <a:spLocks noChangeArrowheads="1"/>
          </p:cNvSpPr>
          <p:nvPr/>
        </p:nvSpPr>
        <p:spPr bwMode="auto">
          <a:xfrm>
            <a:off x="5362069" y="4786479"/>
            <a:ext cx="36205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42950" indent="-285750">
              <a:spcBef>
                <a:spcPct val="20000"/>
              </a:spcBef>
              <a:buFont typeface="Arial" panose="020B0604020202020204" pitchFamily="34" charset="0"/>
              <a:buChar char="–"/>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spcBef>
                <a:spcPct val="20000"/>
              </a:spcBef>
              <a:buFont typeface="Wingdings" panose="05000000000000000000" pitchFamily="2" charset="2"/>
              <a:buChar char="§"/>
              <a:defRPr sz="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spcBef>
                <a:spcPct val="20000"/>
              </a:spcBef>
              <a:buFont typeface="Arial" panose="020B0604020202020204" pitchFamily="34" charset="0"/>
              <a:buChar cha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marR="0" lvl="0" indent="0" algn="r" defTabSz="433972"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it-IT" altLang="es-ES" sz="1000" b="0" i="0" u="none" strike="noStrike" kern="1200" cap="none" spc="0" normalizeH="0" baseline="0" noProof="0">
                <a:ln>
                  <a:noFill/>
                </a:ln>
                <a:solidFill>
                  <a:srgbClr val="000020"/>
                </a:solidFill>
                <a:effectLst/>
                <a:uLnTx/>
                <a:uFillTx/>
                <a:latin typeface="Trebuchet MS"/>
                <a:ea typeface="Verdana" panose="020B0604030504040204" pitchFamily="34" charset="0"/>
                <a:cs typeface="Arial" panose="020B0604020202020204" pitchFamily="34" charset="0"/>
              </a:rPr>
              <a:t>Zamagni E, et al. ASH 2020. Abstract 3326.</a:t>
            </a:r>
          </a:p>
        </p:txBody>
      </p:sp>
      <p:sp>
        <p:nvSpPr>
          <p:cNvPr id="6" name="TextBox 5">
            <a:extLst>
              <a:ext uri="{FF2B5EF4-FFF2-40B4-BE49-F238E27FC236}">
                <a16:creationId xmlns:a16="http://schemas.microsoft.com/office/drawing/2014/main" id="{F638D677-1EBE-B143-A681-E39F045E4EDC}"/>
              </a:ext>
            </a:extLst>
          </p:cNvPr>
          <p:cNvSpPr txBox="1"/>
          <p:nvPr/>
        </p:nvSpPr>
        <p:spPr>
          <a:xfrm>
            <a:off x="0" y="4509521"/>
            <a:ext cx="4816155" cy="215444"/>
          </a:xfrm>
          <a:prstGeom prst="rect">
            <a:avLst/>
          </a:prstGeom>
          <a:noFill/>
        </p:spPr>
        <p:txBody>
          <a:bodyPr wrap="square" rtlCol="0" anchor="b">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800" b="0" i="0" u="none" strike="noStrike" kern="1200" cap="none" spc="0" normalizeH="0" baseline="0" noProof="0">
                <a:ln>
                  <a:noFill/>
                </a:ln>
                <a:solidFill>
                  <a:srgbClr val="000020"/>
                </a:solidFill>
                <a:effectLst/>
                <a:uLnTx/>
                <a:uFillTx/>
                <a:latin typeface="Trebuchet MS"/>
                <a:ea typeface="+mn-ea"/>
                <a:cs typeface="Arial" panose="020B0604020202020204" pitchFamily="34" charset="0"/>
              </a:rPr>
              <a:t>CR, complete response; PET/CT, positron emission tomography/computed tomography. </a:t>
            </a:r>
          </a:p>
        </p:txBody>
      </p:sp>
    </p:spTree>
    <p:extLst>
      <p:ext uri="{BB962C8B-B14F-4D97-AF65-F5344CB8AC3E}">
        <p14:creationId xmlns:p14="http://schemas.microsoft.com/office/powerpoint/2010/main" val="98510783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
          <p:cNvSpPr txBox="1">
            <a:spLocks/>
          </p:cNvSpPr>
          <p:nvPr/>
        </p:nvSpPr>
        <p:spPr bwMode="auto">
          <a:xfrm>
            <a:off x="1717195" y="384508"/>
            <a:ext cx="5438347" cy="544739"/>
          </a:xfrm>
          <a:prstGeom prst="rect">
            <a:avLst/>
          </a:prstGeom>
          <a:noFill/>
          <a:ln>
            <a:noFill/>
          </a:ln>
          <a:extLst>
            <a:ext uri="{FAA26D3D-D897-4be2-8F04-BA451C77F1D7}">
              <ma14:placeholderFlag xmlns="" xmlns:ma14="http://schemas.microsoft.com/office/mac/drawingml/2011/main" val="1"/>
            </a:ext>
            <a:ext uri="{909E8E84-426E-40dd-AFC4-6F175D3DCCD1}"/>
            <a:ext uri="{91240B29-F687-4f45-9708-019B960494DF}"/>
          </a:extLst>
        </p:spPr>
        <p:txBody>
          <a:bodyPr vert="horz" wrap="square" lIns="57865" tIns="28932" rIns="57865" bIns="28932" numCol="1" anchor="ctr" anchorCtr="0" compatLnSpc="1">
            <a:prstTxWarp prst="textNoShape">
              <a:avLst/>
            </a:prstTxWarp>
          </a:bodyPr>
          <a:lstStyle>
            <a:lvl1pPr algn="ctr" rtl="0" eaLnBrk="0" fontAlgn="base" hangingPunct="0">
              <a:spcBef>
                <a:spcPct val="0"/>
              </a:spcBef>
              <a:spcAft>
                <a:spcPct val="0"/>
              </a:spcAft>
              <a:defRPr sz="2468" b="1">
                <a:solidFill>
                  <a:srgbClr val="FFFF00"/>
                </a:solidFill>
                <a:latin typeface="+mj-lt"/>
                <a:ea typeface="ＭＳ Ｐゴシック" charset="-128"/>
                <a:cs typeface="ＭＳ Ｐゴシック" charset="-128"/>
              </a:defRPr>
            </a:lvl1pPr>
            <a:lvl2pPr algn="ctr" rtl="0" eaLnBrk="0" fontAlgn="base" hangingPunct="0">
              <a:spcBef>
                <a:spcPct val="0"/>
              </a:spcBef>
              <a:spcAft>
                <a:spcPct val="0"/>
              </a:spcAft>
              <a:defRPr sz="2468" b="1">
                <a:solidFill>
                  <a:srgbClr val="FFFF00"/>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2468" b="1">
                <a:solidFill>
                  <a:srgbClr val="FFFF00"/>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2468" b="1">
                <a:solidFill>
                  <a:srgbClr val="FFFF00"/>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2468" b="1">
                <a:solidFill>
                  <a:srgbClr val="FFFF00"/>
                </a:solidFill>
                <a:latin typeface="Arial" pitchFamily="34" charset="0"/>
                <a:ea typeface="ＭＳ Ｐゴシック" charset="-128"/>
                <a:cs typeface="ＭＳ Ｐゴシック" charset="-128"/>
              </a:defRPr>
            </a:lvl5pPr>
            <a:lvl6pPr marL="325511" algn="ctr" rtl="0" fontAlgn="base">
              <a:spcBef>
                <a:spcPct val="0"/>
              </a:spcBef>
              <a:spcAft>
                <a:spcPct val="0"/>
              </a:spcAft>
              <a:defRPr sz="2492" b="1">
                <a:solidFill>
                  <a:srgbClr val="FFFF00"/>
                </a:solidFill>
                <a:latin typeface="Arial" pitchFamily="34" charset="0"/>
              </a:defRPr>
            </a:lvl6pPr>
            <a:lvl7pPr marL="651021" algn="ctr" rtl="0" fontAlgn="base">
              <a:spcBef>
                <a:spcPct val="0"/>
              </a:spcBef>
              <a:spcAft>
                <a:spcPct val="0"/>
              </a:spcAft>
              <a:defRPr sz="2492" b="1">
                <a:solidFill>
                  <a:srgbClr val="FFFF00"/>
                </a:solidFill>
                <a:latin typeface="Arial" pitchFamily="34" charset="0"/>
              </a:defRPr>
            </a:lvl7pPr>
            <a:lvl8pPr marL="976531" algn="ctr" rtl="0" fontAlgn="base">
              <a:spcBef>
                <a:spcPct val="0"/>
              </a:spcBef>
              <a:spcAft>
                <a:spcPct val="0"/>
              </a:spcAft>
              <a:defRPr sz="2492" b="1">
                <a:solidFill>
                  <a:srgbClr val="FFFF00"/>
                </a:solidFill>
                <a:latin typeface="Arial" pitchFamily="34" charset="0"/>
              </a:defRPr>
            </a:lvl8pPr>
            <a:lvl9pPr marL="1302042" algn="ctr" rtl="0" fontAlgn="base">
              <a:spcBef>
                <a:spcPct val="0"/>
              </a:spcBef>
              <a:spcAft>
                <a:spcPct val="0"/>
              </a:spcAft>
              <a:defRPr sz="2492" b="1">
                <a:solidFill>
                  <a:srgbClr val="FFFF00"/>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altLang="x-none" sz="1709" b="1" i="0" u="none" strike="noStrike" kern="0" cap="none" spc="0" normalizeH="0" baseline="0" noProof="0">
              <a:ln>
                <a:noFill/>
              </a:ln>
              <a:solidFill>
                <a:srgbClr val="FFFF00"/>
              </a:solidFill>
              <a:effectLst/>
              <a:uLnTx/>
              <a:uFillTx/>
              <a:latin typeface="Trebuchet MS"/>
              <a:ea typeface="ＭＳ Ｐゴシック" charset="-128"/>
            </a:endParaRPr>
          </a:p>
        </p:txBody>
      </p:sp>
      <p:sp>
        <p:nvSpPr>
          <p:cNvPr id="2" name="Title 1">
            <a:extLst>
              <a:ext uri="{FF2B5EF4-FFF2-40B4-BE49-F238E27FC236}">
                <a16:creationId xmlns:a16="http://schemas.microsoft.com/office/drawing/2014/main" id="{D54CB38C-C873-4B1D-9D43-D99DA61A1CDB}"/>
              </a:ext>
            </a:extLst>
          </p:cNvPr>
          <p:cNvSpPr>
            <a:spLocks noGrp="1"/>
          </p:cNvSpPr>
          <p:nvPr>
            <p:ph type="title"/>
          </p:nvPr>
        </p:nvSpPr>
        <p:spPr/>
        <p:txBody>
          <a:bodyPr/>
          <a:lstStyle/>
          <a:p>
            <a:r>
              <a:rPr lang="en-US" sz="2030" noProof="0"/>
              <a:t>MRD as predictor across MM patient subgroups</a:t>
            </a:r>
          </a:p>
        </p:txBody>
      </p:sp>
      <p:pic>
        <p:nvPicPr>
          <p:cNvPr id="17" name="New picture">
            <a:extLst>
              <a:ext uri="{FF2B5EF4-FFF2-40B4-BE49-F238E27FC236}">
                <a16:creationId xmlns:a16="http://schemas.microsoft.com/office/drawing/2014/main" id="{465ABEBB-C433-4D4E-83EB-B21136009E8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18630" y="1249594"/>
            <a:ext cx="3509580" cy="240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pic>
        <p:nvPicPr>
          <p:cNvPr id="18" name="New picture">
            <a:extLst>
              <a:ext uri="{FF2B5EF4-FFF2-40B4-BE49-F238E27FC236}">
                <a16:creationId xmlns:a16="http://schemas.microsoft.com/office/drawing/2014/main" id="{B43D127C-FB6F-C543-8395-1070ABE888C0}"/>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137620" y="1249594"/>
            <a:ext cx="4732060" cy="240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3" name="Rectángulo redondeado 2">
            <a:extLst>
              <a:ext uri="{FF2B5EF4-FFF2-40B4-BE49-F238E27FC236}">
                <a16:creationId xmlns:a16="http://schemas.microsoft.com/office/drawing/2014/main" id="{2E0ED502-054C-5C4B-BD87-5A34F91EC513}"/>
              </a:ext>
            </a:extLst>
          </p:cNvPr>
          <p:cNvSpPr/>
          <p:nvPr/>
        </p:nvSpPr>
        <p:spPr>
          <a:xfrm>
            <a:off x="4436368" y="1905960"/>
            <a:ext cx="4433312" cy="365760"/>
          </a:xfrm>
          <a:prstGeom prst="roundRect">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s-ES" sz="2025" b="1" i="0" u="none" strike="noStrike" kern="1200" cap="none" spc="0" normalizeH="0" baseline="0" noProof="0">
              <a:ln>
                <a:noFill/>
              </a:ln>
              <a:solidFill>
                <a:srgbClr val="FFFFFF"/>
              </a:solidFill>
              <a:effectLst/>
              <a:uLnTx/>
              <a:uFillTx/>
              <a:latin typeface="Trebuchet MS"/>
              <a:ea typeface="+mn-ea"/>
              <a:cs typeface="+mn-cs"/>
            </a:endParaRPr>
          </a:p>
        </p:txBody>
      </p:sp>
      <p:sp>
        <p:nvSpPr>
          <p:cNvPr id="10" name="Rectángulo redondeado 9">
            <a:extLst>
              <a:ext uri="{FF2B5EF4-FFF2-40B4-BE49-F238E27FC236}">
                <a16:creationId xmlns:a16="http://schemas.microsoft.com/office/drawing/2014/main" id="{5FE071C5-EAF1-3946-B0DA-F17A04249080}"/>
              </a:ext>
            </a:extLst>
          </p:cNvPr>
          <p:cNvSpPr/>
          <p:nvPr/>
        </p:nvSpPr>
        <p:spPr>
          <a:xfrm>
            <a:off x="4028239" y="3107760"/>
            <a:ext cx="4841441" cy="365760"/>
          </a:xfrm>
          <a:prstGeom prst="roundRect">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s-ES" sz="2025" b="1" i="0" u="none" strike="noStrike" kern="1200" cap="none" spc="0" normalizeH="0" baseline="0" noProof="0">
              <a:ln>
                <a:noFill/>
              </a:ln>
              <a:solidFill>
                <a:srgbClr val="FFFFFF"/>
              </a:solidFill>
              <a:effectLst/>
              <a:uLnTx/>
              <a:uFillTx/>
              <a:latin typeface="Trebuchet MS"/>
              <a:ea typeface="+mn-ea"/>
              <a:cs typeface="+mn-cs"/>
            </a:endParaRPr>
          </a:p>
        </p:txBody>
      </p:sp>
      <p:sp>
        <p:nvSpPr>
          <p:cNvPr id="12" name="CuadroTexto 7">
            <a:extLst>
              <a:ext uri="{FF2B5EF4-FFF2-40B4-BE49-F238E27FC236}">
                <a16:creationId xmlns:a16="http://schemas.microsoft.com/office/drawing/2014/main" id="{0CE9B62F-3CFB-415D-AE2D-0B61DED2CE77}"/>
              </a:ext>
            </a:extLst>
          </p:cNvPr>
          <p:cNvSpPr txBox="1">
            <a:spLocks noChangeArrowheads="1"/>
          </p:cNvSpPr>
          <p:nvPr/>
        </p:nvSpPr>
        <p:spPr bwMode="auto">
          <a:xfrm>
            <a:off x="5359836" y="4781717"/>
            <a:ext cx="36205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42950" indent="-285750">
              <a:spcBef>
                <a:spcPct val="20000"/>
              </a:spcBef>
              <a:buFont typeface="Arial" panose="020B0604020202020204" pitchFamily="34" charset="0"/>
              <a:buChar char="–"/>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spcBef>
                <a:spcPct val="20000"/>
              </a:spcBef>
              <a:buFont typeface="Wingdings" panose="05000000000000000000" pitchFamily="2" charset="2"/>
              <a:buChar char="§"/>
              <a:defRPr sz="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spcBef>
                <a:spcPct val="20000"/>
              </a:spcBef>
              <a:buFont typeface="Arial" panose="020B0604020202020204" pitchFamily="34" charset="0"/>
              <a:buChar cha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pPr marL="0" marR="0" lvl="0" indent="0" algn="r" defTabSz="433972"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fr-FR" altLang="es-ES" sz="1000" b="0" i="0" u="none" strike="noStrike" kern="1200" cap="none" spc="0" normalizeH="0" baseline="0" noProof="0">
                <a:ln>
                  <a:noFill/>
                </a:ln>
                <a:solidFill>
                  <a:srgbClr val="000020"/>
                </a:solidFill>
                <a:effectLst/>
                <a:uLnTx/>
                <a:uFillTx/>
                <a:latin typeface="Trebuchet MS"/>
                <a:ea typeface="Verdana" panose="020B0604030504040204" pitchFamily="34" charset="0"/>
                <a:cs typeface="Arial" panose="020B0604020202020204" pitchFamily="34" charset="0"/>
              </a:rPr>
              <a:t>Munshi N, et al. </a:t>
            </a:r>
            <a:r>
              <a:rPr kumimoji="0" lang="fr-FR" altLang="es-ES" sz="1000" b="0" i="1" u="none" strike="noStrike" kern="1200" cap="none" spc="0" normalizeH="0" baseline="0" noProof="0">
                <a:ln>
                  <a:noFill/>
                </a:ln>
                <a:solidFill>
                  <a:srgbClr val="000020"/>
                </a:solidFill>
                <a:effectLst/>
                <a:uLnTx/>
                <a:uFillTx/>
                <a:latin typeface="Trebuchet MS"/>
                <a:ea typeface="Verdana" panose="020B0604030504040204" pitchFamily="34" charset="0"/>
                <a:cs typeface="Arial" panose="020B0604020202020204" pitchFamily="34" charset="0"/>
              </a:rPr>
              <a:t>Blood Adv</a:t>
            </a:r>
            <a:r>
              <a:rPr kumimoji="0" lang="fr-FR" altLang="es-ES" sz="1000" b="0" i="0" u="none" strike="noStrike" kern="1200" cap="none" spc="0" normalizeH="0" baseline="0" noProof="0">
                <a:ln>
                  <a:noFill/>
                </a:ln>
                <a:solidFill>
                  <a:srgbClr val="000020"/>
                </a:solidFill>
                <a:effectLst/>
                <a:uLnTx/>
                <a:uFillTx/>
                <a:latin typeface="Trebuchet MS"/>
                <a:ea typeface="Verdana" panose="020B0604030504040204" pitchFamily="34" charset="0"/>
                <a:cs typeface="Arial" panose="020B0604020202020204" pitchFamily="34" charset="0"/>
              </a:rPr>
              <a:t>. 2020;4(23):5988-5999.</a:t>
            </a:r>
          </a:p>
        </p:txBody>
      </p:sp>
      <p:sp>
        <p:nvSpPr>
          <p:cNvPr id="11" name="TextBox 10">
            <a:extLst>
              <a:ext uri="{FF2B5EF4-FFF2-40B4-BE49-F238E27FC236}">
                <a16:creationId xmlns:a16="http://schemas.microsoft.com/office/drawing/2014/main" id="{E6856F10-30BD-432A-9310-AE18DE30D530}"/>
              </a:ext>
            </a:extLst>
          </p:cNvPr>
          <p:cNvSpPr txBox="1"/>
          <p:nvPr/>
        </p:nvSpPr>
        <p:spPr>
          <a:xfrm>
            <a:off x="0" y="4510072"/>
            <a:ext cx="7561690" cy="215444"/>
          </a:xfrm>
          <a:prstGeom prst="rect">
            <a:avLst/>
          </a:prstGeom>
          <a:noFill/>
        </p:spPr>
        <p:txBody>
          <a:bodyPr wrap="square" rtlCol="0" anchor="b">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800" b="0" i="0" u="none" strike="noStrike" kern="1200" cap="none" spc="0" normalizeH="0" baseline="0" noProof="0">
                <a:ln>
                  <a:noFill/>
                </a:ln>
                <a:solidFill>
                  <a:srgbClr val="000020"/>
                </a:solidFill>
                <a:effectLst/>
                <a:uLnTx/>
                <a:uFillTx/>
                <a:latin typeface="Trebuchet MS"/>
                <a:ea typeface="+mn-ea"/>
                <a:cs typeface="Arial" panose="020B0604020202020204" pitchFamily="34" charset="0"/>
              </a:rPr>
              <a:t>MRD, minimal residual disease; NDMM, newly diagnosed multiple myeloma; PFS, progression-free survival; RRMM, relapsed/refractory multiple myeloma.</a:t>
            </a:r>
          </a:p>
        </p:txBody>
      </p:sp>
    </p:spTree>
    <p:extLst>
      <p:ext uri="{BB962C8B-B14F-4D97-AF65-F5344CB8AC3E}">
        <p14:creationId xmlns:p14="http://schemas.microsoft.com/office/powerpoint/2010/main" val="40826730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5">
            <a:extLst>
              <a:ext uri="{FF2B5EF4-FFF2-40B4-BE49-F238E27FC236}">
                <a16:creationId xmlns:a16="http://schemas.microsoft.com/office/drawing/2014/main" id="{A5875C22-3368-654C-A800-A4A65F4C6C21}"/>
              </a:ext>
            </a:extLst>
          </p:cNvPr>
          <p:cNvSpPr>
            <a:spLocks noGrp="1"/>
          </p:cNvSpPr>
          <p:nvPr>
            <p:ph type="title"/>
          </p:nvPr>
        </p:nvSpPr>
        <p:spPr/>
        <p:txBody>
          <a:bodyPr/>
          <a:lstStyle/>
          <a:p>
            <a:r>
              <a:rPr lang="en-US" noProof="0"/>
              <a:t>Attrition rates by subsequent lines of therapy in patients with NDMM</a:t>
            </a:r>
          </a:p>
        </p:txBody>
      </p:sp>
      <p:sp>
        <p:nvSpPr>
          <p:cNvPr id="7" name="Marcador de contenido 6">
            <a:extLst>
              <a:ext uri="{FF2B5EF4-FFF2-40B4-BE49-F238E27FC236}">
                <a16:creationId xmlns:a16="http://schemas.microsoft.com/office/drawing/2014/main" id="{910DA213-6E1A-2344-A11A-124F78DEF0E4}"/>
              </a:ext>
            </a:extLst>
          </p:cNvPr>
          <p:cNvSpPr>
            <a:spLocks noGrp="1"/>
          </p:cNvSpPr>
          <p:nvPr>
            <p:ph idx="1"/>
          </p:nvPr>
        </p:nvSpPr>
        <p:spPr>
          <a:xfrm>
            <a:off x="1007203" y="3980438"/>
            <a:ext cx="7128792" cy="403461"/>
          </a:xfrm>
        </p:spPr>
        <p:txBody>
          <a:bodyPr/>
          <a:lstStyle/>
          <a:p>
            <a:pPr marL="0" indent="0">
              <a:buNone/>
            </a:pPr>
            <a:r>
              <a:rPr lang="en-US" noProof="0">
                <a:solidFill>
                  <a:srgbClr val="BE2BBB"/>
                </a:solidFill>
              </a:rPr>
              <a:t>High attrition rates underscore the need to use the most optimal treatment regimens upfront rather than reserving them for later LOTs in which the clinical benefit may decrease</a:t>
            </a:r>
          </a:p>
        </p:txBody>
      </p:sp>
      <p:sp>
        <p:nvSpPr>
          <p:cNvPr id="8" name="Marcador de texto 7">
            <a:extLst>
              <a:ext uri="{FF2B5EF4-FFF2-40B4-BE49-F238E27FC236}">
                <a16:creationId xmlns:a16="http://schemas.microsoft.com/office/drawing/2014/main" id="{3A78A14A-096E-E84D-8D6B-C3D91873E3B4}"/>
              </a:ext>
            </a:extLst>
          </p:cNvPr>
          <p:cNvSpPr>
            <a:spLocks noGrp="1"/>
          </p:cNvSpPr>
          <p:nvPr>
            <p:ph type="body" sz="quarter" idx="13"/>
          </p:nvPr>
        </p:nvSpPr>
        <p:spPr>
          <a:xfrm>
            <a:off x="3209332" y="4829753"/>
            <a:ext cx="5678396" cy="262943"/>
          </a:xfrm>
        </p:spPr>
        <p:txBody>
          <a:bodyPr/>
          <a:lstStyle/>
          <a:p>
            <a:pPr algn="r"/>
            <a:r>
              <a:rPr lang="en-US" sz="1000" noProof="0">
                <a:solidFill>
                  <a:srgbClr val="000020"/>
                </a:solidFill>
              </a:rPr>
              <a:t>Fonseca R, et al. </a:t>
            </a:r>
            <a:r>
              <a:rPr lang="en-US" sz="1000" i="1" noProof="0">
                <a:solidFill>
                  <a:srgbClr val="000020"/>
                </a:solidFill>
              </a:rPr>
              <a:t>BMC Cancer</a:t>
            </a:r>
            <a:r>
              <a:rPr lang="en-US" sz="1000" noProof="0">
                <a:solidFill>
                  <a:srgbClr val="000020"/>
                </a:solidFill>
              </a:rPr>
              <a:t>. 2020;20:1087.</a:t>
            </a:r>
          </a:p>
        </p:txBody>
      </p:sp>
      <p:pic>
        <p:nvPicPr>
          <p:cNvPr id="9" name="Imagen 8">
            <a:extLst>
              <a:ext uri="{FF2B5EF4-FFF2-40B4-BE49-F238E27FC236}">
                <a16:creationId xmlns:a16="http://schemas.microsoft.com/office/drawing/2014/main" id="{A1F5EF2C-AAB2-7846-872A-B60E422B6EC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07679" y="897214"/>
            <a:ext cx="3946961" cy="2970330"/>
          </a:xfrm>
          <a:prstGeom prst="rect">
            <a:avLst/>
          </a:prstGeom>
        </p:spPr>
      </p:pic>
      <p:grpSp>
        <p:nvGrpSpPr>
          <p:cNvPr id="2" name="Group 1">
            <a:extLst>
              <a:ext uri="{FF2B5EF4-FFF2-40B4-BE49-F238E27FC236}">
                <a16:creationId xmlns:a16="http://schemas.microsoft.com/office/drawing/2014/main" id="{EF701772-96BA-46A8-9B8E-87B0003C6BBE}"/>
              </a:ext>
            </a:extLst>
          </p:cNvPr>
          <p:cNvGrpSpPr/>
          <p:nvPr/>
        </p:nvGrpSpPr>
        <p:grpSpPr>
          <a:xfrm>
            <a:off x="111318" y="852621"/>
            <a:ext cx="4190652" cy="2970330"/>
            <a:chOff x="791580" y="1174871"/>
            <a:chExt cx="3510390" cy="2648079"/>
          </a:xfrm>
        </p:grpSpPr>
        <p:pic>
          <p:nvPicPr>
            <p:cNvPr id="11" name="Imagen 10">
              <a:extLst>
                <a:ext uri="{FF2B5EF4-FFF2-40B4-BE49-F238E27FC236}">
                  <a16:creationId xmlns:a16="http://schemas.microsoft.com/office/drawing/2014/main" id="{BB9E874B-AAD6-D846-B6B7-D393C2FF4DAC}"/>
                </a:ext>
              </a:extLst>
            </p:cNvPr>
            <p:cNvPicPr>
              <a:picLocks noChangeAspect="1"/>
            </p:cNvPicPr>
            <p:nvPr/>
          </p:nvPicPr>
          <p:blipFill>
            <a:blip r:embed="rId3"/>
            <a:stretch>
              <a:fillRect/>
            </a:stretch>
          </p:blipFill>
          <p:spPr>
            <a:xfrm>
              <a:off x="791580" y="1174871"/>
              <a:ext cx="3510390" cy="2648079"/>
            </a:xfrm>
            <a:prstGeom prst="rect">
              <a:avLst/>
            </a:prstGeom>
          </p:spPr>
        </p:pic>
        <p:sp>
          <p:nvSpPr>
            <p:cNvPr id="13" name="CuadroTexto 12">
              <a:extLst>
                <a:ext uri="{FF2B5EF4-FFF2-40B4-BE49-F238E27FC236}">
                  <a16:creationId xmlns:a16="http://schemas.microsoft.com/office/drawing/2014/main" id="{9A4A3646-9BAF-A546-91EC-2FB8E17DD907}"/>
                </a:ext>
              </a:extLst>
            </p:cNvPr>
            <p:cNvSpPr txBox="1"/>
            <p:nvPr/>
          </p:nvSpPr>
          <p:spPr>
            <a:xfrm>
              <a:off x="1493658" y="1214626"/>
              <a:ext cx="685800" cy="685800"/>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ts val="900"/>
                </a:spcBef>
                <a:spcAft>
                  <a:spcPct val="0"/>
                </a:spcAft>
                <a:buClrTx/>
                <a:buSzPct val="100000"/>
                <a:buFontTx/>
                <a:buNone/>
                <a:tabLst/>
                <a:defRPr/>
              </a:pPr>
              <a:r>
                <a:rPr kumimoji="0" lang="en-US" sz="1050" b="1" i="0" u="none" strike="noStrike" kern="1200" cap="none" spc="0" normalizeH="0" baseline="0" noProof="0">
                  <a:ln>
                    <a:noFill/>
                  </a:ln>
                  <a:solidFill>
                    <a:srgbClr val="595454"/>
                  </a:solidFill>
                  <a:effectLst/>
                  <a:uLnTx/>
                  <a:uFillTx/>
                  <a:latin typeface="Trebuchet MS"/>
                  <a:ea typeface="+mn-ea"/>
                  <a:cs typeface="+mn-cs"/>
                </a:rPr>
                <a:t>The most frequent regimens in </a:t>
              </a:r>
              <a:r>
                <a:rPr kumimoji="0" lang="en-US" sz="1050" b="1" i="0" u="none" strike="noStrike" kern="1200" cap="none" spc="0" normalizeH="0" baseline="0" noProof="0">
                  <a:ln>
                    <a:noFill/>
                  </a:ln>
                  <a:solidFill>
                    <a:srgbClr val="BE2BBB"/>
                  </a:solidFill>
                  <a:effectLst/>
                  <a:uLnTx/>
                  <a:uFillTx/>
                  <a:latin typeface="Trebuchet MS"/>
                  <a:ea typeface="+mn-ea"/>
                  <a:cs typeface="+mn-cs"/>
                </a:rPr>
                <a:t>TIE-NDMM</a:t>
              </a:r>
            </a:p>
          </p:txBody>
        </p:sp>
        <p:sp>
          <p:nvSpPr>
            <p:cNvPr id="14" name="CuadroTexto 13">
              <a:extLst>
                <a:ext uri="{FF2B5EF4-FFF2-40B4-BE49-F238E27FC236}">
                  <a16:creationId xmlns:a16="http://schemas.microsoft.com/office/drawing/2014/main" id="{5E623286-4D48-2740-8A1B-EDF7EBD6E744}"/>
                </a:ext>
              </a:extLst>
            </p:cNvPr>
            <p:cNvSpPr txBox="1"/>
            <p:nvPr/>
          </p:nvSpPr>
          <p:spPr>
            <a:xfrm>
              <a:off x="1544207" y="2631275"/>
              <a:ext cx="685800" cy="685800"/>
            </a:xfrm>
            <a:prstGeom prst="rect">
              <a:avLst/>
            </a:prstGeom>
            <a:noFill/>
          </p:spPr>
          <p:txBody>
            <a:bodyPr wrap="none" lIns="0" tIns="0" rIns="0" bIns="0" rtlCol="0">
              <a:noAutofit/>
            </a:bodyPr>
            <a:lstStyle/>
            <a:p>
              <a:pPr marL="0" marR="0" lvl="0" indent="0" algn="l" defTabSz="914400" rtl="0" eaLnBrk="0" fontAlgn="base" latinLnBrk="0" hangingPunct="0">
                <a:lnSpc>
                  <a:spcPct val="100000"/>
                </a:lnSpc>
                <a:spcBef>
                  <a:spcPts val="900"/>
                </a:spcBef>
                <a:spcAft>
                  <a:spcPct val="0"/>
                </a:spcAft>
                <a:buClrTx/>
                <a:buSzPct val="100000"/>
                <a:buFontTx/>
                <a:buNone/>
                <a:tabLst/>
                <a:defRPr/>
              </a:pPr>
              <a:r>
                <a:rPr kumimoji="0" lang="en-US" sz="1050" b="1" i="0" u="none" strike="noStrike" kern="1200" cap="none" spc="0" normalizeH="0" baseline="0" noProof="0">
                  <a:ln>
                    <a:noFill/>
                  </a:ln>
                  <a:solidFill>
                    <a:srgbClr val="595454"/>
                  </a:solidFill>
                  <a:effectLst/>
                  <a:uLnTx/>
                  <a:uFillTx/>
                  <a:latin typeface="Trebuchet MS"/>
                  <a:ea typeface="+mn-ea"/>
                  <a:cs typeface="+mn-cs"/>
                </a:rPr>
                <a:t>The most frequent regimens in </a:t>
              </a:r>
              <a:r>
                <a:rPr kumimoji="0" lang="en-US" sz="1050" b="1" i="0" u="none" strike="noStrike" kern="1200" cap="none" spc="0" normalizeH="0" baseline="0" noProof="0">
                  <a:ln>
                    <a:noFill/>
                  </a:ln>
                  <a:solidFill>
                    <a:srgbClr val="BE2BBB"/>
                  </a:solidFill>
                  <a:effectLst/>
                  <a:uLnTx/>
                  <a:uFillTx/>
                  <a:latin typeface="Trebuchet MS"/>
                  <a:ea typeface="+mn-ea"/>
                  <a:cs typeface="+mn-cs"/>
                </a:rPr>
                <a:t>TE-NDMM</a:t>
              </a:r>
            </a:p>
          </p:txBody>
        </p:sp>
      </p:grpSp>
    </p:spTree>
    <p:extLst>
      <p:ext uri="{BB962C8B-B14F-4D97-AF65-F5344CB8AC3E}">
        <p14:creationId xmlns:p14="http://schemas.microsoft.com/office/powerpoint/2010/main" val="26713962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50DCCDFE-B7C1-C340-B71A-3F90EC9B7820}"/>
              </a:ext>
            </a:extLst>
          </p:cNvPr>
          <p:cNvSpPr txBox="1"/>
          <p:nvPr/>
        </p:nvSpPr>
        <p:spPr>
          <a:xfrm>
            <a:off x="827717" y="3772462"/>
            <a:ext cx="1716286" cy="553037"/>
          </a:xfrm>
          <a:prstGeom prst="rect">
            <a:avLst/>
          </a:prstGeom>
          <a:noFill/>
        </p:spPr>
        <p:txBody>
          <a:bodyPr wrap="square" rtlCol="0" anchor="t">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98" b="1" i="0" u="none" strike="noStrike" kern="1200" cap="none" spc="0" normalizeH="0" baseline="0" noProof="0">
                <a:ln>
                  <a:noFill/>
                </a:ln>
                <a:effectLst/>
                <a:uLnTx/>
                <a:uFillTx/>
                <a:latin typeface="Arial" panose="020B0604020202020204"/>
                <a:ea typeface="+mn-ea"/>
                <a:cs typeface="+mn-cs"/>
              </a:rPr>
              <a:t>Choose Your Answer</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98" b="0" i="0" u="none" strike="noStrike" kern="1200" cap="none" spc="0" normalizeH="0" baseline="0" noProof="0">
                <a:ln>
                  <a:noFill/>
                </a:ln>
                <a:effectLst/>
                <a:uLnTx/>
                <a:uFillTx/>
                <a:latin typeface="Arial" panose="020B0604020202020204"/>
                <a:ea typeface="+mn-ea"/>
                <a:cs typeface="+mn-cs"/>
              </a:rPr>
              <a:t>Click on the answer (or answers if multiple choice)</a:t>
            </a:r>
          </a:p>
        </p:txBody>
      </p:sp>
      <p:pic>
        <p:nvPicPr>
          <p:cNvPr id="31" name="Picture 30" descr="A screenshot of a cell phone&#10;&#10;Description automatically generated">
            <a:extLst>
              <a:ext uri="{FF2B5EF4-FFF2-40B4-BE49-F238E27FC236}">
                <a16:creationId xmlns:a16="http://schemas.microsoft.com/office/drawing/2014/main" id="{FB163D96-B25F-8D43-9BBE-EA33674954D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3461" y="1469986"/>
            <a:ext cx="1446500" cy="1944547"/>
          </a:xfrm>
          <a:prstGeom prst="rect">
            <a:avLst/>
          </a:prstGeom>
          <a:ln>
            <a:solidFill>
              <a:schemeClr val="accent6"/>
            </a:solidFill>
          </a:ln>
        </p:spPr>
      </p:pic>
      <p:pic>
        <p:nvPicPr>
          <p:cNvPr id="33" name="Picture 32" descr="A screenshot of a cell phone&#10;&#10;Description automatically generated">
            <a:extLst>
              <a:ext uri="{FF2B5EF4-FFF2-40B4-BE49-F238E27FC236}">
                <a16:creationId xmlns:a16="http://schemas.microsoft.com/office/drawing/2014/main" id="{37480116-8263-9A44-8A8A-8C0DE730AF5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29199" y="1469986"/>
            <a:ext cx="1446500" cy="1944547"/>
          </a:xfrm>
          <a:prstGeom prst="rect">
            <a:avLst/>
          </a:prstGeom>
          <a:ln>
            <a:solidFill>
              <a:schemeClr val="accent6"/>
            </a:solidFill>
          </a:ln>
        </p:spPr>
      </p:pic>
      <p:pic>
        <p:nvPicPr>
          <p:cNvPr id="36" name="Picture 35" descr="A screenshot of a cell phone&#10;&#10;Description automatically generated">
            <a:extLst>
              <a:ext uri="{FF2B5EF4-FFF2-40B4-BE49-F238E27FC236}">
                <a16:creationId xmlns:a16="http://schemas.microsoft.com/office/drawing/2014/main" id="{72A29E92-1601-1644-8487-AADD0F808B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75636" y="1469985"/>
            <a:ext cx="1197381" cy="1944334"/>
          </a:xfrm>
          <a:prstGeom prst="rect">
            <a:avLst/>
          </a:prstGeom>
          <a:ln>
            <a:solidFill>
              <a:schemeClr val="accent6"/>
            </a:solidFill>
          </a:ln>
        </p:spPr>
      </p:pic>
      <p:pic>
        <p:nvPicPr>
          <p:cNvPr id="38" name="Picture 37" descr="A screenshot of a cell phone&#10;&#10;Description automatically generated">
            <a:extLst>
              <a:ext uri="{FF2B5EF4-FFF2-40B4-BE49-F238E27FC236}">
                <a16:creationId xmlns:a16="http://schemas.microsoft.com/office/drawing/2014/main" id="{79A49A9D-3FBF-3346-895C-E529977E100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96092" y="1469985"/>
            <a:ext cx="1197381" cy="1944334"/>
          </a:xfrm>
          <a:prstGeom prst="rect">
            <a:avLst/>
          </a:prstGeom>
          <a:ln>
            <a:solidFill>
              <a:schemeClr val="accent6"/>
            </a:solidFill>
          </a:ln>
        </p:spPr>
      </p:pic>
      <p:cxnSp>
        <p:nvCxnSpPr>
          <p:cNvPr id="42" name="Straight Arrow Connector 41">
            <a:extLst>
              <a:ext uri="{FF2B5EF4-FFF2-40B4-BE49-F238E27FC236}">
                <a16:creationId xmlns:a16="http://schemas.microsoft.com/office/drawing/2014/main" id="{51120E7D-F42F-F347-9213-C889A3368C31}"/>
              </a:ext>
            </a:extLst>
          </p:cNvPr>
          <p:cNvCxnSpPr>
            <a:cxnSpLocks/>
            <a:endCxn id="33" idx="2"/>
          </p:cNvCxnSpPr>
          <p:nvPr/>
        </p:nvCxnSpPr>
        <p:spPr>
          <a:xfrm flipV="1">
            <a:off x="3250060" y="3414532"/>
            <a:ext cx="202389" cy="370392"/>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01B4C677-BAED-574E-9BE1-0F25649C9243}"/>
              </a:ext>
            </a:extLst>
          </p:cNvPr>
          <p:cNvSpPr txBox="1"/>
          <p:nvPr/>
        </p:nvSpPr>
        <p:spPr>
          <a:xfrm>
            <a:off x="2600571" y="3772462"/>
            <a:ext cx="1750867" cy="553037"/>
          </a:xfrm>
          <a:prstGeom prst="rect">
            <a:avLst/>
          </a:prstGeom>
          <a:noFill/>
        </p:spPr>
        <p:txBody>
          <a:bodyPr wrap="square" rtlCol="0" anchor="t">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98" b="1" i="0" u="none" strike="noStrike" kern="1200" cap="none" spc="0" normalizeH="0" baseline="0" noProof="0">
                <a:ln>
                  <a:noFill/>
                </a:ln>
                <a:effectLst/>
                <a:uLnTx/>
                <a:uFillTx/>
                <a:latin typeface="Arial" panose="020B0604020202020204"/>
                <a:ea typeface="+mn-ea"/>
                <a:cs typeface="+mn-cs"/>
              </a:rPr>
              <a:t>Select Submit</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98" b="0" i="0" u="none" strike="noStrike" kern="1200" cap="none" spc="0" normalizeH="0" baseline="0" noProof="0">
                <a:ln>
                  <a:noFill/>
                </a:ln>
                <a:effectLst/>
                <a:uLnTx/>
                <a:uFillTx/>
                <a:latin typeface="Arial" panose="020B0604020202020204"/>
                <a:ea typeface="+mn-ea"/>
                <a:cs typeface="+mn-cs"/>
              </a:rPr>
              <a:t>After choosing your answer, select “Submit” to finalize</a:t>
            </a:r>
          </a:p>
        </p:txBody>
      </p:sp>
      <p:cxnSp>
        <p:nvCxnSpPr>
          <p:cNvPr id="68" name="Straight Arrow Connector 67">
            <a:extLst>
              <a:ext uri="{FF2B5EF4-FFF2-40B4-BE49-F238E27FC236}">
                <a16:creationId xmlns:a16="http://schemas.microsoft.com/office/drawing/2014/main" id="{36999F17-702B-AD4D-AD9B-9C6B6393AC94}"/>
              </a:ext>
            </a:extLst>
          </p:cNvPr>
          <p:cNvCxnSpPr>
            <a:cxnSpLocks/>
          </p:cNvCxnSpPr>
          <p:nvPr/>
        </p:nvCxnSpPr>
        <p:spPr>
          <a:xfrm flipH="1" flipV="1">
            <a:off x="1171078" y="2978093"/>
            <a:ext cx="192309" cy="806830"/>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0F2EA2C1-1209-1F4C-92E3-41377B91B07F}"/>
              </a:ext>
            </a:extLst>
          </p:cNvPr>
          <p:cNvSpPr txBox="1"/>
          <p:nvPr/>
        </p:nvSpPr>
        <p:spPr>
          <a:xfrm>
            <a:off x="4679662" y="3772462"/>
            <a:ext cx="1716286" cy="553037"/>
          </a:xfrm>
          <a:prstGeom prst="rect">
            <a:avLst/>
          </a:prstGeom>
          <a:noFill/>
        </p:spPr>
        <p:txBody>
          <a:bodyPr wrap="square" rtlCol="0" anchor="t">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98" b="1" i="0" u="none" strike="noStrike" kern="1200" cap="none" spc="0" normalizeH="0" baseline="0" noProof="0">
                <a:ln>
                  <a:noFill/>
                </a:ln>
                <a:effectLst/>
                <a:uLnTx/>
                <a:uFillTx/>
                <a:latin typeface="Arial" panose="020B0604020202020204"/>
                <a:ea typeface="+mn-ea"/>
                <a:cs typeface="+mn-cs"/>
              </a:rPr>
              <a:t>Choose Your Answer</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98" b="0" i="0" u="none" strike="noStrike" kern="1200" cap="none" spc="0" normalizeH="0" baseline="0" noProof="0">
                <a:ln>
                  <a:noFill/>
                </a:ln>
                <a:effectLst/>
                <a:uLnTx/>
                <a:uFillTx/>
                <a:latin typeface="Arial" panose="020B0604020202020204"/>
                <a:ea typeface="+mn-ea"/>
                <a:cs typeface="+mn-cs"/>
              </a:rPr>
              <a:t>Click on the answer (or answers if multiple choice)</a:t>
            </a:r>
          </a:p>
        </p:txBody>
      </p:sp>
      <p:cxnSp>
        <p:nvCxnSpPr>
          <p:cNvPr id="78" name="Straight Arrow Connector 77">
            <a:extLst>
              <a:ext uri="{FF2B5EF4-FFF2-40B4-BE49-F238E27FC236}">
                <a16:creationId xmlns:a16="http://schemas.microsoft.com/office/drawing/2014/main" id="{BFF02F25-0D27-7740-BDB7-923EA930A9A0}"/>
              </a:ext>
            </a:extLst>
          </p:cNvPr>
          <p:cNvCxnSpPr>
            <a:cxnSpLocks/>
          </p:cNvCxnSpPr>
          <p:nvPr/>
        </p:nvCxnSpPr>
        <p:spPr>
          <a:xfrm flipV="1">
            <a:off x="7023406" y="3310360"/>
            <a:ext cx="104172" cy="486137"/>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C850045C-CE6A-8840-87F0-6E346027CE95}"/>
              </a:ext>
            </a:extLst>
          </p:cNvPr>
          <p:cNvSpPr txBox="1"/>
          <p:nvPr/>
        </p:nvSpPr>
        <p:spPr>
          <a:xfrm>
            <a:off x="6452518" y="3772462"/>
            <a:ext cx="1750866" cy="553037"/>
          </a:xfrm>
          <a:prstGeom prst="rect">
            <a:avLst/>
          </a:prstGeom>
          <a:noFill/>
        </p:spPr>
        <p:txBody>
          <a:bodyPr wrap="square" rtlCol="0" anchor="t">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98" b="1" i="0" u="none" strike="noStrike" kern="1200" cap="none" spc="0" normalizeH="0" baseline="0" noProof="0">
                <a:ln>
                  <a:noFill/>
                </a:ln>
                <a:effectLst/>
                <a:uLnTx/>
                <a:uFillTx/>
                <a:latin typeface="Arial" panose="020B0604020202020204"/>
                <a:ea typeface="+mn-ea"/>
                <a:cs typeface="+mn-cs"/>
              </a:rPr>
              <a:t>Select Submit</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98" b="0" i="0" u="none" strike="noStrike" kern="1200" cap="none" spc="0" normalizeH="0" baseline="0" noProof="0">
                <a:ln>
                  <a:noFill/>
                </a:ln>
                <a:effectLst/>
                <a:uLnTx/>
                <a:uFillTx/>
                <a:latin typeface="Arial" panose="020B0604020202020204"/>
                <a:ea typeface="+mn-ea"/>
                <a:cs typeface="+mn-cs"/>
              </a:rPr>
              <a:t>After choosing your answer, select “Submit” to finalize</a:t>
            </a:r>
          </a:p>
        </p:txBody>
      </p:sp>
      <p:cxnSp>
        <p:nvCxnSpPr>
          <p:cNvPr id="80" name="Straight Arrow Connector 79">
            <a:extLst>
              <a:ext uri="{FF2B5EF4-FFF2-40B4-BE49-F238E27FC236}">
                <a16:creationId xmlns:a16="http://schemas.microsoft.com/office/drawing/2014/main" id="{0C9AFE18-171A-934A-83F7-D7F0E53B6DA8}"/>
              </a:ext>
            </a:extLst>
          </p:cNvPr>
          <p:cNvCxnSpPr>
            <a:cxnSpLocks/>
          </p:cNvCxnSpPr>
          <p:nvPr/>
        </p:nvCxnSpPr>
        <p:spPr>
          <a:xfrm flipH="1" flipV="1">
            <a:off x="5102010" y="3171463"/>
            <a:ext cx="113960" cy="588204"/>
          </a:xfrm>
          <a:prstGeom prst="straightConnector1">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6D87D7E1-AD20-884A-B9B8-0D706061E663}"/>
              </a:ext>
            </a:extLst>
          </p:cNvPr>
          <p:cNvSpPr txBox="1"/>
          <p:nvPr/>
        </p:nvSpPr>
        <p:spPr>
          <a:xfrm>
            <a:off x="4803511" y="990601"/>
            <a:ext cx="3045203" cy="3693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Arial" panose="020B0604020202020204"/>
                <a:ea typeface="+mn-ea"/>
                <a:cs typeface="+mn-cs"/>
              </a:rPr>
              <a:t>Mobile View</a:t>
            </a:r>
          </a:p>
        </p:txBody>
      </p:sp>
      <p:sp>
        <p:nvSpPr>
          <p:cNvPr id="86" name="TextBox 85">
            <a:extLst>
              <a:ext uri="{FF2B5EF4-FFF2-40B4-BE49-F238E27FC236}">
                <a16:creationId xmlns:a16="http://schemas.microsoft.com/office/drawing/2014/main" id="{F81BC14E-3F72-5B4B-9AFC-375BD2478B73}"/>
              </a:ext>
            </a:extLst>
          </p:cNvPr>
          <p:cNvSpPr txBox="1"/>
          <p:nvPr/>
        </p:nvSpPr>
        <p:spPr>
          <a:xfrm>
            <a:off x="962751" y="990601"/>
            <a:ext cx="3045203" cy="3693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Arial" panose="020B0604020202020204"/>
                <a:ea typeface="+mn-ea"/>
                <a:cs typeface="+mn-cs"/>
              </a:rPr>
              <a:t>Desktop View</a:t>
            </a:r>
          </a:p>
        </p:txBody>
      </p:sp>
      <p:sp>
        <p:nvSpPr>
          <p:cNvPr id="2" name="Title 1">
            <a:extLst>
              <a:ext uri="{FF2B5EF4-FFF2-40B4-BE49-F238E27FC236}">
                <a16:creationId xmlns:a16="http://schemas.microsoft.com/office/drawing/2014/main" id="{9BA9BA35-07B1-4140-8A0D-ABDBE5368B8E}"/>
              </a:ext>
            </a:extLst>
          </p:cNvPr>
          <p:cNvSpPr>
            <a:spLocks noGrp="1"/>
          </p:cNvSpPr>
          <p:nvPr>
            <p:ph type="title"/>
          </p:nvPr>
        </p:nvSpPr>
        <p:spPr/>
        <p:txBody>
          <a:bodyPr>
            <a:noAutofit/>
          </a:bodyPr>
          <a:lstStyle/>
          <a:p>
            <a:r>
              <a:rPr lang="en-US" noProof="0"/>
              <a:t>Functionality and Settings: Polling Questions</a:t>
            </a:r>
          </a:p>
        </p:txBody>
      </p:sp>
      <p:pic>
        <p:nvPicPr>
          <p:cNvPr id="3" name="Picture 2" descr="Zoom Meetings Review | PCMag">
            <a:extLst>
              <a:ext uri="{FF2B5EF4-FFF2-40B4-BE49-F238E27FC236}">
                <a16:creationId xmlns:a16="http://schemas.microsoft.com/office/drawing/2014/main" id="{19760190-BB52-4286-81CF-433B59A795B7}"/>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366281" y="4709922"/>
            <a:ext cx="771664" cy="4335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154059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a:stretch>
            <a:fillRect/>
          </a:stretch>
        </p:blipFill>
        <p:spPr>
          <a:xfrm>
            <a:off x="1121134" y="87474"/>
            <a:ext cx="6830170" cy="1688427"/>
          </a:xfrm>
          <a:prstGeom prst="rect">
            <a:avLst/>
          </a:prstGeom>
        </p:spPr>
      </p:pic>
      <p:pic>
        <p:nvPicPr>
          <p:cNvPr id="6" name="Imagen 5"/>
          <p:cNvPicPr>
            <a:picLocks noChangeAspect="1"/>
          </p:cNvPicPr>
          <p:nvPr/>
        </p:nvPicPr>
        <p:blipFill>
          <a:blip r:embed="rId3"/>
          <a:stretch>
            <a:fillRect/>
          </a:stretch>
        </p:blipFill>
        <p:spPr>
          <a:xfrm>
            <a:off x="869309" y="1345437"/>
            <a:ext cx="3540674" cy="3348372"/>
          </a:xfrm>
          <a:prstGeom prst="rect">
            <a:avLst/>
          </a:prstGeom>
        </p:spPr>
      </p:pic>
      <p:sp>
        <p:nvSpPr>
          <p:cNvPr id="3" name="Flecha derecha 2"/>
          <p:cNvSpPr/>
          <p:nvPr/>
        </p:nvSpPr>
        <p:spPr bwMode="auto">
          <a:xfrm>
            <a:off x="1209067" y="2717866"/>
            <a:ext cx="332618" cy="39516"/>
          </a:xfrm>
          <a:prstGeom prst="rightArrow">
            <a:avLst/>
          </a:prstGeom>
          <a:solidFill>
            <a:srgbClr val="FF0000"/>
          </a:solidFill>
          <a:ln w="28575" cap="flat" cmpd="sng" algn="ctr">
            <a:solidFill>
              <a:srgbClr val="FF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_tradnl" sz="1800" b="1" i="0" u="none" strike="noStrike" kern="1200" cap="none" spc="0" normalizeH="0" baseline="0" noProof="0">
              <a:ln>
                <a:noFill/>
              </a:ln>
              <a:solidFill>
                <a:srgbClr val="595454"/>
              </a:solidFill>
              <a:effectLst/>
              <a:uLnTx/>
              <a:uFillTx/>
              <a:latin typeface="Times New Roman" charset="0"/>
              <a:ea typeface="+mn-ea"/>
              <a:cs typeface="+mn-cs"/>
            </a:endParaRPr>
          </a:p>
        </p:txBody>
      </p:sp>
      <p:pic>
        <p:nvPicPr>
          <p:cNvPr id="5" name="Immagine 4">
            <a:extLst>
              <a:ext uri="{FF2B5EF4-FFF2-40B4-BE49-F238E27FC236}">
                <a16:creationId xmlns:a16="http://schemas.microsoft.com/office/drawing/2014/main" id="{41A0271D-5B25-4346-84CF-FECBEF0B8F1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09982" y="1345438"/>
            <a:ext cx="3864709" cy="3348372"/>
          </a:xfrm>
          <a:prstGeom prst="rect">
            <a:avLst/>
          </a:prstGeom>
          <a:solidFill>
            <a:schemeClr val="bg1"/>
          </a:solidFill>
        </p:spPr>
      </p:pic>
      <p:sp>
        <p:nvSpPr>
          <p:cNvPr id="8" name="Flecha derecha 7">
            <a:extLst>
              <a:ext uri="{FF2B5EF4-FFF2-40B4-BE49-F238E27FC236}">
                <a16:creationId xmlns:a16="http://schemas.microsoft.com/office/drawing/2014/main" id="{392CE544-CA58-4B46-A7B6-6D9ADADA2BED}"/>
              </a:ext>
            </a:extLst>
          </p:cNvPr>
          <p:cNvSpPr/>
          <p:nvPr/>
        </p:nvSpPr>
        <p:spPr bwMode="auto">
          <a:xfrm>
            <a:off x="4964294" y="3201690"/>
            <a:ext cx="332618" cy="39516"/>
          </a:xfrm>
          <a:prstGeom prst="rightArrow">
            <a:avLst/>
          </a:prstGeom>
          <a:solidFill>
            <a:srgbClr val="FF0000"/>
          </a:solidFill>
          <a:ln w="28575" cap="flat" cmpd="sng" algn="ctr">
            <a:solidFill>
              <a:srgbClr val="FF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_tradnl" sz="1800" b="1" i="0" u="none" strike="noStrike" kern="1200" cap="none" spc="0" normalizeH="0" baseline="0" noProof="0">
              <a:ln>
                <a:noFill/>
              </a:ln>
              <a:solidFill>
                <a:srgbClr val="595454"/>
              </a:solidFill>
              <a:effectLst/>
              <a:uLnTx/>
              <a:uFillTx/>
              <a:latin typeface="Times New Roman" charset="0"/>
              <a:ea typeface="+mn-ea"/>
              <a:cs typeface="+mn-cs"/>
            </a:endParaRPr>
          </a:p>
        </p:txBody>
      </p:sp>
      <p:sp>
        <p:nvSpPr>
          <p:cNvPr id="9" name="Flecha derecha 8">
            <a:extLst>
              <a:ext uri="{FF2B5EF4-FFF2-40B4-BE49-F238E27FC236}">
                <a16:creationId xmlns:a16="http://schemas.microsoft.com/office/drawing/2014/main" id="{F266E6D6-1EFE-4142-A7C6-EB12398332FC}"/>
              </a:ext>
            </a:extLst>
          </p:cNvPr>
          <p:cNvSpPr/>
          <p:nvPr/>
        </p:nvSpPr>
        <p:spPr bwMode="auto">
          <a:xfrm>
            <a:off x="4960973" y="2972156"/>
            <a:ext cx="332618" cy="39516"/>
          </a:xfrm>
          <a:prstGeom prst="rightArrow">
            <a:avLst/>
          </a:prstGeom>
          <a:solidFill>
            <a:srgbClr val="FF0000"/>
          </a:solidFill>
          <a:ln w="28575" cap="flat" cmpd="sng" algn="ctr">
            <a:solidFill>
              <a:srgbClr val="FF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_tradnl" sz="1800" b="1" i="0" u="none" strike="noStrike" kern="1200" cap="none" spc="0" normalizeH="0" baseline="0" noProof="0">
              <a:ln>
                <a:noFill/>
              </a:ln>
              <a:solidFill>
                <a:srgbClr val="595454"/>
              </a:solidFill>
              <a:effectLst/>
              <a:uLnTx/>
              <a:uFillTx/>
              <a:latin typeface="Times New Roman" charset="0"/>
              <a:ea typeface="+mn-ea"/>
              <a:cs typeface="+mn-cs"/>
            </a:endParaRPr>
          </a:p>
        </p:txBody>
      </p:sp>
      <p:sp>
        <p:nvSpPr>
          <p:cNvPr id="10" name="Marcador de texto 7">
            <a:extLst>
              <a:ext uri="{FF2B5EF4-FFF2-40B4-BE49-F238E27FC236}">
                <a16:creationId xmlns:a16="http://schemas.microsoft.com/office/drawing/2014/main" id="{1FDF9742-A42B-436A-9BA0-34567CBC7D24}"/>
              </a:ext>
            </a:extLst>
          </p:cNvPr>
          <p:cNvSpPr txBox="1">
            <a:spLocks/>
          </p:cNvSpPr>
          <p:nvPr/>
        </p:nvSpPr>
        <p:spPr>
          <a:xfrm>
            <a:off x="2559593" y="4874328"/>
            <a:ext cx="5678396" cy="179190"/>
          </a:xfrm>
          <a:prstGeom prst="rect">
            <a:avLst/>
          </a:prstGeom>
        </p:spPr>
        <p:txBody>
          <a:bodyPr vert="horz" lIns="0" tIns="0" rIns="0" bIns="81000" spcCol="301752" rtlCol="0" anchor="b">
            <a:spAutoFit/>
          </a:bodyPr>
          <a:lstStyle>
            <a:lvl1pPr marL="0" indent="0" algn="l" defTabSz="771525" rtl="0" eaLnBrk="1" latinLnBrk="0" hangingPunct="1">
              <a:lnSpc>
                <a:spcPct val="100000"/>
              </a:lnSpc>
              <a:spcBef>
                <a:spcPts val="0"/>
              </a:spcBef>
              <a:buFont typeface="Trebuchet MS" panose="020B0603020202020204" pitchFamily="34" charset="0"/>
              <a:buNone/>
              <a:defRPr sz="844" kern="1200">
                <a:solidFill>
                  <a:schemeClr val="tx1"/>
                </a:solidFill>
                <a:latin typeface="+mn-lt"/>
                <a:ea typeface="+mn-ea"/>
                <a:cs typeface="+mn-cs"/>
              </a:defRPr>
            </a:lvl1pPr>
            <a:lvl2pPr marL="385763"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2pPr>
            <a:lvl3pPr marL="578644"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3pPr>
            <a:lvl4pPr marL="771525"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4pPr>
            <a:lvl5pPr marL="964406"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5pPr>
            <a:lvl6pPr marL="1157288"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6pPr>
            <a:lvl7pPr marL="1350169"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7pPr>
            <a:lvl8pPr marL="1543050"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8pPr>
            <a:lvl9pPr marL="1735931"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9pPr>
          </a:lstStyle>
          <a:p>
            <a:pPr marL="0" marR="0" lvl="0" indent="0" algn="r" defTabSz="771525"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s-ES" sz="633" b="0" i="0" u="none" strike="noStrike" kern="1200" cap="none" spc="0" normalizeH="0" baseline="0" noProof="0">
                <a:ln>
                  <a:noFill/>
                </a:ln>
                <a:solidFill>
                  <a:srgbClr val="FFFFFF"/>
                </a:solidFill>
                <a:effectLst/>
                <a:uLnTx/>
                <a:uFillTx/>
                <a:latin typeface="Trebuchet MS"/>
                <a:ea typeface="+mn-ea"/>
                <a:cs typeface="+mn-cs"/>
              </a:rPr>
              <a:t>Moreau P, et al. </a:t>
            </a:r>
            <a:r>
              <a:rPr kumimoji="0" lang="es-ES" sz="633" b="0" i="1" u="none" strike="noStrike" kern="1200" cap="none" spc="0" normalizeH="0" baseline="0" noProof="0">
                <a:ln>
                  <a:noFill/>
                </a:ln>
                <a:solidFill>
                  <a:srgbClr val="FFFFFF"/>
                </a:solidFill>
                <a:effectLst/>
                <a:uLnTx/>
                <a:uFillTx/>
                <a:latin typeface="Trebuchet MS"/>
                <a:ea typeface="+mn-ea"/>
                <a:cs typeface="+mn-cs"/>
              </a:rPr>
              <a:t>Ann Oncol.</a:t>
            </a:r>
            <a:r>
              <a:rPr kumimoji="0" lang="es-ES" sz="633" b="0" i="0" u="none" strike="noStrike" kern="1200" cap="none" spc="0" normalizeH="0" baseline="0" noProof="0">
                <a:ln>
                  <a:noFill/>
                </a:ln>
                <a:solidFill>
                  <a:srgbClr val="FFFFFF"/>
                </a:solidFill>
                <a:effectLst/>
                <a:uLnTx/>
                <a:uFillTx/>
                <a:latin typeface="Trebuchet MS"/>
                <a:ea typeface="+mn-ea"/>
                <a:cs typeface="+mn-cs"/>
              </a:rPr>
              <a:t> 2017;28(suppl 4):iv52-iv61.</a:t>
            </a:r>
          </a:p>
        </p:txBody>
      </p:sp>
      <p:sp>
        <p:nvSpPr>
          <p:cNvPr id="11" name="Marcador de texto 7">
            <a:extLst>
              <a:ext uri="{FF2B5EF4-FFF2-40B4-BE49-F238E27FC236}">
                <a16:creationId xmlns:a16="http://schemas.microsoft.com/office/drawing/2014/main" id="{B005E8EB-8866-4FDA-A212-1CB5DA1DA73B}"/>
              </a:ext>
            </a:extLst>
          </p:cNvPr>
          <p:cNvSpPr txBox="1">
            <a:spLocks/>
          </p:cNvSpPr>
          <p:nvPr/>
        </p:nvSpPr>
        <p:spPr>
          <a:xfrm>
            <a:off x="3215047" y="4827721"/>
            <a:ext cx="5678396" cy="235679"/>
          </a:xfrm>
          <a:prstGeom prst="rect">
            <a:avLst/>
          </a:prstGeom>
        </p:spPr>
        <p:txBody>
          <a:bodyPr vert="horz" lIns="0" tIns="0" rIns="0" bIns="81000" spcCol="301752" rtlCol="0" anchor="b">
            <a:spAutoFit/>
          </a:bodyPr>
          <a:lstStyle>
            <a:lvl1pPr marL="0" indent="0" algn="l" defTabSz="771525" rtl="0" eaLnBrk="1" latinLnBrk="0" hangingPunct="1">
              <a:lnSpc>
                <a:spcPct val="100000"/>
              </a:lnSpc>
              <a:spcBef>
                <a:spcPts val="0"/>
              </a:spcBef>
              <a:buFont typeface="Trebuchet MS" panose="020B0603020202020204" pitchFamily="34" charset="0"/>
              <a:buNone/>
              <a:defRPr sz="844" kern="1200">
                <a:solidFill>
                  <a:schemeClr val="tx1"/>
                </a:solidFill>
                <a:latin typeface="+mn-lt"/>
                <a:ea typeface="+mn-ea"/>
                <a:cs typeface="+mn-cs"/>
              </a:defRPr>
            </a:lvl1pPr>
            <a:lvl2pPr marL="385763"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2pPr>
            <a:lvl3pPr marL="578644"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3pPr>
            <a:lvl4pPr marL="771525"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4pPr>
            <a:lvl5pPr marL="964406"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5pPr>
            <a:lvl6pPr marL="1157288"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6pPr>
            <a:lvl7pPr marL="1350169"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7pPr>
            <a:lvl8pPr marL="1543050"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8pPr>
            <a:lvl9pPr marL="1735931"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9pPr>
          </a:lstStyle>
          <a:p>
            <a:pPr marL="0" marR="0" lvl="0" indent="0" algn="r" defTabSz="771525"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Moreau P, et al. </a:t>
            </a:r>
            <a:r>
              <a:rPr kumimoji="0" lang="es-ES" sz="1000" b="0" i="1" u="none" strike="noStrike" kern="1200" cap="none" spc="0" normalizeH="0" baseline="0" noProof="0">
                <a:ln>
                  <a:noFill/>
                </a:ln>
                <a:solidFill>
                  <a:srgbClr val="595454">
                    <a:lumMod val="50000"/>
                  </a:srgbClr>
                </a:solidFill>
                <a:effectLst/>
                <a:uLnTx/>
                <a:uFillTx/>
                <a:latin typeface="Trebuchet MS"/>
                <a:ea typeface="+mn-ea"/>
                <a:cs typeface="+mn-cs"/>
              </a:rPr>
              <a:t>Ann Oncol.</a:t>
            </a: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 2017;28(suppl 4):iv52-iv61.</a:t>
            </a:r>
          </a:p>
        </p:txBody>
      </p:sp>
    </p:spTree>
    <p:extLst>
      <p:ext uri="{BB962C8B-B14F-4D97-AF65-F5344CB8AC3E}">
        <p14:creationId xmlns:p14="http://schemas.microsoft.com/office/powerpoint/2010/main" val="207402931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bwMode="auto">
          <a:xfrm>
            <a:off x="1149609" y="718311"/>
            <a:ext cx="6851365" cy="4256974"/>
          </a:xfrm>
          <a:prstGeom prst="rect">
            <a:avLst/>
          </a:prstGeom>
          <a:no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s-ES" sz="1500" b="1" i="0" u="none" strike="noStrike" kern="1200" cap="none" spc="0" normalizeH="0" baseline="0" noProof="0">
              <a:ln>
                <a:noFill/>
              </a:ln>
              <a:solidFill>
                <a:srgbClr val="595454"/>
              </a:solidFill>
              <a:effectLst/>
              <a:uLnTx/>
              <a:uFillTx/>
              <a:latin typeface="Arial" charset="0"/>
              <a:ea typeface="+mn-ea"/>
              <a:cs typeface="+mn-cs"/>
            </a:endParaRPr>
          </a:p>
        </p:txBody>
      </p:sp>
      <p:sp>
        <p:nvSpPr>
          <p:cNvPr id="235531" name="47 CuadroTexto"/>
          <p:cNvSpPr txBox="1">
            <a:spLocks noChangeArrowheads="1"/>
          </p:cNvSpPr>
          <p:nvPr/>
        </p:nvSpPr>
        <p:spPr bwMode="auto">
          <a:xfrm>
            <a:off x="174556" y="200431"/>
            <a:ext cx="8603683" cy="717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charset="0"/>
                <a:ea typeface="ＭＳ Ｐゴシック" charset="0"/>
                <a:cs typeface="ＭＳ Ｐゴシック" charset="0"/>
              </a:defRPr>
            </a:lvl1pPr>
            <a:lvl2pPr marL="742950" indent="-285750" eaLnBrk="0" hangingPunct="0">
              <a:defRPr sz="2800" b="1">
                <a:solidFill>
                  <a:schemeClr val="tx1"/>
                </a:solidFill>
                <a:latin typeface="Arial" charset="0"/>
                <a:ea typeface="ＭＳ Ｐゴシック" charset="0"/>
              </a:defRPr>
            </a:lvl2pPr>
            <a:lvl3pPr marL="1143000" indent="-228600" eaLnBrk="0" hangingPunct="0">
              <a:defRPr sz="2800" b="1">
                <a:solidFill>
                  <a:schemeClr val="tx1"/>
                </a:solidFill>
                <a:latin typeface="Arial" charset="0"/>
                <a:ea typeface="ＭＳ Ｐゴシック" charset="0"/>
              </a:defRPr>
            </a:lvl3pPr>
            <a:lvl4pPr marL="1600200" indent="-228600" eaLnBrk="0" hangingPunct="0">
              <a:defRPr sz="2800" b="1">
                <a:solidFill>
                  <a:schemeClr val="tx1"/>
                </a:solidFill>
                <a:latin typeface="Arial" charset="0"/>
                <a:ea typeface="ＭＳ Ｐゴシック" charset="0"/>
              </a:defRPr>
            </a:lvl4pPr>
            <a:lvl5pPr marL="2057400" indent="-228600" eaLnBrk="0" hangingPunct="0">
              <a:defRPr sz="2800" b="1">
                <a:solidFill>
                  <a:schemeClr val="tx1"/>
                </a:solidFill>
                <a:latin typeface="Arial" charset="0"/>
                <a:ea typeface="ＭＳ Ｐゴシック" charset="0"/>
              </a:defRPr>
            </a:lvl5pPr>
            <a:lvl6pPr marL="2514600" indent="-228600" eaLnBrk="0" fontAlgn="base" hangingPunct="0">
              <a:spcBef>
                <a:spcPct val="0"/>
              </a:spcBef>
              <a:spcAft>
                <a:spcPct val="0"/>
              </a:spcAft>
              <a:defRPr sz="2800" b="1">
                <a:solidFill>
                  <a:schemeClr val="tx1"/>
                </a:solidFill>
                <a:latin typeface="Arial" charset="0"/>
                <a:ea typeface="ＭＳ Ｐゴシック" charset="0"/>
              </a:defRPr>
            </a:lvl6pPr>
            <a:lvl7pPr marL="2971800" indent="-228600" eaLnBrk="0" fontAlgn="base" hangingPunct="0">
              <a:spcBef>
                <a:spcPct val="0"/>
              </a:spcBef>
              <a:spcAft>
                <a:spcPct val="0"/>
              </a:spcAft>
              <a:defRPr sz="2800" b="1">
                <a:solidFill>
                  <a:schemeClr val="tx1"/>
                </a:solidFill>
                <a:latin typeface="Arial" charset="0"/>
                <a:ea typeface="ＭＳ Ｐゴシック" charset="0"/>
              </a:defRPr>
            </a:lvl7pPr>
            <a:lvl8pPr marL="3429000" indent="-228600" eaLnBrk="0" fontAlgn="base" hangingPunct="0">
              <a:spcBef>
                <a:spcPct val="0"/>
              </a:spcBef>
              <a:spcAft>
                <a:spcPct val="0"/>
              </a:spcAft>
              <a:defRPr sz="2800" b="1">
                <a:solidFill>
                  <a:schemeClr val="tx1"/>
                </a:solidFill>
                <a:latin typeface="Arial" charset="0"/>
                <a:ea typeface="ＭＳ Ｐゴシック" charset="0"/>
              </a:defRPr>
            </a:lvl8pPr>
            <a:lvl9pPr marL="3886200" indent="-228600" eaLnBrk="0" fontAlgn="base" hangingPunct="0">
              <a:spcBef>
                <a:spcPct val="0"/>
              </a:spcBef>
              <a:spcAft>
                <a:spcPct val="0"/>
              </a:spcAft>
              <a:defRPr sz="2800" b="1">
                <a:solidFill>
                  <a:schemeClr val="tx1"/>
                </a:solidFill>
                <a:latin typeface="Arial" charset="0"/>
                <a:ea typeface="ＭＳ Ｐゴシック"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30" b="1" i="0" u="none" strike="noStrike" kern="1200" cap="none" spc="0" normalizeH="0" baseline="0" noProof="0">
                <a:ln>
                  <a:noFill/>
                </a:ln>
                <a:solidFill>
                  <a:srgbClr val="595454"/>
                </a:solidFill>
                <a:effectLst/>
                <a:uLnTx/>
                <a:uFillTx/>
                <a:latin typeface="Trebuchet MS"/>
                <a:ea typeface="ＭＳ Ｐゴシック" charset="0"/>
                <a:cs typeface="Calibri"/>
              </a:rPr>
              <a:t>VTD induction followed by ASCT: GIMEMA and GEM trials – PFS and OS with VERY long-term follow-up</a:t>
            </a:r>
          </a:p>
        </p:txBody>
      </p:sp>
      <p:sp>
        <p:nvSpPr>
          <p:cNvPr id="207" name="Text Placeholder 10"/>
          <p:cNvSpPr txBox="1">
            <a:spLocks/>
          </p:cNvSpPr>
          <p:nvPr/>
        </p:nvSpPr>
        <p:spPr>
          <a:xfrm>
            <a:off x="1373968" y="4805166"/>
            <a:ext cx="7603629" cy="367923"/>
          </a:xfrm>
          <a:prstGeom prst="rect">
            <a:avLst/>
          </a:prstGeom>
          <a:ln>
            <a:noFill/>
          </a:ln>
        </p:spPr>
        <p:txBody>
          <a:bodyPr/>
          <a:lstStyle>
            <a:lvl1pPr marL="342900" indent="-342900" algn="l" rtl="0" eaLnBrk="0" fontAlgn="base" hangingPunct="0">
              <a:spcBef>
                <a:spcPct val="20000"/>
              </a:spcBef>
              <a:spcAft>
                <a:spcPct val="0"/>
              </a:spcAft>
              <a:buChar char="•"/>
              <a:defRPr sz="3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fontAlgn="base">
              <a:spcBef>
                <a:spcPct val="20000"/>
              </a:spcBef>
              <a:spcAft>
                <a:spcPct val="0"/>
              </a:spcAft>
              <a:buChar char="»"/>
              <a:defRPr sz="2000">
                <a:solidFill>
                  <a:schemeClr val="tx1"/>
                </a:solidFill>
                <a:latin typeface="+mn-lt"/>
                <a:ea typeface="ＭＳ Ｐゴシック" charset="-128"/>
              </a:defRPr>
            </a:lvl6pPr>
            <a:lvl7pPr marL="2971800" indent="-228600" algn="l" rtl="0" fontAlgn="base">
              <a:spcBef>
                <a:spcPct val="20000"/>
              </a:spcBef>
              <a:spcAft>
                <a:spcPct val="0"/>
              </a:spcAft>
              <a:buChar char="»"/>
              <a:defRPr sz="2000">
                <a:solidFill>
                  <a:schemeClr val="tx1"/>
                </a:solidFill>
                <a:latin typeface="+mn-lt"/>
                <a:ea typeface="ＭＳ Ｐゴシック" charset="-128"/>
              </a:defRPr>
            </a:lvl7pPr>
            <a:lvl8pPr marL="3429000" indent="-228600" algn="l" rtl="0" fontAlgn="base">
              <a:spcBef>
                <a:spcPct val="20000"/>
              </a:spcBef>
              <a:spcAft>
                <a:spcPct val="0"/>
              </a:spcAft>
              <a:buChar char="»"/>
              <a:defRPr sz="2000">
                <a:solidFill>
                  <a:schemeClr val="tx1"/>
                </a:solidFill>
                <a:latin typeface="+mn-lt"/>
                <a:ea typeface="ＭＳ Ｐゴシック" charset="-128"/>
              </a:defRPr>
            </a:lvl8pPr>
            <a:lvl9pPr marL="3886200" indent="-228600" algn="l" rtl="0" fontAlgn="base">
              <a:spcBef>
                <a:spcPct val="20000"/>
              </a:spcBef>
              <a:spcAft>
                <a:spcPct val="0"/>
              </a:spcAft>
              <a:buChar char="»"/>
              <a:defRPr sz="2000">
                <a:solidFill>
                  <a:schemeClr val="tx1"/>
                </a:solidFill>
                <a:latin typeface="+mn-lt"/>
                <a:ea typeface="ＭＳ Ｐゴシック" charset="-128"/>
              </a:defRPr>
            </a:lvl9pPr>
          </a:lstStyle>
          <a:p>
            <a:pPr marL="0" marR="0" lvl="0" indent="0" algn="r" defTabSz="914400" rtl="0" eaLnBrk="0" fontAlgn="base" latinLnBrk="0" hangingPunct="0">
              <a:lnSpc>
                <a:spcPct val="85000"/>
              </a:lnSpc>
              <a:spcBef>
                <a:spcPct val="20000"/>
              </a:spcBef>
              <a:spcAft>
                <a:spcPct val="0"/>
              </a:spcAft>
              <a:buClrTx/>
              <a:buSzTx/>
              <a:buFontTx/>
              <a:buNone/>
              <a:tabLst/>
              <a:defRPr/>
            </a:pPr>
            <a:r>
              <a:rPr kumimoji="0" lang="en-US" sz="1000" b="0" i="0" u="none" strike="noStrike" kern="1200" cap="none" spc="-30" normalizeH="0" baseline="0" noProof="0">
                <a:ln>
                  <a:noFill/>
                </a:ln>
                <a:solidFill>
                  <a:srgbClr val="000020"/>
                </a:solidFill>
                <a:effectLst/>
                <a:uLnTx/>
                <a:uFillTx/>
                <a:latin typeface="Trebuchet MS"/>
                <a:ea typeface="MS PGothic" pitchFamily="34" charset="-128"/>
                <a:cs typeface="Calibri"/>
              </a:rPr>
              <a:t>1. </a:t>
            </a:r>
            <a:r>
              <a:rPr kumimoji="0" lang="en-US" sz="1000" b="0" i="0" u="none" strike="noStrike" kern="0" cap="none" spc="-30" normalizeH="0" baseline="0" noProof="0">
                <a:ln>
                  <a:noFill/>
                </a:ln>
                <a:solidFill>
                  <a:srgbClr val="000020"/>
                </a:solidFill>
                <a:effectLst/>
                <a:uLnTx/>
                <a:uFillTx/>
                <a:latin typeface="Trebuchet MS"/>
                <a:ea typeface="ＭＳ Ｐゴシック" charset="-128"/>
              </a:rPr>
              <a:t>Rosiñol L, et al. ASH 2018. Abstract 126 (oral presentation); </a:t>
            </a:r>
            <a:r>
              <a:rPr kumimoji="0" lang="es-ES_tradnl" sz="1000" b="0" i="0" u="none" strike="noStrike" kern="1200" cap="none" spc="-30" normalizeH="0" baseline="0" noProof="0">
                <a:ln>
                  <a:noFill/>
                </a:ln>
                <a:solidFill>
                  <a:srgbClr val="000020"/>
                </a:solidFill>
                <a:effectLst/>
                <a:uLnTx/>
                <a:uFillTx/>
                <a:latin typeface="Trebuchet MS"/>
                <a:ea typeface="MS PGothic" pitchFamily="34" charset="-128"/>
                <a:cs typeface="Calibri"/>
              </a:rPr>
              <a:t>2. Tacchetti P, et al. ASH 2018. Abstract 128 (oral presentation).</a:t>
            </a:r>
          </a:p>
        </p:txBody>
      </p:sp>
      <p:pic>
        <p:nvPicPr>
          <p:cNvPr id="25" name="Immagine 1">
            <a:extLst>
              <a:ext uri="{FF2B5EF4-FFF2-40B4-BE49-F238E27FC236}">
                <a16:creationId xmlns:a16="http://schemas.microsoft.com/office/drawing/2014/main" id="{47E5DE0C-1A84-1E48-9BB9-0EC558AC82A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9324" t="17758" r="7074" b="24308"/>
          <a:stretch/>
        </p:blipFill>
        <p:spPr>
          <a:xfrm>
            <a:off x="1185565" y="1253085"/>
            <a:ext cx="3131345" cy="1614503"/>
          </a:xfrm>
          <a:prstGeom prst="rect">
            <a:avLst/>
          </a:prstGeom>
        </p:spPr>
      </p:pic>
      <p:pic>
        <p:nvPicPr>
          <p:cNvPr id="26" name="Immagine 2">
            <a:extLst>
              <a:ext uri="{FF2B5EF4-FFF2-40B4-BE49-F238E27FC236}">
                <a16:creationId xmlns:a16="http://schemas.microsoft.com/office/drawing/2014/main" id="{F4F61A76-3CE6-5947-A4B0-B92E19F1785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3486" t="16825" r="16554" b="28190"/>
          <a:stretch/>
        </p:blipFill>
        <p:spPr>
          <a:xfrm>
            <a:off x="1307249" y="3189152"/>
            <a:ext cx="3009661" cy="1418573"/>
          </a:xfrm>
          <a:prstGeom prst="rect">
            <a:avLst/>
          </a:prstGeom>
        </p:spPr>
      </p:pic>
      <p:sp>
        <p:nvSpPr>
          <p:cNvPr id="5" name="CuadroTexto 4"/>
          <p:cNvSpPr txBox="1"/>
          <p:nvPr/>
        </p:nvSpPr>
        <p:spPr>
          <a:xfrm>
            <a:off x="2642974" y="1438780"/>
            <a:ext cx="1709892"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s-ES" sz="1200" b="1" i="1" u="none" strike="noStrike" kern="1200" cap="none" spc="0" normalizeH="0" baseline="0" noProof="0">
                <a:ln>
                  <a:noFill/>
                </a:ln>
                <a:solidFill>
                  <a:srgbClr val="000000"/>
                </a:solidFill>
                <a:effectLst/>
                <a:uLnTx/>
                <a:uFillTx/>
                <a:latin typeface="Calibri"/>
                <a:ea typeface="+mn-ea"/>
                <a:cs typeface="Calibri"/>
              </a:rPr>
              <a:t>PFS VTD: 34% at 10 yr</a:t>
            </a:r>
          </a:p>
        </p:txBody>
      </p:sp>
      <p:sp>
        <p:nvSpPr>
          <p:cNvPr id="28" name="CuadroTexto 27"/>
          <p:cNvSpPr txBox="1"/>
          <p:nvPr/>
        </p:nvSpPr>
        <p:spPr>
          <a:xfrm>
            <a:off x="2642974" y="3189153"/>
            <a:ext cx="1554717" cy="27699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s-ES" sz="1200" b="1" i="1" u="none" strike="noStrike" kern="1200" cap="none" spc="0" normalizeH="0" baseline="0" noProof="0">
                <a:ln>
                  <a:noFill/>
                </a:ln>
                <a:solidFill>
                  <a:srgbClr val="000000"/>
                </a:solidFill>
                <a:effectLst/>
                <a:uLnTx/>
                <a:uFillTx/>
                <a:latin typeface="Calibri"/>
                <a:ea typeface="+mn-ea"/>
                <a:cs typeface="Calibri"/>
              </a:rPr>
              <a:t>OS VTD: 60% at 10 yr</a:t>
            </a:r>
          </a:p>
        </p:txBody>
      </p:sp>
      <p:cxnSp>
        <p:nvCxnSpPr>
          <p:cNvPr id="8" name="Conector recto 7"/>
          <p:cNvCxnSpPr>
            <a:cxnSpLocks/>
          </p:cNvCxnSpPr>
          <p:nvPr/>
        </p:nvCxnSpPr>
        <p:spPr bwMode="auto">
          <a:xfrm>
            <a:off x="4503731" y="925043"/>
            <a:ext cx="0" cy="3657600"/>
          </a:xfrm>
          <a:prstGeom prst="line">
            <a:avLst/>
          </a:prstGeom>
          <a:solidFill>
            <a:schemeClr val="accent1"/>
          </a:solidFill>
          <a:ln w="38100" cap="flat" cmpd="dbl" algn="ctr">
            <a:solidFill>
              <a:srgbClr val="29492B"/>
            </a:solidFill>
            <a:prstDash val="solid"/>
            <a:round/>
            <a:headEnd type="none" w="med" len="med"/>
            <a:tailEnd type="none" w="med" len="med"/>
          </a:ln>
          <a:effectLst/>
        </p:spPr>
      </p:cxnSp>
      <p:sp>
        <p:nvSpPr>
          <p:cNvPr id="32" name="CuadroTexto 31"/>
          <p:cNvSpPr txBox="1"/>
          <p:nvPr/>
        </p:nvSpPr>
        <p:spPr>
          <a:xfrm>
            <a:off x="5116404" y="776994"/>
            <a:ext cx="2444750" cy="48936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s-ES" sz="1500" b="1" i="0" u="none" strike="noStrike" kern="1200" cap="none" spc="0" normalizeH="0" baseline="0" noProof="0">
                <a:ln>
                  <a:noFill/>
                </a:ln>
                <a:solidFill>
                  <a:srgbClr val="000000"/>
                </a:solidFill>
                <a:effectLst/>
                <a:uLnTx/>
                <a:uFillTx/>
                <a:latin typeface="Calibri"/>
                <a:ea typeface="+mn-ea"/>
                <a:cs typeface="Calibri"/>
              </a:rPr>
              <a:t>PETHEMA GEM05 Study</a:t>
            </a:r>
            <a:r>
              <a:rPr kumimoji="0" lang="es-ES" sz="1500" b="1" i="0" u="none" strike="noStrike" kern="1200" cap="none" spc="0" normalizeH="0" baseline="30000" noProof="0">
                <a:ln>
                  <a:noFill/>
                </a:ln>
                <a:solidFill>
                  <a:srgbClr val="000000"/>
                </a:solidFill>
                <a:effectLst/>
                <a:uLnTx/>
                <a:uFillTx/>
                <a:latin typeface="Calibri"/>
                <a:ea typeface="+mn-ea"/>
                <a:cs typeface="Calibri"/>
              </a:rPr>
              <a:t>1</a:t>
            </a: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s-ES" sz="900" b="1" i="0" u="none" strike="noStrike" kern="1200" cap="none" spc="0" normalizeH="0" baseline="0" noProof="0">
                <a:ln>
                  <a:noFill/>
                </a:ln>
                <a:solidFill>
                  <a:srgbClr val="000000"/>
                </a:solidFill>
                <a:effectLst/>
                <a:uLnTx/>
                <a:uFillTx/>
                <a:latin typeface="Calibri"/>
                <a:ea typeface="+mn-ea"/>
                <a:cs typeface="Calibri"/>
              </a:rPr>
              <a:t>Median FUP 115 months</a:t>
            </a:r>
          </a:p>
        </p:txBody>
      </p:sp>
      <p:pic>
        <p:nvPicPr>
          <p:cNvPr id="37" name="Picture 28">
            <a:extLst>
              <a:ext uri="{FF2B5EF4-FFF2-40B4-BE49-F238E27FC236}">
                <a16:creationId xmlns:a16="http://schemas.microsoft.com/office/drawing/2014/main" id="{7FC72903-08A8-49F3-A488-0049B2853EF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602800" y="1074246"/>
            <a:ext cx="3087531" cy="18752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38" name="20 Tabla">
            <a:extLst>
              <a:ext uri="{FF2B5EF4-FFF2-40B4-BE49-F238E27FC236}">
                <a16:creationId xmlns:a16="http://schemas.microsoft.com/office/drawing/2014/main" id="{22C85E15-16CA-874B-B085-9D329986E4DA}"/>
              </a:ext>
            </a:extLst>
          </p:cNvPr>
          <p:cNvGraphicFramePr>
            <a:graphicFrameLocks noGrp="1"/>
          </p:cNvGraphicFramePr>
          <p:nvPr/>
        </p:nvGraphicFramePr>
        <p:xfrm>
          <a:off x="6750658" y="1194501"/>
          <a:ext cx="1927594" cy="833980"/>
        </p:xfrm>
        <a:graphic>
          <a:graphicData uri="http://schemas.openxmlformats.org/drawingml/2006/table">
            <a:tbl>
              <a:tblPr firstRow="1" bandRow="1">
                <a:tableStyleId>{2D5ABB26-0587-4C30-8999-92F81FD0307C}</a:tableStyleId>
              </a:tblPr>
              <a:tblGrid>
                <a:gridCol w="469332">
                  <a:extLst>
                    <a:ext uri="{9D8B030D-6E8A-4147-A177-3AD203B41FA5}">
                      <a16:colId xmlns:a16="http://schemas.microsoft.com/office/drawing/2014/main" val="20000"/>
                    </a:ext>
                  </a:extLst>
                </a:gridCol>
                <a:gridCol w="699966">
                  <a:extLst>
                    <a:ext uri="{9D8B030D-6E8A-4147-A177-3AD203B41FA5}">
                      <a16:colId xmlns:a16="http://schemas.microsoft.com/office/drawing/2014/main" val="20001"/>
                    </a:ext>
                  </a:extLst>
                </a:gridCol>
                <a:gridCol w="758296">
                  <a:extLst>
                    <a:ext uri="{9D8B030D-6E8A-4147-A177-3AD203B41FA5}">
                      <a16:colId xmlns:a16="http://schemas.microsoft.com/office/drawing/2014/main" val="20002"/>
                    </a:ext>
                  </a:extLst>
                </a:gridCol>
              </a:tblGrid>
              <a:tr h="290791">
                <a:tc>
                  <a:txBody>
                    <a:bodyPr/>
                    <a:lstStyle>
                      <a:lvl1pPr marL="0" algn="l" defTabSz="457200" rtl="0" eaLnBrk="1" latinLnBrk="0" hangingPunct="1">
                        <a:defRPr sz="1800" b="1" kern="1200">
                          <a:solidFill>
                            <a:schemeClr val="lt1"/>
                          </a:solidFill>
                          <a:latin typeface="Arial"/>
                          <a:ea typeface="ＭＳ Ｐゴシック"/>
                        </a:defRPr>
                      </a:lvl1pPr>
                      <a:lvl2pPr marL="457200" algn="l" defTabSz="457200" rtl="0" eaLnBrk="1" latinLnBrk="0" hangingPunct="1">
                        <a:defRPr sz="1800" b="1" kern="1200">
                          <a:solidFill>
                            <a:schemeClr val="lt1"/>
                          </a:solidFill>
                          <a:latin typeface="Arial"/>
                          <a:ea typeface="ＭＳ Ｐゴシック"/>
                        </a:defRPr>
                      </a:lvl2pPr>
                      <a:lvl3pPr marL="914400" algn="l" defTabSz="457200" rtl="0" eaLnBrk="1" latinLnBrk="0" hangingPunct="1">
                        <a:defRPr sz="1800" b="1" kern="1200">
                          <a:solidFill>
                            <a:schemeClr val="lt1"/>
                          </a:solidFill>
                          <a:latin typeface="Arial"/>
                          <a:ea typeface="ＭＳ Ｐゴシック"/>
                        </a:defRPr>
                      </a:lvl3pPr>
                      <a:lvl4pPr marL="1371600" algn="l" defTabSz="457200" rtl="0" eaLnBrk="1" latinLnBrk="0" hangingPunct="1">
                        <a:defRPr sz="1800" b="1" kern="1200">
                          <a:solidFill>
                            <a:schemeClr val="lt1"/>
                          </a:solidFill>
                          <a:latin typeface="Arial"/>
                          <a:ea typeface="ＭＳ Ｐゴシック"/>
                        </a:defRPr>
                      </a:lvl4pPr>
                      <a:lvl5pPr marL="1828800" algn="l" defTabSz="457200" rtl="0" eaLnBrk="1" latinLnBrk="0" hangingPunct="1">
                        <a:defRPr sz="1800" b="1" kern="1200">
                          <a:solidFill>
                            <a:schemeClr val="lt1"/>
                          </a:solidFill>
                          <a:latin typeface="Arial"/>
                          <a:ea typeface="ＭＳ Ｐゴシック"/>
                        </a:defRPr>
                      </a:lvl5pPr>
                      <a:lvl6pPr marL="2286000" algn="l" defTabSz="457200" rtl="0" eaLnBrk="1" latinLnBrk="0" hangingPunct="1">
                        <a:defRPr sz="1800" b="1" kern="1200">
                          <a:solidFill>
                            <a:schemeClr val="lt1"/>
                          </a:solidFill>
                          <a:latin typeface="Arial"/>
                          <a:ea typeface="ＭＳ Ｐゴシック"/>
                        </a:defRPr>
                      </a:lvl6pPr>
                      <a:lvl7pPr marL="2743200" algn="l" defTabSz="457200" rtl="0" eaLnBrk="1" latinLnBrk="0" hangingPunct="1">
                        <a:defRPr sz="1800" b="1" kern="1200">
                          <a:solidFill>
                            <a:schemeClr val="lt1"/>
                          </a:solidFill>
                          <a:latin typeface="Arial"/>
                          <a:ea typeface="ＭＳ Ｐゴシック"/>
                        </a:defRPr>
                      </a:lvl7pPr>
                      <a:lvl8pPr marL="3200400" algn="l" defTabSz="457200" rtl="0" eaLnBrk="1" latinLnBrk="0" hangingPunct="1">
                        <a:defRPr sz="1800" b="1" kern="1200">
                          <a:solidFill>
                            <a:schemeClr val="lt1"/>
                          </a:solidFill>
                          <a:latin typeface="Arial"/>
                          <a:ea typeface="ＭＳ Ｐゴシック"/>
                        </a:defRPr>
                      </a:lvl8pPr>
                      <a:lvl9pPr marL="3657600" algn="l" defTabSz="457200" rtl="0" eaLnBrk="1" latinLnBrk="0" hangingPunct="1">
                        <a:defRPr sz="1800" b="1" kern="1200">
                          <a:solidFill>
                            <a:schemeClr val="lt1"/>
                          </a:solidFill>
                          <a:latin typeface="Arial"/>
                          <a:ea typeface="ＭＳ Ｐゴシック"/>
                        </a:defRPr>
                      </a:lvl9pPr>
                    </a:lstStyle>
                    <a:p>
                      <a:pPr>
                        <a:lnSpc>
                          <a:spcPct val="80000"/>
                        </a:lnSpc>
                      </a:pPr>
                      <a:endParaRPr lang="es-ES" sz="900">
                        <a:solidFill>
                          <a:srgbClr val="000000"/>
                        </a:solidFill>
                        <a:latin typeface="Calibri"/>
                        <a:cs typeface="Calibri"/>
                      </a:endParaRPr>
                    </a:p>
                  </a:txBody>
                  <a:tcPr marL="68587" marR="68587" marT="34286" marB="34286">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chemeClr val="accent3">
                        <a:lumMod val="85000"/>
                      </a:schemeClr>
                    </a:solidFill>
                  </a:tcPr>
                </a:tc>
                <a:tc>
                  <a:txBody>
                    <a:bodyPr/>
                    <a:lstStyle>
                      <a:lvl1pPr marL="0" algn="l" defTabSz="457200" rtl="0" eaLnBrk="1" latinLnBrk="0" hangingPunct="1">
                        <a:defRPr sz="1800" b="1" kern="1200">
                          <a:solidFill>
                            <a:schemeClr val="lt1"/>
                          </a:solidFill>
                          <a:latin typeface="Arial"/>
                          <a:ea typeface="ＭＳ Ｐゴシック"/>
                        </a:defRPr>
                      </a:lvl1pPr>
                      <a:lvl2pPr marL="457200" algn="l" defTabSz="457200" rtl="0" eaLnBrk="1" latinLnBrk="0" hangingPunct="1">
                        <a:defRPr sz="1800" b="1" kern="1200">
                          <a:solidFill>
                            <a:schemeClr val="lt1"/>
                          </a:solidFill>
                          <a:latin typeface="Arial"/>
                          <a:ea typeface="ＭＳ Ｐゴシック"/>
                        </a:defRPr>
                      </a:lvl2pPr>
                      <a:lvl3pPr marL="914400" algn="l" defTabSz="457200" rtl="0" eaLnBrk="1" latinLnBrk="0" hangingPunct="1">
                        <a:defRPr sz="1800" b="1" kern="1200">
                          <a:solidFill>
                            <a:schemeClr val="lt1"/>
                          </a:solidFill>
                          <a:latin typeface="Arial"/>
                          <a:ea typeface="ＭＳ Ｐゴシック"/>
                        </a:defRPr>
                      </a:lvl3pPr>
                      <a:lvl4pPr marL="1371600" algn="l" defTabSz="457200" rtl="0" eaLnBrk="1" latinLnBrk="0" hangingPunct="1">
                        <a:defRPr sz="1800" b="1" kern="1200">
                          <a:solidFill>
                            <a:schemeClr val="lt1"/>
                          </a:solidFill>
                          <a:latin typeface="Arial"/>
                          <a:ea typeface="ＭＳ Ｐゴシック"/>
                        </a:defRPr>
                      </a:lvl4pPr>
                      <a:lvl5pPr marL="1828800" algn="l" defTabSz="457200" rtl="0" eaLnBrk="1" latinLnBrk="0" hangingPunct="1">
                        <a:defRPr sz="1800" b="1" kern="1200">
                          <a:solidFill>
                            <a:schemeClr val="lt1"/>
                          </a:solidFill>
                          <a:latin typeface="Arial"/>
                          <a:ea typeface="ＭＳ Ｐゴシック"/>
                        </a:defRPr>
                      </a:lvl5pPr>
                      <a:lvl6pPr marL="2286000" algn="l" defTabSz="457200" rtl="0" eaLnBrk="1" latinLnBrk="0" hangingPunct="1">
                        <a:defRPr sz="1800" b="1" kern="1200">
                          <a:solidFill>
                            <a:schemeClr val="lt1"/>
                          </a:solidFill>
                          <a:latin typeface="Arial"/>
                          <a:ea typeface="ＭＳ Ｐゴシック"/>
                        </a:defRPr>
                      </a:lvl6pPr>
                      <a:lvl7pPr marL="2743200" algn="l" defTabSz="457200" rtl="0" eaLnBrk="1" latinLnBrk="0" hangingPunct="1">
                        <a:defRPr sz="1800" b="1" kern="1200">
                          <a:solidFill>
                            <a:schemeClr val="lt1"/>
                          </a:solidFill>
                          <a:latin typeface="Arial"/>
                          <a:ea typeface="ＭＳ Ｐゴシック"/>
                        </a:defRPr>
                      </a:lvl7pPr>
                      <a:lvl8pPr marL="3200400" algn="l" defTabSz="457200" rtl="0" eaLnBrk="1" latinLnBrk="0" hangingPunct="1">
                        <a:defRPr sz="1800" b="1" kern="1200">
                          <a:solidFill>
                            <a:schemeClr val="lt1"/>
                          </a:solidFill>
                          <a:latin typeface="Arial"/>
                          <a:ea typeface="ＭＳ Ｐゴシック"/>
                        </a:defRPr>
                      </a:lvl8pPr>
                      <a:lvl9pPr marL="3657600" algn="l" defTabSz="457200" rtl="0" eaLnBrk="1" latinLnBrk="0" hangingPunct="1">
                        <a:defRPr sz="1800" b="1" kern="1200">
                          <a:solidFill>
                            <a:schemeClr val="lt1"/>
                          </a:solidFill>
                          <a:latin typeface="Arial"/>
                          <a:ea typeface="ＭＳ Ｐゴシック"/>
                        </a:defRPr>
                      </a:lvl9pPr>
                    </a:lstStyle>
                    <a:p>
                      <a:pPr algn="ctr">
                        <a:lnSpc>
                          <a:spcPct val="80000"/>
                        </a:lnSpc>
                      </a:pPr>
                      <a:r>
                        <a:rPr lang="es-ES" sz="900">
                          <a:solidFill>
                            <a:srgbClr val="000000"/>
                          </a:solidFill>
                          <a:latin typeface="Calibri"/>
                          <a:cs typeface="Calibri"/>
                        </a:rPr>
                        <a:t>m</a:t>
                      </a:r>
                      <a:r>
                        <a:rPr lang="es-ES" sz="900" baseline="0">
                          <a:solidFill>
                            <a:srgbClr val="000000"/>
                          </a:solidFill>
                          <a:latin typeface="Calibri"/>
                          <a:cs typeface="Calibri"/>
                        </a:rPr>
                        <a:t>PFS, mo</a:t>
                      </a:r>
                      <a:endParaRPr lang="es-ES" sz="900">
                        <a:solidFill>
                          <a:srgbClr val="000000"/>
                        </a:solidFill>
                        <a:latin typeface="Calibri"/>
                        <a:cs typeface="Calibri"/>
                      </a:endParaRP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85000"/>
                      </a:schemeClr>
                    </a:solidFill>
                  </a:tcPr>
                </a:tc>
                <a:tc>
                  <a:txBody>
                    <a:bodyPr/>
                    <a:lstStyle>
                      <a:lvl1pPr marL="0" algn="l" defTabSz="457200" rtl="0" eaLnBrk="1" latinLnBrk="0" hangingPunct="1">
                        <a:defRPr sz="1800" b="1" kern="1200">
                          <a:solidFill>
                            <a:schemeClr val="lt1"/>
                          </a:solidFill>
                          <a:latin typeface="Arial"/>
                          <a:ea typeface="ＭＳ Ｐゴシック"/>
                        </a:defRPr>
                      </a:lvl1pPr>
                      <a:lvl2pPr marL="457200" algn="l" defTabSz="457200" rtl="0" eaLnBrk="1" latinLnBrk="0" hangingPunct="1">
                        <a:defRPr sz="1800" b="1" kern="1200">
                          <a:solidFill>
                            <a:schemeClr val="lt1"/>
                          </a:solidFill>
                          <a:latin typeface="Arial"/>
                          <a:ea typeface="ＭＳ Ｐゴシック"/>
                        </a:defRPr>
                      </a:lvl2pPr>
                      <a:lvl3pPr marL="914400" algn="l" defTabSz="457200" rtl="0" eaLnBrk="1" latinLnBrk="0" hangingPunct="1">
                        <a:defRPr sz="1800" b="1" kern="1200">
                          <a:solidFill>
                            <a:schemeClr val="lt1"/>
                          </a:solidFill>
                          <a:latin typeface="Arial"/>
                          <a:ea typeface="ＭＳ Ｐゴシック"/>
                        </a:defRPr>
                      </a:lvl3pPr>
                      <a:lvl4pPr marL="1371600" algn="l" defTabSz="457200" rtl="0" eaLnBrk="1" latinLnBrk="0" hangingPunct="1">
                        <a:defRPr sz="1800" b="1" kern="1200">
                          <a:solidFill>
                            <a:schemeClr val="lt1"/>
                          </a:solidFill>
                          <a:latin typeface="Arial"/>
                          <a:ea typeface="ＭＳ Ｐゴシック"/>
                        </a:defRPr>
                      </a:lvl4pPr>
                      <a:lvl5pPr marL="1828800" algn="l" defTabSz="457200" rtl="0" eaLnBrk="1" latinLnBrk="0" hangingPunct="1">
                        <a:defRPr sz="1800" b="1" kern="1200">
                          <a:solidFill>
                            <a:schemeClr val="lt1"/>
                          </a:solidFill>
                          <a:latin typeface="Arial"/>
                          <a:ea typeface="ＭＳ Ｐゴシック"/>
                        </a:defRPr>
                      </a:lvl5pPr>
                      <a:lvl6pPr marL="2286000" algn="l" defTabSz="457200" rtl="0" eaLnBrk="1" latinLnBrk="0" hangingPunct="1">
                        <a:defRPr sz="1800" b="1" kern="1200">
                          <a:solidFill>
                            <a:schemeClr val="lt1"/>
                          </a:solidFill>
                          <a:latin typeface="Arial"/>
                          <a:ea typeface="ＭＳ Ｐゴシック"/>
                        </a:defRPr>
                      </a:lvl6pPr>
                      <a:lvl7pPr marL="2743200" algn="l" defTabSz="457200" rtl="0" eaLnBrk="1" latinLnBrk="0" hangingPunct="1">
                        <a:defRPr sz="1800" b="1" kern="1200">
                          <a:solidFill>
                            <a:schemeClr val="lt1"/>
                          </a:solidFill>
                          <a:latin typeface="Arial"/>
                          <a:ea typeface="ＭＳ Ｐゴシック"/>
                        </a:defRPr>
                      </a:lvl7pPr>
                      <a:lvl8pPr marL="3200400" algn="l" defTabSz="457200" rtl="0" eaLnBrk="1" latinLnBrk="0" hangingPunct="1">
                        <a:defRPr sz="1800" b="1" kern="1200">
                          <a:solidFill>
                            <a:schemeClr val="lt1"/>
                          </a:solidFill>
                          <a:latin typeface="Arial"/>
                          <a:ea typeface="ＭＳ Ｐゴシック"/>
                        </a:defRPr>
                      </a:lvl8pPr>
                      <a:lvl9pPr marL="3657600" algn="l" defTabSz="457200" rtl="0" eaLnBrk="1" latinLnBrk="0" hangingPunct="1">
                        <a:defRPr sz="1800" b="1" kern="1200">
                          <a:solidFill>
                            <a:schemeClr val="lt1"/>
                          </a:solidFill>
                          <a:latin typeface="Arial"/>
                          <a:ea typeface="ＭＳ Ｐゴシック"/>
                        </a:defRPr>
                      </a:lvl9pPr>
                    </a:lstStyle>
                    <a:p>
                      <a:pPr algn="ctr">
                        <a:lnSpc>
                          <a:spcPct val="80000"/>
                        </a:lnSpc>
                      </a:pPr>
                      <a:r>
                        <a:rPr lang="es-ES" sz="900">
                          <a:solidFill>
                            <a:srgbClr val="000000"/>
                          </a:solidFill>
                          <a:latin typeface="Calibri"/>
                          <a:cs typeface="Calibri"/>
                        </a:rPr>
                        <a:t>10-yr</a:t>
                      </a:r>
                      <a:r>
                        <a:rPr lang="es-ES" sz="900" baseline="0">
                          <a:solidFill>
                            <a:srgbClr val="000000"/>
                          </a:solidFill>
                          <a:latin typeface="Calibri"/>
                          <a:cs typeface="Calibri"/>
                        </a:rPr>
                        <a:t> PFS, %</a:t>
                      </a:r>
                      <a:endParaRPr lang="es-ES" sz="900">
                        <a:solidFill>
                          <a:srgbClr val="000000"/>
                        </a:solidFill>
                        <a:latin typeface="Calibri"/>
                        <a:cs typeface="Calibri"/>
                      </a:endParaRP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0"/>
                  </a:ext>
                </a:extLst>
              </a:tr>
              <a:tr h="181063">
                <a:tc>
                  <a:txBody>
                    <a:bodyPr/>
                    <a:lstStyle>
                      <a:lvl1pPr marL="0" algn="l" defTabSz="457200" rtl="0" eaLnBrk="1" latinLnBrk="0" hangingPunct="1">
                        <a:defRPr sz="1800" kern="1200">
                          <a:solidFill>
                            <a:schemeClr val="dk1"/>
                          </a:solidFill>
                          <a:latin typeface="Arial"/>
                          <a:ea typeface="ＭＳ Ｐゴシック"/>
                        </a:defRPr>
                      </a:lvl1pPr>
                      <a:lvl2pPr marL="457200" algn="l" defTabSz="457200" rtl="0" eaLnBrk="1" latinLnBrk="0" hangingPunct="1">
                        <a:defRPr sz="1800" kern="1200">
                          <a:solidFill>
                            <a:schemeClr val="dk1"/>
                          </a:solidFill>
                          <a:latin typeface="Arial"/>
                          <a:ea typeface="ＭＳ Ｐゴシック"/>
                        </a:defRPr>
                      </a:lvl2pPr>
                      <a:lvl3pPr marL="914400" algn="l" defTabSz="457200" rtl="0" eaLnBrk="1" latinLnBrk="0" hangingPunct="1">
                        <a:defRPr sz="1800" kern="1200">
                          <a:solidFill>
                            <a:schemeClr val="dk1"/>
                          </a:solidFill>
                          <a:latin typeface="Arial"/>
                          <a:ea typeface="ＭＳ Ｐゴシック"/>
                        </a:defRPr>
                      </a:lvl3pPr>
                      <a:lvl4pPr marL="1371600" algn="l" defTabSz="457200" rtl="0" eaLnBrk="1" latinLnBrk="0" hangingPunct="1">
                        <a:defRPr sz="1800" kern="1200">
                          <a:solidFill>
                            <a:schemeClr val="dk1"/>
                          </a:solidFill>
                          <a:latin typeface="Arial"/>
                          <a:ea typeface="ＭＳ Ｐゴシック"/>
                        </a:defRPr>
                      </a:lvl4pPr>
                      <a:lvl5pPr marL="1828800" algn="l" defTabSz="457200" rtl="0" eaLnBrk="1" latinLnBrk="0" hangingPunct="1">
                        <a:defRPr sz="1800" kern="1200">
                          <a:solidFill>
                            <a:schemeClr val="dk1"/>
                          </a:solidFill>
                          <a:latin typeface="Arial"/>
                          <a:ea typeface="ＭＳ Ｐゴシック"/>
                        </a:defRPr>
                      </a:lvl5pPr>
                      <a:lvl6pPr marL="2286000" algn="l" defTabSz="457200" rtl="0" eaLnBrk="1" latinLnBrk="0" hangingPunct="1">
                        <a:defRPr sz="1800" kern="1200">
                          <a:solidFill>
                            <a:schemeClr val="dk1"/>
                          </a:solidFill>
                          <a:latin typeface="Arial"/>
                          <a:ea typeface="ＭＳ Ｐゴシック"/>
                        </a:defRPr>
                      </a:lvl6pPr>
                      <a:lvl7pPr marL="2743200" algn="l" defTabSz="457200" rtl="0" eaLnBrk="1" latinLnBrk="0" hangingPunct="1">
                        <a:defRPr sz="1800" kern="1200">
                          <a:solidFill>
                            <a:schemeClr val="dk1"/>
                          </a:solidFill>
                          <a:latin typeface="Arial"/>
                          <a:ea typeface="ＭＳ Ｐゴシック"/>
                        </a:defRPr>
                      </a:lvl7pPr>
                      <a:lvl8pPr marL="3200400" algn="l" defTabSz="457200" rtl="0" eaLnBrk="1" latinLnBrk="0" hangingPunct="1">
                        <a:defRPr sz="1800" kern="1200">
                          <a:solidFill>
                            <a:schemeClr val="dk1"/>
                          </a:solidFill>
                          <a:latin typeface="Arial"/>
                          <a:ea typeface="ＭＳ Ｐゴシック"/>
                        </a:defRPr>
                      </a:lvl8pPr>
                      <a:lvl9pPr marL="3657600" algn="l" defTabSz="457200" rtl="0" eaLnBrk="1" latinLnBrk="0" hangingPunct="1">
                        <a:defRPr sz="1800" kern="1200">
                          <a:solidFill>
                            <a:schemeClr val="dk1"/>
                          </a:solidFill>
                          <a:latin typeface="Arial"/>
                          <a:ea typeface="ＭＳ Ｐゴシック"/>
                        </a:defRPr>
                      </a:lvl9pPr>
                    </a:lstStyle>
                    <a:p>
                      <a:pPr>
                        <a:lnSpc>
                          <a:spcPct val="80000"/>
                        </a:lnSpc>
                      </a:pPr>
                      <a:r>
                        <a:rPr lang="es-ES" sz="900">
                          <a:solidFill>
                            <a:srgbClr val="000000"/>
                          </a:solidFill>
                          <a:latin typeface="Calibri"/>
                          <a:cs typeface="Calibri"/>
                        </a:rPr>
                        <a:t>QT+V</a:t>
                      </a:r>
                      <a:endParaRPr lang="es-ES" sz="900" b="1">
                        <a:solidFill>
                          <a:srgbClr val="000000"/>
                        </a:solidFill>
                        <a:latin typeface="Calibri"/>
                        <a:cs typeface="Calibri"/>
                      </a:endParaRP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85000"/>
                      </a:schemeClr>
                    </a:solidFill>
                  </a:tcPr>
                </a:tc>
                <a:tc>
                  <a:txBody>
                    <a:bodyPr/>
                    <a:lstStyle>
                      <a:lvl1pPr marL="0" algn="l" defTabSz="457200" rtl="0" eaLnBrk="1" latinLnBrk="0" hangingPunct="1">
                        <a:defRPr sz="1800" kern="1200">
                          <a:solidFill>
                            <a:schemeClr val="dk1"/>
                          </a:solidFill>
                          <a:latin typeface="Arial"/>
                          <a:ea typeface="ＭＳ Ｐゴシック"/>
                        </a:defRPr>
                      </a:lvl1pPr>
                      <a:lvl2pPr marL="457200" algn="l" defTabSz="457200" rtl="0" eaLnBrk="1" latinLnBrk="0" hangingPunct="1">
                        <a:defRPr sz="1800" kern="1200">
                          <a:solidFill>
                            <a:schemeClr val="dk1"/>
                          </a:solidFill>
                          <a:latin typeface="Arial"/>
                          <a:ea typeface="ＭＳ Ｐゴシック"/>
                        </a:defRPr>
                      </a:lvl2pPr>
                      <a:lvl3pPr marL="914400" algn="l" defTabSz="457200" rtl="0" eaLnBrk="1" latinLnBrk="0" hangingPunct="1">
                        <a:defRPr sz="1800" kern="1200">
                          <a:solidFill>
                            <a:schemeClr val="dk1"/>
                          </a:solidFill>
                          <a:latin typeface="Arial"/>
                          <a:ea typeface="ＭＳ Ｐゴシック"/>
                        </a:defRPr>
                      </a:lvl3pPr>
                      <a:lvl4pPr marL="1371600" algn="l" defTabSz="457200" rtl="0" eaLnBrk="1" latinLnBrk="0" hangingPunct="1">
                        <a:defRPr sz="1800" kern="1200">
                          <a:solidFill>
                            <a:schemeClr val="dk1"/>
                          </a:solidFill>
                          <a:latin typeface="Arial"/>
                          <a:ea typeface="ＭＳ Ｐゴシック"/>
                        </a:defRPr>
                      </a:lvl4pPr>
                      <a:lvl5pPr marL="1828800" algn="l" defTabSz="457200" rtl="0" eaLnBrk="1" latinLnBrk="0" hangingPunct="1">
                        <a:defRPr sz="1800" kern="1200">
                          <a:solidFill>
                            <a:schemeClr val="dk1"/>
                          </a:solidFill>
                          <a:latin typeface="Arial"/>
                          <a:ea typeface="ＭＳ Ｐゴシック"/>
                        </a:defRPr>
                      </a:lvl5pPr>
                      <a:lvl6pPr marL="2286000" algn="l" defTabSz="457200" rtl="0" eaLnBrk="1" latinLnBrk="0" hangingPunct="1">
                        <a:defRPr sz="1800" kern="1200">
                          <a:solidFill>
                            <a:schemeClr val="dk1"/>
                          </a:solidFill>
                          <a:latin typeface="Arial"/>
                          <a:ea typeface="ＭＳ Ｐゴシック"/>
                        </a:defRPr>
                      </a:lvl6pPr>
                      <a:lvl7pPr marL="2743200" algn="l" defTabSz="457200" rtl="0" eaLnBrk="1" latinLnBrk="0" hangingPunct="1">
                        <a:defRPr sz="1800" kern="1200">
                          <a:solidFill>
                            <a:schemeClr val="dk1"/>
                          </a:solidFill>
                          <a:latin typeface="Arial"/>
                          <a:ea typeface="ＭＳ Ｐゴシック"/>
                        </a:defRPr>
                      </a:lvl7pPr>
                      <a:lvl8pPr marL="3200400" algn="l" defTabSz="457200" rtl="0" eaLnBrk="1" latinLnBrk="0" hangingPunct="1">
                        <a:defRPr sz="1800" kern="1200">
                          <a:solidFill>
                            <a:schemeClr val="dk1"/>
                          </a:solidFill>
                          <a:latin typeface="Arial"/>
                          <a:ea typeface="ＭＳ Ｐゴシック"/>
                        </a:defRPr>
                      </a:lvl8pPr>
                      <a:lvl9pPr marL="3657600" algn="l" defTabSz="457200" rtl="0" eaLnBrk="1" latinLnBrk="0" hangingPunct="1">
                        <a:defRPr sz="1800" kern="1200">
                          <a:solidFill>
                            <a:schemeClr val="dk1"/>
                          </a:solidFill>
                          <a:latin typeface="Arial"/>
                          <a:ea typeface="ＭＳ Ｐゴシック"/>
                        </a:defRPr>
                      </a:lvl9pPr>
                    </a:lstStyle>
                    <a:p>
                      <a:pPr algn="ctr">
                        <a:lnSpc>
                          <a:spcPct val="80000"/>
                        </a:lnSpc>
                      </a:pPr>
                      <a:r>
                        <a:rPr lang="es-ES" sz="900">
                          <a:solidFill>
                            <a:srgbClr val="000000"/>
                          </a:solidFill>
                          <a:latin typeface="Calibri"/>
                          <a:cs typeface="Calibri"/>
                        </a:rPr>
                        <a:t>32</a:t>
                      </a: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85000"/>
                      </a:schemeClr>
                    </a:solidFill>
                  </a:tcPr>
                </a:tc>
                <a:tc>
                  <a:txBody>
                    <a:bodyPr/>
                    <a:lstStyle>
                      <a:lvl1pPr marL="0" algn="l" defTabSz="457200" rtl="0" eaLnBrk="1" latinLnBrk="0" hangingPunct="1">
                        <a:defRPr sz="1800" kern="1200">
                          <a:solidFill>
                            <a:schemeClr val="dk1"/>
                          </a:solidFill>
                          <a:latin typeface="Arial"/>
                          <a:ea typeface="ＭＳ Ｐゴシック"/>
                        </a:defRPr>
                      </a:lvl1pPr>
                      <a:lvl2pPr marL="457200" algn="l" defTabSz="457200" rtl="0" eaLnBrk="1" latinLnBrk="0" hangingPunct="1">
                        <a:defRPr sz="1800" kern="1200">
                          <a:solidFill>
                            <a:schemeClr val="dk1"/>
                          </a:solidFill>
                          <a:latin typeface="Arial"/>
                          <a:ea typeface="ＭＳ Ｐゴシック"/>
                        </a:defRPr>
                      </a:lvl2pPr>
                      <a:lvl3pPr marL="914400" algn="l" defTabSz="457200" rtl="0" eaLnBrk="1" latinLnBrk="0" hangingPunct="1">
                        <a:defRPr sz="1800" kern="1200">
                          <a:solidFill>
                            <a:schemeClr val="dk1"/>
                          </a:solidFill>
                          <a:latin typeface="Arial"/>
                          <a:ea typeface="ＭＳ Ｐゴシック"/>
                        </a:defRPr>
                      </a:lvl3pPr>
                      <a:lvl4pPr marL="1371600" algn="l" defTabSz="457200" rtl="0" eaLnBrk="1" latinLnBrk="0" hangingPunct="1">
                        <a:defRPr sz="1800" kern="1200">
                          <a:solidFill>
                            <a:schemeClr val="dk1"/>
                          </a:solidFill>
                          <a:latin typeface="Arial"/>
                          <a:ea typeface="ＭＳ Ｐゴシック"/>
                        </a:defRPr>
                      </a:lvl4pPr>
                      <a:lvl5pPr marL="1828800" algn="l" defTabSz="457200" rtl="0" eaLnBrk="1" latinLnBrk="0" hangingPunct="1">
                        <a:defRPr sz="1800" kern="1200">
                          <a:solidFill>
                            <a:schemeClr val="dk1"/>
                          </a:solidFill>
                          <a:latin typeface="Arial"/>
                          <a:ea typeface="ＭＳ Ｐゴシック"/>
                        </a:defRPr>
                      </a:lvl5pPr>
                      <a:lvl6pPr marL="2286000" algn="l" defTabSz="457200" rtl="0" eaLnBrk="1" latinLnBrk="0" hangingPunct="1">
                        <a:defRPr sz="1800" kern="1200">
                          <a:solidFill>
                            <a:schemeClr val="dk1"/>
                          </a:solidFill>
                          <a:latin typeface="Arial"/>
                          <a:ea typeface="ＭＳ Ｐゴシック"/>
                        </a:defRPr>
                      </a:lvl6pPr>
                      <a:lvl7pPr marL="2743200" algn="l" defTabSz="457200" rtl="0" eaLnBrk="1" latinLnBrk="0" hangingPunct="1">
                        <a:defRPr sz="1800" kern="1200">
                          <a:solidFill>
                            <a:schemeClr val="dk1"/>
                          </a:solidFill>
                          <a:latin typeface="Arial"/>
                          <a:ea typeface="ＭＳ Ｐゴシック"/>
                        </a:defRPr>
                      </a:lvl7pPr>
                      <a:lvl8pPr marL="3200400" algn="l" defTabSz="457200" rtl="0" eaLnBrk="1" latinLnBrk="0" hangingPunct="1">
                        <a:defRPr sz="1800" kern="1200">
                          <a:solidFill>
                            <a:schemeClr val="dk1"/>
                          </a:solidFill>
                          <a:latin typeface="Arial"/>
                          <a:ea typeface="ＭＳ Ｐゴシック"/>
                        </a:defRPr>
                      </a:lvl8pPr>
                      <a:lvl9pPr marL="3657600" algn="l" defTabSz="457200" rtl="0" eaLnBrk="1" latinLnBrk="0" hangingPunct="1">
                        <a:defRPr sz="1800" kern="1200">
                          <a:solidFill>
                            <a:schemeClr val="dk1"/>
                          </a:solidFill>
                          <a:latin typeface="Arial"/>
                          <a:ea typeface="ＭＳ Ｐゴシック"/>
                        </a:defRPr>
                      </a:lvl9pPr>
                    </a:lstStyle>
                    <a:p>
                      <a:pPr algn="ctr">
                        <a:lnSpc>
                          <a:spcPct val="80000"/>
                        </a:lnSpc>
                      </a:pPr>
                      <a:r>
                        <a:rPr lang="es-ES" sz="900">
                          <a:solidFill>
                            <a:srgbClr val="000000"/>
                          </a:solidFill>
                          <a:latin typeface="Calibri"/>
                          <a:cs typeface="Calibri"/>
                        </a:rPr>
                        <a:t>13</a:t>
                      </a: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1"/>
                  </a:ext>
                </a:extLst>
              </a:tr>
              <a:tr h="181063">
                <a:tc>
                  <a:txBody>
                    <a:bodyPr/>
                    <a:lstStyle>
                      <a:lvl1pPr marL="0" algn="l" defTabSz="457200" rtl="0" eaLnBrk="1" latinLnBrk="0" hangingPunct="1">
                        <a:defRPr sz="1800" kern="1200">
                          <a:solidFill>
                            <a:schemeClr val="dk1"/>
                          </a:solidFill>
                          <a:latin typeface="Arial"/>
                          <a:ea typeface="ＭＳ Ｐゴシック"/>
                        </a:defRPr>
                      </a:lvl1pPr>
                      <a:lvl2pPr marL="457200" algn="l" defTabSz="457200" rtl="0" eaLnBrk="1" latinLnBrk="0" hangingPunct="1">
                        <a:defRPr sz="1800" kern="1200">
                          <a:solidFill>
                            <a:schemeClr val="dk1"/>
                          </a:solidFill>
                          <a:latin typeface="Arial"/>
                          <a:ea typeface="ＭＳ Ｐゴシック"/>
                        </a:defRPr>
                      </a:lvl2pPr>
                      <a:lvl3pPr marL="914400" algn="l" defTabSz="457200" rtl="0" eaLnBrk="1" latinLnBrk="0" hangingPunct="1">
                        <a:defRPr sz="1800" kern="1200">
                          <a:solidFill>
                            <a:schemeClr val="dk1"/>
                          </a:solidFill>
                          <a:latin typeface="Arial"/>
                          <a:ea typeface="ＭＳ Ｐゴシック"/>
                        </a:defRPr>
                      </a:lvl3pPr>
                      <a:lvl4pPr marL="1371600" algn="l" defTabSz="457200" rtl="0" eaLnBrk="1" latinLnBrk="0" hangingPunct="1">
                        <a:defRPr sz="1800" kern="1200">
                          <a:solidFill>
                            <a:schemeClr val="dk1"/>
                          </a:solidFill>
                          <a:latin typeface="Arial"/>
                          <a:ea typeface="ＭＳ Ｐゴシック"/>
                        </a:defRPr>
                      </a:lvl4pPr>
                      <a:lvl5pPr marL="1828800" algn="l" defTabSz="457200" rtl="0" eaLnBrk="1" latinLnBrk="0" hangingPunct="1">
                        <a:defRPr sz="1800" kern="1200">
                          <a:solidFill>
                            <a:schemeClr val="dk1"/>
                          </a:solidFill>
                          <a:latin typeface="Arial"/>
                          <a:ea typeface="ＭＳ Ｐゴシック"/>
                        </a:defRPr>
                      </a:lvl5pPr>
                      <a:lvl6pPr marL="2286000" algn="l" defTabSz="457200" rtl="0" eaLnBrk="1" latinLnBrk="0" hangingPunct="1">
                        <a:defRPr sz="1800" kern="1200">
                          <a:solidFill>
                            <a:schemeClr val="dk1"/>
                          </a:solidFill>
                          <a:latin typeface="Arial"/>
                          <a:ea typeface="ＭＳ Ｐゴシック"/>
                        </a:defRPr>
                      </a:lvl6pPr>
                      <a:lvl7pPr marL="2743200" algn="l" defTabSz="457200" rtl="0" eaLnBrk="1" latinLnBrk="0" hangingPunct="1">
                        <a:defRPr sz="1800" kern="1200">
                          <a:solidFill>
                            <a:schemeClr val="dk1"/>
                          </a:solidFill>
                          <a:latin typeface="Arial"/>
                          <a:ea typeface="ＭＳ Ｐゴシック"/>
                        </a:defRPr>
                      </a:lvl7pPr>
                      <a:lvl8pPr marL="3200400" algn="l" defTabSz="457200" rtl="0" eaLnBrk="1" latinLnBrk="0" hangingPunct="1">
                        <a:defRPr sz="1800" kern="1200">
                          <a:solidFill>
                            <a:schemeClr val="dk1"/>
                          </a:solidFill>
                          <a:latin typeface="Arial"/>
                          <a:ea typeface="ＭＳ Ｐゴシック"/>
                        </a:defRPr>
                      </a:lvl8pPr>
                      <a:lvl9pPr marL="3657600" algn="l" defTabSz="457200" rtl="0" eaLnBrk="1" latinLnBrk="0" hangingPunct="1">
                        <a:defRPr sz="1800" kern="1200">
                          <a:solidFill>
                            <a:schemeClr val="dk1"/>
                          </a:solidFill>
                          <a:latin typeface="Arial"/>
                          <a:ea typeface="ＭＳ Ｐゴシック"/>
                        </a:defRPr>
                      </a:lvl9pPr>
                    </a:lstStyle>
                    <a:p>
                      <a:pPr>
                        <a:lnSpc>
                          <a:spcPct val="80000"/>
                        </a:lnSpc>
                      </a:pPr>
                      <a:r>
                        <a:rPr lang="es-ES" sz="900">
                          <a:solidFill>
                            <a:srgbClr val="000000"/>
                          </a:solidFill>
                          <a:latin typeface="Calibri"/>
                          <a:cs typeface="Calibri"/>
                        </a:rPr>
                        <a:t>TD</a:t>
                      </a:r>
                      <a:endParaRPr lang="es-ES" sz="900" b="1">
                        <a:solidFill>
                          <a:srgbClr val="000000"/>
                        </a:solidFill>
                        <a:latin typeface="Calibri"/>
                        <a:cs typeface="Calibri"/>
                      </a:endParaRP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85000"/>
                      </a:schemeClr>
                    </a:solidFill>
                  </a:tcPr>
                </a:tc>
                <a:tc>
                  <a:txBody>
                    <a:bodyPr/>
                    <a:lstStyle>
                      <a:lvl1pPr marL="0" algn="l" defTabSz="457200" rtl="0" eaLnBrk="1" latinLnBrk="0" hangingPunct="1">
                        <a:defRPr sz="1800" kern="1200">
                          <a:solidFill>
                            <a:schemeClr val="dk1"/>
                          </a:solidFill>
                          <a:latin typeface="Arial"/>
                          <a:ea typeface="ＭＳ Ｐゴシック"/>
                        </a:defRPr>
                      </a:lvl1pPr>
                      <a:lvl2pPr marL="457200" algn="l" defTabSz="457200" rtl="0" eaLnBrk="1" latinLnBrk="0" hangingPunct="1">
                        <a:defRPr sz="1800" kern="1200">
                          <a:solidFill>
                            <a:schemeClr val="dk1"/>
                          </a:solidFill>
                          <a:latin typeface="Arial"/>
                          <a:ea typeface="ＭＳ Ｐゴシック"/>
                        </a:defRPr>
                      </a:lvl2pPr>
                      <a:lvl3pPr marL="914400" algn="l" defTabSz="457200" rtl="0" eaLnBrk="1" latinLnBrk="0" hangingPunct="1">
                        <a:defRPr sz="1800" kern="1200">
                          <a:solidFill>
                            <a:schemeClr val="dk1"/>
                          </a:solidFill>
                          <a:latin typeface="Arial"/>
                          <a:ea typeface="ＭＳ Ｐゴシック"/>
                        </a:defRPr>
                      </a:lvl3pPr>
                      <a:lvl4pPr marL="1371600" algn="l" defTabSz="457200" rtl="0" eaLnBrk="1" latinLnBrk="0" hangingPunct="1">
                        <a:defRPr sz="1800" kern="1200">
                          <a:solidFill>
                            <a:schemeClr val="dk1"/>
                          </a:solidFill>
                          <a:latin typeface="Arial"/>
                          <a:ea typeface="ＭＳ Ｐゴシック"/>
                        </a:defRPr>
                      </a:lvl4pPr>
                      <a:lvl5pPr marL="1828800" algn="l" defTabSz="457200" rtl="0" eaLnBrk="1" latinLnBrk="0" hangingPunct="1">
                        <a:defRPr sz="1800" kern="1200">
                          <a:solidFill>
                            <a:schemeClr val="dk1"/>
                          </a:solidFill>
                          <a:latin typeface="Arial"/>
                          <a:ea typeface="ＭＳ Ｐゴシック"/>
                        </a:defRPr>
                      </a:lvl5pPr>
                      <a:lvl6pPr marL="2286000" algn="l" defTabSz="457200" rtl="0" eaLnBrk="1" latinLnBrk="0" hangingPunct="1">
                        <a:defRPr sz="1800" kern="1200">
                          <a:solidFill>
                            <a:schemeClr val="dk1"/>
                          </a:solidFill>
                          <a:latin typeface="Arial"/>
                          <a:ea typeface="ＭＳ Ｐゴシック"/>
                        </a:defRPr>
                      </a:lvl6pPr>
                      <a:lvl7pPr marL="2743200" algn="l" defTabSz="457200" rtl="0" eaLnBrk="1" latinLnBrk="0" hangingPunct="1">
                        <a:defRPr sz="1800" kern="1200">
                          <a:solidFill>
                            <a:schemeClr val="dk1"/>
                          </a:solidFill>
                          <a:latin typeface="Arial"/>
                          <a:ea typeface="ＭＳ Ｐゴシック"/>
                        </a:defRPr>
                      </a:lvl7pPr>
                      <a:lvl8pPr marL="3200400" algn="l" defTabSz="457200" rtl="0" eaLnBrk="1" latinLnBrk="0" hangingPunct="1">
                        <a:defRPr sz="1800" kern="1200">
                          <a:solidFill>
                            <a:schemeClr val="dk1"/>
                          </a:solidFill>
                          <a:latin typeface="Arial"/>
                          <a:ea typeface="ＭＳ Ｐゴシック"/>
                        </a:defRPr>
                      </a:lvl8pPr>
                      <a:lvl9pPr marL="3657600" algn="l" defTabSz="457200" rtl="0" eaLnBrk="1" latinLnBrk="0" hangingPunct="1">
                        <a:defRPr sz="1800" kern="1200">
                          <a:solidFill>
                            <a:schemeClr val="dk1"/>
                          </a:solidFill>
                          <a:latin typeface="Arial"/>
                          <a:ea typeface="ＭＳ Ｐゴシック"/>
                        </a:defRPr>
                      </a:lvl9pPr>
                    </a:lstStyle>
                    <a:p>
                      <a:pPr algn="ctr">
                        <a:lnSpc>
                          <a:spcPct val="80000"/>
                        </a:lnSpc>
                      </a:pPr>
                      <a:r>
                        <a:rPr lang="es-ES" sz="900">
                          <a:solidFill>
                            <a:srgbClr val="000000"/>
                          </a:solidFill>
                          <a:latin typeface="Calibri"/>
                          <a:cs typeface="Calibri"/>
                        </a:rPr>
                        <a:t>28</a:t>
                      </a: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85000"/>
                      </a:schemeClr>
                    </a:solidFill>
                  </a:tcPr>
                </a:tc>
                <a:tc>
                  <a:txBody>
                    <a:bodyPr/>
                    <a:lstStyle>
                      <a:lvl1pPr marL="0" algn="l" defTabSz="457200" rtl="0" eaLnBrk="1" latinLnBrk="0" hangingPunct="1">
                        <a:defRPr sz="1800" kern="1200">
                          <a:solidFill>
                            <a:schemeClr val="dk1"/>
                          </a:solidFill>
                          <a:latin typeface="Arial"/>
                          <a:ea typeface="ＭＳ Ｐゴシック"/>
                        </a:defRPr>
                      </a:lvl1pPr>
                      <a:lvl2pPr marL="457200" algn="l" defTabSz="457200" rtl="0" eaLnBrk="1" latinLnBrk="0" hangingPunct="1">
                        <a:defRPr sz="1800" kern="1200">
                          <a:solidFill>
                            <a:schemeClr val="dk1"/>
                          </a:solidFill>
                          <a:latin typeface="Arial"/>
                          <a:ea typeface="ＭＳ Ｐゴシック"/>
                        </a:defRPr>
                      </a:lvl2pPr>
                      <a:lvl3pPr marL="914400" algn="l" defTabSz="457200" rtl="0" eaLnBrk="1" latinLnBrk="0" hangingPunct="1">
                        <a:defRPr sz="1800" kern="1200">
                          <a:solidFill>
                            <a:schemeClr val="dk1"/>
                          </a:solidFill>
                          <a:latin typeface="Arial"/>
                          <a:ea typeface="ＭＳ Ｐゴシック"/>
                        </a:defRPr>
                      </a:lvl3pPr>
                      <a:lvl4pPr marL="1371600" algn="l" defTabSz="457200" rtl="0" eaLnBrk="1" latinLnBrk="0" hangingPunct="1">
                        <a:defRPr sz="1800" kern="1200">
                          <a:solidFill>
                            <a:schemeClr val="dk1"/>
                          </a:solidFill>
                          <a:latin typeface="Arial"/>
                          <a:ea typeface="ＭＳ Ｐゴシック"/>
                        </a:defRPr>
                      </a:lvl4pPr>
                      <a:lvl5pPr marL="1828800" algn="l" defTabSz="457200" rtl="0" eaLnBrk="1" latinLnBrk="0" hangingPunct="1">
                        <a:defRPr sz="1800" kern="1200">
                          <a:solidFill>
                            <a:schemeClr val="dk1"/>
                          </a:solidFill>
                          <a:latin typeface="Arial"/>
                          <a:ea typeface="ＭＳ Ｐゴシック"/>
                        </a:defRPr>
                      </a:lvl5pPr>
                      <a:lvl6pPr marL="2286000" algn="l" defTabSz="457200" rtl="0" eaLnBrk="1" latinLnBrk="0" hangingPunct="1">
                        <a:defRPr sz="1800" kern="1200">
                          <a:solidFill>
                            <a:schemeClr val="dk1"/>
                          </a:solidFill>
                          <a:latin typeface="Arial"/>
                          <a:ea typeface="ＭＳ Ｐゴシック"/>
                        </a:defRPr>
                      </a:lvl6pPr>
                      <a:lvl7pPr marL="2743200" algn="l" defTabSz="457200" rtl="0" eaLnBrk="1" latinLnBrk="0" hangingPunct="1">
                        <a:defRPr sz="1800" kern="1200">
                          <a:solidFill>
                            <a:schemeClr val="dk1"/>
                          </a:solidFill>
                          <a:latin typeface="Arial"/>
                          <a:ea typeface="ＭＳ Ｐゴシック"/>
                        </a:defRPr>
                      </a:lvl7pPr>
                      <a:lvl8pPr marL="3200400" algn="l" defTabSz="457200" rtl="0" eaLnBrk="1" latinLnBrk="0" hangingPunct="1">
                        <a:defRPr sz="1800" kern="1200">
                          <a:solidFill>
                            <a:schemeClr val="dk1"/>
                          </a:solidFill>
                          <a:latin typeface="Arial"/>
                          <a:ea typeface="ＭＳ Ｐゴシック"/>
                        </a:defRPr>
                      </a:lvl8pPr>
                      <a:lvl9pPr marL="3657600" algn="l" defTabSz="457200" rtl="0" eaLnBrk="1" latinLnBrk="0" hangingPunct="1">
                        <a:defRPr sz="1800" kern="1200">
                          <a:solidFill>
                            <a:schemeClr val="dk1"/>
                          </a:solidFill>
                          <a:latin typeface="Arial"/>
                          <a:ea typeface="ＭＳ Ｐゴシック"/>
                        </a:defRPr>
                      </a:lvl9pPr>
                    </a:lstStyle>
                    <a:p>
                      <a:pPr algn="ctr">
                        <a:lnSpc>
                          <a:spcPct val="80000"/>
                        </a:lnSpc>
                      </a:pPr>
                      <a:r>
                        <a:rPr lang="es-ES" sz="900">
                          <a:solidFill>
                            <a:srgbClr val="000000"/>
                          </a:solidFill>
                          <a:latin typeface="Calibri"/>
                          <a:cs typeface="Calibri"/>
                        </a:rPr>
                        <a:t>17</a:t>
                      </a: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85000"/>
                      </a:schemeClr>
                    </a:solidFill>
                  </a:tcPr>
                </a:tc>
                <a:extLst>
                  <a:ext uri="{0D108BD9-81ED-4DB2-BD59-A6C34878D82A}">
                    <a16:rowId xmlns:a16="http://schemas.microsoft.com/office/drawing/2014/main" val="10002"/>
                  </a:ext>
                </a:extLst>
              </a:tr>
              <a:tr h="181063">
                <a:tc>
                  <a:txBody>
                    <a:bodyPr/>
                    <a:lstStyle>
                      <a:lvl1pPr marL="0" algn="l" defTabSz="457200" rtl="0" eaLnBrk="1" latinLnBrk="0" hangingPunct="1">
                        <a:defRPr sz="1800" kern="1200">
                          <a:solidFill>
                            <a:schemeClr val="dk1"/>
                          </a:solidFill>
                          <a:latin typeface="Arial"/>
                          <a:ea typeface="ＭＳ Ｐゴシック"/>
                        </a:defRPr>
                      </a:lvl1pPr>
                      <a:lvl2pPr marL="457200" algn="l" defTabSz="457200" rtl="0" eaLnBrk="1" latinLnBrk="0" hangingPunct="1">
                        <a:defRPr sz="1800" kern="1200">
                          <a:solidFill>
                            <a:schemeClr val="dk1"/>
                          </a:solidFill>
                          <a:latin typeface="Arial"/>
                          <a:ea typeface="ＭＳ Ｐゴシック"/>
                        </a:defRPr>
                      </a:lvl2pPr>
                      <a:lvl3pPr marL="914400" algn="l" defTabSz="457200" rtl="0" eaLnBrk="1" latinLnBrk="0" hangingPunct="1">
                        <a:defRPr sz="1800" kern="1200">
                          <a:solidFill>
                            <a:schemeClr val="dk1"/>
                          </a:solidFill>
                          <a:latin typeface="Arial"/>
                          <a:ea typeface="ＭＳ Ｐゴシック"/>
                        </a:defRPr>
                      </a:lvl3pPr>
                      <a:lvl4pPr marL="1371600" algn="l" defTabSz="457200" rtl="0" eaLnBrk="1" latinLnBrk="0" hangingPunct="1">
                        <a:defRPr sz="1800" kern="1200">
                          <a:solidFill>
                            <a:schemeClr val="dk1"/>
                          </a:solidFill>
                          <a:latin typeface="Arial"/>
                          <a:ea typeface="ＭＳ Ｐゴシック"/>
                        </a:defRPr>
                      </a:lvl4pPr>
                      <a:lvl5pPr marL="1828800" algn="l" defTabSz="457200" rtl="0" eaLnBrk="1" latinLnBrk="0" hangingPunct="1">
                        <a:defRPr sz="1800" kern="1200">
                          <a:solidFill>
                            <a:schemeClr val="dk1"/>
                          </a:solidFill>
                          <a:latin typeface="Arial"/>
                          <a:ea typeface="ＭＳ Ｐゴシック"/>
                        </a:defRPr>
                      </a:lvl5pPr>
                      <a:lvl6pPr marL="2286000" algn="l" defTabSz="457200" rtl="0" eaLnBrk="1" latinLnBrk="0" hangingPunct="1">
                        <a:defRPr sz="1800" kern="1200">
                          <a:solidFill>
                            <a:schemeClr val="dk1"/>
                          </a:solidFill>
                          <a:latin typeface="Arial"/>
                          <a:ea typeface="ＭＳ Ｐゴシック"/>
                        </a:defRPr>
                      </a:lvl6pPr>
                      <a:lvl7pPr marL="2743200" algn="l" defTabSz="457200" rtl="0" eaLnBrk="1" latinLnBrk="0" hangingPunct="1">
                        <a:defRPr sz="1800" kern="1200">
                          <a:solidFill>
                            <a:schemeClr val="dk1"/>
                          </a:solidFill>
                          <a:latin typeface="Arial"/>
                          <a:ea typeface="ＭＳ Ｐゴシック"/>
                        </a:defRPr>
                      </a:lvl7pPr>
                      <a:lvl8pPr marL="3200400" algn="l" defTabSz="457200" rtl="0" eaLnBrk="1" latinLnBrk="0" hangingPunct="1">
                        <a:defRPr sz="1800" kern="1200">
                          <a:solidFill>
                            <a:schemeClr val="dk1"/>
                          </a:solidFill>
                          <a:latin typeface="Arial"/>
                          <a:ea typeface="ＭＳ Ｐゴシック"/>
                        </a:defRPr>
                      </a:lvl8pPr>
                      <a:lvl9pPr marL="3657600" algn="l" defTabSz="457200" rtl="0" eaLnBrk="1" latinLnBrk="0" hangingPunct="1">
                        <a:defRPr sz="1800" kern="1200">
                          <a:solidFill>
                            <a:schemeClr val="dk1"/>
                          </a:solidFill>
                          <a:latin typeface="Arial"/>
                          <a:ea typeface="ＭＳ Ｐゴシック"/>
                        </a:defRPr>
                      </a:lvl9pPr>
                    </a:lstStyle>
                    <a:p>
                      <a:pPr>
                        <a:lnSpc>
                          <a:spcPct val="80000"/>
                        </a:lnSpc>
                      </a:pPr>
                      <a:r>
                        <a:rPr lang="es-ES" sz="900" b="1">
                          <a:solidFill>
                            <a:srgbClr val="000000"/>
                          </a:solidFill>
                          <a:latin typeface="Calibri"/>
                          <a:cs typeface="Calibri"/>
                        </a:rPr>
                        <a:t>VTD</a:t>
                      </a: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lvl1pPr marL="0" algn="l" defTabSz="457200" rtl="0" eaLnBrk="1" latinLnBrk="0" hangingPunct="1">
                        <a:defRPr sz="1800" kern="1200">
                          <a:solidFill>
                            <a:schemeClr val="dk1"/>
                          </a:solidFill>
                          <a:latin typeface="Arial"/>
                          <a:ea typeface="ＭＳ Ｐゴシック"/>
                        </a:defRPr>
                      </a:lvl1pPr>
                      <a:lvl2pPr marL="457200" algn="l" defTabSz="457200" rtl="0" eaLnBrk="1" latinLnBrk="0" hangingPunct="1">
                        <a:defRPr sz="1800" kern="1200">
                          <a:solidFill>
                            <a:schemeClr val="dk1"/>
                          </a:solidFill>
                          <a:latin typeface="Arial"/>
                          <a:ea typeface="ＭＳ Ｐゴシック"/>
                        </a:defRPr>
                      </a:lvl2pPr>
                      <a:lvl3pPr marL="914400" algn="l" defTabSz="457200" rtl="0" eaLnBrk="1" latinLnBrk="0" hangingPunct="1">
                        <a:defRPr sz="1800" kern="1200">
                          <a:solidFill>
                            <a:schemeClr val="dk1"/>
                          </a:solidFill>
                          <a:latin typeface="Arial"/>
                          <a:ea typeface="ＭＳ Ｐゴシック"/>
                        </a:defRPr>
                      </a:lvl3pPr>
                      <a:lvl4pPr marL="1371600" algn="l" defTabSz="457200" rtl="0" eaLnBrk="1" latinLnBrk="0" hangingPunct="1">
                        <a:defRPr sz="1800" kern="1200">
                          <a:solidFill>
                            <a:schemeClr val="dk1"/>
                          </a:solidFill>
                          <a:latin typeface="Arial"/>
                          <a:ea typeface="ＭＳ Ｐゴシック"/>
                        </a:defRPr>
                      </a:lvl4pPr>
                      <a:lvl5pPr marL="1828800" algn="l" defTabSz="457200" rtl="0" eaLnBrk="1" latinLnBrk="0" hangingPunct="1">
                        <a:defRPr sz="1800" kern="1200">
                          <a:solidFill>
                            <a:schemeClr val="dk1"/>
                          </a:solidFill>
                          <a:latin typeface="Arial"/>
                          <a:ea typeface="ＭＳ Ｐゴシック"/>
                        </a:defRPr>
                      </a:lvl5pPr>
                      <a:lvl6pPr marL="2286000" algn="l" defTabSz="457200" rtl="0" eaLnBrk="1" latinLnBrk="0" hangingPunct="1">
                        <a:defRPr sz="1800" kern="1200">
                          <a:solidFill>
                            <a:schemeClr val="dk1"/>
                          </a:solidFill>
                          <a:latin typeface="Arial"/>
                          <a:ea typeface="ＭＳ Ｐゴシック"/>
                        </a:defRPr>
                      </a:lvl6pPr>
                      <a:lvl7pPr marL="2743200" algn="l" defTabSz="457200" rtl="0" eaLnBrk="1" latinLnBrk="0" hangingPunct="1">
                        <a:defRPr sz="1800" kern="1200">
                          <a:solidFill>
                            <a:schemeClr val="dk1"/>
                          </a:solidFill>
                          <a:latin typeface="Arial"/>
                          <a:ea typeface="ＭＳ Ｐゴシック"/>
                        </a:defRPr>
                      </a:lvl7pPr>
                      <a:lvl8pPr marL="3200400" algn="l" defTabSz="457200" rtl="0" eaLnBrk="1" latinLnBrk="0" hangingPunct="1">
                        <a:defRPr sz="1800" kern="1200">
                          <a:solidFill>
                            <a:schemeClr val="dk1"/>
                          </a:solidFill>
                          <a:latin typeface="Arial"/>
                          <a:ea typeface="ＭＳ Ｐゴシック"/>
                        </a:defRPr>
                      </a:lvl8pPr>
                      <a:lvl9pPr marL="3657600" algn="l" defTabSz="457200" rtl="0" eaLnBrk="1" latinLnBrk="0" hangingPunct="1">
                        <a:defRPr sz="1800" kern="1200">
                          <a:solidFill>
                            <a:schemeClr val="dk1"/>
                          </a:solidFill>
                          <a:latin typeface="Arial"/>
                          <a:ea typeface="ＭＳ Ｐゴシック"/>
                        </a:defRPr>
                      </a:lvl9pPr>
                    </a:lstStyle>
                    <a:p>
                      <a:pPr algn="ctr">
                        <a:lnSpc>
                          <a:spcPct val="80000"/>
                        </a:lnSpc>
                      </a:pPr>
                      <a:r>
                        <a:rPr lang="es-ES" sz="900" b="1">
                          <a:solidFill>
                            <a:srgbClr val="000000"/>
                          </a:solidFill>
                          <a:latin typeface="Calibri"/>
                          <a:cs typeface="Calibri"/>
                        </a:rPr>
                        <a:t>52</a:t>
                      </a: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lvl1pPr marL="0" algn="l" defTabSz="457200" rtl="0" eaLnBrk="1" latinLnBrk="0" hangingPunct="1">
                        <a:defRPr sz="1800" kern="1200">
                          <a:solidFill>
                            <a:schemeClr val="dk1"/>
                          </a:solidFill>
                          <a:latin typeface="Arial"/>
                          <a:ea typeface="ＭＳ Ｐゴシック"/>
                        </a:defRPr>
                      </a:lvl1pPr>
                      <a:lvl2pPr marL="457200" algn="l" defTabSz="457200" rtl="0" eaLnBrk="1" latinLnBrk="0" hangingPunct="1">
                        <a:defRPr sz="1800" kern="1200">
                          <a:solidFill>
                            <a:schemeClr val="dk1"/>
                          </a:solidFill>
                          <a:latin typeface="Arial"/>
                          <a:ea typeface="ＭＳ Ｐゴシック"/>
                        </a:defRPr>
                      </a:lvl2pPr>
                      <a:lvl3pPr marL="914400" algn="l" defTabSz="457200" rtl="0" eaLnBrk="1" latinLnBrk="0" hangingPunct="1">
                        <a:defRPr sz="1800" kern="1200">
                          <a:solidFill>
                            <a:schemeClr val="dk1"/>
                          </a:solidFill>
                          <a:latin typeface="Arial"/>
                          <a:ea typeface="ＭＳ Ｐゴシック"/>
                        </a:defRPr>
                      </a:lvl3pPr>
                      <a:lvl4pPr marL="1371600" algn="l" defTabSz="457200" rtl="0" eaLnBrk="1" latinLnBrk="0" hangingPunct="1">
                        <a:defRPr sz="1800" kern="1200">
                          <a:solidFill>
                            <a:schemeClr val="dk1"/>
                          </a:solidFill>
                          <a:latin typeface="Arial"/>
                          <a:ea typeface="ＭＳ Ｐゴシック"/>
                        </a:defRPr>
                      </a:lvl4pPr>
                      <a:lvl5pPr marL="1828800" algn="l" defTabSz="457200" rtl="0" eaLnBrk="1" latinLnBrk="0" hangingPunct="1">
                        <a:defRPr sz="1800" kern="1200">
                          <a:solidFill>
                            <a:schemeClr val="dk1"/>
                          </a:solidFill>
                          <a:latin typeface="Arial"/>
                          <a:ea typeface="ＭＳ Ｐゴシック"/>
                        </a:defRPr>
                      </a:lvl5pPr>
                      <a:lvl6pPr marL="2286000" algn="l" defTabSz="457200" rtl="0" eaLnBrk="1" latinLnBrk="0" hangingPunct="1">
                        <a:defRPr sz="1800" kern="1200">
                          <a:solidFill>
                            <a:schemeClr val="dk1"/>
                          </a:solidFill>
                          <a:latin typeface="Arial"/>
                          <a:ea typeface="ＭＳ Ｐゴシック"/>
                        </a:defRPr>
                      </a:lvl6pPr>
                      <a:lvl7pPr marL="2743200" algn="l" defTabSz="457200" rtl="0" eaLnBrk="1" latinLnBrk="0" hangingPunct="1">
                        <a:defRPr sz="1800" kern="1200">
                          <a:solidFill>
                            <a:schemeClr val="dk1"/>
                          </a:solidFill>
                          <a:latin typeface="Arial"/>
                          <a:ea typeface="ＭＳ Ｐゴシック"/>
                        </a:defRPr>
                      </a:lvl7pPr>
                      <a:lvl8pPr marL="3200400" algn="l" defTabSz="457200" rtl="0" eaLnBrk="1" latinLnBrk="0" hangingPunct="1">
                        <a:defRPr sz="1800" kern="1200">
                          <a:solidFill>
                            <a:schemeClr val="dk1"/>
                          </a:solidFill>
                          <a:latin typeface="Arial"/>
                          <a:ea typeface="ＭＳ Ｐゴシック"/>
                        </a:defRPr>
                      </a:lvl8pPr>
                      <a:lvl9pPr marL="3657600" algn="l" defTabSz="457200" rtl="0" eaLnBrk="1" latinLnBrk="0" hangingPunct="1">
                        <a:defRPr sz="1800" kern="1200">
                          <a:solidFill>
                            <a:schemeClr val="dk1"/>
                          </a:solidFill>
                          <a:latin typeface="Arial"/>
                          <a:ea typeface="ＭＳ Ｐゴシック"/>
                        </a:defRPr>
                      </a:lvl9pPr>
                    </a:lstStyle>
                    <a:p>
                      <a:pPr algn="ctr">
                        <a:lnSpc>
                          <a:spcPct val="80000"/>
                        </a:lnSpc>
                      </a:pPr>
                      <a:r>
                        <a:rPr lang="es-ES" sz="900" b="1">
                          <a:solidFill>
                            <a:srgbClr val="000000"/>
                          </a:solidFill>
                          <a:latin typeface="Calibri"/>
                          <a:cs typeface="Calibri"/>
                        </a:rPr>
                        <a:t>24</a:t>
                      </a:r>
                    </a:p>
                  </a:txBody>
                  <a:tcPr marL="68587" marR="68587" marT="34286" marB="342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10003"/>
                  </a:ext>
                </a:extLst>
              </a:tr>
            </a:tbl>
          </a:graphicData>
        </a:graphic>
      </p:graphicFrame>
      <p:sp>
        <p:nvSpPr>
          <p:cNvPr id="41" name="11 CuadroTexto">
            <a:extLst>
              <a:ext uri="{FF2B5EF4-FFF2-40B4-BE49-F238E27FC236}">
                <a16:creationId xmlns:a16="http://schemas.microsoft.com/office/drawing/2014/main" id="{3C16C450-CD8C-4D6E-94D7-2DDA9DC3B16C}"/>
              </a:ext>
            </a:extLst>
          </p:cNvPr>
          <p:cNvSpPr txBox="1">
            <a:spLocks noChangeArrowheads="1"/>
          </p:cNvSpPr>
          <p:nvPr/>
        </p:nvSpPr>
        <p:spPr bwMode="auto">
          <a:xfrm>
            <a:off x="5024054" y="2506964"/>
            <a:ext cx="62269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altLang="it-IT" sz="900" b="1" i="1" u="none" strike="noStrike" kern="1200" cap="none" spc="0" normalizeH="0" baseline="0" noProof="0">
                <a:ln>
                  <a:noFill/>
                </a:ln>
                <a:solidFill>
                  <a:srgbClr val="000000"/>
                </a:solidFill>
                <a:effectLst/>
                <a:uLnTx/>
                <a:uFillTx/>
                <a:latin typeface="Calibri"/>
                <a:ea typeface="ＭＳ Ｐゴシック"/>
                <a:cs typeface="Calibri"/>
              </a:rPr>
              <a:t>P</a:t>
            </a:r>
            <a:r>
              <a:rPr kumimoji="0" lang="es-ES" altLang="it-IT" sz="900" b="1" i="0" u="none" strike="noStrike" kern="1200" cap="none" spc="0" normalizeH="0" baseline="0" noProof="0">
                <a:ln>
                  <a:noFill/>
                </a:ln>
                <a:solidFill>
                  <a:srgbClr val="000000"/>
                </a:solidFill>
                <a:effectLst/>
                <a:uLnTx/>
                <a:uFillTx/>
                <a:latin typeface="Calibri"/>
                <a:ea typeface="ＭＳ Ｐゴシック"/>
                <a:cs typeface="Calibri"/>
              </a:rPr>
              <a:t> = .01</a:t>
            </a:r>
          </a:p>
        </p:txBody>
      </p:sp>
      <p:pic>
        <p:nvPicPr>
          <p:cNvPr id="42" name="Picture 20">
            <a:extLst>
              <a:ext uri="{FF2B5EF4-FFF2-40B4-BE49-F238E27FC236}">
                <a16:creationId xmlns:a16="http://schemas.microsoft.com/office/drawing/2014/main" id="{2FF11EEB-4762-3649-A7CB-4AE7D2148DC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624697" y="2974646"/>
            <a:ext cx="3065634" cy="1702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44" name="10 Tabla">
            <a:extLst>
              <a:ext uri="{FF2B5EF4-FFF2-40B4-BE49-F238E27FC236}">
                <a16:creationId xmlns:a16="http://schemas.microsoft.com/office/drawing/2014/main" id="{2041FB7C-27C3-EE45-896B-67A732C8DFBD}"/>
              </a:ext>
            </a:extLst>
          </p:cNvPr>
          <p:cNvGraphicFramePr>
            <a:graphicFrameLocks noGrp="1"/>
          </p:cNvGraphicFramePr>
          <p:nvPr/>
        </p:nvGraphicFramePr>
        <p:xfrm>
          <a:off x="6750657" y="3047671"/>
          <a:ext cx="1927594" cy="729074"/>
        </p:xfrm>
        <a:graphic>
          <a:graphicData uri="http://schemas.openxmlformats.org/drawingml/2006/table">
            <a:tbl>
              <a:tblPr firstRow="1" bandRow="1">
                <a:tableStyleId>{F2DE63D5-997A-4646-A377-4702673A728D}</a:tableStyleId>
              </a:tblPr>
              <a:tblGrid>
                <a:gridCol w="533536">
                  <a:extLst>
                    <a:ext uri="{9D8B030D-6E8A-4147-A177-3AD203B41FA5}">
                      <a16:colId xmlns:a16="http://schemas.microsoft.com/office/drawing/2014/main" val="20000"/>
                    </a:ext>
                  </a:extLst>
                </a:gridCol>
                <a:gridCol w="666287">
                  <a:extLst>
                    <a:ext uri="{9D8B030D-6E8A-4147-A177-3AD203B41FA5}">
                      <a16:colId xmlns:a16="http://schemas.microsoft.com/office/drawing/2014/main" val="20001"/>
                    </a:ext>
                  </a:extLst>
                </a:gridCol>
                <a:gridCol w="727771">
                  <a:extLst>
                    <a:ext uri="{9D8B030D-6E8A-4147-A177-3AD203B41FA5}">
                      <a16:colId xmlns:a16="http://schemas.microsoft.com/office/drawing/2014/main" val="20002"/>
                    </a:ext>
                  </a:extLst>
                </a:gridCol>
              </a:tblGrid>
              <a:tr h="185786">
                <a:tc>
                  <a:txBody>
                    <a:bodyPr/>
                    <a:lstStyle/>
                    <a:p>
                      <a:pPr>
                        <a:lnSpc>
                          <a:spcPct val="80000"/>
                        </a:lnSpc>
                      </a:pPr>
                      <a:endParaRPr lang="es-ES" sz="900">
                        <a:solidFill>
                          <a:srgbClr val="000000"/>
                        </a:solidFill>
                        <a:latin typeface="Calibri"/>
                        <a:cs typeface="Calibri"/>
                      </a:endParaRPr>
                    </a:p>
                  </a:txBody>
                  <a:tcPr marL="68564" marR="68564" marT="34303" marB="34303">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80000"/>
                        </a:lnSpc>
                      </a:pPr>
                      <a:r>
                        <a:rPr lang="es-ES" sz="900">
                          <a:solidFill>
                            <a:srgbClr val="000000"/>
                          </a:solidFill>
                          <a:latin typeface="Calibri"/>
                          <a:cs typeface="Calibri"/>
                        </a:rPr>
                        <a:t>mOS, mo</a:t>
                      </a: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80000"/>
                        </a:lnSpc>
                      </a:pPr>
                      <a:r>
                        <a:rPr lang="es-ES" sz="900">
                          <a:solidFill>
                            <a:srgbClr val="000000"/>
                          </a:solidFill>
                          <a:latin typeface="Calibri"/>
                          <a:cs typeface="Calibri"/>
                        </a:rPr>
                        <a:t>10-yr OS, %</a:t>
                      </a: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181096">
                <a:tc>
                  <a:txBody>
                    <a:bodyPr/>
                    <a:lstStyle/>
                    <a:p>
                      <a:pPr>
                        <a:lnSpc>
                          <a:spcPct val="80000"/>
                        </a:lnSpc>
                      </a:pPr>
                      <a:r>
                        <a:rPr lang="es-ES" sz="900">
                          <a:solidFill>
                            <a:srgbClr val="000000"/>
                          </a:solidFill>
                          <a:latin typeface="Calibri"/>
                          <a:cs typeface="Calibri"/>
                        </a:rPr>
                        <a:t>QT+V</a:t>
                      </a:r>
                      <a:endParaRPr lang="es-ES" sz="900" b="1">
                        <a:solidFill>
                          <a:srgbClr val="000000"/>
                        </a:solidFill>
                        <a:latin typeface="Calibri"/>
                        <a:cs typeface="Calibri"/>
                      </a:endParaRP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80000"/>
                        </a:lnSpc>
                      </a:pPr>
                      <a:r>
                        <a:rPr lang="es-ES" sz="900">
                          <a:solidFill>
                            <a:srgbClr val="000000"/>
                          </a:solidFill>
                          <a:latin typeface="Calibri"/>
                          <a:cs typeface="Calibri"/>
                        </a:rPr>
                        <a:t>93</a:t>
                      </a: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80000"/>
                        </a:lnSpc>
                      </a:pPr>
                      <a:r>
                        <a:rPr lang="es-ES" sz="900">
                          <a:solidFill>
                            <a:srgbClr val="000000"/>
                          </a:solidFill>
                          <a:latin typeface="Calibri"/>
                          <a:cs typeface="Calibri"/>
                        </a:rPr>
                        <a:t>33</a:t>
                      </a: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1"/>
                  </a:ext>
                </a:extLst>
              </a:tr>
              <a:tr h="181096">
                <a:tc>
                  <a:txBody>
                    <a:bodyPr/>
                    <a:lstStyle/>
                    <a:p>
                      <a:pPr>
                        <a:lnSpc>
                          <a:spcPct val="80000"/>
                        </a:lnSpc>
                      </a:pPr>
                      <a:r>
                        <a:rPr lang="es-ES" sz="900">
                          <a:solidFill>
                            <a:srgbClr val="000000"/>
                          </a:solidFill>
                          <a:latin typeface="Calibri"/>
                          <a:cs typeface="Calibri"/>
                        </a:rPr>
                        <a:t>TD</a:t>
                      </a:r>
                      <a:endParaRPr lang="es-ES" sz="900" b="1">
                        <a:solidFill>
                          <a:srgbClr val="000000"/>
                        </a:solidFill>
                        <a:latin typeface="Calibri"/>
                        <a:cs typeface="Calibri"/>
                      </a:endParaRP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80000"/>
                        </a:lnSpc>
                      </a:pPr>
                      <a:r>
                        <a:rPr lang="es-ES" sz="900">
                          <a:solidFill>
                            <a:srgbClr val="000000"/>
                          </a:solidFill>
                          <a:latin typeface="Calibri"/>
                          <a:cs typeface="Calibri"/>
                        </a:rPr>
                        <a:t>99</a:t>
                      </a: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80000"/>
                        </a:lnSpc>
                      </a:pPr>
                      <a:r>
                        <a:rPr lang="es-ES" sz="900">
                          <a:solidFill>
                            <a:srgbClr val="000000"/>
                          </a:solidFill>
                          <a:latin typeface="Calibri"/>
                          <a:cs typeface="Calibri"/>
                        </a:rPr>
                        <a:t>40</a:t>
                      </a: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2"/>
                  </a:ext>
                </a:extLst>
              </a:tr>
              <a:tr h="181096">
                <a:tc>
                  <a:txBody>
                    <a:bodyPr/>
                    <a:lstStyle/>
                    <a:p>
                      <a:pPr>
                        <a:lnSpc>
                          <a:spcPct val="80000"/>
                        </a:lnSpc>
                      </a:pPr>
                      <a:r>
                        <a:rPr lang="es-ES" sz="900" b="1">
                          <a:solidFill>
                            <a:srgbClr val="000000"/>
                          </a:solidFill>
                          <a:latin typeface="Calibri"/>
                          <a:cs typeface="Calibri"/>
                        </a:rPr>
                        <a:t>VTD</a:t>
                      </a: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66"/>
                    </a:solidFill>
                  </a:tcPr>
                </a:tc>
                <a:tc>
                  <a:txBody>
                    <a:bodyPr/>
                    <a:lstStyle/>
                    <a:p>
                      <a:pPr algn="ctr">
                        <a:lnSpc>
                          <a:spcPct val="80000"/>
                        </a:lnSpc>
                      </a:pPr>
                      <a:r>
                        <a:rPr lang="es-ES" sz="900" b="1">
                          <a:solidFill>
                            <a:srgbClr val="000000"/>
                          </a:solidFill>
                          <a:latin typeface="Calibri"/>
                          <a:cs typeface="Calibri"/>
                        </a:rPr>
                        <a:t>128</a:t>
                      </a: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66"/>
                    </a:solidFill>
                  </a:tcPr>
                </a:tc>
                <a:tc>
                  <a:txBody>
                    <a:bodyPr/>
                    <a:lstStyle/>
                    <a:p>
                      <a:pPr algn="ctr">
                        <a:lnSpc>
                          <a:spcPct val="80000"/>
                        </a:lnSpc>
                      </a:pPr>
                      <a:r>
                        <a:rPr lang="es-ES" sz="900" b="1">
                          <a:solidFill>
                            <a:srgbClr val="000000"/>
                          </a:solidFill>
                          <a:latin typeface="Calibri"/>
                          <a:cs typeface="Calibri"/>
                        </a:rPr>
                        <a:t>51</a:t>
                      </a:r>
                    </a:p>
                  </a:txBody>
                  <a:tcPr marL="68564" marR="68564" marT="34303" marB="343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66"/>
                    </a:solidFill>
                  </a:tcPr>
                </a:tc>
                <a:extLst>
                  <a:ext uri="{0D108BD9-81ED-4DB2-BD59-A6C34878D82A}">
                    <a16:rowId xmlns:a16="http://schemas.microsoft.com/office/drawing/2014/main" val="10003"/>
                  </a:ext>
                </a:extLst>
              </a:tr>
            </a:tbl>
          </a:graphicData>
        </a:graphic>
      </p:graphicFrame>
      <p:sp>
        <p:nvSpPr>
          <p:cNvPr id="45" name="7 CuadroTexto">
            <a:extLst>
              <a:ext uri="{FF2B5EF4-FFF2-40B4-BE49-F238E27FC236}">
                <a16:creationId xmlns:a16="http://schemas.microsoft.com/office/drawing/2014/main" id="{924E16D1-AA13-F44E-B0EE-30B015E08021}"/>
              </a:ext>
            </a:extLst>
          </p:cNvPr>
          <p:cNvSpPr txBox="1">
            <a:spLocks noChangeArrowheads="1"/>
          </p:cNvSpPr>
          <p:nvPr/>
        </p:nvSpPr>
        <p:spPr bwMode="auto">
          <a:xfrm>
            <a:off x="5024068" y="4546120"/>
            <a:ext cx="484428"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altLang="it-IT" sz="825" b="1" i="1" u="none" strike="noStrike" kern="1200" cap="none" spc="0" normalizeH="0" baseline="0" noProof="0">
                <a:ln>
                  <a:noFill/>
                </a:ln>
                <a:solidFill>
                  <a:srgbClr val="000000"/>
                </a:solidFill>
                <a:effectLst/>
                <a:uLnTx/>
                <a:uFillTx/>
                <a:latin typeface="Calibri"/>
                <a:ea typeface="ＭＳ Ｐゴシック"/>
                <a:cs typeface="Calibri"/>
              </a:rPr>
              <a:t>P  </a:t>
            </a:r>
            <a:r>
              <a:rPr kumimoji="0" lang="es-ES" altLang="it-IT" sz="825" b="1" i="0" u="none" strike="noStrike" kern="1200" cap="none" spc="0" normalizeH="0" baseline="0" noProof="0">
                <a:ln>
                  <a:noFill/>
                </a:ln>
                <a:solidFill>
                  <a:srgbClr val="000000"/>
                </a:solidFill>
                <a:effectLst/>
                <a:uLnTx/>
                <a:uFillTx/>
                <a:latin typeface="Calibri"/>
                <a:ea typeface="ＭＳ Ｐゴシック"/>
                <a:cs typeface="Calibri"/>
              </a:rPr>
              <a:t>= NS</a:t>
            </a:r>
          </a:p>
        </p:txBody>
      </p:sp>
      <p:sp>
        <p:nvSpPr>
          <p:cNvPr id="3" name="CuadroTexto 2"/>
          <p:cNvSpPr txBox="1"/>
          <p:nvPr/>
        </p:nvSpPr>
        <p:spPr>
          <a:xfrm>
            <a:off x="1528861" y="875102"/>
            <a:ext cx="2444750" cy="47551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s-ES" sz="1500" b="1" i="0" u="none" strike="noStrike" kern="1200" cap="none" spc="0" normalizeH="0" baseline="0" noProof="0">
                <a:ln>
                  <a:noFill/>
                </a:ln>
                <a:solidFill>
                  <a:srgbClr val="000000"/>
                </a:solidFill>
                <a:effectLst/>
                <a:uLnTx/>
                <a:uFillTx/>
                <a:latin typeface="Calibri"/>
                <a:ea typeface="+mn-ea"/>
                <a:cs typeface="Calibri"/>
              </a:rPr>
              <a:t>GIMEMA study</a:t>
            </a:r>
            <a:r>
              <a:rPr kumimoji="0" lang="es-ES" sz="1500" b="1" i="0" u="none" strike="noStrike" kern="1200" cap="none" spc="0" normalizeH="0" baseline="30000" noProof="0">
                <a:ln>
                  <a:noFill/>
                </a:ln>
                <a:solidFill>
                  <a:srgbClr val="000000"/>
                </a:solidFill>
                <a:effectLst/>
                <a:uLnTx/>
                <a:uFillTx/>
                <a:latin typeface="Calibri"/>
                <a:ea typeface="+mn-ea"/>
                <a:cs typeface="Calibri"/>
              </a:rPr>
              <a:t>2</a:t>
            </a: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s-ES" sz="825" b="1" i="0" u="none" strike="noStrike" kern="1200" cap="none" spc="0" normalizeH="0" baseline="0" noProof="0">
                <a:ln>
                  <a:noFill/>
                </a:ln>
                <a:solidFill>
                  <a:srgbClr val="000000"/>
                </a:solidFill>
                <a:effectLst/>
                <a:uLnTx/>
                <a:uFillTx/>
                <a:latin typeface="Calibri"/>
                <a:ea typeface="+mn-ea"/>
                <a:cs typeface="Calibri"/>
              </a:rPr>
              <a:t>Median fu 124 months</a:t>
            </a:r>
          </a:p>
        </p:txBody>
      </p:sp>
    </p:spTree>
    <p:extLst>
      <p:ext uri="{BB962C8B-B14F-4D97-AF65-F5344CB8AC3E}">
        <p14:creationId xmlns:p14="http://schemas.microsoft.com/office/powerpoint/2010/main" val="36606050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47 CuadroTexto">
            <a:extLst>
              <a:ext uri="{FF2B5EF4-FFF2-40B4-BE49-F238E27FC236}">
                <a16:creationId xmlns:a16="http://schemas.microsoft.com/office/drawing/2014/main" id="{AAD0EA4D-A286-3144-8746-994602446757}"/>
              </a:ext>
            </a:extLst>
          </p:cNvPr>
          <p:cNvSpPr txBox="1">
            <a:spLocks noChangeArrowheads="1"/>
          </p:cNvSpPr>
          <p:nvPr/>
        </p:nvSpPr>
        <p:spPr bwMode="auto">
          <a:xfrm>
            <a:off x="179014" y="197002"/>
            <a:ext cx="8964986" cy="4047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charset="0"/>
                <a:ea typeface="ＭＳ Ｐゴシック" charset="0"/>
                <a:cs typeface="ＭＳ Ｐゴシック" charset="0"/>
              </a:defRPr>
            </a:lvl1pPr>
            <a:lvl2pPr marL="742950" indent="-285750" eaLnBrk="0" hangingPunct="0">
              <a:defRPr sz="2800" b="1">
                <a:solidFill>
                  <a:schemeClr val="tx1"/>
                </a:solidFill>
                <a:latin typeface="Arial" charset="0"/>
                <a:ea typeface="ＭＳ Ｐゴシック" charset="0"/>
              </a:defRPr>
            </a:lvl2pPr>
            <a:lvl3pPr marL="1143000" indent="-228600" eaLnBrk="0" hangingPunct="0">
              <a:defRPr sz="2800" b="1">
                <a:solidFill>
                  <a:schemeClr val="tx1"/>
                </a:solidFill>
                <a:latin typeface="Arial" charset="0"/>
                <a:ea typeface="ＭＳ Ｐゴシック" charset="0"/>
              </a:defRPr>
            </a:lvl3pPr>
            <a:lvl4pPr marL="1600200" indent="-228600" eaLnBrk="0" hangingPunct="0">
              <a:defRPr sz="2800" b="1">
                <a:solidFill>
                  <a:schemeClr val="tx1"/>
                </a:solidFill>
                <a:latin typeface="Arial" charset="0"/>
                <a:ea typeface="ＭＳ Ｐゴシック" charset="0"/>
              </a:defRPr>
            </a:lvl4pPr>
            <a:lvl5pPr marL="2057400" indent="-228600" eaLnBrk="0" hangingPunct="0">
              <a:defRPr sz="2800" b="1">
                <a:solidFill>
                  <a:schemeClr val="tx1"/>
                </a:solidFill>
                <a:latin typeface="Arial" charset="0"/>
                <a:ea typeface="ＭＳ Ｐゴシック" charset="0"/>
              </a:defRPr>
            </a:lvl5pPr>
            <a:lvl6pPr marL="2514600" indent="-228600" eaLnBrk="0" fontAlgn="base" hangingPunct="0">
              <a:spcBef>
                <a:spcPct val="0"/>
              </a:spcBef>
              <a:spcAft>
                <a:spcPct val="0"/>
              </a:spcAft>
              <a:defRPr sz="2800" b="1">
                <a:solidFill>
                  <a:schemeClr val="tx1"/>
                </a:solidFill>
                <a:latin typeface="Arial" charset="0"/>
                <a:ea typeface="ＭＳ Ｐゴシック" charset="0"/>
              </a:defRPr>
            </a:lvl6pPr>
            <a:lvl7pPr marL="2971800" indent="-228600" eaLnBrk="0" fontAlgn="base" hangingPunct="0">
              <a:spcBef>
                <a:spcPct val="0"/>
              </a:spcBef>
              <a:spcAft>
                <a:spcPct val="0"/>
              </a:spcAft>
              <a:defRPr sz="2800" b="1">
                <a:solidFill>
                  <a:schemeClr val="tx1"/>
                </a:solidFill>
                <a:latin typeface="Arial" charset="0"/>
                <a:ea typeface="ＭＳ Ｐゴシック" charset="0"/>
              </a:defRPr>
            </a:lvl7pPr>
            <a:lvl8pPr marL="3429000" indent="-228600" eaLnBrk="0" fontAlgn="base" hangingPunct="0">
              <a:spcBef>
                <a:spcPct val="0"/>
              </a:spcBef>
              <a:spcAft>
                <a:spcPct val="0"/>
              </a:spcAft>
              <a:defRPr sz="2800" b="1">
                <a:solidFill>
                  <a:schemeClr val="tx1"/>
                </a:solidFill>
                <a:latin typeface="Arial" charset="0"/>
                <a:ea typeface="ＭＳ Ｐゴシック" charset="0"/>
              </a:defRPr>
            </a:lvl8pPr>
            <a:lvl9pPr marL="3886200" indent="-228600" eaLnBrk="0" fontAlgn="base" hangingPunct="0">
              <a:spcBef>
                <a:spcPct val="0"/>
              </a:spcBef>
              <a:spcAft>
                <a:spcPct val="0"/>
              </a:spcAft>
              <a:defRPr sz="2800" b="1">
                <a:solidFill>
                  <a:schemeClr val="tx1"/>
                </a:solidFill>
                <a:latin typeface="Arial" charset="0"/>
                <a:ea typeface="ＭＳ Ｐゴシック"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30" b="1" i="0" u="none" strike="noStrike" kern="1200" cap="none" spc="0" normalizeH="0" baseline="0" noProof="0">
                <a:ln>
                  <a:noFill/>
                </a:ln>
                <a:solidFill>
                  <a:srgbClr val="595454"/>
                </a:solidFill>
                <a:effectLst/>
                <a:uLnTx/>
                <a:uFillTx/>
                <a:latin typeface="Trebuchet MS"/>
                <a:ea typeface="ＭＳ Ｐゴシック" charset="0"/>
                <a:cs typeface="Calibri"/>
              </a:rPr>
              <a:t>VTD-Dara vs VTD in NDMM transplant-eligible: Phase III CASSIOPEIA trial</a:t>
            </a:r>
          </a:p>
        </p:txBody>
      </p:sp>
      <p:pic>
        <p:nvPicPr>
          <p:cNvPr id="2" name="Imagen 1">
            <a:extLst>
              <a:ext uri="{FF2B5EF4-FFF2-40B4-BE49-F238E27FC236}">
                <a16:creationId xmlns:a16="http://schemas.microsoft.com/office/drawing/2014/main" id="{EAE4B778-39F0-664B-8F02-994E5877BE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12811" y="687454"/>
            <a:ext cx="3888432" cy="1946337"/>
          </a:xfrm>
          <a:prstGeom prst="rect">
            <a:avLst/>
          </a:prstGeom>
        </p:spPr>
      </p:pic>
      <p:pic>
        <p:nvPicPr>
          <p:cNvPr id="4" name="Imagen 3">
            <a:extLst>
              <a:ext uri="{FF2B5EF4-FFF2-40B4-BE49-F238E27FC236}">
                <a16:creationId xmlns:a16="http://schemas.microsoft.com/office/drawing/2014/main" id="{1740CD36-1313-6540-AA80-5DE5D69A1316}"/>
              </a:ext>
            </a:extLst>
          </p:cNvPr>
          <p:cNvPicPr>
            <a:picLocks noChangeAspect="1"/>
          </p:cNvPicPr>
          <p:nvPr/>
        </p:nvPicPr>
        <p:blipFill>
          <a:blip r:embed="rId3"/>
          <a:stretch>
            <a:fillRect/>
          </a:stretch>
        </p:blipFill>
        <p:spPr>
          <a:xfrm>
            <a:off x="5320949" y="2719517"/>
            <a:ext cx="3470316" cy="1908085"/>
          </a:xfrm>
          <a:prstGeom prst="rect">
            <a:avLst/>
          </a:prstGeom>
        </p:spPr>
      </p:pic>
      <p:grpSp>
        <p:nvGrpSpPr>
          <p:cNvPr id="8" name="Group 7">
            <a:extLst>
              <a:ext uri="{FF2B5EF4-FFF2-40B4-BE49-F238E27FC236}">
                <a16:creationId xmlns:a16="http://schemas.microsoft.com/office/drawing/2014/main" id="{4611D4E1-8BAB-4BAD-A62D-3D87AA0B2761}"/>
              </a:ext>
            </a:extLst>
          </p:cNvPr>
          <p:cNvGrpSpPr/>
          <p:nvPr/>
        </p:nvGrpSpPr>
        <p:grpSpPr>
          <a:xfrm>
            <a:off x="112244" y="1137037"/>
            <a:ext cx="4720372" cy="2997166"/>
            <a:chOff x="-16835" y="2242626"/>
            <a:chExt cx="10017196" cy="2927777"/>
          </a:xfrm>
        </p:grpSpPr>
        <p:grpSp>
          <p:nvGrpSpPr>
            <p:cNvPr id="9" name="Group 8">
              <a:extLst>
                <a:ext uri="{FF2B5EF4-FFF2-40B4-BE49-F238E27FC236}">
                  <a16:creationId xmlns:a16="http://schemas.microsoft.com/office/drawing/2014/main" id="{15FC8DFF-0F5E-4A53-86DB-CC16E179D8EC}"/>
                </a:ext>
              </a:extLst>
            </p:cNvPr>
            <p:cNvGrpSpPr/>
            <p:nvPr/>
          </p:nvGrpSpPr>
          <p:grpSpPr>
            <a:xfrm>
              <a:off x="-16835" y="2242626"/>
              <a:ext cx="10017196" cy="2852899"/>
              <a:chOff x="-18989" y="2092599"/>
              <a:chExt cx="11872234" cy="3381213"/>
            </a:xfrm>
          </p:grpSpPr>
          <p:grpSp>
            <p:nvGrpSpPr>
              <p:cNvPr id="20" name="Group 19">
                <a:extLst>
                  <a:ext uri="{FF2B5EF4-FFF2-40B4-BE49-F238E27FC236}">
                    <a16:creationId xmlns:a16="http://schemas.microsoft.com/office/drawing/2014/main" id="{4AA2A045-5C95-4342-B0BA-522DE4314973}"/>
                  </a:ext>
                </a:extLst>
              </p:cNvPr>
              <p:cNvGrpSpPr/>
              <p:nvPr/>
            </p:nvGrpSpPr>
            <p:grpSpPr>
              <a:xfrm>
                <a:off x="-18989" y="2092600"/>
                <a:ext cx="8953133" cy="3381212"/>
                <a:chOff x="22929" y="3592562"/>
                <a:chExt cx="17908597" cy="6763307"/>
              </a:xfrm>
            </p:grpSpPr>
            <p:cxnSp>
              <p:nvCxnSpPr>
                <p:cNvPr id="31" name="Straight Arrow Connector 30">
                  <a:extLst>
                    <a:ext uri="{FF2B5EF4-FFF2-40B4-BE49-F238E27FC236}">
                      <a16:creationId xmlns:a16="http://schemas.microsoft.com/office/drawing/2014/main" id="{D3B4E367-054D-4106-ADD4-71112EAADAD1}"/>
                    </a:ext>
                  </a:extLst>
                </p:cNvPr>
                <p:cNvCxnSpPr/>
                <p:nvPr/>
              </p:nvCxnSpPr>
              <p:spPr bwMode="auto">
                <a:xfrm>
                  <a:off x="11007244" y="5846508"/>
                  <a:ext cx="707729" cy="0"/>
                </a:xfrm>
                <a:prstGeom prst="straightConnector1">
                  <a:avLst/>
                </a:prstGeom>
                <a:noFill/>
                <a:ln w="25400" cap="flat" cmpd="sng" algn="ctr">
                  <a:solidFill>
                    <a:schemeClr val="bg1"/>
                  </a:solidFill>
                  <a:prstDash val="solid"/>
                  <a:headEnd type="none" w="med" len="med"/>
                  <a:tailEnd type="triangle"/>
                </a:ln>
                <a:effectLst/>
              </p:spPr>
            </p:cxnSp>
            <p:cxnSp>
              <p:nvCxnSpPr>
                <p:cNvPr id="32" name="Straight Arrow Connector 31">
                  <a:extLst>
                    <a:ext uri="{FF2B5EF4-FFF2-40B4-BE49-F238E27FC236}">
                      <a16:creationId xmlns:a16="http://schemas.microsoft.com/office/drawing/2014/main" id="{A01F46B0-11B3-4760-9A77-6ACE5DADB51B}"/>
                    </a:ext>
                  </a:extLst>
                </p:cNvPr>
                <p:cNvCxnSpPr/>
                <p:nvPr/>
              </p:nvCxnSpPr>
              <p:spPr bwMode="auto">
                <a:xfrm>
                  <a:off x="11007243" y="8336495"/>
                  <a:ext cx="707729" cy="0"/>
                </a:xfrm>
                <a:prstGeom prst="straightConnector1">
                  <a:avLst/>
                </a:prstGeom>
                <a:noFill/>
                <a:ln w="25400" cap="flat" cmpd="sng" algn="ctr">
                  <a:solidFill>
                    <a:schemeClr val="bg1"/>
                  </a:solidFill>
                  <a:prstDash val="solid"/>
                  <a:headEnd type="none" w="med" len="med"/>
                  <a:tailEnd type="triangle"/>
                </a:ln>
                <a:effectLst/>
              </p:spPr>
            </p:cxnSp>
            <p:cxnSp>
              <p:nvCxnSpPr>
                <p:cNvPr id="33" name="Straight Arrow Connector 32">
                  <a:extLst>
                    <a:ext uri="{FF2B5EF4-FFF2-40B4-BE49-F238E27FC236}">
                      <a16:creationId xmlns:a16="http://schemas.microsoft.com/office/drawing/2014/main" id="{ED7B47A4-BE21-406D-851F-D748BCD81D27}"/>
                    </a:ext>
                  </a:extLst>
                </p:cNvPr>
                <p:cNvCxnSpPr/>
                <p:nvPr/>
              </p:nvCxnSpPr>
              <p:spPr bwMode="auto">
                <a:xfrm>
                  <a:off x="10133794" y="8336495"/>
                  <a:ext cx="707729" cy="0"/>
                </a:xfrm>
                <a:prstGeom prst="straightConnector1">
                  <a:avLst/>
                </a:prstGeom>
                <a:noFill/>
                <a:ln w="25400" cap="flat" cmpd="sng" algn="ctr">
                  <a:solidFill>
                    <a:schemeClr val="bg1"/>
                  </a:solidFill>
                  <a:prstDash val="solid"/>
                  <a:headEnd type="none" w="med" len="med"/>
                  <a:tailEnd type="triangle"/>
                </a:ln>
                <a:effectLst/>
              </p:spPr>
            </p:cxnSp>
            <p:cxnSp>
              <p:nvCxnSpPr>
                <p:cNvPr id="34" name="Straight Arrow Connector 33">
                  <a:extLst>
                    <a:ext uri="{FF2B5EF4-FFF2-40B4-BE49-F238E27FC236}">
                      <a16:creationId xmlns:a16="http://schemas.microsoft.com/office/drawing/2014/main" id="{F51FB8DC-F749-48FC-9A1C-E90DFA504BE8}"/>
                    </a:ext>
                  </a:extLst>
                </p:cNvPr>
                <p:cNvCxnSpPr/>
                <p:nvPr/>
              </p:nvCxnSpPr>
              <p:spPr bwMode="auto">
                <a:xfrm>
                  <a:off x="10180161" y="5837760"/>
                  <a:ext cx="707729" cy="0"/>
                </a:xfrm>
                <a:prstGeom prst="straightConnector1">
                  <a:avLst/>
                </a:prstGeom>
                <a:noFill/>
                <a:ln w="25400" cap="flat" cmpd="sng" algn="ctr">
                  <a:solidFill>
                    <a:schemeClr val="bg1"/>
                  </a:solidFill>
                  <a:prstDash val="solid"/>
                  <a:headEnd type="none" w="med" len="med"/>
                  <a:tailEnd type="triangle"/>
                </a:ln>
                <a:effectLst/>
              </p:spPr>
            </p:cxnSp>
            <p:cxnSp>
              <p:nvCxnSpPr>
                <p:cNvPr id="35" name="Straight Arrow Connector 34">
                  <a:extLst>
                    <a:ext uri="{FF2B5EF4-FFF2-40B4-BE49-F238E27FC236}">
                      <a16:creationId xmlns:a16="http://schemas.microsoft.com/office/drawing/2014/main" id="{7E060CF8-04ED-4199-95A0-4D05252B2365}"/>
                    </a:ext>
                  </a:extLst>
                </p:cNvPr>
                <p:cNvCxnSpPr>
                  <a:cxnSpLocks/>
                </p:cNvCxnSpPr>
                <p:nvPr/>
              </p:nvCxnSpPr>
              <p:spPr bwMode="auto">
                <a:xfrm>
                  <a:off x="4738404" y="6940747"/>
                  <a:ext cx="420726" cy="1413997"/>
                </a:xfrm>
                <a:prstGeom prst="straightConnector1">
                  <a:avLst/>
                </a:prstGeom>
                <a:noFill/>
                <a:ln w="25400" cap="flat" cmpd="sng" algn="ctr">
                  <a:solidFill>
                    <a:schemeClr val="bg1"/>
                  </a:solidFill>
                  <a:prstDash val="solid"/>
                  <a:headEnd type="none" w="med" len="med"/>
                  <a:tailEnd type="triangle"/>
                </a:ln>
                <a:effectLst/>
              </p:spPr>
            </p:cxnSp>
            <p:cxnSp>
              <p:nvCxnSpPr>
                <p:cNvPr id="36" name="Straight Arrow Connector 35">
                  <a:extLst>
                    <a:ext uri="{FF2B5EF4-FFF2-40B4-BE49-F238E27FC236}">
                      <a16:creationId xmlns:a16="http://schemas.microsoft.com/office/drawing/2014/main" id="{F0D3F980-0CFC-4384-9DF7-6BFD8B68C00C}"/>
                    </a:ext>
                  </a:extLst>
                </p:cNvPr>
                <p:cNvCxnSpPr>
                  <a:cxnSpLocks/>
                </p:cNvCxnSpPr>
                <p:nvPr/>
              </p:nvCxnSpPr>
              <p:spPr bwMode="auto">
                <a:xfrm flipV="1">
                  <a:off x="4738404" y="5689721"/>
                  <a:ext cx="395718" cy="1251026"/>
                </a:xfrm>
                <a:prstGeom prst="straightConnector1">
                  <a:avLst/>
                </a:prstGeom>
                <a:noFill/>
                <a:ln w="25400" cap="flat" cmpd="sng" algn="ctr">
                  <a:solidFill>
                    <a:schemeClr val="bg1"/>
                  </a:solidFill>
                  <a:prstDash val="solid"/>
                  <a:headEnd type="none" w="med" len="med"/>
                  <a:tailEnd type="triangle"/>
                </a:ln>
                <a:effectLst/>
              </p:spPr>
            </p:cxnSp>
            <p:cxnSp>
              <p:nvCxnSpPr>
                <p:cNvPr id="37" name="Straight Arrow Connector 36">
                  <a:extLst>
                    <a:ext uri="{FF2B5EF4-FFF2-40B4-BE49-F238E27FC236}">
                      <a16:creationId xmlns:a16="http://schemas.microsoft.com/office/drawing/2014/main" id="{0383CDFD-DDF0-4AE2-9027-BB87F127924C}"/>
                    </a:ext>
                  </a:extLst>
                </p:cNvPr>
                <p:cNvCxnSpPr/>
                <p:nvPr/>
              </p:nvCxnSpPr>
              <p:spPr bwMode="auto">
                <a:xfrm>
                  <a:off x="16866828" y="8404332"/>
                  <a:ext cx="707729" cy="0"/>
                </a:xfrm>
                <a:prstGeom prst="straightConnector1">
                  <a:avLst/>
                </a:prstGeom>
                <a:noFill/>
                <a:ln w="25400" cap="flat" cmpd="sng" algn="ctr">
                  <a:solidFill>
                    <a:schemeClr val="bg1"/>
                  </a:solidFill>
                  <a:prstDash val="solid"/>
                  <a:headEnd type="none" w="med" len="med"/>
                  <a:tailEnd type="triangle"/>
                </a:ln>
                <a:effectLst/>
              </p:spPr>
            </p:cxnSp>
            <p:cxnSp>
              <p:nvCxnSpPr>
                <p:cNvPr id="38" name="Straight Arrow Connector 37">
                  <a:extLst>
                    <a:ext uri="{FF2B5EF4-FFF2-40B4-BE49-F238E27FC236}">
                      <a16:creationId xmlns:a16="http://schemas.microsoft.com/office/drawing/2014/main" id="{0654D604-01A1-420A-B949-6CD56C468C8F}"/>
                    </a:ext>
                  </a:extLst>
                </p:cNvPr>
                <p:cNvCxnSpPr/>
                <p:nvPr/>
              </p:nvCxnSpPr>
              <p:spPr bwMode="auto">
                <a:xfrm>
                  <a:off x="16857718" y="5884904"/>
                  <a:ext cx="707729" cy="0"/>
                </a:xfrm>
                <a:prstGeom prst="straightConnector1">
                  <a:avLst/>
                </a:prstGeom>
                <a:noFill/>
                <a:ln w="25400" cap="flat" cmpd="sng" algn="ctr">
                  <a:solidFill>
                    <a:schemeClr val="bg1"/>
                  </a:solidFill>
                  <a:prstDash val="solid"/>
                  <a:headEnd type="none" w="med" len="med"/>
                  <a:tailEnd type="triangle"/>
                </a:ln>
                <a:effectLst/>
              </p:spPr>
            </p:cxnSp>
            <p:cxnSp>
              <p:nvCxnSpPr>
                <p:cNvPr id="39" name="Straight Connector 38">
                  <a:extLst>
                    <a:ext uri="{FF2B5EF4-FFF2-40B4-BE49-F238E27FC236}">
                      <a16:creationId xmlns:a16="http://schemas.microsoft.com/office/drawing/2014/main" id="{83CCAF91-1EC8-4BEC-B16B-023BBE623F72}"/>
                    </a:ext>
                  </a:extLst>
                </p:cNvPr>
                <p:cNvCxnSpPr/>
                <p:nvPr/>
              </p:nvCxnSpPr>
              <p:spPr bwMode="auto">
                <a:xfrm>
                  <a:off x="4415845" y="9961918"/>
                  <a:ext cx="0" cy="393951"/>
                </a:xfrm>
                <a:prstGeom prst="line">
                  <a:avLst/>
                </a:prstGeom>
                <a:solidFill>
                  <a:srgbClr val="1E9FA2"/>
                </a:solidFill>
                <a:ln w="25400" cap="flat" cmpd="sng" algn="ctr">
                  <a:solidFill>
                    <a:schemeClr val="bg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A97B154B-DE8D-444D-9C7A-1C79B8084402}"/>
                    </a:ext>
                  </a:extLst>
                </p:cNvPr>
                <p:cNvCxnSpPr/>
                <p:nvPr/>
              </p:nvCxnSpPr>
              <p:spPr bwMode="auto">
                <a:xfrm>
                  <a:off x="4396644" y="10158891"/>
                  <a:ext cx="13534882" cy="0"/>
                </a:xfrm>
                <a:prstGeom prst="line">
                  <a:avLst/>
                </a:prstGeom>
                <a:solidFill>
                  <a:srgbClr val="1E9FA2"/>
                </a:solidFill>
                <a:ln w="25400"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BACE7C21-1F1A-4E87-BB20-2277527FADA2}"/>
                    </a:ext>
                  </a:extLst>
                </p:cNvPr>
                <p:cNvCxnSpPr/>
                <p:nvPr/>
              </p:nvCxnSpPr>
              <p:spPr bwMode="auto">
                <a:xfrm>
                  <a:off x="17929360" y="9941452"/>
                  <a:ext cx="0" cy="393951"/>
                </a:xfrm>
                <a:prstGeom prst="line">
                  <a:avLst/>
                </a:prstGeom>
                <a:solidFill>
                  <a:srgbClr val="1E9FA2"/>
                </a:solidFill>
                <a:ln w="25400" cap="flat" cmpd="sng" algn="ctr">
                  <a:solidFill>
                    <a:schemeClr val="bg1"/>
                  </a:solidFill>
                  <a:prstDash val="solid"/>
                  <a:round/>
                  <a:headEnd type="none" w="med" len="med"/>
                  <a:tailEnd type="none" w="med" len="med"/>
                </a:ln>
                <a:effectLst/>
              </p:spPr>
            </p:cxnSp>
            <p:sp>
              <p:nvSpPr>
                <p:cNvPr id="42" name="Rectangle: Diagonal Corners Rounded 41">
                  <a:extLst>
                    <a:ext uri="{FF2B5EF4-FFF2-40B4-BE49-F238E27FC236}">
                      <a16:creationId xmlns:a16="http://schemas.microsoft.com/office/drawing/2014/main" id="{8AE4D32C-BFE3-4962-B2B0-633D6A3DB70F}"/>
                    </a:ext>
                  </a:extLst>
                </p:cNvPr>
                <p:cNvSpPr/>
                <p:nvPr/>
              </p:nvSpPr>
              <p:spPr bwMode="auto">
                <a:xfrm>
                  <a:off x="22929" y="4628299"/>
                  <a:ext cx="3924830" cy="4599308"/>
                </a:xfrm>
                <a:prstGeom prst="round2DiagRect">
                  <a:avLst>
                    <a:gd name="adj1" fmla="val 11774"/>
                    <a:gd name="adj2" fmla="val 0"/>
                  </a:avLst>
                </a:prstGeom>
                <a:solidFill>
                  <a:srgbClr val="5C5C5C"/>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 tIns="9144" rIns="9144" bIns="9144" numCol="1" rtlCol="0" anchor="ctr" anchorCtr="0" compatLnSpc="1">
                  <a:prstTxWarp prst="textNoShape">
                    <a:avLst/>
                  </a:prstTxWarp>
                </a:bodyPr>
                <a:lstStyle/>
                <a:p>
                  <a:pPr marL="0" marR="0" lvl="0" indent="0" algn="ctr" defTabSz="57857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endParaRPr>
                </a:p>
                <a:p>
                  <a:pPr marL="0" marR="0" lvl="0" indent="0" algn="ctr" defTabSz="57857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endParaRPr>
                </a:p>
                <a:p>
                  <a:pPr marL="0" marR="0" lvl="0" indent="0" algn="ctr" defTabSz="578570" rtl="0" eaLnBrk="1" fontAlgn="auto" latinLnBrk="0" hangingPunct="1">
                    <a:lnSpc>
                      <a:spcPct val="100000"/>
                    </a:lnSpc>
                    <a:spcBef>
                      <a:spcPts val="0"/>
                    </a:spcBef>
                    <a:spcAft>
                      <a:spcPts val="506"/>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rPr>
                    <a:t>Key eligibility criteria</a:t>
                  </a:r>
                </a:p>
                <a:p>
                  <a:pPr marL="174625" marR="0" lvl="0" indent="-93663" algn="l" defTabSz="5785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rPr>
                    <a:t>Transplant-eligible NDMM</a:t>
                  </a:r>
                </a:p>
                <a:p>
                  <a:pPr marL="174625" marR="0" lvl="0" indent="-93663" algn="l" defTabSz="5785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rPr>
                    <a:t>18</a:t>
                  </a:r>
                  <a:r>
                    <a:rPr kumimoji="0" lang="en-US" sz="700" b="0" i="0" u="none" strike="noStrike" kern="0" cap="none" spc="0" normalizeH="0" baseline="0" noProof="0" dirty="0">
                      <a:ln>
                        <a:noFill/>
                      </a:ln>
                      <a:solidFill>
                        <a:srgbClr val="FFFFFF"/>
                      </a:solidFill>
                      <a:effectLst/>
                      <a:uLnTx/>
                      <a:uFillTx/>
                      <a:latin typeface="Arial" panose="020B0604020202020204" pitchFamily="34" charset="0"/>
                      <a:ea typeface="Arial" charset="0"/>
                      <a:cs typeface="Arial" panose="020B0604020202020204" pitchFamily="34" charset="0"/>
                    </a:rPr>
                    <a:t>–</a:t>
                  </a:r>
                  <a:r>
                    <a:rPr kumimoji="0" lang="en-US" sz="700" b="0"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rPr>
                    <a:t>65 years</a:t>
                  </a:r>
                </a:p>
                <a:p>
                  <a:pPr marL="174625" marR="0" lvl="0" indent="-93663" algn="l" defTabSz="5785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rPr>
                    <a:t>ECOG 0</a:t>
                  </a:r>
                  <a:r>
                    <a:rPr kumimoji="0" lang="en-US" sz="700" b="0" i="0" u="none" strike="noStrike" kern="0" cap="none" spc="0" normalizeH="0" baseline="0" noProof="0" dirty="0">
                      <a:ln>
                        <a:noFill/>
                      </a:ln>
                      <a:solidFill>
                        <a:srgbClr val="FFFFFF"/>
                      </a:solidFill>
                      <a:effectLst/>
                      <a:uLnTx/>
                      <a:uFillTx/>
                      <a:latin typeface="Arial" panose="020B0604020202020204" pitchFamily="34" charset="0"/>
                      <a:ea typeface="Arial" charset="0"/>
                      <a:cs typeface="Arial" panose="020B0604020202020204" pitchFamily="34" charset="0"/>
                    </a:rPr>
                    <a:t>–</a:t>
                  </a:r>
                  <a:r>
                    <a:rPr kumimoji="0" lang="en-US" sz="700" b="0"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rPr>
                    <a:t>2</a:t>
                  </a:r>
                </a:p>
                <a:p>
                  <a:pPr marL="0" marR="0" lvl="0" indent="0" algn="ctr" defTabSz="57857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endParaRPr>
                </a:p>
                <a:p>
                  <a:pPr marL="0" marR="0" lvl="0" indent="0" algn="ctr" defTabSz="57857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FFFFFF"/>
                    </a:solidFill>
                    <a:effectLst/>
                    <a:uLnTx/>
                    <a:uFillTx/>
                    <a:latin typeface="Open Sans Semibold"/>
                    <a:ea typeface="Arial" charset="0"/>
                    <a:cs typeface="Arial" panose="020B0604020202020204" pitchFamily="34" charset="0"/>
                  </a:endParaRPr>
                </a:p>
              </p:txBody>
            </p:sp>
            <p:sp>
              <p:nvSpPr>
                <p:cNvPr id="43" name="TextBox 42">
                  <a:extLst>
                    <a:ext uri="{FF2B5EF4-FFF2-40B4-BE49-F238E27FC236}">
                      <a16:creationId xmlns:a16="http://schemas.microsoft.com/office/drawing/2014/main" id="{32B2E656-AD62-4934-911E-CB33B34D1C65}"/>
                    </a:ext>
                  </a:extLst>
                </p:cNvPr>
                <p:cNvSpPr txBox="1"/>
                <p:nvPr/>
              </p:nvSpPr>
              <p:spPr>
                <a:xfrm rot="16200000">
                  <a:off x="1835038" y="6595731"/>
                  <a:ext cx="5411129" cy="690033"/>
                </a:xfrm>
                <a:prstGeom prst="round2DiagRect">
                  <a:avLst/>
                </a:prstGeom>
                <a:solidFill>
                  <a:srgbClr val="5C5C5C"/>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 tIns="9144" rIns="9144" bIns="9144" numCol="1" rtlCol="0" anchor="ctr" anchorCtr="0" compatLnSpc="1">
                  <a:prstTxWarp prst="textNoShape">
                    <a:avLst/>
                  </a:prstTxWarp>
                </a:bodyPr>
                <a:lstStyle>
                  <a:defPPr>
                    <a:defRPr lang="en-US"/>
                  </a:defPPr>
                  <a:lvl1pPr algn="ctr" defTabSz="914229">
                    <a:defRPr sz="1400" kern="0">
                      <a:solidFill>
                        <a:prstClr val="white"/>
                      </a:solidFill>
                      <a:latin typeface="+mj-lt"/>
                      <a:cs typeface="Arial" panose="020B0604020202020204" pitchFamily="34" charset="0"/>
                    </a:defRPr>
                  </a:lvl1pP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mn-ea"/>
                      <a:cs typeface="Arial" panose="020B0604020202020204" pitchFamily="34" charset="0"/>
                    </a:rPr>
                    <a:t>First randomization (1:1) </a:t>
                  </a:r>
                </a:p>
              </p:txBody>
            </p:sp>
            <p:sp>
              <p:nvSpPr>
                <p:cNvPr id="44" name="Rectangle: Diagonal Corners Rounded 43">
                  <a:extLst>
                    <a:ext uri="{FF2B5EF4-FFF2-40B4-BE49-F238E27FC236}">
                      <a16:creationId xmlns:a16="http://schemas.microsoft.com/office/drawing/2014/main" id="{A3D2D4DC-4194-4B5D-809A-05F402D3A659}"/>
                    </a:ext>
                  </a:extLst>
                </p:cNvPr>
                <p:cNvSpPr/>
                <p:nvPr/>
              </p:nvSpPr>
              <p:spPr>
                <a:xfrm>
                  <a:off x="5730362" y="3592702"/>
                  <a:ext cx="4307513" cy="650533"/>
                </a:xfrm>
                <a:prstGeom prst="round2DiagRect">
                  <a:avLst/>
                </a:prstGeom>
                <a:solidFill>
                  <a:srgbClr val="5C5C5C"/>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 tIns="9144" rIns="9144" bIns="9144" numCol="1" rtlCol="0" anchor="ctr" anchorCtr="0" compatLnSpc="1">
                  <a:prstTxWarp prst="textNoShape">
                    <a:avLst/>
                  </a:prstTxWarp>
                </a:bodyP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FFFFFF"/>
                      </a:solidFill>
                      <a:effectLst/>
                      <a:uLnTx/>
                      <a:uFillTx/>
                      <a:latin typeface="Open Sans Semibold"/>
                      <a:ea typeface="+mn-ea"/>
                      <a:cs typeface="Arial" panose="020B0604020202020204" pitchFamily="34" charset="0"/>
                    </a:rPr>
                    <a:t>Induction</a:t>
                  </a:r>
                </a:p>
              </p:txBody>
            </p:sp>
            <p:sp>
              <p:nvSpPr>
                <p:cNvPr id="46" name="Rectangle: Diagonal Corners Rounded 45">
                  <a:extLst>
                    <a:ext uri="{FF2B5EF4-FFF2-40B4-BE49-F238E27FC236}">
                      <a16:creationId xmlns:a16="http://schemas.microsoft.com/office/drawing/2014/main" id="{805A21F1-E294-4764-9865-F6D05B455609}"/>
                    </a:ext>
                  </a:extLst>
                </p:cNvPr>
                <p:cNvSpPr/>
                <p:nvPr/>
              </p:nvSpPr>
              <p:spPr>
                <a:xfrm>
                  <a:off x="5150816" y="4423455"/>
                  <a:ext cx="5466596" cy="2532532"/>
                </a:xfrm>
                <a:prstGeom prst="round2DiagRect">
                  <a:avLst/>
                </a:prstGeom>
                <a:solidFill>
                  <a:srgbClr val="6D2687"/>
                </a:solidFill>
                <a:ln>
                  <a:solidFill>
                    <a:srgbClr val="6D2687"/>
                  </a:solidFill>
                </a:ln>
              </p:spPr>
              <p:style>
                <a:lnRef idx="1">
                  <a:schemeClr val="accent1"/>
                </a:lnRef>
                <a:fillRef idx="3">
                  <a:schemeClr val="accent1"/>
                </a:fillRef>
                <a:effectRef idx="2">
                  <a:schemeClr val="accent1"/>
                </a:effectRef>
                <a:fontRef idx="minor">
                  <a:schemeClr val="lt1"/>
                </a:fontRef>
              </p:style>
              <p:txBody>
                <a:bodyPr lIns="9144" tIns="9144" rIns="9144" bIns="9144" rtlCol="0" anchor="ct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D-VTd</a:t>
                  </a:r>
                </a:p>
                <a:p>
                  <a:pPr marL="97766" marR="0" lvl="0" indent="-97766" algn="l"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D: 16 mg/kg IV QW cycles 1</a:t>
                  </a:r>
                  <a:r>
                    <a:rPr kumimoji="0" lang="en-US" sz="7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rPr>
                    <a:t>–</a:t>
                  </a: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2, Q2W cycles 3</a:t>
                  </a:r>
                  <a:r>
                    <a:rPr kumimoji="0" lang="en-US" sz="7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rPr>
                    <a:t>–</a:t>
                  </a: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4</a:t>
                  </a:r>
                </a:p>
                <a:p>
                  <a:pPr marL="97766" marR="0" lvl="0" indent="-97766" algn="l"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V: 1.3 mg/m</a:t>
                  </a:r>
                  <a:r>
                    <a:rPr kumimoji="0" lang="en-US" sz="700" b="0" i="0" u="none" strike="noStrike" kern="0" cap="none" spc="0" normalizeH="0" baseline="30000" noProof="0">
                      <a:ln>
                        <a:noFill/>
                      </a:ln>
                      <a:solidFill>
                        <a:srgbClr val="FFFFFF"/>
                      </a:solidFill>
                      <a:effectLst/>
                      <a:uLnTx/>
                      <a:uFillTx/>
                      <a:latin typeface="Open Sans Semibold"/>
                      <a:ea typeface="ＭＳ Ｐゴシック" pitchFamily="-105" charset="-128"/>
                      <a:cs typeface="Arial" panose="020B0604020202020204" pitchFamily="34" charset="0"/>
                    </a:rPr>
                    <a:t>2 </a:t>
                  </a: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SC days 1, 4, 8, 11</a:t>
                  </a:r>
                </a:p>
                <a:p>
                  <a:pPr marL="0" marR="0" lvl="0" indent="0" algn="l"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T: 100 mg/day PO</a:t>
                  </a:r>
                </a:p>
                <a:p>
                  <a:pPr marL="0" marR="0" lvl="0" indent="0" algn="l"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d: 20</a:t>
                  </a:r>
                  <a:r>
                    <a:rPr kumimoji="0" lang="en-US" sz="700" b="0" i="0" u="none" strike="noStrike" kern="0" cap="none" spc="0" normalizeH="0" baseline="0" noProof="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rPr>
                    <a:t>–</a:t>
                  </a: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40 mg IV/PO</a:t>
                  </a:r>
                </a:p>
              </p:txBody>
            </p:sp>
            <p:sp>
              <p:nvSpPr>
                <p:cNvPr id="47" name="Rectangle: Diagonal Corners Rounded 46">
                  <a:extLst>
                    <a:ext uri="{FF2B5EF4-FFF2-40B4-BE49-F238E27FC236}">
                      <a16:creationId xmlns:a16="http://schemas.microsoft.com/office/drawing/2014/main" id="{B190A457-CD41-4930-981D-442D5691D42D}"/>
                    </a:ext>
                  </a:extLst>
                </p:cNvPr>
                <p:cNvSpPr/>
                <p:nvPr/>
              </p:nvSpPr>
              <p:spPr>
                <a:xfrm>
                  <a:off x="5175823" y="7393479"/>
                  <a:ext cx="5441589" cy="1922528"/>
                </a:xfrm>
                <a:prstGeom prst="round2DiagRect">
                  <a:avLst/>
                </a:prstGeom>
                <a:solidFill>
                  <a:srgbClr val="EF8200"/>
                </a:solidFill>
                <a:ln>
                  <a:solidFill>
                    <a:srgbClr val="EF8200"/>
                  </a:solidFill>
                </a:ln>
              </p:spPr>
              <p:style>
                <a:lnRef idx="1">
                  <a:schemeClr val="accent5"/>
                </a:lnRef>
                <a:fillRef idx="3">
                  <a:schemeClr val="accent5"/>
                </a:fillRef>
                <a:effectRef idx="2">
                  <a:schemeClr val="accent5"/>
                </a:effectRef>
                <a:fontRef idx="minor">
                  <a:schemeClr val="lt1"/>
                </a:fontRef>
              </p:style>
              <p:txBody>
                <a:bodyPr lIns="9144" tIns="9144" rIns="9144" bIns="9144" rtlCol="0" anchor="ctr"/>
                <a:lstStyle/>
                <a:p>
                  <a:pPr marL="0" marR="0" lvl="0" indent="0" algn="ctr" defTabSz="77140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VTd</a:t>
                  </a:r>
                </a:p>
                <a:p>
                  <a:pPr marL="0" marR="0" lvl="0" indent="0" algn="ctr" defTabSz="77140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VTd administered as in the</a:t>
                  </a:r>
                  <a:b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b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D-VTd arm</a:t>
                  </a:r>
                </a:p>
              </p:txBody>
            </p:sp>
            <p:sp>
              <p:nvSpPr>
                <p:cNvPr id="48" name="Rectangle: Diagonal Corners Rounded 47">
                  <a:extLst>
                    <a:ext uri="{FF2B5EF4-FFF2-40B4-BE49-F238E27FC236}">
                      <a16:creationId xmlns:a16="http://schemas.microsoft.com/office/drawing/2014/main" id="{335BAA25-8153-43F6-A3D4-B5C5A07E47F5}"/>
                    </a:ext>
                  </a:extLst>
                </p:cNvPr>
                <p:cNvSpPr/>
                <p:nvPr/>
              </p:nvSpPr>
              <p:spPr>
                <a:xfrm>
                  <a:off x="10861486" y="4684523"/>
                  <a:ext cx="690033" cy="4631478"/>
                </a:xfrm>
                <a:prstGeom prst="round2DiagRect">
                  <a:avLst/>
                </a:prstGeom>
                <a:solidFill>
                  <a:srgbClr val="5C5C5C"/>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 tIns="9144" rIns="9144" bIns="9144" numCol="1" rtlCol="0" anchor="ctr" anchorCtr="0" compatLnSpc="1">
                  <a:prstTxWarp prst="textNoShape">
                    <a:avLst/>
                  </a:prstTxWarp>
                </a:bodyP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mn-ea"/>
                      <a:cs typeface="Arial" panose="020B0604020202020204" pitchFamily="34" charset="0"/>
                    </a:rPr>
                    <a:t>TRANSPLANT</a:t>
                  </a:r>
                </a:p>
              </p:txBody>
            </p:sp>
            <p:sp>
              <p:nvSpPr>
                <p:cNvPr id="49" name="Rectangle: Diagonal Corners Rounded 48">
                  <a:extLst>
                    <a:ext uri="{FF2B5EF4-FFF2-40B4-BE49-F238E27FC236}">
                      <a16:creationId xmlns:a16="http://schemas.microsoft.com/office/drawing/2014/main" id="{D92589CE-DF93-446A-9469-8E6F956C34CA}"/>
                    </a:ext>
                  </a:extLst>
                </p:cNvPr>
                <p:cNvSpPr/>
                <p:nvPr/>
              </p:nvSpPr>
              <p:spPr>
                <a:xfrm>
                  <a:off x="12276245" y="3592562"/>
                  <a:ext cx="4640567" cy="699396"/>
                </a:xfrm>
                <a:prstGeom prst="round2DiagRect">
                  <a:avLst/>
                </a:prstGeom>
                <a:solidFill>
                  <a:srgbClr val="5C5C5C"/>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 tIns="9144" rIns="9144" bIns="9144" numCol="1" rtlCol="0" anchor="ctr" anchorCtr="0" compatLnSpc="1">
                  <a:prstTxWarp prst="textNoShape">
                    <a:avLst/>
                  </a:prstTxWarp>
                </a:bodyP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FFFFFF"/>
                      </a:solidFill>
                      <a:effectLst/>
                      <a:uLnTx/>
                      <a:uFillTx/>
                      <a:latin typeface="Open Sans Semibold"/>
                      <a:ea typeface="+mn-ea"/>
                      <a:cs typeface="Arial" panose="020B0604020202020204" pitchFamily="34" charset="0"/>
                    </a:rPr>
                    <a:t>Consolidation</a:t>
                  </a:r>
                </a:p>
              </p:txBody>
            </p:sp>
            <p:sp>
              <p:nvSpPr>
                <p:cNvPr id="50" name="Rectangle: Diagonal Corners Rounded 49">
                  <a:extLst>
                    <a:ext uri="{FF2B5EF4-FFF2-40B4-BE49-F238E27FC236}">
                      <a16:creationId xmlns:a16="http://schemas.microsoft.com/office/drawing/2014/main" id="{1244FD15-2629-41AC-A3C1-3F0E6440BE61}"/>
                    </a:ext>
                  </a:extLst>
                </p:cNvPr>
                <p:cNvSpPr/>
                <p:nvPr/>
              </p:nvSpPr>
              <p:spPr>
                <a:xfrm>
                  <a:off x="11734115" y="4465064"/>
                  <a:ext cx="5512953" cy="2490921"/>
                </a:xfrm>
                <a:prstGeom prst="round2DiagRect">
                  <a:avLst/>
                </a:prstGeom>
                <a:solidFill>
                  <a:srgbClr val="6D2687"/>
                </a:solidFill>
                <a:ln>
                  <a:solidFill>
                    <a:srgbClr val="6D2687"/>
                  </a:solidFill>
                </a:ln>
              </p:spPr>
              <p:style>
                <a:lnRef idx="1">
                  <a:schemeClr val="accent1"/>
                </a:lnRef>
                <a:fillRef idx="3">
                  <a:schemeClr val="accent1"/>
                </a:fillRef>
                <a:effectRef idx="2">
                  <a:schemeClr val="accent1"/>
                </a:effectRef>
                <a:fontRef idx="minor">
                  <a:schemeClr val="lt1"/>
                </a:fontRef>
              </p:style>
              <p:txBody>
                <a:bodyPr lIns="9144" tIns="9144" rIns="9144" bIns="9144" rtlCol="0" anchor="ctr"/>
                <a:lstStyle/>
                <a:p>
                  <a:pPr marL="0" marR="0" lvl="0" indent="0" algn="ctr" defTabSz="578570" rtl="0"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endParaRPr>
                </a:p>
                <a:p>
                  <a:pPr marL="0" marR="0" lvl="0" indent="0" algn="ctr" defTabSz="57857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D-VTd</a:t>
                  </a:r>
                </a:p>
                <a:p>
                  <a:pPr marL="0" marR="0" lvl="0" indent="0" algn="l"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D: 16 mg/kg IV Q2W</a:t>
                  </a:r>
                </a:p>
                <a:p>
                  <a:pPr marL="97766" marR="0" lvl="0" indent="-97766" algn="l"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V: 1.3 mg/m</a:t>
                  </a:r>
                  <a:r>
                    <a:rPr kumimoji="0" lang="en-US" sz="700" b="0" i="0" u="none" strike="noStrike" kern="0" cap="none" spc="0" normalizeH="0" baseline="30000" noProof="0">
                      <a:ln>
                        <a:noFill/>
                      </a:ln>
                      <a:solidFill>
                        <a:srgbClr val="FFFFFF"/>
                      </a:solidFill>
                      <a:effectLst/>
                      <a:uLnTx/>
                      <a:uFillTx/>
                      <a:latin typeface="Open Sans Semibold"/>
                      <a:ea typeface="ＭＳ Ｐゴシック" pitchFamily="-105" charset="-128"/>
                      <a:cs typeface="Arial" panose="020B0604020202020204" pitchFamily="34" charset="0"/>
                    </a:rPr>
                    <a:t>2 </a:t>
                  </a: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SC days 1, 4, 8, 11</a:t>
                  </a:r>
                </a:p>
                <a:p>
                  <a:pPr marL="0" marR="0" lvl="0" indent="0" algn="l"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T: 100 mg/day PO</a:t>
                  </a:r>
                </a:p>
                <a:p>
                  <a:pPr marL="0" marR="0" lvl="0" indent="0" algn="l"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d: 20 mg IV/PO</a:t>
                  </a:r>
                </a:p>
                <a:p>
                  <a:pPr marL="0" marR="0" lvl="0" indent="0" algn="l" defTabSz="57857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30000" noProof="0">
                    <a:ln>
                      <a:noFill/>
                    </a:ln>
                    <a:solidFill>
                      <a:srgbClr val="FFFFFF"/>
                    </a:solidFill>
                    <a:effectLst/>
                    <a:uLnTx/>
                    <a:uFillTx/>
                    <a:latin typeface="Open Sans Semibold"/>
                    <a:ea typeface="ＭＳ Ｐゴシック" pitchFamily="-105" charset="-128"/>
                    <a:cs typeface="Arial" panose="020B0604020202020204" pitchFamily="34" charset="0"/>
                  </a:endParaRPr>
                </a:p>
              </p:txBody>
            </p:sp>
            <p:sp>
              <p:nvSpPr>
                <p:cNvPr id="51" name="Rectangle: Diagonal Corners Rounded 50">
                  <a:extLst>
                    <a:ext uri="{FF2B5EF4-FFF2-40B4-BE49-F238E27FC236}">
                      <a16:creationId xmlns:a16="http://schemas.microsoft.com/office/drawing/2014/main" id="{D6EE7D6A-6537-47EF-8AE6-ABB29C386D5A}"/>
                    </a:ext>
                  </a:extLst>
                </p:cNvPr>
                <p:cNvSpPr/>
                <p:nvPr/>
              </p:nvSpPr>
              <p:spPr>
                <a:xfrm>
                  <a:off x="11734117" y="7393479"/>
                  <a:ext cx="5512951" cy="1922530"/>
                </a:xfrm>
                <a:prstGeom prst="round2DiagRect">
                  <a:avLst/>
                </a:prstGeom>
                <a:solidFill>
                  <a:srgbClr val="EF8200"/>
                </a:solidFill>
                <a:ln>
                  <a:solidFill>
                    <a:srgbClr val="EF8200"/>
                  </a:solidFill>
                </a:ln>
              </p:spPr>
              <p:style>
                <a:lnRef idx="1">
                  <a:schemeClr val="accent5"/>
                </a:lnRef>
                <a:fillRef idx="3">
                  <a:schemeClr val="accent5"/>
                </a:fillRef>
                <a:effectRef idx="2">
                  <a:schemeClr val="accent5"/>
                </a:effectRef>
                <a:fontRef idx="minor">
                  <a:schemeClr val="lt1"/>
                </a:fontRef>
              </p:style>
              <p:txBody>
                <a:bodyPr lIns="9144" tIns="9144" rIns="9144" bIns="9144" rtlCol="0" anchor="ctr"/>
                <a:lstStyle/>
                <a:p>
                  <a:pPr marL="0" marR="0" lvl="0" indent="0" algn="ctr" defTabSz="771407"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VTd</a:t>
                  </a:r>
                </a:p>
                <a:p>
                  <a:pPr marL="97766" marR="0" lvl="0" indent="-97766" algn="ctr" defTabSz="771407"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VTd administered as in the</a:t>
                  </a:r>
                  <a:b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br>
                  <a:r>
                    <a:rPr kumimoji="0" lang="en-US" sz="700" b="0" i="0" u="none" strike="noStrike" kern="0" cap="none" spc="0" normalizeH="0" baseline="0" noProof="0">
                      <a:ln>
                        <a:noFill/>
                      </a:ln>
                      <a:solidFill>
                        <a:srgbClr val="FFFFFF"/>
                      </a:solidFill>
                      <a:effectLst/>
                      <a:uLnTx/>
                      <a:uFillTx/>
                      <a:latin typeface="Open Sans Semibold"/>
                      <a:ea typeface="ＭＳ Ｐゴシック" pitchFamily="-105" charset="-128"/>
                      <a:cs typeface="Arial" panose="020B0604020202020204" pitchFamily="34" charset="0"/>
                    </a:rPr>
                    <a:t>D-VTd arm</a:t>
                  </a:r>
                  <a:endParaRPr kumimoji="0" lang="en-US" sz="700" b="0" i="0" u="none" strike="noStrike" kern="0" cap="none" spc="0" normalizeH="0" baseline="30000" noProof="0">
                    <a:ln>
                      <a:noFill/>
                    </a:ln>
                    <a:solidFill>
                      <a:srgbClr val="FFFFFF"/>
                    </a:solidFill>
                    <a:effectLst/>
                    <a:uLnTx/>
                    <a:uFillTx/>
                    <a:latin typeface="Open Sans Semibold"/>
                    <a:ea typeface="ＭＳ Ｐゴシック" pitchFamily="-105" charset="-128"/>
                    <a:cs typeface="Arial" panose="020B0604020202020204" pitchFamily="34" charset="0"/>
                  </a:endParaRPr>
                </a:p>
              </p:txBody>
            </p:sp>
            <p:sp>
              <p:nvSpPr>
                <p:cNvPr id="52" name="Rectangle 51">
                  <a:extLst>
                    <a:ext uri="{FF2B5EF4-FFF2-40B4-BE49-F238E27FC236}">
                      <a16:creationId xmlns:a16="http://schemas.microsoft.com/office/drawing/2014/main" id="{34073322-ACCD-4613-9C14-F691F5E2B344}"/>
                    </a:ext>
                  </a:extLst>
                </p:cNvPr>
                <p:cNvSpPr/>
                <p:nvPr/>
              </p:nvSpPr>
              <p:spPr>
                <a:xfrm>
                  <a:off x="5232678" y="9539222"/>
                  <a:ext cx="4830195" cy="292226"/>
                </a:xfrm>
                <a:prstGeom prst="rect">
                  <a:avLst/>
                </a:prstGeom>
                <a:noFill/>
              </p:spPr>
              <p:txBody>
                <a:bodyPr wrap="square" lIns="9144" tIns="9144" rIns="9144" bIns="9144" anchor="ctr">
                  <a:spAutoFit/>
                </a:bodyP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4 cycles of 28 days</a:t>
                  </a:r>
                </a:p>
              </p:txBody>
            </p:sp>
            <p:sp>
              <p:nvSpPr>
                <p:cNvPr id="53" name="Rectangle 52">
                  <a:extLst>
                    <a:ext uri="{FF2B5EF4-FFF2-40B4-BE49-F238E27FC236}">
                      <a16:creationId xmlns:a16="http://schemas.microsoft.com/office/drawing/2014/main" id="{42346F1A-4A35-44DC-AC0E-0208398FE67C}"/>
                    </a:ext>
                  </a:extLst>
                </p:cNvPr>
                <p:cNvSpPr/>
                <p:nvPr/>
              </p:nvSpPr>
              <p:spPr>
                <a:xfrm>
                  <a:off x="12275182" y="9593389"/>
                  <a:ext cx="4430820" cy="292226"/>
                </a:xfrm>
                <a:prstGeom prst="rect">
                  <a:avLst/>
                </a:prstGeom>
                <a:noFill/>
                <a:effectLst/>
              </p:spPr>
              <p:txBody>
                <a:bodyPr wrap="square" lIns="9144" tIns="9144" rIns="9144" bIns="9144" anchor="ctr">
                  <a:spAutoFit/>
                </a:bodyP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2 cycles of 28 days</a:t>
                  </a:r>
                </a:p>
              </p:txBody>
            </p:sp>
          </p:grpSp>
          <p:cxnSp>
            <p:nvCxnSpPr>
              <p:cNvPr id="21" name="Straight Arrow Connector 20">
                <a:extLst>
                  <a:ext uri="{FF2B5EF4-FFF2-40B4-BE49-F238E27FC236}">
                    <a16:creationId xmlns:a16="http://schemas.microsoft.com/office/drawing/2014/main" id="{FD76A70C-602E-4005-B299-9162BFC8C3AF}"/>
                  </a:ext>
                </a:extLst>
              </p:cNvPr>
              <p:cNvCxnSpPr/>
              <p:nvPr/>
            </p:nvCxnSpPr>
            <p:spPr bwMode="auto">
              <a:xfrm>
                <a:off x="10979972" y="4488891"/>
                <a:ext cx="510315" cy="0"/>
              </a:xfrm>
              <a:prstGeom prst="straightConnector1">
                <a:avLst/>
              </a:prstGeom>
              <a:noFill/>
              <a:ln w="25400" cap="flat" cmpd="sng" algn="ctr">
                <a:solidFill>
                  <a:schemeClr val="bg1"/>
                </a:solidFill>
                <a:prstDash val="solid"/>
                <a:headEnd type="none" w="med" len="med"/>
                <a:tailEnd type="triangle"/>
              </a:ln>
              <a:effectLst/>
            </p:spPr>
          </p:cxnSp>
          <p:cxnSp>
            <p:nvCxnSpPr>
              <p:cNvPr id="22" name="Straight Arrow Connector 21">
                <a:extLst>
                  <a:ext uri="{FF2B5EF4-FFF2-40B4-BE49-F238E27FC236}">
                    <a16:creationId xmlns:a16="http://schemas.microsoft.com/office/drawing/2014/main" id="{AD03E49C-BA36-4EA0-B8DA-AFB82CA97914}"/>
                  </a:ext>
                </a:extLst>
              </p:cNvPr>
              <p:cNvCxnSpPr/>
              <p:nvPr/>
            </p:nvCxnSpPr>
            <p:spPr bwMode="auto">
              <a:xfrm>
                <a:off x="10999144" y="3215339"/>
                <a:ext cx="510315" cy="0"/>
              </a:xfrm>
              <a:prstGeom prst="straightConnector1">
                <a:avLst/>
              </a:prstGeom>
              <a:noFill/>
              <a:ln w="25400" cap="flat" cmpd="sng" algn="ctr">
                <a:solidFill>
                  <a:schemeClr val="bg1"/>
                </a:solidFill>
                <a:prstDash val="solid"/>
                <a:headEnd type="none" w="med" len="med"/>
                <a:tailEnd type="triangle"/>
              </a:ln>
              <a:effectLst/>
            </p:spPr>
          </p:cxnSp>
          <p:cxnSp>
            <p:nvCxnSpPr>
              <p:cNvPr id="23" name="Straight Arrow Connector 22">
                <a:extLst>
                  <a:ext uri="{FF2B5EF4-FFF2-40B4-BE49-F238E27FC236}">
                    <a16:creationId xmlns:a16="http://schemas.microsoft.com/office/drawing/2014/main" id="{41F28454-34C2-4EF8-9005-C5C517DF86D1}"/>
                  </a:ext>
                </a:extLst>
              </p:cNvPr>
              <p:cNvCxnSpPr>
                <a:cxnSpLocks/>
              </p:cNvCxnSpPr>
              <p:nvPr/>
            </p:nvCxnSpPr>
            <p:spPr bwMode="auto">
              <a:xfrm>
                <a:off x="9204076" y="3766477"/>
                <a:ext cx="218141" cy="745625"/>
              </a:xfrm>
              <a:prstGeom prst="straightConnector1">
                <a:avLst/>
              </a:prstGeom>
              <a:noFill/>
              <a:ln w="25400" cap="flat" cmpd="sng" algn="ctr">
                <a:solidFill>
                  <a:schemeClr val="bg1"/>
                </a:solidFill>
                <a:prstDash val="solid"/>
                <a:headEnd type="none" w="med" len="med"/>
                <a:tailEnd type="triangle"/>
              </a:ln>
              <a:effectLst/>
            </p:spPr>
          </p:cxnSp>
          <p:cxnSp>
            <p:nvCxnSpPr>
              <p:cNvPr id="24" name="Straight Arrow Connector 23">
                <a:extLst>
                  <a:ext uri="{FF2B5EF4-FFF2-40B4-BE49-F238E27FC236}">
                    <a16:creationId xmlns:a16="http://schemas.microsoft.com/office/drawing/2014/main" id="{003353AB-8C56-477D-90B6-1D55DE2FD602}"/>
                  </a:ext>
                </a:extLst>
              </p:cNvPr>
              <p:cNvCxnSpPr>
                <a:cxnSpLocks/>
              </p:cNvCxnSpPr>
              <p:nvPr/>
            </p:nvCxnSpPr>
            <p:spPr bwMode="auto">
              <a:xfrm flipV="1">
                <a:off x="9204075" y="3152887"/>
                <a:ext cx="205368" cy="613590"/>
              </a:xfrm>
              <a:prstGeom prst="straightConnector1">
                <a:avLst/>
              </a:prstGeom>
              <a:noFill/>
              <a:ln w="25400" cap="flat" cmpd="sng" algn="ctr">
                <a:solidFill>
                  <a:schemeClr val="bg1"/>
                </a:solidFill>
                <a:prstDash val="solid"/>
                <a:headEnd type="none" w="med" len="med"/>
                <a:tailEnd type="triangle"/>
              </a:ln>
              <a:effectLst/>
            </p:spPr>
          </p:cxnSp>
          <p:sp>
            <p:nvSpPr>
              <p:cNvPr id="25" name="Rectangle: Diagonal Corners Rounded 24">
                <a:extLst>
                  <a:ext uri="{FF2B5EF4-FFF2-40B4-BE49-F238E27FC236}">
                    <a16:creationId xmlns:a16="http://schemas.microsoft.com/office/drawing/2014/main" id="{712FCDA9-3D92-4917-A0B4-8EB94E7B3A4E}"/>
                  </a:ext>
                </a:extLst>
              </p:cNvPr>
              <p:cNvSpPr/>
              <p:nvPr/>
            </p:nvSpPr>
            <p:spPr>
              <a:xfrm>
                <a:off x="9031142" y="2092599"/>
                <a:ext cx="2632399" cy="325225"/>
              </a:xfrm>
              <a:prstGeom prst="round2DiagRect">
                <a:avLst/>
              </a:prstGeom>
              <a:solidFill>
                <a:schemeClr val="bg1">
                  <a:lumMod val="85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 tIns="9144" rIns="9144" bIns="9144" numCol="1" rtlCol="0" anchor="ctr" anchorCtr="0" compatLnSpc="1">
                <a:prstTxWarp prst="textNoShape">
                  <a:avLst/>
                </a:prstTxWarp>
              </a:bodyP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595454">
                        <a:lumMod val="50000"/>
                      </a:srgbClr>
                    </a:solidFill>
                    <a:effectLst/>
                    <a:uLnTx/>
                    <a:uFillTx/>
                    <a:latin typeface="Open Sans Semibold"/>
                    <a:ea typeface="+mn-ea"/>
                    <a:cs typeface="Arial" panose="020B0604020202020204" pitchFamily="34" charset="0"/>
                  </a:rPr>
                  <a:t>Maintenance</a:t>
                </a:r>
              </a:p>
            </p:txBody>
          </p:sp>
          <p:sp>
            <p:nvSpPr>
              <p:cNvPr id="26" name="TextBox 25">
                <a:extLst>
                  <a:ext uri="{FF2B5EF4-FFF2-40B4-BE49-F238E27FC236}">
                    <a16:creationId xmlns:a16="http://schemas.microsoft.com/office/drawing/2014/main" id="{25AF1DCC-4060-47EE-A108-24550C309940}"/>
                  </a:ext>
                </a:extLst>
              </p:cNvPr>
              <p:cNvSpPr txBox="1"/>
              <p:nvPr/>
            </p:nvSpPr>
            <p:spPr>
              <a:xfrm rot="16200000">
                <a:off x="7692430" y="3492758"/>
                <a:ext cx="2684659" cy="567994"/>
              </a:xfrm>
              <a:prstGeom prst="round2DiagRect">
                <a:avLst/>
              </a:prstGeom>
              <a:solidFill>
                <a:schemeClr val="bg1">
                  <a:lumMod val="85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 tIns="9144" rIns="9144" bIns="9144" numCol="1" rtlCol="0" anchor="ctr" anchorCtr="0" compatLnSpc="1">
                <a:prstTxWarp prst="textNoShape">
                  <a:avLst/>
                </a:prstTxWarp>
              </a:bodyPr>
              <a:lstStyle>
                <a:defPPr>
                  <a:defRPr lang="en-US"/>
                </a:defPPr>
                <a:lvl1pPr algn="ctr" defTabSz="914229">
                  <a:defRPr sz="1400" kern="0">
                    <a:solidFill>
                      <a:prstClr val="white"/>
                    </a:solidFill>
                    <a:latin typeface="+mj-lt"/>
                    <a:cs typeface="Arial" panose="020B0604020202020204" pitchFamily="34" charset="0"/>
                  </a:defRPr>
                </a:lvl1pP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595454">
                        <a:lumMod val="50000"/>
                      </a:srgbClr>
                    </a:solidFill>
                    <a:effectLst/>
                    <a:uLnTx/>
                    <a:uFillTx/>
                    <a:latin typeface="Open Sans Semibold"/>
                    <a:ea typeface="+mn-ea"/>
                    <a:cs typeface="Arial" panose="020B0604020202020204" pitchFamily="34" charset="0"/>
                  </a:rPr>
                  <a:t>Patients with ≥PR</a:t>
                </a:r>
              </a:p>
              <a:p>
                <a:pPr marL="0" marR="0" lvl="0" indent="0" algn="ctr"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595454">
                        <a:lumMod val="50000"/>
                      </a:srgbClr>
                    </a:solidFill>
                    <a:effectLst/>
                    <a:uLnTx/>
                    <a:uFillTx/>
                    <a:latin typeface="Open Sans Semibold"/>
                    <a:ea typeface="+mn-ea"/>
                    <a:cs typeface="Arial" panose="020B0604020202020204" pitchFamily="34" charset="0"/>
                  </a:rPr>
                  <a:t>Second randomization (1:1)</a:t>
                </a:r>
              </a:p>
            </p:txBody>
          </p:sp>
          <p:sp>
            <p:nvSpPr>
              <p:cNvPr id="27" name="TextBox 26">
                <a:extLst>
                  <a:ext uri="{FF2B5EF4-FFF2-40B4-BE49-F238E27FC236}">
                    <a16:creationId xmlns:a16="http://schemas.microsoft.com/office/drawing/2014/main" id="{2C0C54FE-085C-4E02-818D-80AA92874F3B}"/>
                  </a:ext>
                </a:extLst>
              </p:cNvPr>
              <p:cNvSpPr txBox="1"/>
              <p:nvPr/>
            </p:nvSpPr>
            <p:spPr>
              <a:xfrm rot="16200000">
                <a:off x="10328151" y="3622373"/>
                <a:ext cx="2705215" cy="344972"/>
              </a:xfrm>
              <a:prstGeom prst="round2DiagRect">
                <a:avLst/>
              </a:prstGeom>
              <a:solidFill>
                <a:schemeClr val="bg1">
                  <a:lumMod val="85000"/>
                </a:schemeClr>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 tIns="9144" rIns="9144" bIns="9144" numCol="1" rtlCol="0" anchor="ctr" anchorCtr="0" compatLnSpc="1">
                <a:prstTxWarp prst="textNoShape">
                  <a:avLst/>
                </a:prstTxWarp>
              </a:bodyPr>
              <a:lstStyle>
                <a:defPPr>
                  <a:defRPr lang="en-US"/>
                </a:defPPr>
                <a:lvl1pPr algn="ctr" defTabSz="914229">
                  <a:defRPr sz="1400" kern="0">
                    <a:solidFill>
                      <a:prstClr val="white"/>
                    </a:solidFill>
                    <a:latin typeface="+mj-lt"/>
                    <a:cs typeface="Arial" panose="020B0604020202020204" pitchFamily="34" charset="0"/>
                  </a:defRPr>
                </a:lvl1pP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595454">
                        <a:lumMod val="50000"/>
                      </a:srgbClr>
                    </a:solidFill>
                    <a:effectLst/>
                    <a:uLnTx/>
                    <a:uFillTx/>
                    <a:latin typeface="Open Sans Semibold"/>
                    <a:ea typeface="+mn-ea"/>
                    <a:cs typeface="Arial" panose="020B0604020202020204" pitchFamily="34" charset="0"/>
                  </a:rPr>
                  <a:t>Follow-up</a:t>
                </a:r>
              </a:p>
            </p:txBody>
          </p:sp>
          <p:cxnSp>
            <p:nvCxnSpPr>
              <p:cNvPr id="28" name="Straight Connector 27">
                <a:extLst>
                  <a:ext uri="{FF2B5EF4-FFF2-40B4-BE49-F238E27FC236}">
                    <a16:creationId xmlns:a16="http://schemas.microsoft.com/office/drawing/2014/main" id="{7BB37776-F27F-4882-A036-875464460AE2}"/>
                  </a:ext>
                </a:extLst>
              </p:cNvPr>
              <p:cNvCxnSpPr>
                <a:cxnSpLocks/>
              </p:cNvCxnSpPr>
              <p:nvPr/>
            </p:nvCxnSpPr>
            <p:spPr bwMode="auto">
              <a:xfrm>
                <a:off x="9031139" y="5375338"/>
                <a:ext cx="2504623" cy="0"/>
              </a:xfrm>
              <a:prstGeom prst="line">
                <a:avLst/>
              </a:prstGeom>
              <a:solidFill>
                <a:srgbClr val="1E9FA2"/>
              </a:solidFill>
              <a:ln w="25400"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4DC4EFAB-418F-43F7-820A-9426E3971C8C}"/>
                  </a:ext>
                </a:extLst>
              </p:cNvPr>
              <p:cNvCxnSpPr/>
              <p:nvPr/>
            </p:nvCxnSpPr>
            <p:spPr bwMode="auto">
              <a:xfrm>
                <a:off x="9013490" y="5271003"/>
                <a:ext cx="0" cy="196950"/>
              </a:xfrm>
              <a:prstGeom prst="line">
                <a:avLst/>
              </a:prstGeom>
              <a:solidFill>
                <a:srgbClr val="1E9FA2"/>
              </a:solidFill>
              <a:ln w="25400"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15524292-3BE8-44BC-B610-E5912DB3C78C}"/>
                  </a:ext>
                </a:extLst>
              </p:cNvPr>
              <p:cNvCxnSpPr/>
              <p:nvPr/>
            </p:nvCxnSpPr>
            <p:spPr bwMode="auto">
              <a:xfrm>
                <a:off x="11545287" y="5266631"/>
                <a:ext cx="0" cy="196950"/>
              </a:xfrm>
              <a:prstGeom prst="line">
                <a:avLst/>
              </a:prstGeom>
              <a:solidFill>
                <a:srgbClr val="1E9FA2"/>
              </a:solidFill>
              <a:ln w="25400" cap="flat" cmpd="sng" algn="ctr">
                <a:solidFill>
                  <a:schemeClr val="bg1"/>
                </a:solidFill>
                <a:prstDash val="solid"/>
                <a:round/>
                <a:headEnd type="none" w="med" len="med"/>
                <a:tailEnd type="none" w="med" len="med"/>
              </a:ln>
              <a:effectLst/>
            </p:spPr>
          </p:cxnSp>
        </p:grpSp>
        <p:sp>
          <p:nvSpPr>
            <p:cNvPr id="10" name="Rectangle: Diagonal Corners Rounded 9">
              <a:extLst>
                <a:ext uri="{FF2B5EF4-FFF2-40B4-BE49-F238E27FC236}">
                  <a16:creationId xmlns:a16="http://schemas.microsoft.com/office/drawing/2014/main" id="{E2A13314-8906-46DB-9D1B-EF69C0D79C64}"/>
                </a:ext>
              </a:extLst>
            </p:cNvPr>
            <p:cNvSpPr/>
            <p:nvPr/>
          </p:nvSpPr>
          <p:spPr>
            <a:xfrm>
              <a:off x="7945444" y="2654383"/>
              <a:ext cx="1558222" cy="1134082"/>
            </a:xfrm>
            <a:prstGeom prst="round2Diag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9144" tIns="9144" rIns="9144" bIns="9144" rtlCol="0" anchor="ctr"/>
            <a:lstStyle/>
            <a:p>
              <a:pPr marL="0" marR="0" lvl="0" indent="0" algn="ctr" defTabSz="578570"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DARA mono-therapy</a:t>
              </a:r>
            </a:p>
            <a:p>
              <a:pPr marL="0" marR="0" lvl="0" indent="0" algn="ctr" defTabSz="578570" rtl="0" eaLnBrk="1" fontAlgn="auto" latinLnBrk="0" hangingPunct="1">
                <a:lnSpc>
                  <a:spcPct val="100000"/>
                </a:lnSpc>
                <a:spcBef>
                  <a:spcPts val="0"/>
                </a:spcBef>
                <a:spcAft>
                  <a:spcPts val="0"/>
                </a:spcAft>
                <a:buClrTx/>
                <a:buSzTx/>
                <a:buFontTx/>
                <a:buNone/>
                <a:tabLst/>
                <a:defRPr/>
              </a:pPr>
              <a:r>
                <a:rPr kumimoji="0" lang="fr-FR" sz="700" b="0"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16 mg/kg IV Q8W until PD </a:t>
              </a:r>
              <a:r>
                <a:rPr kumimoji="0" lang="fr-FR" sz="500" b="0"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2 years maximum, then observation until PD)</a:t>
              </a:r>
              <a:endParaRPr kumimoji="0" lang="fr-FR" sz="700" b="0"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endParaRPr>
            </a:p>
          </p:txBody>
        </p:sp>
        <p:sp>
          <p:nvSpPr>
            <p:cNvPr id="11" name="Rectangle: Diagonal Corners Rounded 10">
              <a:extLst>
                <a:ext uri="{FF2B5EF4-FFF2-40B4-BE49-F238E27FC236}">
                  <a16:creationId xmlns:a16="http://schemas.microsoft.com/office/drawing/2014/main" id="{9545058C-A235-42F1-8E90-B6DB48E6A1FA}"/>
                </a:ext>
              </a:extLst>
            </p:cNvPr>
            <p:cNvSpPr/>
            <p:nvPr/>
          </p:nvSpPr>
          <p:spPr>
            <a:xfrm>
              <a:off x="7956223" y="3900476"/>
              <a:ext cx="1547141" cy="767219"/>
            </a:xfrm>
            <a:prstGeom prst="round2DiagRect">
              <a:avLst/>
            </a:prstGeom>
            <a:solidFill>
              <a:schemeClr val="bg1">
                <a:lumMod val="85000"/>
              </a:schemeClr>
            </a:solidFill>
            <a:ln>
              <a:noFill/>
            </a:ln>
          </p:spPr>
          <p:style>
            <a:lnRef idx="1">
              <a:schemeClr val="accent5"/>
            </a:lnRef>
            <a:fillRef idx="3">
              <a:schemeClr val="accent5"/>
            </a:fillRef>
            <a:effectRef idx="2">
              <a:schemeClr val="accent5"/>
            </a:effectRef>
            <a:fontRef idx="minor">
              <a:schemeClr val="lt1"/>
            </a:fontRef>
          </p:style>
          <p:txBody>
            <a:bodyPr lIns="9144" tIns="9144" rIns="9144" bIns="9144" rtlCol="0" anchor="ctr" anchorCtr="0"/>
            <a:lstStyle/>
            <a:p>
              <a:pPr marL="0" marR="0" lvl="0" indent="0" algn="ctr" defTabSz="771407" rtl="0" eaLnBrk="1" fontAlgn="auto" latinLnBrk="0" hangingPunct="1">
                <a:lnSpc>
                  <a:spcPct val="100000"/>
                </a:lnSpc>
                <a:spcBef>
                  <a:spcPts val="0"/>
                </a:spcBef>
                <a:spcAft>
                  <a:spcPts val="0"/>
                </a:spcAft>
                <a:buClrTx/>
                <a:buSzTx/>
                <a:buFontTx/>
                <a:buNone/>
                <a:tabLst/>
                <a:defRPr/>
              </a:pPr>
              <a:r>
                <a:rPr kumimoji="0" lang="fr-FR" sz="900" b="1"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OBS</a:t>
              </a:r>
            </a:p>
            <a:p>
              <a:pPr marL="0" marR="0" lvl="0" indent="0" algn="ctr" defTabSz="771407" rtl="0" eaLnBrk="1" fontAlgn="auto" latinLnBrk="0" hangingPunct="1">
                <a:lnSpc>
                  <a:spcPct val="100000"/>
                </a:lnSpc>
                <a:spcBef>
                  <a:spcPts val="0"/>
                </a:spcBef>
                <a:spcAft>
                  <a:spcPts val="0"/>
                </a:spcAft>
                <a:buClrTx/>
                <a:buSzTx/>
                <a:buFontTx/>
                <a:buNone/>
                <a:tabLst/>
                <a:defRPr/>
              </a:pPr>
              <a:r>
                <a:rPr kumimoji="0" lang="fr-FR" sz="700" b="0"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 until PD </a:t>
              </a:r>
              <a:br>
                <a:rPr kumimoji="0" lang="fr-FR" sz="700" b="0"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br>
              <a:r>
                <a:rPr kumimoji="0" lang="fr-FR" sz="700" b="0"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2 years maximum)</a:t>
              </a:r>
            </a:p>
          </p:txBody>
        </p:sp>
        <p:cxnSp>
          <p:nvCxnSpPr>
            <p:cNvPr id="12" name="Straight Connector 11">
              <a:extLst>
                <a:ext uri="{FF2B5EF4-FFF2-40B4-BE49-F238E27FC236}">
                  <a16:creationId xmlns:a16="http://schemas.microsoft.com/office/drawing/2014/main" id="{FB2CE894-8491-4C53-9C3C-2D4C222D7FAE}"/>
                </a:ext>
              </a:extLst>
            </p:cNvPr>
            <p:cNvCxnSpPr/>
            <p:nvPr/>
          </p:nvCxnSpPr>
          <p:spPr bwMode="auto">
            <a:xfrm>
              <a:off x="472579" y="4863567"/>
              <a:ext cx="0" cy="196950"/>
            </a:xfrm>
            <a:prstGeom prst="line">
              <a:avLst/>
            </a:prstGeom>
            <a:solidFill>
              <a:srgbClr val="1E9FA2"/>
            </a:solidFill>
            <a:ln w="38100" cap="flat" cmpd="sng" algn="ctr">
              <a:solidFill>
                <a:schemeClr val="tx1">
                  <a:lumMod val="50000"/>
                </a:schemeClr>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26FD08B9-299B-4F20-8228-D4EB13FE1F8F}"/>
                </a:ext>
              </a:extLst>
            </p:cNvPr>
            <p:cNvCxnSpPr/>
            <p:nvPr/>
          </p:nvCxnSpPr>
          <p:spPr bwMode="auto">
            <a:xfrm>
              <a:off x="462980" y="4962041"/>
              <a:ext cx="6766560" cy="0"/>
            </a:xfrm>
            <a:prstGeom prst="line">
              <a:avLst/>
            </a:prstGeom>
            <a:solidFill>
              <a:srgbClr val="1E9FA2"/>
            </a:solidFill>
            <a:ln w="38100" cap="flat" cmpd="sng" algn="ctr">
              <a:solidFill>
                <a:schemeClr val="tx1">
                  <a:lumMod val="50000"/>
                </a:schemeClr>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C0219146-F651-4B0E-9A3C-7E94CA4C6F8B}"/>
                </a:ext>
              </a:extLst>
            </p:cNvPr>
            <p:cNvCxnSpPr/>
            <p:nvPr/>
          </p:nvCxnSpPr>
          <p:spPr bwMode="auto">
            <a:xfrm>
              <a:off x="7228457" y="4853335"/>
              <a:ext cx="0" cy="196950"/>
            </a:xfrm>
            <a:prstGeom prst="line">
              <a:avLst/>
            </a:prstGeom>
            <a:solidFill>
              <a:srgbClr val="1E9FA2"/>
            </a:solidFill>
            <a:ln w="38100" cap="flat" cmpd="sng" algn="ctr">
              <a:solidFill>
                <a:schemeClr val="tx1">
                  <a:lumMod val="50000"/>
                </a:schemeClr>
              </a:solidFill>
              <a:prstDash val="solid"/>
              <a:round/>
              <a:headEnd type="none" w="med" len="med"/>
              <a:tailEnd type="none" w="med" len="med"/>
            </a:ln>
            <a:effectLst/>
          </p:spPr>
        </p:cxnSp>
        <p:sp>
          <p:nvSpPr>
            <p:cNvPr id="15" name="TextBox 14">
              <a:extLst>
                <a:ext uri="{FF2B5EF4-FFF2-40B4-BE49-F238E27FC236}">
                  <a16:creationId xmlns:a16="http://schemas.microsoft.com/office/drawing/2014/main" id="{E9CBD9CB-D732-4071-8A17-66AFEC941D91}"/>
                </a:ext>
              </a:extLst>
            </p:cNvPr>
            <p:cNvSpPr txBox="1"/>
            <p:nvPr/>
          </p:nvSpPr>
          <p:spPr>
            <a:xfrm>
              <a:off x="341829" y="5032104"/>
              <a:ext cx="6657006" cy="138299"/>
            </a:xfrm>
            <a:prstGeom prst="rect">
              <a:avLst/>
            </a:prstGeom>
            <a:noFill/>
            <a:ln>
              <a:noFill/>
            </a:ln>
            <a:effectLst/>
          </p:spPr>
          <p:txBody>
            <a:bodyPr wrap="square" lIns="9144" tIns="9144" rIns="9144" bIns="9144" rtlCol="0" anchor="ctr">
              <a:spAutoFit/>
            </a:bodyPr>
            <a:lstStyle/>
            <a:p>
              <a:pPr marL="0" marR="0" lvl="0" indent="0" algn="ctr" defTabSz="685672"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Part 1</a:t>
              </a:r>
            </a:p>
          </p:txBody>
        </p:sp>
        <p:sp>
          <p:nvSpPr>
            <p:cNvPr id="16" name="TextBox 15">
              <a:extLst>
                <a:ext uri="{FF2B5EF4-FFF2-40B4-BE49-F238E27FC236}">
                  <a16:creationId xmlns:a16="http://schemas.microsoft.com/office/drawing/2014/main" id="{A230D00D-75D9-4794-ADAD-DBB95BACD039}"/>
                </a:ext>
              </a:extLst>
            </p:cNvPr>
            <p:cNvSpPr txBox="1"/>
            <p:nvPr/>
          </p:nvSpPr>
          <p:spPr>
            <a:xfrm>
              <a:off x="7078766" y="5026795"/>
              <a:ext cx="2858103" cy="138299"/>
            </a:xfrm>
            <a:prstGeom prst="rect">
              <a:avLst/>
            </a:prstGeom>
            <a:noFill/>
            <a:ln>
              <a:noFill/>
            </a:ln>
            <a:effectLst/>
          </p:spPr>
          <p:txBody>
            <a:bodyPr wrap="square" lIns="9144" tIns="9144" rIns="9144" bIns="9144" rtlCol="0" anchor="ctr">
              <a:spAutoFit/>
            </a:bodyPr>
            <a:lstStyle/>
            <a:p>
              <a:pPr marL="0" marR="0" lvl="0" indent="0" algn="ctr" defTabSz="685672"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595454">
                      <a:lumMod val="50000"/>
                    </a:srgbClr>
                  </a:solidFill>
                  <a:effectLst/>
                  <a:uLnTx/>
                  <a:uFillTx/>
                  <a:latin typeface="Open Sans Semibold"/>
                  <a:ea typeface="ＭＳ Ｐゴシック" pitchFamily="-105" charset="-128"/>
                  <a:cs typeface="Arial" panose="020B0604020202020204" pitchFamily="34" charset="0"/>
                </a:rPr>
                <a:t>Part 2</a:t>
              </a:r>
            </a:p>
          </p:txBody>
        </p:sp>
        <p:cxnSp>
          <p:nvCxnSpPr>
            <p:cNvPr id="17" name="Straight Connector 16">
              <a:extLst>
                <a:ext uri="{FF2B5EF4-FFF2-40B4-BE49-F238E27FC236}">
                  <a16:creationId xmlns:a16="http://schemas.microsoft.com/office/drawing/2014/main" id="{CEF601C3-F51F-4327-A246-5DBDEEA2D41E}"/>
                </a:ext>
              </a:extLst>
            </p:cNvPr>
            <p:cNvCxnSpPr>
              <a:cxnSpLocks/>
            </p:cNvCxnSpPr>
            <p:nvPr/>
          </p:nvCxnSpPr>
          <p:spPr bwMode="auto">
            <a:xfrm>
              <a:off x="7326535" y="4962042"/>
              <a:ext cx="2504623" cy="0"/>
            </a:xfrm>
            <a:prstGeom prst="line">
              <a:avLst/>
            </a:prstGeom>
            <a:solidFill>
              <a:srgbClr val="1E9FA2"/>
            </a:solidFill>
            <a:ln w="38100" cap="flat" cmpd="sng" algn="ctr">
              <a:solidFill>
                <a:schemeClr val="bg1">
                  <a:lumMod val="85000"/>
                </a:schemeClr>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0CF22955-088A-4B50-8FFA-9E513B097D69}"/>
                </a:ext>
              </a:extLst>
            </p:cNvPr>
            <p:cNvCxnSpPr/>
            <p:nvPr/>
          </p:nvCxnSpPr>
          <p:spPr bwMode="auto">
            <a:xfrm>
              <a:off x="7308886" y="4857707"/>
              <a:ext cx="0" cy="196950"/>
            </a:xfrm>
            <a:prstGeom prst="line">
              <a:avLst/>
            </a:prstGeom>
            <a:solidFill>
              <a:srgbClr val="1E9FA2"/>
            </a:solidFill>
            <a:ln w="38100" cap="flat" cmpd="sng" algn="ctr">
              <a:solidFill>
                <a:schemeClr val="bg1">
                  <a:lumMod val="85000"/>
                </a:schemeClr>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EA483EFF-D5C2-41F0-A2F2-0A75097D9A2C}"/>
                </a:ext>
              </a:extLst>
            </p:cNvPr>
            <p:cNvCxnSpPr/>
            <p:nvPr/>
          </p:nvCxnSpPr>
          <p:spPr bwMode="auto">
            <a:xfrm>
              <a:off x="9840683" y="4853335"/>
              <a:ext cx="0" cy="196950"/>
            </a:xfrm>
            <a:prstGeom prst="line">
              <a:avLst/>
            </a:prstGeom>
            <a:solidFill>
              <a:srgbClr val="1E9FA2"/>
            </a:solidFill>
            <a:ln w="38100" cap="flat" cmpd="sng" algn="ctr">
              <a:solidFill>
                <a:schemeClr val="bg1">
                  <a:lumMod val="85000"/>
                </a:schemeClr>
              </a:solidFill>
              <a:prstDash val="solid"/>
              <a:round/>
              <a:headEnd type="none" w="med" len="med"/>
              <a:tailEnd type="none" w="med" len="med"/>
            </a:ln>
            <a:effectLst/>
          </p:spPr>
        </p:cxnSp>
      </p:grpSp>
      <p:sp>
        <p:nvSpPr>
          <p:cNvPr id="54" name="Text Placeholder 10">
            <a:extLst>
              <a:ext uri="{FF2B5EF4-FFF2-40B4-BE49-F238E27FC236}">
                <a16:creationId xmlns:a16="http://schemas.microsoft.com/office/drawing/2014/main" id="{1A355D66-31E9-4B52-B56C-603CC733E86D}"/>
              </a:ext>
            </a:extLst>
          </p:cNvPr>
          <p:cNvSpPr txBox="1">
            <a:spLocks/>
          </p:cNvSpPr>
          <p:nvPr/>
        </p:nvSpPr>
        <p:spPr>
          <a:xfrm>
            <a:off x="2168522" y="4803056"/>
            <a:ext cx="6817589" cy="181904"/>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fontAlgn="base">
              <a:spcBef>
                <a:spcPct val="20000"/>
              </a:spcBef>
              <a:spcAft>
                <a:spcPct val="0"/>
              </a:spcAft>
              <a:buChar char="»"/>
              <a:defRPr sz="2000">
                <a:solidFill>
                  <a:schemeClr val="tx1"/>
                </a:solidFill>
                <a:latin typeface="+mn-lt"/>
                <a:ea typeface="ＭＳ Ｐゴシック" charset="-128"/>
              </a:defRPr>
            </a:lvl6pPr>
            <a:lvl7pPr marL="2971800" indent="-228600" algn="l" rtl="0" fontAlgn="base">
              <a:spcBef>
                <a:spcPct val="20000"/>
              </a:spcBef>
              <a:spcAft>
                <a:spcPct val="0"/>
              </a:spcAft>
              <a:buChar char="»"/>
              <a:defRPr sz="2000">
                <a:solidFill>
                  <a:schemeClr val="tx1"/>
                </a:solidFill>
                <a:latin typeface="+mn-lt"/>
                <a:ea typeface="ＭＳ Ｐゴシック" charset="-128"/>
              </a:defRPr>
            </a:lvl7pPr>
            <a:lvl8pPr marL="3429000" indent="-228600" algn="l" rtl="0" fontAlgn="base">
              <a:spcBef>
                <a:spcPct val="20000"/>
              </a:spcBef>
              <a:spcAft>
                <a:spcPct val="0"/>
              </a:spcAft>
              <a:buChar char="»"/>
              <a:defRPr sz="2000">
                <a:solidFill>
                  <a:schemeClr val="tx1"/>
                </a:solidFill>
                <a:latin typeface="+mn-lt"/>
                <a:ea typeface="ＭＳ Ｐゴシック" charset="-128"/>
              </a:defRPr>
            </a:lvl8pPr>
            <a:lvl9pPr marL="3886200" indent="-228600" algn="l" rtl="0" fontAlgn="base">
              <a:spcBef>
                <a:spcPct val="20000"/>
              </a:spcBef>
              <a:spcAft>
                <a:spcPct val="0"/>
              </a:spcAft>
              <a:buChar char="»"/>
              <a:defRPr sz="2000">
                <a:solidFill>
                  <a:schemeClr val="tx1"/>
                </a:solidFill>
                <a:latin typeface="+mn-lt"/>
                <a:ea typeface="ＭＳ Ｐゴシック" charset="-128"/>
              </a:defRPr>
            </a:lvl9pPr>
          </a:lstStyle>
          <a:p>
            <a:pPr marL="0" marR="0" lvl="0" indent="0" algn="r" defTabSz="914400" rtl="0" eaLnBrk="0" fontAlgn="base" latinLnBrk="0" hangingPunct="0">
              <a:lnSpc>
                <a:spcPct val="85000"/>
              </a:lnSpc>
              <a:spcBef>
                <a:spcPct val="20000"/>
              </a:spcBef>
              <a:spcAft>
                <a:spcPct val="0"/>
              </a:spcAft>
              <a:buClrTx/>
              <a:buSzTx/>
              <a:buFontTx/>
              <a:buNone/>
              <a:tabLst/>
              <a:defRPr/>
            </a:pPr>
            <a:r>
              <a:rPr kumimoji="0" lang="es-ES" sz="1000" b="0" i="0" u="none" strike="noStrike" kern="1200" cap="none" spc="0" normalizeH="0" baseline="0" noProof="0">
                <a:ln>
                  <a:noFill/>
                </a:ln>
                <a:solidFill>
                  <a:srgbClr val="000020"/>
                </a:solidFill>
                <a:effectLst/>
                <a:uLnTx/>
                <a:uFillTx/>
                <a:latin typeface="Trebuchet MS"/>
                <a:ea typeface="MS PGothic" pitchFamily="34" charset="-128"/>
                <a:cs typeface="Calibri"/>
              </a:rPr>
              <a:t>Moreau P, et al. </a:t>
            </a:r>
            <a:r>
              <a:rPr kumimoji="0" lang="es-ES" sz="1000" b="0" i="1" u="none" strike="noStrike" kern="1200" cap="none" spc="0" normalizeH="0" baseline="0" noProof="0">
                <a:ln>
                  <a:noFill/>
                </a:ln>
                <a:solidFill>
                  <a:srgbClr val="000020"/>
                </a:solidFill>
                <a:effectLst/>
                <a:uLnTx/>
                <a:uFillTx/>
                <a:latin typeface="Trebuchet MS"/>
                <a:ea typeface="MS PGothic" pitchFamily="34" charset="-128"/>
                <a:cs typeface="Calibri"/>
              </a:rPr>
              <a:t>Lancet. </a:t>
            </a:r>
            <a:r>
              <a:rPr kumimoji="0" lang="es-ES" sz="1000" b="0" i="0" u="none" strike="noStrike" kern="1200" cap="none" spc="0" normalizeH="0" baseline="0" noProof="0">
                <a:ln>
                  <a:noFill/>
                </a:ln>
                <a:solidFill>
                  <a:srgbClr val="000020"/>
                </a:solidFill>
                <a:effectLst/>
                <a:uLnTx/>
                <a:uFillTx/>
                <a:latin typeface="Trebuchet MS"/>
                <a:ea typeface="MS PGothic" pitchFamily="34" charset="-128"/>
                <a:cs typeface="Calibri"/>
              </a:rPr>
              <a:t>2019;394:29-38.</a:t>
            </a:r>
            <a:endParaRPr kumimoji="0" lang="es-ES_tradnl" sz="1000" b="0" i="0" u="none" strike="noStrike" kern="1200" cap="none" spc="0" normalizeH="0" baseline="0" noProof="0">
              <a:ln>
                <a:noFill/>
              </a:ln>
              <a:solidFill>
                <a:srgbClr val="000020"/>
              </a:solidFill>
              <a:effectLst/>
              <a:uLnTx/>
              <a:uFillTx/>
              <a:latin typeface="Trebuchet MS"/>
              <a:ea typeface="MS PGothic" pitchFamily="34" charset="-128"/>
              <a:cs typeface="Calibri"/>
            </a:endParaRPr>
          </a:p>
        </p:txBody>
      </p:sp>
    </p:spTree>
    <p:extLst>
      <p:ext uri="{BB962C8B-B14F-4D97-AF65-F5344CB8AC3E}">
        <p14:creationId xmlns:p14="http://schemas.microsoft.com/office/powerpoint/2010/main" val="301021629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bject 16"/>
          <p:cNvSpPr txBox="1">
            <a:spLocks noGrp="1"/>
          </p:cNvSpPr>
          <p:nvPr>
            <p:ph type="title"/>
          </p:nvPr>
        </p:nvSpPr>
        <p:spPr>
          <a:xfrm>
            <a:off x="246490" y="260460"/>
            <a:ext cx="8237552" cy="570043"/>
          </a:xfrm>
          <a:prstGeom prst="rect">
            <a:avLst/>
          </a:prstGeom>
        </p:spPr>
        <p:txBody>
          <a:bodyPr vert="horz" wrap="square" lIns="0" tIns="7635" rIns="0" bIns="0" rtlCol="0" anchor="t" anchorCtr="0">
            <a:spAutoFit/>
          </a:bodyPr>
          <a:lstStyle/>
          <a:p>
            <a:pPr marL="24112">
              <a:spcBef>
                <a:spcPts val="60"/>
              </a:spcBef>
            </a:pPr>
            <a:r>
              <a:rPr lang="en-US" sz="2030" spc="-19" noProof="0">
                <a:solidFill>
                  <a:srgbClr val="595454"/>
                </a:solidFill>
                <a:latin typeface="+mj-lt"/>
              </a:rPr>
              <a:t>CASSIOPEIA: Landmark </a:t>
            </a:r>
            <a:r>
              <a:rPr lang="en-US" sz="2030" spc="-16" noProof="0">
                <a:solidFill>
                  <a:srgbClr val="595454"/>
                </a:solidFill>
                <a:latin typeface="+mj-lt"/>
              </a:rPr>
              <a:t>PFS </a:t>
            </a:r>
            <a:r>
              <a:rPr lang="en-US" sz="2030" spc="-19" noProof="0">
                <a:solidFill>
                  <a:srgbClr val="595454"/>
                </a:solidFill>
                <a:latin typeface="+mj-lt"/>
              </a:rPr>
              <a:t>analysis </a:t>
            </a:r>
            <a:r>
              <a:rPr lang="en-US" sz="2030" spc="-26" noProof="0">
                <a:solidFill>
                  <a:srgbClr val="595454"/>
                </a:solidFill>
                <a:latin typeface="+mj-lt"/>
              </a:rPr>
              <a:t>from </a:t>
            </a:r>
            <a:r>
              <a:rPr lang="en-US" sz="2030" spc="-19" noProof="0">
                <a:solidFill>
                  <a:srgbClr val="595454"/>
                </a:solidFill>
                <a:latin typeface="+mj-lt"/>
              </a:rPr>
              <a:t>post-induction – </a:t>
            </a:r>
            <a:r>
              <a:rPr lang="en-US" sz="2030" spc="-16" noProof="0">
                <a:solidFill>
                  <a:srgbClr val="595454"/>
                </a:solidFill>
                <a:latin typeface="+mj-lt"/>
              </a:rPr>
              <a:t>≥CR</a:t>
            </a:r>
            <a:r>
              <a:rPr lang="en-US" sz="2030" spc="-41" noProof="0">
                <a:solidFill>
                  <a:srgbClr val="595454"/>
                </a:solidFill>
                <a:latin typeface="+mj-lt"/>
              </a:rPr>
              <a:t> </a:t>
            </a:r>
            <a:r>
              <a:rPr lang="en-US" sz="2030" spc="-3" noProof="0">
                <a:solidFill>
                  <a:srgbClr val="595454"/>
                </a:solidFill>
                <a:latin typeface="+mj-lt"/>
              </a:rPr>
              <a:t>+ </a:t>
            </a:r>
            <a:r>
              <a:rPr lang="en-US" sz="2030" spc="-19" noProof="0">
                <a:solidFill>
                  <a:srgbClr val="595454"/>
                </a:solidFill>
                <a:latin typeface="+mj-lt"/>
              </a:rPr>
              <a:t>MRD negativity </a:t>
            </a:r>
            <a:r>
              <a:rPr lang="en-US" sz="2030" spc="-16" noProof="0">
                <a:solidFill>
                  <a:srgbClr val="595454"/>
                </a:solidFill>
                <a:latin typeface="+mj-lt"/>
              </a:rPr>
              <a:t>(MFC; </a:t>
            </a:r>
            <a:r>
              <a:rPr lang="en-US" sz="2030" spc="-10" noProof="0">
                <a:solidFill>
                  <a:srgbClr val="595454"/>
                </a:solidFill>
                <a:latin typeface="+mj-lt"/>
              </a:rPr>
              <a:t>10</a:t>
            </a:r>
            <a:r>
              <a:rPr lang="en-US" sz="2030" spc="-14" baseline="25525" noProof="0">
                <a:solidFill>
                  <a:srgbClr val="595454"/>
                </a:solidFill>
                <a:latin typeface="+mj-lt"/>
              </a:rPr>
              <a:t>–5</a:t>
            </a:r>
            <a:r>
              <a:rPr lang="en-US" sz="2030" spc="-10" noProof="0">
                <a:solidFill>
                  <a:srgbClr val="595454"/>
                </a:solidFill>
                <a:latin typeface="+mj-lt"/>
              </a:rPr>
              <a:t>) </a:t>
            </a:r>
            <a:r>
              <a:rPr lang="en-US" sz="2030" spc="-19" noProof="0">
                <a:solidFill>
                  <a:srgbClr val="595454"/>
                </a:solidFill>
                <a:latin typeface="+mj-lt"/>
              </a:rPr>
              <a:t>status </a:t>
            </a:r>
            <a:r>
              <a:rPr lang="en-US" sz="2030" spc="-32" noProof="0">
                <a:solidFill>
                  <a:srgbClr val="595454"/>
                </a:solidFill>
                <a:latin typeface="+mj-lt"/>
              </a:rPr>
              <a:t>by treatment</a:t>
            </a:r>
            <a:r>
              <a:rPr lang="en-US" sz="2030" spc="-114" noProof="0">
                <a:solidFill>
                  <a:srgbClr val="595454"/>
                </a:solidFill>
                <a:latin typeface="+mj-lt"/>
              </a:rPr>
              <a:t> </a:t>
            </a:r>
            <a:r>
              <a:rPr lang="en-US" sz="2030" spc="-26" noProof="0">
                <a:solidFill>
                  <a:srgbClr val="595454"/>
                </a:solidFill>
                <a:latin typeface="+mj-lt"/>
              </a:rPr>
              <a:t>group</a:t>
            </a:r>
            <a:endParaRPr lang="en-US" sz="2030" noProof="0">
              <a:solidFill>
                <a:srgbClr val="595454"/>
              </a:solidFill>
              <a:latin typeface="+mj-lt"/>
            </a:endParaRPr>
          </a:p>
        </p:txBody>
      </p:sp>
      <p:sp>
        <p:nvSpPr>
          <p:cNvPr id="179" name="Text Placeholder 10">
            <a:extLst>
              <a:ext uri="{FF2B5EF4-FFF2-40B4-BE49-F238E27FC236}">
                <a16:creationId xmlns:a16="http://schemas.microsoft.com/office/drawing/2014/main" id="{60A77B00-1EB8-014C-BE99-5D862578D2CD}"/>
              </a:ext>
            </a:extLst>
          </p:cNvPr>
          <p:cNvSpPr txBox="1">
            <a:spLocks/>
          </p:cNvSpPr>
          <p:nvPr/>
        </p:nvSpPr>
        <p:spPr>
          <a:xfrm>
            <a:off x="2167944" y="4809909"/>
            <a:ext cx="6817589" cy="181904"/>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fontAlgn="base">
              <a:spcBef>
                <a:spcPct val="20000"/>
              </a:spcBef>
              <a:spcAft>
                <a:spcPct val="0"/>
              </a:spcAft>
              <a:buChar char="»"/>
              <a:defRPr sz="2000">
                <a:solidFill>
                  <a:schemeClr val="tx1"/>
                </a:solidFill>
                <a:latin typeface="+mn-lt"/>
                <a:ea typeface="ＭＳ Ｐゴシック" charset="-128"/>
              </a:defRPr>
            </a:lvl6pPr>
            <a:lvl7pPr marL="2971800" indent="-228600" algn="l" rtl="0" fontAlgn="base">
              <a:spcBef>
                <a:spcPct val="20000"/>
              </a:spcBef>
              <a:spcAft>
                <a:spcPct val="0"/>
              </a:spcAft>
              <a:buChar char="»"/>
              <a:defRPr sz="2000">
                <a:solidFill>
                  <a:schemeClr val="tx1"/>
                </a:solidFill>
                <a:latin typeface="+mn-lt"/>
                <a:ea typeface="ＭＳ Ｐゴシック" charset="-128"/>
              </a:defRPr>
            </a:lvl7pPr>
            <a:lvl8pPr marL="3429000" indent="-228600" algn="l" rtl="0" fontAlgn="base">
              <a:spcBef>
                <a:spcPct val="20000"/>
              </a:spcBef>
              <a:spcAft>
                <a:spcPct val="0"/>
              </a:spcAft>
              <a:buChar char="»"/>
              <a:defRPr sz="2000">
                <a:solidFill>
                  <a:schemeClr val="tx1"/>
                </a:solidFill>
                <a:latin typeface="+mn-lt"/>
                <a:ea typeface="ＭＳ Ｐゴシック" charset="-128"/>
              </a:defRPr>
            </a:lvl8pPr>
            <a:lvl9pPr marL="3886200" indent="-228600" algn="l" rtl="0" fontAlgn="base">
              <a:spcBef>
                <a:spcPct val="20000"/>
              </a:spcBef>
              <a:spcAft>
                <a:spcPct val="0"/>
              </a:spcAft>
              <a:buChar char="»"/>
              <a:defRPr sz="2000">
                <a:solidFill>
                  <a:schemeClr val="tx1"/>
                </a:solidFill>
                <a:latin typeface="+mn-lt"/>
                <a:ea typeface="ＭＳ Ｐゴシック" charset="-128"/>
              </a:defRPr>
            </a:lvl9pPr>
          </a:lstStyle>
          <a:p>
            <a:pPr marL="0" marR="0" lvl="0" indent="0" algn="r" defTabSz="914400" rtl="0" eaLnBrk="0" fontAlgn="base" latinLnBrk="0" hangingPunct="0">
              <a:lnSpc>
                <a:spcPct val="85000"/>
              </a:lnSpc>
              <a:spcBef>
                <a:spcPct val="20000"/>
              </a:spcBef>
              <a:spcAft>
                <a:spcPct val="0"/>
              </a:spcAft>
              <a:buClrTx/>
              <a:buSzTx/>
              <a:buFontTx/>
              <a:buNone/>
              <a:tabLst/>
              <a:defRPr/>
            </a:pPr>
            <a:r>
              <a:rPr kumimoji="0" lang="es-ES" sz="1000" b="0" i="0" u="none" strike="noStrike" kern="1200" cap="none" spc="0" normalizeH="0" baseline="0" noProof="0">
                <a:ln>
                  <a:noFill/>
                </a:ln>
                <a:solidFill>
                  <a:srgbClr val="000020"/>
                </a:solidFill>
                <a:effectLst/>
                <a:uLnTx/>
                <a:uFillTx/>
                <a:latin typeface="Trebuchet MS"/>
                <a:ea typeface="MS PGothic" pitchFamily="34" charset="-128"/>
                <a:cs typeface="Calibri"/>
              </a:rPr>
              <a:t>Avet Loiseau H, et al. ASH 2021. Abstract 82.</a:t>
            </a:r>
            <a:endParaRPr kumimoji="0" lang="es-ES_tradnl" sz="1000" b="0" i="0" u="none" strike="noStrike" kern="1200" cap="none" spc="0" normalizeH="0" baseline="0" noProof="0">
              <a:ln>
                <a:noFill/>
              </a:ln>
              <a:solidFill>
                <a:srgbClr val="000020"/>
              </a:solidFill>
              <a:effectLst/>
              <a:uLnTx/>
              <a:uFillTx/>
              <a:latin typeface="Trebuchet MS"/>
              <a:ea typeface="MS PGothic" pitchFamily="34" charset="-128"/>
              <a:cs typeface="Calibri"/>
            </a:endParaRPr>
          </a:p>
        </p:txBody>
      </p:sp>
      <p:pic>
        <p:nvPicPr>
          <p:cNvPr id="3" name="Picture 2">
            <a:extLst>
              <a:ext uri="{FF2B5EF4-FFF2-40B4-BE49-F238E27FC236}">
                <a16:creationId xmlns:a16="http://schemas.microsoft.com/office/drawing/2014/main" id="{954D5776-4E12-4DE6-8FF5-F216F4FEB50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5586" y="1024094"/>
            <a:ext cx="7452828" cy="3365026"/>
          </a:xfrm>
          <a:prstGeom prst="rect">
            <a:avLst/>
          </a:prstGeom>
        </p:spPr>
      </p:pic>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199DD24-0DE2-431E-8A35-A0504298ED56}"/>
              </a:ext>
            </a:extLst>
          </p:cNvPr>
          <p:cNvSpPr txBox="1">
            <a:spLocks/>
          </p:cNvSpPr>
          <p:nvPr/>
        </p:nvSpPr>
        <p:spPr>
          <a:xfrm>
            <a:off x="181431" y="224227"/>
            <a:ext cx="7604343" cy="402924"/>
          </a:xfrm>
          <a:prstGeom prst="rect">
            <a:avLst/>
          </a:prstGeom>
        </p:spPr>
        <p:txBody>
          <a:bodyPr/>
          <a:lstStyle>
            <a:lvl1pPr algn="l" defTabSz="914400" rtl="0" eaLnBrk="1" latinLnBrk="0" hangingPunct="1">
              <a:lnSpc>
                <a:spcPct val="90000"/>
              </a:lnSpc>
              <a:spcBef>
                <a:spcPct val="0"/>
              </a:spcBef>
              <a:buNone/>
              <a:defRPr sz="3800" b="1" i="0" kern="1200" baseline="0">
                <a:solidFill>
                  <a:srgbClr val="113468"/>
                </a:solidFill>
                <a:latin typeface="Calibri"/>
                <a:ea typeface="+mj-ea"/>
                <a:cs typeface="Calibri"/>
              </a:defRPr>
            </a:lvl1pPr>
          </a:lstStyle>
          <a:p>
            <a:pPr marL="0" marR="0" lvl="0" indent="0" algn="l" defTabSz="578649" rtl="0" eaLnBrk="1" fontAlgn="base" latinLnBrk="0" hangingPunct="1">
              <a:lnSpc>
                <a:spcPct val="90000"/>
              </a:lnSpc>
              <a:spcBef>
                <a:spcPct val="0"/>
              </a:spcBef>
              <a:spcAft>
                <a:spcPct val="0"/>
              </a:spcAft>
              <a:buClrTx/>
              <a:buSzTx/>
              <a:buFontTx/>
              <a:buNone/>
              <a:tabLst/>
              <a:defRPr/>
            </a:pPr>
            <a:r>
              <a:rPr kumimoji="0" lang="en-US" sz="2030" b="1" i="0" u="none" strike="noStrike" kern="1200" cap="none" spc="0" normalizeH="0" baseline="0" noProof="0">
                <a:ln>
                  <a:noFill/>
                </a:ln>
                <a:solidFill>
                  <a:srgbClr val="595454"/>
                </a:solidFill>
                <a:effectLst/>
                <a:uLnTx/>
                <a:uFillTx/>
                <a:latin typeface="Trebuchet MS"/>
                <a:ea typeface="+mj-ea"/>
                <a:cs typeface="Arial" panose="020B0604020202020204" pitchFamily="34" charset="0"/>
              </a:rPr>
              <a:t>Safety: Most common TEAEs</a:t>
            </a:r>
            <a:r>
              <a:rPr kumimoji="0" lang="en-US" sz="2030" b="1" i="0" u="none" strike="noStrike" kern="1200" cap="none" spc="0" normalizeH="0" baseline="30000" noProof="0">
                <a:ln>
                  <a:noFill/>
                </a:ln>
                <a:solidFill>
                  <a:srgbClr val="595454"/>
                </a:solidFill>
                <a:effectLst/>
                <a:uLnTx/>
                <a:uFillTx/>
                <a:latin typeface="Trebuchet MS"/>
                <a:ea typeface="+mj-ea"/>
                <a:cs typeface="Arial" panose="020B0604020202020204" pitchFamily="34" charset="0"/>
              </a:rPr>
              <a:t>a,b</a:t>
            </a:r>
          </a:p>
        </p:txBody>
      </p:sp>
      <p:graphicFrame>
        <p:nvGraphicFramePr>
          <p:cNvPr id="9" name="Content Placeholder 4">
            <a:extLst>
              <a:ext uri="{FF2B5EF4-FFF2-40B4-BE49-F238E27FC236}">
                <a16:creationId xmlns:a16="http://schemas.microsoft.com/office/drawing/2014/main" id="{922BFDF2-EB61-4B90-9411-B871D9E1345D}"/>
              </a:ext>
            </a:extLst>
          </p:cNvPr>
          <p:cNvGraphicFramePr>
            <a:graphicFrameLocks/>
          </p:cNvGraphicFramePr>
          <p:nvPr/>
        </p:nvGraphicFramePr>
        <p:xfrm>
          <a:off x="826936" y="723948"/>
          <a:ext cx="7418567" cy="3340703"/>
        </p:xfrm>
        <a:graphic>
          <a:graphicData uri="http://schemas.openxmlformats.org/drawingml/2006/table">
            <a:tbl>
              <a:tblPr firstRow="1" bandRow="1"/>
              <a:tblGrid>
                <a:gridCol w="2686115">
                  <a:extLst>
                    <a:ext uri="{9D8B030D-6E8A-4147-A177-3AD203B41FA5}">
                      <a16:colId xmlns:a16="http://schemas.microsoft.com/office/drawing/2014/main" val="20000"/>
                    </a:ext>
                  </a:extLst>
                </a:gridCol>
                <a:gridCol w="1181971">
                  <a:extLst>
                    <a:ext uri="{9D8B030D-6E8A-4147-A177-3AD203B41FA5}">
                      <a16:colId xmlns:a16="http://schemas.microsoft.com/office/drawing/2014/main" val="20001"/>
                    </a:ext>
                  </a:extLst>
                </a:gridCol>
                <a:gridCol w="1184255">
                  <a:extLst>
                    <a:ext uri="{9D8B030D-6E8A-4147-A177-3AD203B41FA5}">
                      <a16:colId xmlns:a16="http://schemas.microsoft.com/office/drawing/2014/main" val="20002"/>
                    </a:ext>
                  </a:extLst>
                </a:gridCol>
                <a:gridCol w="1181971">
                  <a:extLst>
                    <a:ext uri="{9D8B030D-6E8A-4147-A177-3AD203B41FA5}">
                      <a16:colId xmlns:a16="http://schemas.microsoft.com/office/drawing/2014/main" val="20003"/>
                    </a:ext>
                  </a:extLst>
                </a:gridCol>
                <a:gridCol w="1184255">
                  <a:extLst>
                    <a:ext uri="{9D8B030D-6E8A-4147-A177-3AD203B41FA5}">
                      <a16:colId xmlns:a16="http://schemas.microsoft.com/office/drawing/2014/main" val="20004"/>
                    </a:ext>
                  </a:extLst>
                </a:gridCol>
              </a:tblGrid>
              <a:tr h="225647">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l" defTabSz="457200" rtl="0" eaLnBrk="1" latinLnBrk="0" hangingPunct="1">
                        <a:spcBef>
                          <a:spcPts val="0"/>
                        </a:spcBef>
                        <a:spcAft>
                          <a:spcPts val="0"/>
                        </a:spcAft>
                      </a:pPr>
                      <a:r>
                        <a:rPr lang="en-US" sz="1100" kern="1200">
                          <a:latin typeface="+mn-lt"/>
                          <a:cs typeface="Arial" panose="020B0604020202020204" pitchFamily="34" charset="0"/>
                        </a:rPr>
                        <a:t> </a:t>
                      </a:r>
                      <a:endParaRPr lang="en-US" sz="1100" kern="1200">
                        <a:solidFill>
                          <a:schemeClr val="bg2"/>
                        </a:solidFill>
                        <a:latin typeface="+mn-lt"/>
                        <a:ea typeface="+mn-ea"/>
                        <a:cs typeface="Arial" panose="020B0604020202020204" pitchFamily="34" charset="0"/>
                      </a:endParaRP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algn="ctr" defTabSz="457200" rtl="0" eaLnBrk="1" latinLnBrk="0" hangingPunct="1">
                        <a:spcBef>
                          <a:spcPts val="0"/>
                        </a:spcBef>
                        <a:spcAft>
                          <a:spcPts val="0"/>
                        </a:spcAft>
                      </a:pPr>
                      <a:r>
                        <a:rPr lang="en-US" sz="1100" kern="1200" baseline="0">
                          <a:solidFill>
                            <a:schemeClr val="bg1"/>
                          </a:solidFill>
                          <a:latin typeface="+mn-lt"/>
                          <a:cs typeface="Arial" panose="020B0604020202020204" pitchFamily="34" charset="0"/>
                        </a:rPr>
                        <a:t>D-VTd </a:t>
                      </a:r>
                      <a:r>
                        <a:rPr lang="en-US" sz="1100" kern="1200">
                          <a:solidFill>
                            <a:schemeClr val="bg1"/>
                          </a:solidFill>
                          <a:latin typeface="+mn-lt"/>
                          <a:cs typeface="Arial" panose="020B0604020202020204" pitchFamily="34" charset="0"/>
                        </a:rPr>
                        <a:t>(n = 536)</a:t>
                      </a:r>
                      <a:endParaRPr lang="en-US" sz="1100" b="1" kern="1200">
                        <a:solidFill>
                          <a:schemeClr val="bg1"/>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hMerge="1">
                  <a:txBody>
                    <a:bodyPr/>
                    <a:lstStyle/>
                    <a:p>
                      <a:endParaRPr lang="en-US"/>
                    </a:p>
                  </a:txBody>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r>
                        <a:rPr lang="en-US" sz="1100" b="1" kern="1200">
                          <a:solidFill>
                            <a:schemeClr val="bg1"/>
                          </a:solidFill>
                          <a:latin typeface="+mn-lt"/>
                          <a:ea typeface="+mn-ea"/>
                          <a:cs typeface="Arial" panose="020B0604020202020204" pitchFamily="34" charset="0"/>
                        </a:rPr>
                        <a:t>VTd (n = 538)</a:t>
                      </a: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hMerge="1">
                  <a:txBody>
                    <a:bodyPr/>
                    <a:lstStyle/>
                    <a:p>
                      <a:pPr marL="0" marR="0" algn="ctr" defTabSz="457200" rtl="0" eaLnBrk="1" latinLnBrk="0" hangingPunct="1">
                        <a:spcBef>
                          <a:spcPts val="0"/>
                        </a:spcBef>
                        <a:spcAft>
                          <a:spcPts val="0"/>
                        </a:spcAft>
                      </a:pPr>
                      <a:endParaRPr lang="en-US" sz="1600" b="1" kern="1200">
                        <a:solidFill>
                          <a:schemeClr val="bg1"/>
                        </a:solidFill>
                        <a:latin typeface="+mn-lt"/>
                        <a:ea typeface="+mn-ea"/>
                        <a:cs typeface="+mn-cs"/>
                      </a:endParaRPr>
                    </a:p>
                  </a:txBody>
                  <a:tcPr marL="42545" marR="42545"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10000"/>
                  </a:ext>
                </a:extLst>
              </a:tr>
              <a:tr h="196859">
                <a:tc vMerge="1">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55245" algn="l" defTabSz="457200" rtl="0" eaLnBrk="1" latinLnBrk="0" hangingPunct="1">
                        <a:spcBef>
                          <a:spcPts val="0"/>
                        </a:spcBef>
                        <a:spcAft>
                          <a:spcPts val="0"/>
                        </a:spcAft>
                      </a:pPr>
                      <a:endParaRPr lang="en-US" sz="1100" kern="1200">
                        <a:solidFill>
                          <a:schemeClr val="bg1"/>
                        </a:solidFill>
                        <a:latin typeface="Arial" panose="020B0604020202020204" pitchFamily="34" charset="0"/>
                        <a:ea typeface="+mn-ea"/>
                        <a:cs typeface="Arial" panose="020B0604020202020204" pitchFamily="34" charset="0"/>
                      </a:endParaRPr>
                    </a:p>
                  </a:txBody>
                  <a:tcPr marL="42545" marR="42545"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defTabSz="457200" rtl="0" eaLnBrk="1" latinLnBrk="0" hangingPunct="1">
                        <a:spcBef>
                          <a:spcPts val="0"/>
                        </a:spcBef>
                        <a:spcAft>
                          <a:spcPts val="0"/>
                        </a:spcAft>
                      </a:pPr>
                      <a:r>
                        <a:rPr lang="en-US" sz="1100" b="1" kern="1200">
                          <a:solidFill>
                            <a:schemeClr val="bg1"/>
                          </a:solidFill>
                          <a:latin typeface="+mn-lt"/>
                          <a:cs typeface="Arial" panose="020B0604020202020204" pitchFamily="34" charset="0"/>
                        </a:rPr>
                        <a:t>Any grade</a:t>
                      </a:r>
                      <a:endParaRPr lang="en-US" sz="1100" b="1" kern="1200">
                        <a:solidFill>
                          <a:schemeClr val="bg1"/>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r>
                        <a:rPr lang="en-US" sz="1100" b="1" kern="1200">
                          <a:solidFill>
                            <a:schemeClr val="bg1"/>
                          </a:solidFill>
                          <a:latin typeface="+mn-lt"/>
                          <a:ea typeface="+mn-ea"/>
                          <a:cs typeface="Arial" panose="020B0604020202020204" pitchFamily="34" charset="0"/>
                        </a:rPr>
                        <a:t>Grade 3 or 4</a:t>
                      </a: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algn="ctr" defTabSz="457200" rtl="0" eaLnBrk="1" latinLnBrk="0" hangingPunct="1">
                        <a:spcBef>
                          <a:spcPts val="0"/>
                        </a:spcBef>
                        <a:spcAft>
                          <a:spcPts val="0"/>
                        </a:spcAft>
                      </a:pPr>
                      <a:r>
                        <a:rPr lang="en-US" sz="1100" b="1" kern="1200">
                          <a:solidFill>
                            <a:schemeClr val="bg1"/>
                          </a:solidFill>
                          <a:latin typeface="+mn-lt"/>
                          <a:cs typeface="Arial" panose="020B0604020202020204" pitchFamily="34" charset="0"/>
                        </a:rPr>
                        <a:t>Any grade</a:t>
                      </a:r>
                      <a:endParaRPr lang="en-US" sz="1100" b="1" kern="1200">
                        <a:solidFill>
                          <a:schemeClr val="bg1"/>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r>
                        <a:rPr lang="en-US" sz="1100" b="1" kern="1200">
                          <a:solidFill>
                            <a:schemeClr val="bg1"/>
                          </a:solidFill>
                          <a:latin typeface="+mn-lt"/>
                          <a:ea typeface="+mn-ea"/>
                          <a:cs typeface="Arial" panose="020B0604020202020204" pitchFamily="34" charset="0"/>
                        </a:rPr>
                        <a:t>Grade 3 or 4</a:t>
                      </a:r>
                    </a:p>
                  </a:txBody>
                  <a:tcPr marT="27432" marB="27432"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extLst>
                  <a:ext uri="{0D108BD9-81ED-4DB2-BD59-A6C34878D82A}">
                    <a16:rowId xmlns:a16="http://schemas.microsoft.com/office/drawing/2014/main" val="2350416980"/>
                  </a:ext>
                </a:extLst>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4763" marR="0" lvl="1" indent="6350" algn="l" defTabSz="457200" rtl="0" eaLnBrk="1" latinLnBrk="0" hangingPunct="1">
                        <a:spcBef>
                          <a:spcPts val="0"/>
                        </a:spcBef>
                        <a:spcAft>
                          <a:spcPts val="0"/>
                        </a:spcAft>
                      </a:pPr>
                      <a:r>
                        <a:rPr lang="en-US" sz="1100" b="1" kern="1200">
                          <a:solidFill>
                            <a:schemeClr val="tx1">
                              <a:lumMod val="50000"/>
                            </a:schemeClr>
                          </a:solidFill>
                          <a:latin typeface="+mn-lt"/>
                          <a:ea typeface="+mn-ea"/>
                          <a:cs typeface="Arial" panose="020B0604020202020204" pitchFamily="34" charset="0"/>
                        </a:rPr>
                        <a:t>Hematologic, n (%)</a:t>
                      </a: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100" kern="1200">
                        <a:solidFill>
                          <a:schemeClr val="tx1">
                            <a:lumMod val="50000"/>
                          </a:schemeClr>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100" kern="1200">
                        <a:solidFill>
                          <a:schemeClr val="tx1">
                            <a:lumMod val="50000"/>
                          </a:schemeClr>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100" kern="1200">
                        <a:solidFill>
                          <a:schemeClr val="tx1">
                            <a:lumMod val="50000"/>
                          </a:schemeClr>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100" kern="1200">
                        <a:solidFill>
                          <a:schemeClr val="tx1">
                            <a:lumMod val="50000"/>
                          </a:schemeClr>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extLst>
                  <a:ext uri="{0D108BD9-81ED-4DB2-BD59-A6C34878D82A}">
                    <a16:rowId xmlns:a16="http://schemas.microsoft.com/office/drawing/2014/main" val="10002"/>
                  </a:ext>
                </a:extLst>
              </a:tr>
              <a:tr h="19685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100">
                          <a:solidFill>
                            <a:schemeClr val="tx1">
                              <a:lumMod val="50000"/>
                            </a:schemeClr>
                          </a:solidFill>
                          <a:latin typeface="+mn-lt"/>
                          <a:cs typeface="Arial" panose="020B0604020202020204" pitchFamily="34" charset="0"/>
                        </a:rPr>
                        <a:t>     Neutropenia</a:t>
                      </a: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57 (29)</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48 (28)</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89 (17)</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79 (15)</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extLst>
                  <a:ext uri="{0D108BD9-81ED-4DB2-BD59-A6C34878D82A}">
                    <a16:rowId xmlns:a16="http://schemas.microsoft.com/office/drawing/2014/main" val="3509618080"/>
                  </a:ext>
                </a:extLst>
              </a:tr>
              <a:tr h="2000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100">
                          <a:solidFill>
                            <a:schemeClr val="tx1">
                              <a:lumMod val="50000"/>
                            </a:schemeClr>
                          </a:solidFill>
                          <a:latin typeface="+mn-lt"/>
                          <a:cs typeface="Arial" panose="020B0604020202020204" pitchFamily="34" charset="0"/>
                        </a:rPr>
                        <a:t>     Thrombocytopenia</a:t>
                      </a: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09 (20)</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59 (1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73 (14)</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40 (7)</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extLst>
                  <a:ext uri="{0D108BD9-81ED-4DB2-BD59-A6C34878D82A}">
                    <a16:rowId xmlns:a16="http://schemas.microsoft.com/office/drawing/2014/main" val="10004"/>
                  </a:ext>
                </a:extLst>
              </a:tr>
              <a:tr h="19685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r>
                        <a:rPr lang="en-US" sz="1100">
                          <a:solidFill>
                            <a:schemeClr val="tx1">
                              <a:lumMod val="50000"/>
                            </a:schemeClr>
                          </a:solidFill>
                          <a:latin typeface="+mn-lt"/>
                          <a:cs typeface="Arial" panose="020B0604020202020204" pitchFamily="34" charset="0"/>
                        </a:rPr>
                        <a:t>     Lymphopenia</a:t>
                      </a: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99 (19)</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91 (17)</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67 (13)</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52 (10)</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3DE"/>
                    </a:solidFill>
                  </a:tcPr>
                </a:tc>
                <a:extLst>
                  <a:ext uri="{0D108BD9-81ED-4DB2-BD59-A6C34878D82A}">
                    <a16:rowId xmlns:a16="http://schemas.microsoft.com/office/drawing/2014/main" val="1111899811"/>
                  </a:ext>
                </a:extLst>
              </a:tr>
              <a:tr h="19685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4763" marR="0" lvl="1" indent="6350" algn="l" defTabSz="457200" rtl="0" eaLnBrk="1" latinLnBrk="0" hangingPunct="1">
                        <a:spcBef>
                          <a:spcPts val="0"/>
                        </a:spcBef>
                        <a:spcAft>
                          <a:spcPts val="0"/>
                        </a:spcAft>
                      </a:pPr>
                      <a:r>
                        <a:rPr lang="en-US" sz="1100" b="1" kern="1200">
                          <a:solidFill>
                            <a:schemeClr val="tx1">
                              <a:lumMod val="50000"/>
                            </a:schemeClr>
                          </a:solidFill>
                          <a:latin typeface="+mn-lt"/>
                          <a:ea typeface="+mn-ea"/>
                          <a:cs typeface="Arial" panose="020B0604020202020204" pitchFamily="34" charset="0"/>
                        </a:rPr>
                        <a:t>Nonhematologic, n (%)</a:t>
                      </a: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100" kern="1200">
                        <a:solidFill>
                          <a:schemeClr val="tx1">
                            <a:lumMod val="50000"/>
                          </a:schemeClr>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100" kern="1200">
                        <a:solidFill>
                          <a:schemeClr val="tx1">
                            <a:lumMod val="50000"/>
                          </a:schemeClr>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100" kern="1200">
                        <a:solidFill>
                          <a:schemeClr val="tx1">
                            <a:lumMod val="50000"/>
                          </a:schemeClr>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algn="ctr" defTabSz="457200" rtl="0" eaLnBrk="1" latinLnBrk="0" hangingPunct="1">
                        <a:spcBef>
                          <a:spcPts val="0"/>
                        </a:spcBef>
                        <a:spcAft>
                          <a:spcPts val="0"/>
                        </a:spcAft>
                      </a:pPr>
                      <a:endParaRPr lang="en-US" sz="1100" kern="1200">
                        <a:solidFill>
                          <a:schemeClr val="tx1">
                            <a:lumMod val="50000"/>
                          </a:schemeClr>
                        </a:solidFill>
                        <a:latin typeface="+mn-lt"/>
                        <a:ea typeface="+mn-ea"/>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extLst>
                  <a:ext uri="{0D108BD9-81ED-4DB2-BD59-A6C34878D82A}">
                    <a16:rowId xmlns:a16="http://schemas.microsoft.com/office/drawing/2014/main" val="10006"/>
                  </a:ext>
                </a:extLst>
              </a:tr>
              <a:tr h="196859">
                <a:tc>
                  <a:txBody>
                    <a:bodyPr/>
                    <a:lstStyle/>
                    <a:p>
                      <a:pPr marL="154940" marR="0" indent="-154940">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   Peripheral sensory neuropathy</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314 (59)</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47 (9)</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340 (63)</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46 (9)</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extLst>
                  <a:ext uri="{0D108BD9-81ED-4DB2-BD59-A6C34878D82A}">
                    <a16:rowId xmlns:a16="http://schemas.microsoft.com/office/drawing/2014/main" val="1316674966"/>
                  </a:ext>
                </a:extLst>
              </a:tr>
              <a:tr h="196859">
                <a:tc>
                  <a:txBody>
                    <a:bodyPr/>
                    <a:lstStyle/>
                    <a:p>
                      <a:pPr marL="0" marR="0">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   Constipation</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272 (5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7 (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262 (49)</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7 (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extLst>
                  <a:ext uri="{0D108BD9-81ED-4DB2-BD59-A6C34878D82A}">
                    <a16:rowId xmlns:a16="http://schemas.microsoft.com/office/drawing/2014/main" val="4260444442"/>
                  </a:ext>
                </a:extLst>
              </a:tr>
              <a:tr h="196859">
                <a:tc>
                  <a:txBody>
                    <a:bodyPr/>
                    <a:lstStyle/>
                    <a:p>
                      <a:pPr marL="0" marR="0">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   Asthenia</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71 (32)</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7 (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55 (29)</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6 (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extLst>
                  <a:ext uri="{0D108BD9-81ED-4DB2-BD59-A6C34878D82A}">
                    <a16:rowId xmlns:a16="http://schemas.microsoft.com/office/drawing/2014/main" val="1883179560"/>
                  </a:ext>
                </a:extLst>
              </a:tr>
              <a:tr h="196859">
                <a:tc>
                  <a:txBody>
                    <a:bodyPr/>
                    <a:lstStyle/>
                    <a:p>
                      <a:pPr marL="0" marR="0">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   Peripheral edema</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62 (30)</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3 (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48 (28)</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7 (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extLst>
                  <a:ext uri="{0D108BD9-81ED-4DB2-BD59-A6C34878D82A}">
                    <a16:rowId xmlns:a16="http://schemas.microsoft.com/office/drawing/2014/main" val="10012"/>
                  </a:ext>
                </a:extLst>
              </a:tr>
              <a:tr h="196859">
                <a:tc>
                  <a:txBody>
                    <a:bodyPr/>
                    <a:lstStyle/>
                    <a:p>
                      <a:pPr marL="0" marR="0">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   Nausea</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62 (30)</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21 (4)</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30 (24)</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2 (2)</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extLst>
                  <a:ext uri="{0D108BD9-81ED-4DB2-BD59-A6C34878D82A}">
                    <a16:rowId xmlns:a16="http://schemas.microsoft.com/office/drawing/2014/main" val="10014"/>
                  </a:ext>
                </a:extLst>
              </a:tr>
              <a:tr h="196859">
                <a:tc>
                  <a:txBody>
                    <a:bodyPr/>
                    <a:lstStyle/>
                    <a:p>
                      <a:pPr marL="0" marR="0">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   Pyrexia</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40 (26)</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4 (3)</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14 (2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2 (2)</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extLst>
                  <a:ext uri="{0D108BD9-81ED-4DB2-BD59-A6C34878D82A}">
                    <a16:rowId xmlns:a16="http://schemas.microsoft.com/office/drawing/2014/main" val="10015"/>
                  </a:ext>
                </a:extLst>
              </a:tr>
              <a:tr h="196859">
                <a:tc>
                  <a:txBody>
                    <a:bodyPr/>
                    <a:lstStyle/>
                    <a:p>
                      <a:pPr marL="0" marR="0">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   Paresthesia</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18 (22)</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4 (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08 (20)</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6 (1)</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extLst>
                  <a:ext uri="{0D108BD9-81ED-4DB2-BD59-A6C34878D82A}">
                    <a16:rowId xmlns:a16="http://schemas.microsoft.com/office/drawing/2014/main" val="10013"/>
                  </a:ext>
                </a:extLst>
              </a:tr>
              <a:tr h="196859">
                <a:tc>
                  <a:txBody>
                    <a:bodyPr/>
                    <a:lstStyle/>
                    <a:p>
                      <a:pPr marL="0" marR="0">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   Stomatitis</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ysClr val="window" lastClr="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86 (16)</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68 (13)</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104 (19)</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tc>
                  <a:txBody>
                    <a:bodyPr/>
                    <a:lstStyle/>
                    <a:p>
                      <a:pPr marL="0" marR="0" algn="ctr">
                        <a:lnSpc>
                          <a:spcPct val="100000"/>
                        </a:lnSpc>
                        <a:spcBef>
                          <a:spcPts val="0"/>
                        </a:spcBef>
                        <a:spcAft>
                          <a:spcPts val="0"/>
                        </a:spcAft>
                      </a:pPr>
                      <a:r>
                        <a:rPr lang="en-US" sz="1100">
                          <a:solidFill>
                            <a:schemeClr val="tx1">
                              <a:lumMod val="50000"/>
                            </a:schemeClr>
                          </a:solidFill>
                          <a:effectLst/>
                          <a:latin typeface="+mn-lt"/>
                          <a:ea typeface="Calibri" panose="020F0502020204030204" pitchFamily="34" charset="0"/>
                          <a:cs typeface="Arial" panose="020B0604020202020204" pitchFamily="34" charset="0"/>
                        </a:rPr>
                        <a:t>88 (16)</a:t>
                      </a:r>
                      <a:endParaRPr lang="en-US" sz="1000">
                        <a:solidFill>
                          <a:schemeClr val="tx1">
                            <a:lumMod val="50000"/>
                          </a:schemeClr>
                        </a:solidFill>
                        <a:effectLst/>
                        <a:latin typeface="+mn-lt"/>
                        <a:ea typeface="Calibri" panose="020F0502020204030204" pitchFamily="34" charset="0"/>
                        <a:cs typeface="Arial" panose="020B0604020202020204" pitchFamily="34" charset="0"/>
                      </a:endParaRPr>
                    </a:p>
                  </a:txBody>
                  <a:tcPr marT="27432" marB="274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AF9"/>
                    </a:solidFill>
                  </a:tcPr>
                </a:tc>
                <a:extLst>
                  <a:ext uri="{0D108BD9-81ED-4DB2-BD59-A6C34878D82A}">
                    <a16:rowId xmlns:a16="http://schemas.microsoft.com/office/drawing/2014/main" val="1515121286"/>
                  </a:ext>
                </a:extLst>
              </a:tr>
            </a:tbl>
          </a:graphicData>
        </a:graphic>
      </p:graphicFrame>
      <p:sp>
        <p:nvSpPr>
          <p:cNvPr id="3" name="TextBox 2">
            <a:extLst>
              <a:ext uri="{FF2B5EF4-FFF2-40B4-BE49-F238E27FC236}">
                <a16:creationId xmlns:a16="http://schemas.microsoft.com/office/drawing/2014/main" id="{1C0ADED2-9455-4D60-B3DD-A8D6BDCE6F74}"/>
              </a:ext>
            </a:extLst>
          </p:cNvPr>
          <p:cNvSpPr txBox="1"/>
          <p:nvPr/>
        </p:nvSpPr>
        <p:spPr>
          <a:xfrm>
            <a:off x="0" y="4261058"/>
            <a:ext cx="7195930" cy="461665"/>
          </a:xfrm>
          <a:prstGeom prst="rect">
            <a:avLst/>
          </a:prstGeom>
          <a:noFill/>
        </p:spPr>
        <p:txBody>
          <a:bodyPr wrap="square" rtlCol="0" anchor="b">
            <a:spAutoFit/>
          </a:bodyPr>
          <a:lstStyle/>
          <a:p>
            <a:pPr marL="0" marR="0" lvl="0" indent="0" algn="l" defTabSz="578649" rtl="0" eaLnBrk="0" fontAlgn="base" latinLnBrk="0" hangingPunct="0">
              <a:lnSpc>
                <a:spcPct val="100000"/>
              </a:lnSpc>
              <a:spcAft>
                <a:spcPct val="0"/>
              </a:spcAft>
              <a:buClrTx/>
              <a:buSzTx/>
              <a:buFontTx/>
              <a:buNone/>
              <a:tabLst/>
              <a:defRPr/>
            </a:pPr>
            <a:r>
              <a:rPr kumimoji="0" lang="en-US" sz="800" b="0" i="0" u="none" strike="noStrike" kern="1200" cap="none" spc="0" normalizeH="0" baseline="0" noProof="0">
                <a:ln>
                  <a:noFill/>
                </a:ln>
                <a:solidFill>
                  <a:srgbClr val="000020"/>
                </a:solidFill>
                <a:effectLst/>
                <a:uLnTx/>
                <a:uFillTx/>
                <a:latin typeface="Trebuchet MS"/>
                <a:ea typeface="ＭＳ Ｐゴシック" charset="0"/>
                <a:cs typeface="+mn-cs"/>
              </a:rPr>
              <a:t>TEAE, treatment-emergent adverse event.</a:t>
            </a:r>
          </a:p>
          <a:p>
            <a:pPr marL="0" marR="0" lvl="0" indent="0" algn="l" defTabSz="578649" rtl="0" eaLnBrk="0" fontAlgn="base" latinLnBrk="0" hangingPunct="0">
              <a:lnSpc>
                <a:spcPct val="100000"/>
              </a:lnSpc>
              <a:spcAft>
                <a:spcPct val="0"/>
              </a:spcAft>
              <a:buClrTx/>
              <a:buSzTx/>
              <a:buFontTx/>
              <a:buNone/>
              <a:tabLst/>
              <a:defRPr/>
            </a:pPr>
            <a:r>
              <a:rPr kumimoji="0" lang="en-US" sz="800" b="0" i="0" u="none" strike="noStrike" kern="1200" cap="none" spc="0" normalizeH="0" baseline="30000" noProof="0">
                <a:ln>
                  <a:noFill/>
                </a:ln>
                <a:solidFill>
                  <a:srgbClr val="000020"/>
                </a:solidFill>
                <a:effectLst/>
                <a:uLnTx/>
                <a:uFillTx/>
                <a:latin typeface="Trebuchet MS"/>
                <a:ea typeface="ＭＳ Ｐゴシック" charset="0"/>
                <a:cs typeface="+mn-cs"/>
              </a:rPr>
              <a:t>a</a:t>
            </a:r>
            <a:r>
              <a:rPr kumimoji="0" lang="en-US" sz="800" b="0" i="0" u="none" strike="noStrike" kern="1200" cap="none" spc="0" normalizeH="0" baseline="0" noProof="0">
                <a:ln>
                  <a:noFill/>
                </a:ln>
                <a:solidFill>
                  <a:srgbClr val="000020"/>
                </a:solidFill>
                <a:effectLst/>
                <a:uLnTx/>
                <a:uFillTx/>
                <a:latin typeface="Trebuchet MS"/>
                <a:ea typeface="ＭＳ Ｐゴシック" charset="0"/>
                <a:cs typeface="+mn-cs"/>
              </a:rPr>
              <a:t>Any-grade TEAEs reported in ≥20% of patients in either treatment group, and grade 3/4 TEAEs reported in ≥10% of patients in either treatment group.</a:t>
            </a:r>
            <a:endParaRPr kumimoji="0" lang="en-US" sz="800" b="0" i="0" u="none" strike="noStrike" kern="1200" cap="none" spc="0" normalizeH="0" baseline="30000" noProof="0">
              <a:ln>
                <a:noFill/>
              </a:ln>
              <a:solidFill>
                <a:srgbClr val="000020"/>
              </a:solidFill>
              <a:effectLst/>
              <a:uLnTx/>
              <a:uFillTx/>
              <a:latin typeface="Trebuchet MS"/>
              <a:ea typeface="ＭＳ Ｐゴシック" charset="0"/>
              <a:cs typeface="+mn-cs"/>
            </a:endParaRPr>
          </a:p>
          <a:p>
            <a:pPr marL="0" marR="0" lvl="0" indent="0" algn="l" defTabSz="578649" rtl="0" eaLnBrk="0" fontAlgn="base" latinLnBrk="0" hangingPunct="0">
              <a:lnSpc>
                <a:spcPct val="100000"/>
              </a:lnSpc>
              <a:spcAft>
                <a:spcPct val="0"/>
              </a:spcAft>
              <a:buClrTx/>
              <a:buSzTx/>
              <a:buFontTx/>
              <a:buNone/>
              <a:tabLst/>
              <a:defRPr/>
            </a:pPr>
            <a:r>
              <a:rPr kumimoji="0" lang="en-US" sz="800" b="0" i="0" u="none" strike="noStrike" kern="1200" cap="none" spc="0" normalizeH="0" baseline="30000" noProof="0">
                <a:ln>
                  <a:noFill/>
                </a:ln>
                <a:solidFill>
                  <a:srgbClr val="000020"/>
                </a:solidFill>
                <a:effectLst/>
                <a:uLnTx/>
                <a:uFillTx/>
                <a:latin typeface="Trebuchet MS"/>
                <a:ea typeface="ＭＳ Ｐゴシック" charset="0"/>
                <a:cs typeface="+mn-cs"/>
              </a:rPr>
              <a:t>b</a:t>
            </a:r>
            <a:r>
              <a:rPr kumimoji="0" lang="en-US" sz="800" b="0" i="0" u="none" strike="noStrike" kern="1200" cap="none" spc="0" normalizeH="0" baseline="0" noProof="0">
                <a:ln>
                  <a:noFill/>
                </a:ln>
                <a:solidFill>
                  <a:srgbClr val="000020"/>
                </a:solidFill>
                <a:effectLst/>
                <a:uLnTx/>
                <a:uFillTx/>
                <a:latin typeface="Trebuchet MS"/>
                <a:ea typeface="ＭＳ Ｐゴシック" charset="0"/>
                <a:cs typeface="+mn-cs"/>
              </a:rPr>
              <a:t>Safety events were considered until 30 days after end of consolidation.</a:t>
            </a:r>
          </a:p>
        </p:txBody>
      </p:sp>
      <p:sp>
        <p:nvSpPr>
          <p:cNvPr id="7" name="Text Placeholder 4">
            <a:extLst>
              <a:ext uri="{FF2B5EF4-FFF2-40B4-BE49-F238E27FC236}">
                <a16:creationId xmlns:a16="http://schemas.microsoft.com/office/drawing/2014/main" id="{2D6F6E3D-E70E-4F59-9819-353EE5A8E74F}"/>
              </a:ext>
            </a:extLst>
          </p:cNvPr>
          <p:cNvSpPr txBox="1">
            <a:spLocks/>
          </p:cNvSpPr>
          <p:nvPr/>
        </p:nvSpPr>
        <p:spPr>
          <a:xfrm>
            <a:off x="4023357" y="4798173"/>
            <a:ext cx="4957316" cy="194493"/>
          </a:xfrm>
          <a:prstGeom prst="rect">
            <a:avLst/>
          </a:prstGeom>
        </p:spPr>
        <p:txBody>
          <a:bodyPr/>
          <a:lst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Calibri"/>
              </a:defRPr>
            </a:lvl1pPr>
            <a:lvl2pPr marL="514350" indent="-171450" algn="l" defTabSz="685800" rtl="0" eaLnBrk="1" latinLnBrk="0" hangingPunct="1">
              <a:lnSpc>
                <a:spcPct val="90000"/>
              </a:lnSpc>
              <a:spcBef>
                <a:spcPts val="375"/>
              </a:spcBef>
              <a:buFont typeface="System Font Regular"/>
              <a:buChar char="–"/>
              <a:defRPr sz="1800" kern="1200">
                <a:solidFill>
                  <a:schemeClr val="tx1"/>
                </a:solidFill>
                <a:latin typeface="+mn-lt"/>
                <a:ea typeface="+mn-ea"/>
                <a:cs typeface="Calibri"/>
              </a:defRPr>
            </a:lvl2pPr>
            <a:lvl3pPr marL="857250" indent="-171450" algn="l" defTabSz="685800" rtl="0" eaLnBrk="1" latinLnBrk="0" hangingPunct="1">
              <a:lnSpc>
                <a:spcPct val="90000"/>
              </a:lnSpc>
              <a:spcBef>
                <a:spcPts val="375"/>
              </a:spcBef>
              <a:buFont typeface="Wingdings" pitchFamily="2" charset="2"/>
              <a:buChar char="§"/>
              <a:defRPr sz="1500" kern="1200">
                <a:solidFill>
                  <a:schemeClr val="tx1"/>
                </a:solidFill>
                <a:latin typeface="+mn-lt"/>
                <a:ea typeface="+mn-ea"/>
                <a:cs typeface="Calibri"/>
              </a:defRPr>
            </a:lvl3pPr>
            <a:lvl4pPr marL="1200150" indent="-171450" algn="l" defTabSz="685800" rtl="0" eaLnBrk="1" latinLnBrk="0" hangingPunct="1">
              <a:lnSpc>
                <a:spcPct val="90000"/>
              </a:lnSpc>
              <a:spcBef>
                <a:spcPts val="375"/>
              </a:spcBef>
              <a:buFont typeface="System Font Regular"/>
              <a:buChar char="–"/>
              <a:defRPr sz="1350" kern="1200">
                <a:solidFill>
                  <a:schemeClr val="tx1"/>
                </a:solidFill>
                <a:latin typeface="+mn-lt"/>
                <a:ea typeface="+mn-ea"/>
                <a:cs typeface="Calibri"/>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Calibri"/>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marR="0" lvl="0" indent="0" algn="r" defTabSz="578649" rtl="0" eaLnBrk="1" fontAlgn="base" latinLnBrk="0" hangingPunct="1">
              <a:lnSpc>
                <a:spcPct val="90000"/>
              </a:lnSpc>
              <a:spcBef>
                <a:spcPts val="633"/>
              </a:spcBef>
              <a:spcAft>
                <a:spcPct val="0"/>
              </a:spcAft>
              <a:buClrTx/>
              <a:buSzTx/>
              <a:buFont typeface="Arial"/>
              <a:buNone/>
              <a:tabLst/>
              <a:defRPr/>
            </a:pPr>
            <a:r>
              <a:rPr kumimoji="0" lang="en-GB" sz="1000" b="0" i="0" u="none" strike="noStrike" kern="1200" cap="none" spc="0" normalizeH="0" baseline="0" noProof="0">
                <a:ln>
                  <a:noFill/>
                </a:ln>
                <a:solidFill>
                  <a:sysClr val="windowText" lastClr="000000"/>
                </a:solidFill>
                <a:effectLst/>
                <a:uLnTx/>
                <a:uFillTx/>
                <a:latin typeface="Trebuchet MS"/>
                <a:ea typeface="ＭＳ Ｐゴシック" pitchFamily="84" charset="-128"/>
                <a:cs typeface="Calibri"/>
              </a:rPr>
              <a:t>Moreau P, et al. EHA 2019. Abstract S145, oral presentation.</a:t>
            </a:r>
          </a:p>
        </p:txBody>
      </p:sp>
      <p:sp>
        <p:nvSpPr>
          <p:cNvPr id="8" name="Rectángulo 7">
            <a:extLst>
              <a:ext uri="{FF2B5EF4-FFF2-40B4-BE49-F238E27FC236}">
                <a16:creationId xmlns:a16="http://schemas.microsoft.com/office/drawing/2014/main" id="{D0129561-E909-4143-9D0E-BF5E2AB68297}"/>
              </a:ext>
            </a:extLst>
          </p:cNvPr>
          <p:cNvSpPr/>
          <p:nvPr/>
        </p:nvSpPr>
        <p:spPr>
          <a:xfrm>
            <a:off x="826936" y="2292380"/>
            <a:ext cx="7418567" cy="228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71552" rtl="0" eaLnBrk="0" fontAlgn="base" latinLnBrk="0" hangingPunct="0">
              <a:lnSpc>
                <a:spcPct val="100000"/>
              </a:lnSpc>
              <a:spcBef>
                <a:spcPct val="20000"/>
              </a:spcBef>
              <a:spcAft>
                <a:spcPct val="0"/>
              </a:spcAft>
              <a:buClrTx/>
              <a:buSzTx/>
              <a:buFontTx/>
              <a:buNone/>
              <a:tabLst/>
              <a:defRPr/>
            </a:pPr>
            <a:endParaRPr kumimoji="0" lang="es-ES" sz="2251" b="1"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57658620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3">
            <a:extLst>
              <a:ext uri="{FF2B5EF4-FFF2-40B4-BE49-F238E27FC236}">
                <a16:creationId xmlns:a16="http://schemas.microsoft.com/office/drawing/2014/main" id="{C638EECC-9760-4DEB-B12C-B575FC5E81E3}"/>
              </a:ext>
            </a:extLst>
          </p:cNvPr>
          <p:cNvPicPr>
            <a:picLocks noChangeAspect="1"/>
          </p:cNvPicPr>
          <p:nvPr/>
        </p:nvPicPr>
        <p:blipFill>
          <a:blip r:embed="rId2"/>
          <a:stretch>
            <a:fillRect/>
          </a:stretch>
        </p:blipFill>
        <p:spPr>
          <a:xfrm>
            <a:off x="1121134" y="87474"/>
            <a:ext cx="6830170" cy="1688427"/>
          </a:xfrm>
          <a:prstGeom prst="rect">
            <a:avLst/>
          </a:prstGeom>
        </p:spPr>
      </p:pic>
      <p:pic>
        <p:nvPicPr>
          <p:cNvPr id="6" name="Imagen 5"/>
          <p:cNvPicPr>
            <a:picLocks noChangeAspect="1"/>
          </p:cNvPicPr>
          <p:nvPr/>
        </p:nvPicPr>
        <p:blipFill>
          <a:blip r:embed="rId3"/>
          <a:stretch>
            <a:fillRect/>
          </a:stretch>
        </p:blipFill>
        <p:spPr>
          <a:xfrm>
            <a:off x="869309" y="1345437"/>
            <a:ext cx="3540674" cy="3348372"/>
          </a:xfrm>
          <a:prstGeom prst="rect">
            <a:avLst/>
          </a:prstGeom>
        </p:spPr>
      </p:pic>
      <p:sp>
        <p:nvSpPr>
          <p:cNvPr id="3" name="Flecha derecha 2"/>
          <p:cNvSpPr/>
          <p:nvPr/>
        </p:nvSpPr>
        <p:spPr bwMode="auto">
          <a:xfrm>
            <a:off x="1176232" y="2946788"/>
            <a:ext cx="332618" cy="39516"/>
          </a:xfrm>
          <a:prstGeom prst="rightArrow">
            <a:avLst/>
          </a:prstGeom>
          <a:solidFill>
            <a:srgbClr val="FF0000"/>
          </a:solidFill>
          <a:ln w="28575" cap="flat" cmpd="sng" algn="ctr">
            <a:solidFill>
              <a:srgbClr val="FF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_tradnl" sz="1800" b="1" i="0" u="none" strike="noStrike" kern="1200" cap="none" spc="0" normalizeH="0" baseline="0" noProof="0">
              <a:ln>
                <a:noFill/>
              </a:ln>
              <a:solidFill>
                <a:srgbClr val="595454"/>
              </a:solidFill>
              <a:effectLst/>
              <a:uLnTx/>
              <a:uFillTx/>
              <a:latin typeface="Times New Roman" charset="0"/>
              <a:ea typeface="+mn-ea"/>
              <a:cs typeface="+mn-cs"/>
            </a:endParaRPr>
          </a:p>
        </p:txBody>
      </p:sp>
      <p:pic>
        <p:nvPicPr>
          <p:cNvPr id="5" name="Immagine 4">
            <a:extLst>
              <a:ext uri="{FF2B5EF4-FFF2-40B4-BE49-F238E27FC236}">
                <a16:creationId xmlns:a16="http://schemas.microsoft.com/office/drawing/2014/main" id="{41A0271D-5B25-4346-84CF-FECBEF0B8F1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09982" y="1345438"/>
            <a:ext cx="3864709" cy="3348372"/>
          </a:xfrm>
          <a:prstGeom prst="rect">
            <a:avLst/>
          </a:prstGeom>
          <a:solidFill>
            <a:schemeClr val="bg1"/>
          </a:solidFill>
        </p:spPr>
      </p:pic>
      <p:sp>
        <p:nvSpPr>
          <p:cNvPr id="9" name="Flecha derecha 8">
            <a:extLst>
              <a:ext uri="{FF2B5EF4-FFF2-40B4-BE49-F238E27FC236}">
                <a16:creationId xmlns:a16="http://schemas.microsoft.com/office/drawing/2014/main" id="{F266E6D6-1EFE-4142-A7C6-EB12398332FC}"/>
              </a:ext>
            </a:extLst>
          </p:cNvPr>
          <p:cNvSpPr/>
          <p:nvPr/>
        </p:nvSpPr>
        <p:spPr bwMode="auto">
          <a:xfrm>
            <a:off x="4909967" y="2895786"/>
            <a:ext cx="332618" cy="39516"/>
          </a:xfrm>
          <a:prstGeom prst="rightArrow">
            <a:avLst/>
          </a:prstGeom>
          <a:solidFill>
            <a:srgbClr val="FF0000"/>
          </a:solidFill>
          <a:ln w="28575" cap="flat" cmpd="sng" algn="ctr">
            <a:solidFill>
              <a:srgbClr val="FF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ctr" defTabSz="685800" rtl="0" eaLnBrk="0" fontAlgn="base" latinLnBrk="0" hangingPunct="0">
              <a:lnSpc>
                <a:spcPct val="100000"/>
              </a:lnSpc>
              <a:spcBef>
                <a:spcPct val="20000"/>
              </a:spcBef>
              <a:spcAft>
                <a:spcPct val="0"/>
              </a:spcAft>
              <a:buClrTx/>
              <a:buSzTx/>
              <a:buFontTx/>
              <a:buNone/>
              <a:tabLst/>
              <a:defRPr/>
            </a:pPr>
            <a:endParaRPr kumimoji="0" lang="es-ES_tradnl" sz="1800" b="1" i="0" u="none" strike="noStrike" kern="1200" cap="none" spc="0" normalizeH="0" baseline="0" noProof="0">
              <a:ln>
                <a:noFill/>
              </a:ln>
              <a:solidFill>
                <a:srgbClr val="595454"/>
              </a:solidFill>
              <a:effectLst/>
              <a:uLnTx/>
              <a:uFillTx/>
              <a:latin typeface="Times New Roman" charset="0"/>
              <a:ea typeface="+mn-ea"/>
              <a:cs typeface="+mn-cs"/>
            </a:endParaRPr>
          </a:p>
        </p:txBody>
      </p:sp>
      <p:sp>
        <p:nvSpPr>
          <p:cNvPr id="7" name="Marcador de texto 7">
            <a:extLst>
              <a:ext uri="{FF2B5EF4-FFF2-40B4-BE49-F238E27FC236}">
                <a16:creationId xmlns:a16="http://schemas.microsoft.com/office/drawing/2014/main" id="{4FBCF9DD-6652-4170-9907-7B9731C735EC}"/>
              </a:ext>
            </a:extLst>
          </p:cNvPr>
          <p:cNvSpPr txBox="1">
            <a:spLocks/>
          </p:cNvSpPr>
          <p:nvPr/>
        </p:nvSpPr>
        <p:spPr>
          <a:xfrm>
            <a:off x="3215047" y="4827721"/>
            <a:ext cx="5678396" cy="235679"/>
          </a:xfrm>
          <a:prstGeom prst="rect">
            <a:avLst/>
          </a:prstGeom>
        </p:spPr>
        <p:txBody>
          <a:bodyPr vert="horz" lIns="0" tIns="0" rIns="0" bIns="81000" spcCol="301752" rtlCol="0" anchor="b">
            <a:spAutoFit/>
          </a:bodyPr>
          <a:lstStyle>
            <a:lvl1pPr marL="0" indent="0" algn="l" defTabSz="771525" rtl="0" eaLnBrk="1" latinLnBrk="0" hangingPunct="1">
              <a:lnSpc>
                <a:spcPct val="100000"/>
              </a:lnSpc>
              <a:spcBef>
                <a:spcPts val="0"/>
              </a:spcBef>
              <a:buFont typeface="Trebuchet MS" panose="020B0603020202020204" pitchFamily="34" charset="0"/>
              <a:buNone/>
              <a:defRPr sz="844" kern="1200">
                <a:solidFill>
                  <a:schemeClr val="tx1"/>
                </a:solidFill>
                <a:latin typeface="+mn-lt"/>
                <a:ea typeface="+mn-ea"/>
                <a:cs typeface="+mn-cs"/>
              </a:defRPr>
            </a:lvl1pPr>
            <a:lvl2pPr marL="385763"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2pPr>
            <a:lvl3pPr marL="578644"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3pPr>
            <a:lvl4pPr marL="771525"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4pPr>
            <a:lvl5pPr marL="964406"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5pPr>
            <a:lvl6pPr marL="1157288"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6pPr>
            <a:lvl7pPr marL="1350169"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7pPr>
            <a:lvl8pPr marL="1543050"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8pPr>
            <a:lvl9pPr marL="1735931"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9pPr>
          </a:lstStyle>
          <a:p>
            <a:pPr marL="0" marR="0" lvl="0" indent="0" algn="r" defTabSz="771525"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Moreau P, et al. </a:t>
            </a:r>
            <a:r>
              <a:rPr kumimoji="0" lang="es-ES" sz="1000" b="0" i="1" u="none" strike="noStrike" kern="1200" cap="none" spc="0" normalizeH="0" baseline="0" noProof="0">
                <a:ln>
                  <a:noFill/>
                </a:ln>
                <a:solidFill>
                  <a:srgbClr val="595454">
                    <a:lumMod val="50000"/>
                  </a:srgbClr>
                </a:solidFill>
                <a:effectLst/>
                <a:uLnTx/>
                <a:uFillTx/>
                <a:latin typeface="Trebuchet MS"/>
                <a:ea typeface="+mn-ea"/>
                <a:cs typeface="+mn-cs"/>
              </a:rPr>
              <a:t>Ann Oncol.</a:t>
            </a: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 2017;28(suppl 4):iv52-iv61.</a:t>
            </a:r>
          </a:p>
        </p:txBody>
      </p:sp>
    </p:spTree>
    <p:extLst>
      <p:ext uri="{BB962C8B-B14F-4D97-AF65-F5344CB8AC3E}">
        <p14:creationId xmlns:p14="http://schemas.microsoft.com/office/powerpoint/2010/main" val="362499400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en-US" noProof="0">
                <a:solidFill>
                  <a:srgbClr val="595454"/>
                </a:solidFill>
                <a:sym typeface="Arial" charset="0"/>
              </a:rPr>
              <a:t>Integrated analysis of RVd vs VTd in transplant-eligible newly diagnosed MM patients</a:t>
            </a:r>
            <a:endParaRPr lang="en-US" strike="sngStrike" noProof="0">
              <a:solidFill>
                <a:srgbClr val="595454"/>
              </a:solidFill>
            </a:endParaRPr>
          </a:p>
        </p:txBody>
      </p:sp>
      <p:sp>
        <p:nvSpPr>
          <p:cNvPr id="56" name="Text Placeholder 7">
            <a:extLst>
              <a:ext uri="{FF2B5EF4-FFF2-40B4-BE49-F238E27FC236}">
                <a16:creationId xmlns:a16="http://schemas.microsoft.com/office/drawing/2014/main" id="{7FD9F8FF-8BEC-40C8-A292-B5F71541A9A3}"/>
              </a:ext>
            </a:extLst>
          </p:cNvPr>
          <p:cNvSpPr>
            <a:spLocks noGrp="1"/>
          </p:cNvSpPr>
          <p:nvPr>
            <p:ph type="body" sz="quarter" idx="13"/>
          </p:nvPr>
        </p:nvSpPr>
        <p:spPr>
          <a:xfrm>
            <a:off x="79511" y="4428920"/>
            <a:ext cx="8666924" cy="355276"/>
          </a:xfrm>
        </p:spPr>
        <p:txBody>
          <a:bodyPr/>
          <a:lstStyle/>
          <a:p>
            <a:pPr marL="0" lvl="1" indent="0">
              <a:spcBef>
                <a:spcPts val="0"/>
              </a:spcBef>
              <a:buNone/>
              <a:defRPr/>
            </a:pPr>
            <a:r>
              <a:rPr lang="en-US" altLang="en-US" sz="800" baseline="30000" noProof="0">
                <a:solidFill>
                  <a:srgbClr val="000020"/>
                </a:solidFill>
              </a:rPr>
              <a:t>a </a:t>
            </a:r>
            <a:r>
              <a:rPr lang="en-US" altLang="en-US" sz="800" noProof="0">
                <a:solidFill>
                  <a:srgbClr val="000020"/>
                </a:solidFill>
              </a:rPr>
              <a:t>≥VGPR rate was chosen over CR rate since pre-ASCT confirmatory bone marrow aspiration were not consistent across the trials; response data were assessed by an independent response adjudication committee using International Myeloma Working Group criteria.</a:t>
            </a:r>
            <a:endParaRPr lang="en-US" sz="800" strike="sngStrike" noProof="0">
              <a:solidFill>
                <a:srgbClr val="000020"/>
              </a:solidFill>
            </a:endParaRPr>
          </a:p>
        </p:txBody>
      </p:sp>
      <p:sp>
        <p:nvSpPr>
          <p:cNvPr id="8" name="Rectangle: Rounded Corners 7">
            <a:extLst>
              <a:ext uri="{FF2B5EF4-FFF2-40B4-BE49-F238E27FC236}">
                <a16:creationId xmlns:a16="http://schemas.microsoft.com/office/drawing/2014/main" id="{101B1AD7-1C6C-42D1-9437-F4180DC8A1EF}"/>
              </a:ext>
            </a:extLst>
          </p:cNvPr>
          <p:cNvSpPr/>
          <p:nvPr/>
        </p:nvSpPr>
        <p:spPr>
          <a:xfrm>
            <a:off x="4244029" y="3355111"/>
            <a:ext cx="4502405" cy="992483"/>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900" b="1" i="0" u="sng" strike="noStrike" kern="1200" cap="none" spc="0" normalizeH="0" baseline="0" noProof="0">
                <a:ln>
                  <a:noFill/>
                </a:ln>
                <a:solidFill>
                  <a:srgbClr val="595454"/>
                </a:solidFill>
                <a:effectLst/>
                <a:uLnTx/>
                <a:uFillTx/>
                <a:latin typeface="Trebuchet MS"/>
                <a:ea typeface="+mn-ea"/>
                <a:cs typeface="+mn-cs"/>
              </a:rPr>
              <a:t>Endpoints</a:t>
            </a:r>
          </a:p>
          <a:p>
            <a:pPr marL="128588" marR="0" lvl="0" indent="-128588" algn="l" defTabSz="685171"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595454"/>
                </a:solidFill>
                <a:effectLst/>
                <a:uLnTx/>
                <a:uFillTx/>
                <a:latin typeface="Trebuchet MS"/>
                <a:ea typeface="+mn-ea"/>
                <a:cs typeface="+mn-cs"/>
              </a:rPr>
              <a:t>Primary: noninferiority of VRD vs VTD ≥VGPR rate following induction</a:t>
            </a:r>
            <a:r>
              <a:rPr kumimoji="0" lang="en-US" sz="900" b="1" i="0" u="none" strike="noStrike" kern="1200" cap="none" spc="0" normalizeH="0" baseline="30000" noProof="0">
                <a:ln>
                  <a:noFill/>
                </a:ln>
                <a:solidFill>
                  <a:srgbClr val="595454"/>
                </a:solidFill>
                <a:effectLst/>
                <a:uLnTx/>
                <a:uFillTx/>
                <a:latin typeface="Trebuchet MS"/>
                <a:ea typeface="+mn-ea"/>
                <a:cs typeface="+mn-cs"/>
              </a:rPr>
              <a:t>a</a:t>
            </a:r>
          </a:p>
          <a:p>
            <a:pPr marL="128588" marR="0" lvl="0" indent="-128588" algn="l" defTabSz="685171"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595454"/>
                </a:solidFill>
                <a:effectLst/>
                <a:uLnTx/>
                <a:uFillTx/>
                <a:latin typeface="Trebuchet MS"/>
                <a:ea typeface="+mn-ea"/>
                <a:cs typeface="+mn-cs"/>
              </a:rPr>
              <a:t>Secondary: included safety (TEAEs, discontinuations, dose reductions) and</a:t>
            </a:r>
            <a:br>
              <a:rPr kumimoji="0" lang="en-US" sz="900" b="1" i="0" u="none" strike="noStrike" kern="1200" cap="none" spc="0" normalizeH="0" baseline="0" noProof="0">
                <a:ln>
                  <a:noFill/>
                </a:ln>
                <a:solidFill>
                  <a:srgbClr val="595454"/>
                </a:solidFill>
                <a:effectLst/>
                <a:uLnTx/>
                <a:uFillTx/>
                <a:latin typeface="Trebuchet MS"/>
                <a:ea typeface="+mn-ea"/>
                <a:cs typeface="+mn-cs"/>
              </a:rPr>
            </a:br>
            <a:r>
              <a:rPr kumimoji="0" lang="en-US" sz="900" b="1" i="0" u="none" strike="noStrike" kern="1200" cap="none" spc="0" normalizeH="0" baseline="0" noProof="0">
                <a:ln>
                  <a:noFill/>
                </a:ln>
                <a:solidFill>
                  <a:srgbClr val="595454"/>
                </a:solidFill>
                <a:effectLst/>
                <a:uLnTx/>
                <a:uFillTx/>
                <a:latin typeface="Trebuchet MS"/>
                <a:ea typeface="+mn-ea"/>
                <a:cs typeface="+mn-cs"/>
              </a:rPr>
              <a:t>≥VGPR rate over time during induction and after ASCT </a:t>
            </a:r>
          </a:p>
          <a:p>
            <a:pPr marL="128588" marR="0" lvl="0" indent="-128588" algn="l" defTabSz="685171" rtl="0" eaLnBrk="0" fontAlgn="base" latinLnBrk="0" hangingPunct="0">
              <a:lnSpc>
                <a:spcPct val="100000"/>
              </a:lnSpc>
              <a:spcBef>
                <a:spcPct val="20000"/>
              </a:spcBef>
              <a:spcAft>
                <a:spcPct val="0"/>
              </a:spcAft>
              <a:buClrTx/>
              <a:buSzTx/>
              <a:buFont typeface="Arial" panose="020B0604020202020204" pitchFamily="34" charset="0"/>
              <a:buChar char="•"/>
              <a:tabLst/>
              <a:defRPr/>
            </a:pPr>
            <a:r>
              <a:rPr kumimoji="0" lang="en-US" sz="900" b="1" i="0" u="none" strike="noStrike" kern="1200" cap="none" spc="0" normalizeH="0" baseline="0" noProof="0">
                <a:ln>
                  <a:noFill/>
                </a:ln>
                <a:solidFill>
                  <a:srgbClr val="595454"/>
                </a:solidFill>
                <a:effectLst/>
                <a:uLnTx/>
                <a:uFillTx/>
                <a:latin typeface="Trebuchet MS"/>
                <a:ea typeface="+mn-ea"/>
                <a:cs typeface="+mn-cs"/>
              </a:rPr>
              <a:t>Exploratory: included PFS and MRD undetectability</a:t>
            </a:r>
          </a:p>
        </p:txBody>
      </p:sp>
      <p:grpSp>
        <p:nvGrpSpPr>
          <p:cNvPr id="6" name="Group 5">
            <a:extLst>
              <a:ext uri="{FF2B5EF4-FFF2-40B4-BE49-F238E27FC236}">
                <a16:creationId xmlns:a16="http://schemas.microsoft.com/office/drawing/2014/main" id="{DED11B6A-A80C-4EC6-B49B-A4412B37FEE0}"/>
              </a:ext>
            </a:extLst>
          </p:cNvPr>
          <p:cNvGrpSpPr/>
          <p:nvPr/>
        </p:nvGrpSpPr>
        <p:grpSpPr>
          <a:xfrm>
            <a:off x="1431236" y="916990"/>
            <a:ext cx="5870260" cy="3326506"/>
            <a:chOff x="1765192" y="1027816"/>
            <a:chExt cx="5536304" cy="3033794"/>
          </a:xfrm>
        </p:grpSpPr>
        <p:sp>
          <p:nvSpPr>
            <p:cNvPr id="215" name="object 55">
              <a:extLst>
                <a:ext uri="{FF2B5EF4-FFF2-40B4-BE49-F238E27FC236}">
                  <a16:creationId xmlns:a16="http://schemas.microsoft.com/office/drawing/2014/main" id="{612155DD-6155-4F61-8429-6CAC3C8AA99E}"/>
                </a:ext>
              </a:extLst>
            </p:cNvPr>
            <p:cNvSpPr txBox="1">
              <a:spLocks/>
            </p:cNvSpPr>
            <p:nvPr/>
          </p:nvSpPr>
          <p:spPr>
            <a:xfrm>
              <a:off x="2289971" y="1055884"/>
              <a:ext cx="1821028" cy="177668"/>
            </a:xfrm>
            <a:prstGeom prst="rect">
              <a:avLst/>
            </a:prstGeom>
          </p:spPr>
          <p:txBody>
            <a:bodyPr vert="horz" wrap="square" lIns="0" tIns="10046" rIns="0" bIns="0" rtlCol="0" anchor="ctr">
              <a:spAutoFit/>
            </a:bodyPr>
            <a:lstStyle>
              <a:lvl1pPr>
                <a:defRPr sz="3200" b="1" i="0" cap="all" spc="100" baseline="0">
                  <a:solidFill>
                    <a:srgbClr val="000066"/>
                  </a:solidFill>
                  <a:latin typeface="HelveticaNeueLT Std"/>
                  <a:ea typeface="+mj-ea"/>
                  <a:cs typeface="HelveticaNeueLT Std"/>
                </a:defRPr>
              </a:lvl1pPr>
            </a:lstStyle>
            <a:p>
              <a:pPr marL="8037" marR="0" lvl="0" indent="0" algn="ctr" defTabSz="289339" rtl="0" eaLnBrk="0" fontAlgn="base" latinLnBrk="0" hangingPunct="0">
                <a:lnSpc>
                  <a:spcPct val="100000"/>
                </a:lnSpc>
                <a:spcBef>
                  <a:spcPts val="79"/>
                </a:spcBef>
                <a:spcAft>
                  <a:spcPct val="0"/>
                </a:spcAft>
                <a:buClrTx/>
                <a:buSzTx/>
                <a:buFontTx/>
                <a:buNone/>
                <a:tabLst/>
                <a:defRPr/>
              </a:pPr>
              <a:r>
                <a:rPr kumimoji="0" lang="en-US" sz="1200" b="1" i="0" u="none" strike="noStrike" kern="1200" cap="none" spc="3" normalizeH="0" baseline="0" noProof="0">
                  <a:ln>
                    <a:noFill/>
                  </a:ln>
                  <a:solidFill>
                    <a:srgbClr val="4C4C4C"/>
                  </a:solidFill>
                  <a:effectLst/>
                  <a:uLnTx/>
                  <a:uFillTx/>
                  <a:latin typeface="Arial"/>
                  <a:ea typeface="+mj-ea"/>
                </a:rPr>
                <a:t>Primary comparison</a:t>
              </a:r>
            </a:p>
          </p:txBody>
        </p:sp>
        <p:sp>
          <p:nvSpPr>
            <p:cNvPr id="216" name="object 56">
              <a:extLst>
                <a:ext uri="{FF2B5EF4-FFF2-40B4-BE49-F238E27FC236}">
                  <a16:creationId xmlns:a16="http://schemas.microsoft.com/office/drawing/2014/main" id="{E05B652C-55B5-425F-81D2-968A760F71BC}"/>
                </a:ext>
              </a:extLst>
            </p:cNvPr>
            <p:cNvSpPr txBox="1"/>
            <p:nvPr/>
          </p:nvSpPr>
          <p:spPr>
            <a:xfrm>
              <a:off x="5708181" y="1027816"/>
              <a:ext cx="1231234" cy="233807"/>
            </a:xfrm>
            <a:prstGeom prst="rect">
              <a:avLst/>
            </a:prstGeom>
          </p:spPr>
          <p:txBody>
            <a:bodyPr vert="horz" wrap="square" lIns="0" tIns="10046" rIns="0" bIns="0" rtlCol="0" anchor="ctr">
              <a:spAutoFit/>
            </a:bodyPr>
            <a:lstStyle/>
            <a:p>
              <a:pPr marL="8037" marR="0" lvl="0" indent="0" algn="ctr" defTabSz="289339" rtl="0" eaLnBrk="0" fontAlgn="base" latinLnBrk="0" hangingPunct="0">
                <a:lnSpc>
                  <a:spcPct val="100000"/>
                </a:lnSpc>
                <a:spcBef>
                  <a:spcPts val="79"/>
                </a:spcBef>
                <a:spcAft>
                  <a:spcPct val="0"/>
                </a:spcAft>
                <a:buClrTx/>
                <a:buSzTx/>
                <a:buFontTx/>
                <a:buNone/>
                <a:tabLst/>
                <a:defRPr/>
              </a:pPr>
              <a:r>
                <a:rPr kumimoji="0" sz="1600" b="1" i="0" u="none" strike="noStrike" kern="1200" cap="none" spc="3" normalizeH="0" baseline="0" noProof="0">
                  <a:ln>
                    <a:noFill/>
                  </a:ln>
                  <a:solidFill>
                    <a:srgbClr val="4C4C4C"/>
                  </a:solidFill>
                  <a:effectLst/>
                  <a:uLnTx/>
                  <a:uFillTx/>
                  <a:latin typeface="Arial"/>
                  <a:ea typeface="+mn-ea"/>
                  <a:cs typeface="HelveticaNeueLT Std"/>
                </a:rPr>
                <a:t>Supportive</a:t>
              </a:r>
              <a:endParaRPr kumimoji="0" sz="16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18" name="object 2">
              <a:extLst>
                <a:ext uri="{FF2B5EF4-FFF2-40B4-BE49-F238E27FC236}">
                  <a16:creationId xmlns:a16="http://schemas.microsoft.com/office/drawing/2014/main" id="{062DF839-29EC-4904-8F53-FA6A3CE52601}"/>
                </a:ext>
              </a:extLst>
            </p:cNvPr>
            <p:cNvSpPr txBox="1"/>
            <p:nvPr/>
          </p:nvSpPr>
          <p:spPr>
            <a:xfrm>
              <a:off x="2058513" y="1352200"/>
              <a:ext cx="1041559" cy="112278"/>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PETHEMA</a:t>
              </a:r>
              <a:r>
                <a:rPr kumimoji="0" sz="800" b="1" i="0" u="none" strike="noStrike" kern="1200" cap="none" spc="-47" normalizeH="0" baseline="0" noProof="0">
                  <a:ln>
                    <a:noFill/>
                  </a:ln>
                  <a:solidFill>
                    <a:srgbClr val="4C4C4C"/>
                  </a:solidFill>
                  <a:effectLst/>
                  <a:uLnTx/>
                  <a:uFillTx/>
                  <a:latin typeface="Arial"/>
                  <a:ea typeface="+mn-ea"/>
                  <a:cs typeface="HelveticaNeueLT Std"/>
                </a:rPr>
                <a:t> </a:t>
              </a:r>
              <a:r>
                <a:rPr kumimoji="0" sz="800" b="1" i="0" u="none" strike="noStrike" kern="1200" cap="none" spc="0" normalizeH="0" baseline="0" noProof="0">
                  <a:ln>
                    <a:noFill/>
                  </a:ln>
                  <a:solidFill>
                    <a:srgbClr val="4C4C4C"/>
                  </a:solidFill>
                  <a:effectLst/>
                  <a:uLnTx/>
                  <a:uFillTx/>
                  <a:latin typeface="Arial"/>
                  <a:ea typeface="+mn-ea"/>
                  <a:cs typeface="HelveticaNeueLT Std"/>
                </a:rPr>
                <a:t>GEM2012</a:t>
              </a:r>
            </a:p>
          </p:txBody>
        </p:sp>
        <p:sp>
          <p:nvSpPr>
            <p:cNvPr id="219" name="object 3">
              <a:extLst>
                <a:ext uri="{FF2B5EF4-FFF2-40B4-BE49-F238E27FC236}">
                  <a16:creationId xmlns:a16="http://schemas.microsoft.com/office/drawing/2014/main" id="{6721AB81-FAD4-47E2-BC26-66718F0B2E76}"/>
                </a:ext>
              </a:extLst>
            </p:cNvPr>
            <p:cNvSpPr txBox="1"/>
            <p:nvPr/>
          </p:nvSpPr>
          <p:spPr>
            <a:xfrm>
              <a:off x="3271236" y="1352200"/>
              <a:ext cx="1041559" cy="112278"/>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0"/>
                </a:spcBef>
                <a:spcAft>
                  <a:spcPts val="0"/>
                </a:spcAft>
                <a:buClrTx/>
                <a:buSzTx/>
                <a:buFontTx/>
                <a:buNone/>
                <a:tabLst/>
                <a:defRPr/>
              </a:pPr>
              <a:r>
                <a:rPr kumimoji="0" sz="800" b="1" i="0" u="none" strike="noStrike" kern="0" cap="none" spc="0" normalizeH="0" baseline="0" noProof="0">
                  <a:ln>
                    <a:noFill/>
                  </a:ln>
                  <a:solidFill>
                    <a:srgbClr val="4C4C4C"/>
                  </a:solidFill>
                  <a:effectLst/>
                  <a:uLnTx/>
                  <a:uFillTx/>
                  <a:latin typeface="Arial"/>
                  <a:ea typeface="+mn-ea"/>
                  <a:cs typeface="HelveticaNeueLT Std"/>
                </a:rPr>
                <a:t>PETHEMA</a:t>
              </a:r>
              <a:r>
                <a:rPr kumimoji="0" sz="800" b="1" i="0" u="none" strike="noStrike" kern="0" cap="none" spc="-47" normalizeH="0" baseline="0" noProof="0">
                  <a:ln>
                    <a:noFill/>
                  </a:ln>
                  <a:solidFill>
                    <a:srgbClr val="4C4C4C"/>
                  </a:solidFill>
                  <a:effectLst/>
                  <a:uLnTx/>
                  <a:uFillTx/>
                  <a:latin typeface="Arial"/>
                  <a:ea typeface="+mn-ea"/>
                  <a:cs typeface="HelveticaNeueLT Std"/>
                </a:rPr>
                <a:t> </a:t>
              </a:r>
              <a:r>
                <a:rPr kumimoji="0" sz="800" b="1" i="0" u="none" strike="noStrike" kern="0" cap="none" spc="0" normalizeH="0" baseline="0" noProof="0">
                  <a:ln>
                    <a:noFill/>
                  </a:ln>
                  <a:solidFill>
                    <a:srgbClr val="4C4C4C"/>
                  </a:solidFill>
                  <a:effectLst/>
                  <a:uLnTx/>
                  <a:uFillTx/>
                  <a:latin typeface="Arial"/>
                  <a:ea typeface="+mn-ea"/>
                  <a:cs typeface="HelveticaNeueLT Std"/>
                </a:rPr>
                <a:t>GEM2005</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40" name="object 25">
              <a:extLst>
                <a:ext uri="{FF2B5EF4-FFF2-40B4-BE49-F238E27FC236}">
                  <a16:creationId xmlns:a16="http://schemas.microsoft.com/office/drawing/2014/main" id="{909E1CA0-6627-4116-992A-E92E4D2921E2}"/>
                </a:ext>
              </a:extLst>
            </p:cNvPr>
            <p:cNvSpPr txBox="1"/>
            <p:nvPr/>
          </p:nvSpPr>
          <p:spPr>
            <a:xfrm>
              <a:off x="5257625" y="1352200"/>
              <a:ext cx="736960" cy="112278"/>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IFM</a:t>
              </a:r>
              <a:r>
                <a:rPr kumimoji="0" sz="800" b="1" i="0" u="none" strike="noStrike" kern="1200" cap="none" spc="-60" normalizeH="0" baseline="0" noProof="0">
                  <a:ln>
                    <a:noFill/>
                  </a:ln>
                  <a:solidFill>
                    <a:srgbClr val="4C4C4C"/>
                  </a:solidFill>
                  <a:effectLst/>
                  <a:uLnTx/>
                  <a:uFillTx/>
                  <a:latin typeface="Arial"/>
                  <a:ea typeface="+mn-ea"/>
                  <a:cs typeface="HelveticaNeueLT Std"/>
                </a:rPr>
                <a:t> </a:t>
              </a:r>
              <a:r>
                <a:rPr kumimoji="0" sz="800" b="1" i="0" u="none" strike="noStrike" kern="1200" cap="none" spc="0" normalizeH="0" baseline="0" noProof="0">
                  <a:ln>
                    <a:noFill/>
                  </a:ln>
                  <a:solidFill>
                    <a:srgbClr val="4C4C4C"/>
                  </a:solidFill>
                  <a:effectLst/>
                  <a:uLnTx/>
                  <a:uFillTx/>
                  <a:latin typeface="Arial"/>
                  <a:ea typeface="+mn-ea"/>
                  <a:cs typeface="HelveticaNeueLT Std"/>
                </a:rPr>
                <a:t>2009</a:t>
              </a:r>
            </a:p>
          </p:txBody>
        </p:sp>
        <p:sp>
          <p:nvSpPr>
            <p:cNvPr id="241" name="object 26">
              <a:extLst>
                <a:ext uri="{FF2B5EF4-FFF2-40B4-BE49-F238E27FC236}">
                  <a16:creationId xmlns:a16="http://schemas.microsoft.com/office/drawing/2014/main" id="{DF444368-AC1B-4915-ADC0-7706D62C5C9F}"/>
                </a:ext>
              </a:extLst>
            </p:cNvPr>
            <p:cNvSpPr txBox="1"/>
            <p:nvPr/>
          </p:nvSpPr>
          <p:spPr>
            <a:xfrm>
              <a:off x="6474481" y="1352200"/>
              <a:ext cx="736960" cy="112278"/>
            </a:xfrm>
            <a:prstGeom prst="rect">
              <a:avLst/>
            </a:prstGeom>
            <a:solidFill>
              <a:srgbClr val="F7A08E"/>
            </a:solidFill>
            <a:ln w="9143">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0"/>
                </a:spcBef>
                <a:spcAft>
                  <a:spcPts val="0"/>
                </a:spcAft>
                <a:buClrTx/>
                <a:buSzTx/>
                <a:buFontTx/>
                <a:buNone/>
                <a:tabLst/>
                <a:defRPr/>
              </a:pPr>
              <a:r>
                <a:rPr kumimoji="0" sz="800" b="1" i="0" u="none" strike="noStrike" kern="0" cap="none" spc="0" normalizeH="0" baseline="0" noProof="0">
                  <a:ln>
                    <a:noFill/>
                  </a:ln>
                  <a:solidFill>
                    <a:srgbClr val="4C4C4C"/>
                  </a:solidFill>
                  <a:effectLst/>
                  <a:uLnTx/>
                  <a:uFillTx/>
                  <a:latin typeface="Arial"/>
                  <a:ea typeface="+mn-ea"/>
                  <a:cs typeface="HelveticaNeueLT Std"/>
                </a:rPr>
                <a:t>IFM</a:t>
              </a:r>
              <a:r>
                <a:rPr kumimoji="0" sz="800" b="1" i="0" u="none" strike="noStrike" kern="0" cap="none" spc="-63" normalizeH="0" baseline="0" noProof="0">
                  <a:ln>
                    <a:noFill/>
                  </a:ln>
                  <a:solidFill>
                    <a:srgbClr val="4C4C4C"/>
                  </a:solidFill>
                  <a:effectLst/>
                  <a:uLnTx/>
                  <a:uFillTx/>
                  <a:latin typeface="Arial"/>
                  <a:ea typeface="+mn-ea"/>
                  <a:cs typeface="HelveticaNeueLT Std"/>
                </a:rPr>
                <a:t> </a:t>
              </a:r>
              <a:r>
                <a:rPr kumimoji="0" sz="800" b="1" i="0" u="none" strike="noStrike" kern="0" cap="none" spc="-6" normalizeH="0" baseline="0" noProof="0">
                  <a:ln>
                    <a:noFill/>
                  </a:ln>
                  <a:solidFill>
                    <a:srgbClr val="4C4C4C"/>
                  </a:solidFill>
                  <a:effectLst/>
                  <a:uLnTx/>
                  <a:uFillTx/>
                  <a:latin typeface="Arial"/>
                  <a:ea typeface="+mn-ea"/>
                  <a:cs typeface="HelveticaNeueLT Std"/>
                </a:rPr>
                <a:t>2013-04</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46" name="object 47">
              <a:extLst>
                <a:ext uri="{FF2B5EF4-FFF2-40B4-BE49-F238E27FC236}">
                  <a16:creationId xmlns:a16="http://schemas.microsoft.com/office/drawing/2014/main" id="{856F7979-6FDB-4BF1-96E9-640B3DE795C1}"/>
                </a:ext>
              </a:extLst>
            </p:cNvPr>
            <p:cNvSpPr txBox="1"/>
            <p:nvPr/>
          </p:nvSpPr>
          <p:spPr>
            <a:xfrm>
              <a:off x="4417968" y="2423562"/>
              <a:ext cx="426410" cy="112278"/>
            </a:xfrm>
            <a:prstGeom prst="rect">
              <a:avLst/>
            </a:prstGeom>
            <a:solidFill>
              <a:srgbClr val="FFFFFF"/>
            </a:solidFill>
            <a:ln w="9144">
              <a:solidFill>
                <a:srgbClr val="B2B4B7"/>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9"/>
                </a:spcBef>
                <a:spcAft>
                  <a:spcPts val="0"/>
                </a:spcAft>
                <a:buClrTx/>
                <a:buSzTx/>
                <a:buFontTx/>
                <a:buNone/>
                <a:tabLst/>
                <a:defRPr/>
              </a:pPr>
              <a:r>
                <a:rPr kumimoji="0" sz="800" b="1" i="0" u="none" strike="noStrike" kern="0" cap="none" spc="0" normalizeH="0" baseline="0" noProof="0">
                  <a:ln>
                    <a:noFill/>
                  </a:ln>
                  <a:solidFill>
                    <a:srgbClr val="4C4C4C"/>
                  </a:solidFill>
                  <a:effectLst/>
                  <a:uLnTx/>
                  <a:uFillTx/>
                  <a:latin typeface="Arial"/>
                  <a:ea typeface="+mn-ea"/>
                  <a:cs typeface="HelveticaNeueLT Std"/>
                </a:rPr>
                <a:t>12</a:t>
              </a:r>
              <a:r>
                <a:rPr kumimoji="0" sz="800" b="1" i="0" u="none" strike="noStrike" kern="0" cap="none" spc="-28" normalizeH="0" baseline="0" noProof="0">
                  <a:ln>
                    <a:noFill/>
                  </a:ln>
                  <a:solidFill>
                    <a:srgbClr val="4C4C4C"/>
                  </a:solidFill>
                  <a:effectLst/>
                  <a:uLnTx/>
                  <a:uFillTx/>
                  <a:latin typeface="Arial"/>
                  <a:ea typeface="+mn-ea"/>
                  <a:cs typeface="HelveticaNeueLT Std"/>
                </a:rPr>
                <a:t> </a:t>
              </a:r>
              <a:r>
                <a:rPr kumimoji="0" sz="800" b="1" i="0" u="none" strike="noStrike" kern="0" cap="none" spc="0" normalizeH="0" baseline="0" noProof="0">
                  <a:ln>
                    <a:noFill/>
                  </a:ln>
                  <a:solidFill>
                    <a:srgbClr val="4C4C4C"/>
                  </a:solidFill>
                  <a:effectLst/>
                  <a:uLnTx/>
                  <a:uFillTx/>
                  <a:latin typeface="Arial"/>
                  <a:ea typeface="+mn-ea"/>
                  <a:cs typeface="HelveticaNeueLT Std"/>
                </a:rPr>
                <a:t>weeks</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grpSp>
          <p:nvGrpSpPr>
            <p:cNvPr id="5" name="Group 4">
              <a:extLst>
                <a:ext uri="{FF2B5EF4-FFF2-40B4-BE49-F238E27FC236}">
                  <a16:creationId xmlns:a16="http://schemas.microsoft.com/office/drawing/2014/main" id="{1DD8B59F-2EEA-4631-AD0D-46C7B313C8E9}"/>
                </a:ext>
              </a:extLst>
            </p:cNvPr>
            <p:cNvGrpSpPr/>
            <p:nvPr/>
          </p:nvGrpSpPr>
          <p:grpSpPr>
            <a:xfrm>
              <a:off x="2406680" y="1812579"/>
              <a:ext cx="4894816" cy="1271804"/>
              <a:chOff x="4336924" y="2354965"/>
              <a:chExt cx="7735018" cy="2009765"/>
            </a:xfrm>
          </p:grpSpPr>
          <p:cxnSp>
            <p:nvCxnSpPr>
              <p:cNvPr id="217" name="Straight Connector 216">
                <a:extLst>
                  <a:ext uri="{FF2B5EF4-FFF2-40B4-BE49-F238E27FC236}">
                    <a16:creationId xmlns:a16="http://schemas.microsoft.com/office/drawing/2014/main" id="{F508CFD9-E546-42DE-8078-116020756BE3}"/>
                  </a:ext>
                </a:extLst>
              </p:cNvPr>
              <p:cNvCxnSpPr/>
              <p:nvPr/>
            </p:nvCxnSpPr>
            <p:spPr>
              <a:xfrm>
                <a:off x="4336924" y="3425626"/>
                <a:ext cx="7735018" cy="0"/>
              </a:xfrm>
              <a:prstGeom prst="line">
                <a:avLst/>
              </a:prstGeom>
              <a:noFill/>
              <a:ln w="6350" cap="flat" cmpd="sng" algn="ctr">
                <a:solidFill>
                  <a:srgbClr val="FFFFFF">
                    <a:lumMod val="65000"/>
                  </a:srgbClr>
                </a:solidFill>
                <a:prstDash val="dash"/>
                <a:miter lim="800000"/>
              </a:ln>
              <a:effectLst/>
            </p:spPr>
          </p:cxnSp>
          <p:sp>
            <p:nvSpPr>
              <p:cNvPr id="274" name="Freeform 105">
                <a:extLst>
                  <a:ext uri="{FF2B5EF4-FFF2-40B4-BE49-F238E27FC236}">
                    <a16:creationId xmlns:a16="http://schemas.microsoft.com/office/drawing/2014/main" id="{A797CCB2-83C3-48F9-B11B-0A3A9600EC99}"/>
                  </a:ext>
                </a:extLst>
              </p:cNvPr>
              <p:cNvSpPr/>
              <p:nvPr/>
            </p:nvSpPr>
            <p:spPr>
              <a:xfrm>
                <a:off x="6866866" y="2690824"/>
                <a:ext cx="601935" cy="1673906"/>
              </a:xfrm>
              <a:custGeom>
                <a:avLst/>
                <a:gdLst>
                  <a:gd name="connsiteX0" fmla="*/ 914400 w 914400"/>
                  <a:gd name="connsiteY0" fmla="*/ 0 h 2328421"/>
                  <a:gd name="connsiteX1" fmla="*/ 518474 w 914400"/>
                  <a:gd name="connsiteY1" fmla="*/ 0 h 2328421"/>
                  <a:gd name="connsiteX2" fmla="*/ 518474 w 914400"/>
                  <a:gd name="connsiteY2" fmla="*/ 2328421 h 2328421"/>
                  <a:gd name="connsiteX3" fmla="*/ 0 w 914400"/>
                  <a:gd name="connsiteY3" fmla="*/ 2328421 h 2328421"/>
                </a:gdLst>
                <a:ahLst/>
                <a:cxnLst>
                  <a:cxn ang="0">
                    <a:pos x="connsiteX0" y="connsiteY0"/>
                  </a:cxn>
                  <a:cxn ang="0">
                    <a:pos x="connsiteX1" y="connsiteY1"/>
                  </a:cxn>
                  <a:cxn ang="0">
                    <a:pos x="connsiteX2" y="connsiteY2"/>
                  </a:cxn>
                  <a:cxn ang="0">
                    <a:pos x="connsiteX3" y="connsiteY3"/>
                  </a:cxn>
                </a:cxnLst>
                <a:rect l="l" t="t" r="r" b="b"/>
                <a:pathLst>
                  <a:path w="914400" h="2328421">
                    <a:moveTo>
                      <a:pt x="914400" y="0"/>
                    </a:moveTo>
                    <a:lnTo>
                      <a:pt x="518474" y="0"/>
                    </a:lnTo>
                    <a:lnTo>
                      <a:pt x="518474" y="2328421"/>
                    </a:lnTo>
                    <a:lnTo>
                      <a:pt x="0" y="2328421"/>
                    </a:lnTo>
                  </a:path>
                </a:pathLst>
              </a:custGeom>
              <a:noFill/>
              <a:ln w="12700" cap="flat" cmpd="sng" algn="ctr">
                <a:solidFill>
                  <a:srgbClr val="4C4C4C"/>
                </a:solidFill>
                <a:prstDash val="solid"/>
                <a:miter lim="800000"/>
                <a:headEnd type="none"/>
                <a:tailEnd type="triangle" w="lg" len="lg"/>
              </a:ln>
              <a:effectLst/>
            </p:spPr>
            <p:txBody>
              <a:bodyPr vert="horz" lIns="0" tIns="0" rIns="0" bIns="0" rtlCol="0" anchor="ctr"/>
              <a:lstStyle/>
              <a:p>
                <a:pPr marL="0" marR="0" lvl="0" indent="0" algn="ctr" defTabSz="289339"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4C4C4C"/>
                  </a:solidFill>
                  <a:effectLst/>
                  <a:uLnTx/>
                  <a:uFillTx/>
                  <a:latin typeface="Arial"/>
                  <a:ea typeface="+mn-ea"/>
                  <a:cs typeface="+mn-cs"/>
                </a:endParaRPr>
              </a:p>
            </p:txBody>
          </p:sp>
          <p:sp>
            <p:nvSpPr>
              <p:cNvPr id="275" name="Freeform 106">
                <a:extLst>
                  <a:ext uri="{FF2B5EF4-FFF2-40B4-BE49-F238E27FC236}">
                    <a16:creationId xmlns:a16="http://schemas.microsoft.com/office/drawing/2014/main" id="{A2082973-D3F2-4168-88F6-D21092F2E0FA}"/>
                  </a:ext>
                </a:extLst>
              </p:cNvPr>
              <p:cNvSpPr/>
              <p:nvPr/>
            </p:nvSpPr>
            <p:spPr>
              <a:xfrm flipH="1">
                <a:off x="8232971" y="2697226"/>
                <a:ext cx="414799" cy="728399"/>
              </a:xfrm>
              <a:custGeom>
                <a:avLst/>
                <a:gdLst>
                  <a:gd name="connsiteX0" fmla="*/ 914400 w 914400"/>
                  <a:gd name="connsiteY0" fmla="*/ 0 h 2328421"/>
                  <a:gd name="connsiteX1" fmla="*/ 518474 w 914400"/>
                  <a:gd name="connsiteY1" fmla="*/ 0 h 2328421"/>
                  <a:gd name="connsiteX2" fmla="*/ 518474 w 914400"/>
                  <a:gd name="connsiteY2" fmla="*/ 2328421 h 2328421"/>
                  <a:gd name="connsiteX3" fmla="*/ 0 w 914400"/>
                  <a:gd name="connsiteY3" fmla="*/ 2328421 h 2328421"/>
                </a:gdLst>
                <a:ahLst/>
                <a:cxnLst>
                  <a:cxn ang="0">
                    <a:pos x="connsiteX0" y="connsiteY0"/>
                  </a:cxn>
                  <a:cxn ang="0">
                    <a:pos x="connsiteX1" y="connsiteY1"/>
                  </a:cxn>
                  <a:cxn ang="0">
                    <a:pos x="connsiteX2" y="connsiteY2"/>
                  </a:cxn>
                  <a:cxn ang="0">
                    <a:pos x="connsiteX3" y="connsiteY3"/>
                  </a:cxn>
                </a:cxnLst>
                <a:rect l="l" t="t" r="r" b="b"/>
                <a:pathLst>
                  <a:path w="914400" h="2328421">
                    <a:moveTo>
                      <a:pt x="914400" y="0"/>
                    </a:moveTo>
                    <a:lnTo>
                      <a:pt x="518474" y="0"/>
                    </a:lnTo>
                    <a:lnTo>
                      <a:pt x="518474" y="2328421"/>
                    </a:lnTo>
                    <a:lnTo>
                      <a:pt x="0" y="2328421"/>
                    </a:lnTo>
                  </a:path>
                </a:pathLst>
              </a:custGeom>
              <a:noFill/>
              <a:ln w="12700" cap="flat" cmpd="sng" algn="ctr">
                <a:solidFill>
                  <a:srgbClr val="4C4C4C"/>
                </a:solidFill>
                <a:prstDash val="solid"/>
                <a:miter lim="800000"/>
                <a:headEnd type="none"/>
                <a:tailEnd type="triangle" w="lg" len="lg"/>
              </a:ln>
              <a:effectLst/>
            </p:spPr>
            <p:txBody>
              <a:bodyPr vert="horz" lIns="0" tIns="0" rIns="0" bIns="0" rtlCol="0" anchor="ctr"/>
              <a:lstStyle/>
              <a:p>
                <a:pPr marL="0" marR="0" lvl="0" indent="0" algn="ctr" defTabSz="289339"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4C4C4C"/>
                  </a:solidFill>
                  <a:effectLst/>
                  <a:uLnTx/>
                  <a:uFillTx/>
                  <a:latin typeface="Arial"/>
                  <a:ea typeface="+mn-ea"/>
                  <a:cs typeface="+mn-cs"/>
                </a:endParaRPr>
              </a:p>
            </p:txBody>
          </p:sp>
          <p:sp>
            <p:nvSpPr>
              <p:cNvPr id="284" name="object 24">
                <a:extLst>
                  <a:ext uri="{FF2B5EF4-FFF2-40B4-BE49-F238E27FC236}">
                    <a16:creationId xmlns:a16="http://schemas.microsoft.com/office/drawing/2014/main" id="{97B59284-6299-4BA6-AC95-9155ED39DAEC}"/>
                  </a:ext>
                </a:extLst>
              </p:cNvPr>
              <p:cNvSpPr txBox="1"/>
              <p:nvPr/>
            </p:nvSpPr>
            <p:spPr>
              <a:xfrm>
                <a:off x="7451699" y="2354965"/>
                <a:ext cx="781270" cy="522093"/>
              </a:xfrm>
              <a:prstGeom prst="rect">
                <a:avLst/>
              </a:prstGeom>
              <a:solidFill>
                <a:srgbClr val="D1EDF8"/>
              </a:solidFill>
            </p:spPr>
            <p:txBody>
              <a:bodyPr vert="horz" wrap="none" lIns="115729" tIns="0" rIns="0" bIns="0" rtlCol="0" anchor="ctr">
                <a:noAutofit/>
              </a:bodyPr>
              <a:lstStyle/>
              <a:p>
                <a:pPr marL="0" marR="111717" lvl="0" indent="1005" algn="ctr" defTabSz="289339" rtl="0" eaLnBrk="0" fontAlgn="base" latinLnBrk="0" hangingPunct="0">
                  <a:lnSpc>
                    <a:spcPct val="100499"/>
                  </a:lnSpc>
                  <a:spcBef>
                    <a:spcPts val="326"/>
                  </a:spcBef>
                  <a:spcAft>
                    <a:spcPct val="0"/>
                  </a:spcAft>
                  <a:buClrTx/>
                  <a:buSzTx/>
                  <a:buFontTx/>
                  <a:buNone/>
                  <a:tabLst/>
                  <a:defRPr/>
                </a:pPr>
                <a:r>
                  <a:rPr kumimoji="0" sz="800" b="1" i="0" u="none" strike="noStrike" kern="1200" cap="none" spc="3" normalizeH="0" baseline="0" noProof="0">
                    <a:ln>
                      <a:noFill/>
                    </a:ln>
                    <a:solidFill>
                      <a:srgbClr val="4C4C4C"/>
                    </a:solidFill>
                    <a:effectLst/>
                    <a:uLnTx/>
                    <a:uFillTx/>
                    <a:latin typeface="Arial"/>
                    <a:ea typeface="+mn-ea"/>
                    <a:cs typeface="HelveticaNeueLT Std"/>
                  </a:rPr>
                  <a:t>Data</a:t>
                </a:r>
                <a:r>
                  <a:rPr kumimoji="0" sz="800" b="1" i="0" u="none" strike="noStrike" kern="1200" cap="none" spc="-60" normalizeH="0" baseline="0" noProof="0">
                    <a:ln>
                      <a:noFill/>
                    </a:ln>
                    <a:solidFill>
                      <a:srgbClr val="4C4C4C"/>
                    </a:solidFill>
                    <a:effectLst/>
                    <a:uLnTx/>
                    <a:uFillTx/>
                    <a:latin typeface="Arial"/>
                    <a:ea typeface="+mn-ea"/>
                    <a:cs typeface="HelveticaNeueLT Std"/>
                  </a:rPr>
                  <a:t> </a:t>
                </a:r>
                <a:r>
                  <a:rPr kumimoji="0" sz="800" b="1" i="0" u="none" strike="noStrike" kern="1200" cap="none" spc="6" normalizeH="0" baseline="0" noProof="0">
                    <a:ln>
                      <a:noFill/>
                    </a:ln>
                    <a:solidFill>
                      <a:srgbClr val="4C4C4C"/>
                    </a:solidFill>
                    <a:effectLst/>
                    <a:uLnTx/>
                    <a:uFillTx/>
                    <a:latin typeface="Arial"/>
                    <a:ea typeface="+mn-ea"/>
                    <a:cs typeface="HelveticaNeueLT Std"/>
                  </a:rPr>
                  <a:t>for</a:t>
                </a:r>
                <a:br>
                  <a:rPr kumimoji="0" lang="en-US" sz="800" b="1" i="0" u="none" strike="noStrike" kern="1200" cap="none" spc="6" normalizeH="0" baseline="0" noProof="0">
                    <a:ln>
                      <a:noFill/>
                    </a:ln>
                    <a:solidFill>
                      <a:srgbClr val="4C4C4C"/>
                    </a:solidFill>
                    <a:effectLst/>
                    <a:uLnTx/>
                    <a:uFillTx/>
                    <a:latin typeface="Arial"/>
                    <a:ea typeface="+mn-ea"/>
                    <a:cs typeface="HelveticaNeueLT Std"/>
                  </a:rPr>
                </a:br>
                <a:r>
                  <a:rPr kumimoji="0" sz="800" b="1" i="0" u="none" strike="noStrike" kern="1200" cap="none" spc="-3" normalizeH="0" baseline="0" noProof="0">
                    <a:ln>
                      <a:noFill/>
                    </a:ln>
                    <a:solidFill>
                      <a:srgbClr val="4C4C4C"/>
                    </a:solidFill>
                    <a:effectLst/>
                    <a:uLnTx/>
                    <a:uFillTx/>
                    <a:latin typeface="Arial"/>
                    <a:ea typeface="+mn-ea"/>
                    <a:cs typeface="HelveticaNeueLT Std"/>
                  </a:rPr>
                  <a:t>analysis</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grpSp>
        <p:grpSp>
          <p:nvGrpSpPr>
            <p:cNvPr id="2" name="Group 1">
              <a:extLst>
                <a:ext uri="{FF2B5EF4-FFF2-40B4-BE49-F238E27FC236}">
                  <a16:creationId xmlns:a16="http://schemas.microsoft.com/office/drawing/2014/main" id="{7ED53236-CABF-4600-A030-9B8BA4C55894}"/>
                </a:ext>
              </a:extLst>
            </p:cNvPr>
            <p:cNvGrpSpPr/>
            <p:nvPr/>
          </p:nvGrpSpPr>
          <p:grpSpPr>
            <a:xfrm>
              <a:off x="1765192" y="1646781"/>
              <a:ext cx="2224706" cy="2414829"/>
              <a:chOff x="3323214" y="2092965"/>
              <a:chExt cx="3515584" cy="3816026"/>
            </a:xfrm>
          </p:grpSpPr>
          <p:sp>
            <p:nvSpPr>
              <p:cNvPr id="220" name="object 4">
                <a:extLst>
                  <a:ext uri="{FF2B5EF4-FFF2-40B4-BE49-F238E27FC236}">
                    <a16:creationId xmlns:a16="http://schemas.microsoft.com/office/drawing/2014/main" id="{1F5456D6-B163-41D6-8A1C-C9651B06AFD5}"/>
                  </a:ext>
                </a:extLst>
              </p:cNvPr>
              <p:cNvSpPr txBox="1"/>
              <p:nvPr/>
            </p:nvSpPr>
            <p:spPr>
              <a:xfrm>
                <a:off x="4081394" y="2092965"/>
                <a:ext cx="1034505" cy="177427"/>
              </a:xfrm>
              <a:prstGeom prst="rect">
                <a:avLst/>
              </a:prstGeom>
              <a:solidFill>
                <a:srgbClr val="BCBEC0"/>
              </a:solidFill>
              <a:ln w="6096">
                <a:solidFill>
                  <a:srgbClr val="769AD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7"/>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Arms </a:t>
                </a:r>
                <a:r>
                  <a:rPr kumimoji="0" sz="800" b="1" i="0" u="none" strike="noStrike" kern="1200" cap="none" spc="3" normalizeH="0" baseline="0" noProof="0">
                    <a:ln>
                      <a:noFill/>
                    </a:ln>
                    <a:solidFill>
                      <a:srgbClr val="4C4C4C"/>
                    </a:solidFill>
                    <a:effectLst/>
                    <a:uLnTx/>
                    <a:uFillTx/>
                    <a:latin typeface="Arial"/>
                    <a:ea typeface="+mn-ea"/>
                    <a:cs typeface="HelveticaNeueLT Std"/>
                  </a:rPr>
                  <a:t>A </a:t>
                </a:r>
                <a:r>
                  <a:rPr kumimoji="0" sz="800" b="1" i="0" u="none" strike="noStrike" kern="1200" cap="none" spc="0" normalizeH="0" baseline="0" noProof="0">
                    <a:ln>
                      <a:noFill/>
                    </a:ln>
                    <a:solidFill>
                      <a:srgbClr val="4C4C4C"/>
                    </a:solidFill>
                    <a:effectLst/>
                    <a:uLnTx/>
                    <a:uFillTx/>
                    <a:latin typeface="Arial"/>
                    <a:ea typeface="+mn-ea"/>
                    <a:cs typeface="HelveticaNeueLT Std"/>
                  </a:rPr>
                  <a:t>and</a:t>
                </a:r>
                <a:r>
                  <a:rPr kumimoji="0" sz="800" b="1" i="0" u="none" strike="noStrike" kern="1200" cap="none" spc="-54" normalizeH="0" baseline="0" noProof="0">
                    <a:ln>
                      <a:noFill/>
                    </a:ln>
                    <a:solidFill>
                      <a:srgbClr val="4C4C4C"/>
                    </a:solidFill>
                    <a:effectLst/>
                    <a:uLnTx/>
                    <a:uFillTx/>
                    <a:latin typeface="Arial"/>
                    <a:ea typeface="+mn-ea"/>
                    <a:cs typeface="HelveticaNeueLT Std"/>
                  </a:rPr>
                  <a:t> </a:t>
                </a:r>
                <a:r>
                  <a:rPr kumimoji="0" sz="800" b="1" i="0" u="none" strike="noStrike" kern="1200" cap="none" spc="3" normalizeH="0" baseline="0" noProof="0">
                    <a:ln>
                      <a:noFill/>
                    </a:ln>
                    <a:solidFill>
                      <a:srgbClr val="4C4C4C"/>
                    </a:solidFill>
                    <a:effectLst/>
                    <a:uLnTx/>
                    <a:uFillTx/>
                    <a:latin typeface="Arial"/>
                    <a:ea typeface="+mn-ea"/>
                    <a:cs typeface="HelveticaNeueLT Std"/>
                  </a:rPr>
                  <a:t>B</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21" name="object 5">
                <a:extLst>
                  <a:ext uri="{FF2B5EF4-FFF2-40B4-BE49-F238E27FC236}">
                    <a16:creationId xmlns:a16="http://schemas.microsoft.com/office/drawing/2014/main" id="{22664D9C-0EDD-4C61-AF74-56923E71ED6F}"/>
                  </a:ext>
                </a:extLst>
              </p:cNvPr>
              <p:cNvSpPr txBox="1"/>
              <p:nvPr/>
            </p:nvSpPr>
            <p:spPr>
              <a:xfrm>
                <a:off x="6261284" y="2092965"/>
                <a:ext cx="529620" cy="177427"/>
              </a:xfrm>
              <a:prstGeom prst="rect">
                <a:avLst/>
              </a:prstGeom>
              <a:solidFill>
                <a:srgbClr val="BCBEC0"/>
              </a:solidFill>
              <a:ln w="6096">
                <a:solidFill>
                  <a:srgbClr val="769AD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7"/>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Arm</a:t>
                </a:r>
                <a:r>
                  <a:rPr kumimoji="0" sz="800" b="1" i="0" u="none" strike="noStrike" kern="1200" cap="none" spc="-32" normalizeH="0" baseline="0" noProof="0">
                    <a:ln>
                      <a:noFill/>
                    </a:ln>
                    <a:solidFill>
                      <a:srgbClr val="4C4C4C"/>
                    </a:solidFill>
                    <a:effectLst/>
                    <a:uLnTx/>
                    <a:uFillTx/>
                    <a:latin typeface="Arial"/>
                    <a:ea typeface="+mn-ea"/>
                    <a:cs typeface="HelveticaNeueLT Std"/>
                  </a:rPr>
                  <a:t> </a:t>
                </a:r>
                <a:r>
                  <a:rPr kumimoji="0" sz="800" b="1" i="0" u="none" strike="noStrike" kern="1200" cap="none" spc="3" normalizeH="0" baseline="0" noProof="0">
                    <a:ln>
                      <a:noFill/>
                    </a:ln>
                    <a:solidFill>
                      <a:srgbClr val="4C4C4C"/>
                    </a:solidFill>
                    <a:effectLst/>
                    <a:uLnTx/>
                    <a:uFillTx/>
                    <a:latin typeface="Arial"/>
                    <a:ea typeface="+mn-ea"/>
                    <a:cs typeface="HelveticaNeueLT Std"/>
                  </a:rPr>
                  <a:t>C</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22" name="object 6">
                <a:extLst>
                  <a:ext uri="{FF2B5EF4-FFF2-40B4-BE49-F238E27FC236}">
                    <a16:creationId xmlns:a16="http://schemas.microsoft.com/office/drawing/2014/main" id="{FA8DB30C-E638-437F-9404-36504E23E47B}"/>
                  </a:ext>
                </a:extLst>
              </p:cNvPr>
              <p:cNvSpPr txBox="1"/>
              <p:nvPr/>
            </p:nvSpPr>
            <p:spPr>
              <a:xfrm>
                <a:off x="5935791" y="2351492"/>
                <a:ext cx="346531" cy="177427"/>
              </a:xfrm>
              <a:prstGeom prst="rect">
                <a:avLst/>
              </a:prstGeom>
              <a:solidFill>
                <a:srgbClr val="788BBC"/>
              </a:solidFill>
              <a:ln w="6096">
                <a:solidFill>
                  <a:srgbClr val="231F2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76"/>
                  </a:spcBef>
                  <a:spcAft>
                    <a:spcPct val="0"/>
                  </a:spcAft>
                  <a:buClrTx/>
                  <a:buSzTx/>
                  <a:buFontTx/>
                  <a:buNone/>
                  <a:tabLst/>
                  <a:defRPr/>
                </a:pPr>
                <a:r>
                  <a:rPr kumimoji="0" sz="800" b="1" i="0" u="none" strike="noStrike" kern="1200" cap="none" spc="3" normalizeH="0" baseline="0" noProof="0">
                    <a:ln>
                      <a:noFill/>
                    </a:ln>
                    <a:solidFill>
                      <a:srgbClr val="FFFFFF"/>
                    </a:solidFill>
                    <a:effectLst/>
                    <a:uLnTx/>
                    <a:uFillTx/>
                    <a:latin typeface="Arial"/>
                    <a:ea typeface="+mn-ea"/>
                    <a:cs typeface="HelveticaNeueLT Std"/>
                  </a:rPr>
                  <a:t>MRD</a:t>
                </a:r>
                <a:endParaRPr kumimoji="0" sz="800" b="1" i="0" u="none" strike="noStrike" kern="1200" cap="none" spc="0" normalizeH="0" baseline="0" noProof="0">
                  <a:ln>
                    <a:noFill/>
                  </a:ln>
                  <a:solidFill>
                    <a:srgbClr val="FFFFFF"/>
                  </a:solidFill>
                  <a:effectLst/>
                  <a:uLnTx/>
                  <a:uFillTx/>
                  <a:latin typeface="Arial"/>
                  <a:ea typeface="+mn-ea"/>
                  <a:cs typeface="HelveticaNeueLT Std"/>
                </a:endParaRPr>
              </a:p>
            </p:txBody>
          </p:sp>
          <p:sp>
            <p:nvSpPr>
              <p:cNvPr id="223" name="object 7">
                <a:extLst>
                  <a:ext uri="{FF2B5EF4-FFF2-40B4-BE49-F238E27FC236}">
                    <a16:creationId xmlns:a16="http://schemas.microsoft.com/office/drawing/2014/main" id="{8E806666-E2A2-42E5-A609-DF58F16ED3BA}"/>
                  </a:ext>
                </a:extLst>
              </p:cNvPr>
              <p:cNvSpPr txBox="1"/>
              <p:nvPr/>
            </p:nvSpPr>
            <p:spPr>
              <a:xfrm>
                <a:off x="4336309" y="2583731"/>
                <a:ext cx="531292"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24" name="object 8">
                <a:extLst>
                  <a:ext uri="{FF2B5EF4-FFF2-40B4-BE49-F238E27FC236}">
                    <a16:creationId xmlns:a16="http://schemas.microsoft.com/office/drawing/2014/main" id="{6338F0E6-0985-4891-A6E2-E551182B53BF}"/>
                  </a:ext>
                </a:extLst>
              </p:cNvPr>
              <p:cNvSpPr txBox="1"/>
              <p:nvPr/>
            </p:nvSpPr>
            <p:spPr>
              <a:xfrm>
                <a:off x="4336924" y="2864037"/>
                <a:ext cx="531292"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25" name="object 9">
                <a:extLst>
                  <a:ext uri="{FF2B5EF4-FFF2-40B4-BE49-F238E27FC236}">
                    <a16:creationId xmlns:a16="http://schemas.microsoft.com/office/drawing/2014/main" id="{BC7602EE-FCB5-48D9-96AD-DD2B20A9DD25}"/>
                  </a:ext>
                </a:extLst>
              </p:cNvPr>
              <p:cNvSpPr txBox="1"/>
              <p:nvPr/>
            </p:nvSpPr>
            <p:spPr>
              <a:xfrm>
                <a:off x="4336924" y="3139425"/>
                <a:ext cx="531292"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7"/>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26" name="object 10">
                <a:extLst>
                  <a:ext uri="{FF2B5EF4-FFF2-40B4-BE49-F238E27FC236}">
                    <a16:creationId xmlns:a16="http://schemas.microsoft.com/office/drawing/2014/main" id="{C6BA5C41-F352-44EC-8F67-56D77040994E}"/>
                  </a:ext>
                </a:extLst>
              </p:cNvPr>
              <p:cNvSpPr txBox="1"/>
              <p:nvPr/>
            </p:nvSpPr>
            <p:spPr>
              <a:xfrm>
                <a:off x="4336924" y="3519890"/>
                <a:ext cx="531292"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9"/>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27" name="object 11">
                <a:extLst>
                  <a:ext uri="{FF2B5EF4-FFF2-40B4-BE49-F238E27FC236}">
                    <a16:creationId xmlns:a16="http://schemas.microsoft.com/office/drawing/2014/main" id="{FA4D5C33-AC9C-40C0-8C62-3119E0E31DF1}"/>
                  </a:ext>
                </a:extLst>
              </p:cNvPr>
              <p:cNvSpPr txBox="1"/>
              <p:nvPr/>
            </p:nvSpPr>
            <p:spPr>
              <a:xfrm>
                <a:off x="4336924" y="3786056"/>
                <a:ext cx="531292"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7"/>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28" name="object 12">
                <a:extLst>
                  <a:ext uri="{FF2B5EF4-FFF2-40B4-BE49-F238E27FC236}">
                    <a16:creationId xmlns:a16="http://schemas.microsoft.com/office/drawing/2014/main" id="{1382AFFE-CF70-488B-A08A-4827AF75AD88}"/>
                  </a:ext>
                </a:extLst>
              </p:cNvPr>
              <p:cNvSpPr txBox="1"/>
              <p:nvPr/>
            </p:nvSpPr>
            <p:spPr>
              <a:xfrm>
                <a:off x="4336924" y="4065903"/>
                <a:ext cx="531292"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29" name="object 13">
                <a:extLst>
                  <a:ext uri="{FF2B5EF4-FFF2-40B4-BE49-F238E27FC236}">
                    <a16:creationId xmlns:a16="http://schemas.microsoft.com/office/drawing/2014/main" id="{EE78E73B-635D-4215-938F-F164A6D6316C}"/>
                  </a:ext>
                </a:extLst>
              </p:cNvPr>
              <p:cNvSpPr txBox="1"/>
              <p:nvPr/>
            </p:nvSpPr>
            <p:spPr>
              <a:xfrm>
                <a:off x="6261403" y="2583731"/>
                <a:ext cx="531292"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0"/>
                  </a:spcBef>
                  <a:spcAft>
                    <a:spcPts val="0"/>
                  </a:spcAft>
                  <a:buClrTx/>
                  <a:buSzTx/>
                  <a:buFontTx/>
                  <a:buNone/>
                  <a:tabLst/>
                  <a:defRPr/>
                </a:pPr>
                <a:r>
                  <a:rPr kumimoji="0" sz="800" b="1" i="0" u="none" strike="noStrike" kern="0" cap="none" spc="0" normalizeH="0" baseline="0" noProof="0">
                    <a:ln>
                      <a:noFill/>
                    </a:ln>
                    <a:solidFill>
                      <a:srgbClr val="4C4C4C"/>
                    </a:solidFill>
                    <a:effectLst/>
                    <a:uLnTx/>
                    <a:uFillTx/>
                    <a:latin typeface="Arial"/>
                    <a:ea typeface="+mn-ea"/>
                    <a:cs typeface="HelveticaNeueLT Std"/>
                  </a:rPr>
                  <a:t>VTD</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30" name="object 14">
                <a:extLst>
                  <a:ext uri="{FF2B5EF4-FFF2-40B4-BE49-F238E27FC236}">
                    <a16:creationId xmlns:a16="http://schemas.microsoft.com/office/drawing/2014/main" id="{5ED58295-9C62-4390-A357-E599FA12914C}"/>
                  </a:ext>
                </a:extLst>
              </p:cNvPr>
              <p:cNvSpPr txBox="1"/>
              <p:nvPr/>
            </p:nvSpPr>
            <p:spPr>
              <a:xfrm>
                <a:off x="6261403" y="2864037"/>
                <a:ext cx="531292"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0"/>
                  </a:spcBef>
                  <a:spcAft>
                    <a:spcPts val="0"/>
                  </a:spcAft>
                  <a:buClrTx/>
                  <a:buSzTx/>
                  <a:buFontTx/>
                  <a:buNone/>
                  <a:tabLst/>
                  <a:defRPr/>
                </a:pPr>
                <a:r>
                  <a:rPr kumimoji="0" sz="800" b="1" i="0" u="none" strike="noStrike" kern="0" cap="none" spc="0" normalizeH="0" baseline="0" noProof="0">
                    <a:ln>
                      <a:noFill/>
                    </a:ln>
                    <a:solidFill>
                      <a:srgbClr val="4C4C4C"/>
                    </a:solidFill>
                    <a:effectLst/>
                    <a:uLnTx/>
                    <a:uFillTx/>
                    <a:latin typeface="Arial"/>
                    <a:ea typeface="+mn-ea"/>
                    <a:cs typeface="HelveticaNeueLT Std"/>
                  </a:rPr>
                  <a:t>VTD</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31" name="object 15">
                <a:extLst>
                  <a:ext uri="{FF2B5EF4-FFF2-40B4-BE49-F238E27FC236}">
                    <a16:creationId xmlns:a16="http://schemas.microsoft.com/office/drawing/2014/main" id="{3FC4E97D-9763-4F2F-956A-A44B116F2B64}"/>
                  </a:ext>
                </a:extLst>
              </p:cNvPr>
              <p:cNvSpPr txBox="1"/>
              <p:nvPr/>
            </p:nvSpPr>
            <p:spPr>
              <a:xfrm>
                <a:off x="6261403" y="3139425"/>
                <a:ext cx="531292"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7"/>
                  </a:spcBef>
                  <a:spcAft>
                    <a:spcPts val="0"/>
                  </a:spcAft>
                  <a:buClrTx/>
                  <a:buSzTx/>
                  <a:buFontTx/>
                  <a:buNone/>
                  <a:tabLst/>
                  <a:defRPr/>
                </a:pPr>
                <a:r>
                  <a:rPr kumimoji="0" sz="800" b="1" i="0" u="none" strike="noStrike" kern="0" cap="none" spc="0" normalizeH="0" baseline="0" noProof="0">
                    <a:ln>
                      <a:noFill/>
                    </a:ln>
                    <a:solidFill>
                      <a:srgbClr val="4C4C4C"/>
                    </a:solidFill>
                    <a:effectLst/>
                    <a:uLnTx/>
                    <a:uFillTx/>
                    <a:latin typeface="Arial"/>
                    <a:ea typeface="+mn-ea"/>
                    <a:cs typeface="HelveticaNeueLT Std"/>
                  </a:rPr>
                  <a:t>VTD</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32" name="object 16">
                <a:extLst>
                  <a:ext uri="{FF2B5EF4-FFF2-40B4-BE49-F238E27FC236}">
                    <a16:creationId xmlns:a16="http://schemas.microsoft.com/office/drawing/2014/main" id="{6A9EC945-C192-4DD0-AE50-73268A263060}"/>
                  </a:ext>
                </a:extLst>
              </p:cNvPr>
              <p:cNvSpPr txBox="1"/>
              <p:nvPr/>
            </p:nvSpPr>
            <p:spPr>
              <a:xfrm>
                <a:off x="6261403" y="3519890"/>
                <a:ext cx="531292"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0"/>
                  </a:spcBef>
                  <a:spcAft>
                    <a:spcPts val="0"/>
                  </a:spcAft>
                  <a:buClrTx/>
                  <a:buSzTx/>
                  <a:buFontTx/>
                  <a:buNone/>
                  <a:tabLst/>
                  <a:defRPr/>
                </a:pPr>
                <a:r>
                  <a:rPr kumimoji="0" sz="800" b="1" i="0" u="none" strike="noStrike" kern="0" cap="none" spc="0" normalizeH="0" baseline="0" noProof="0">
                    <a:ln>
                      <a:noFill/>
                    </a:ln>
                    <a:solidFill>
                      <a:srgbClr val="4C4C4C"/>
                    </a:solidFill>
                    <a:effectLst/>
                    <a:uLnTx/>
                    <a:uFillTx/>
                    <a:latin typeface="Arial"/>
                    <a:ea typeface="+mn-ea"/>
                    <a:cs typeface="HelveticaNeueLT Std"/>
                  </a:rPr>
                  <a:t>VTD</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33" name="object 17">
                <a:extLst>
                  <a:ext uri="{FF2B5EF4-FFF2-40B4-BE49-F238E27FC236}">
                    <a16:creationId xmlns:a16="http://schemas.microsoft.com/office/drawing/2014/main" id="{11D573E6-0432-4DCB-9BAF-16C1D22D8552}"/>
                  </a:ext>
                </a:extLst>
              </p:cNvPr>
              <p:cNvSpPr txBox="1"/>
              <p:nvPr/>
            </p:nvSpPr>
            <p:spPr>
              <a:xfrm>
                <a:off x="6261403" y="3786056"/>
                <a:ext cx="531292"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4"/>
                  </a:spcBef>
                  <a:spcAft>
                    <a:spcPts val="0"/>
                  </a:spcAft>
                  <a:buClrTx/>
                  <a:buSzTx/>
                  <a:buFontTx/>
                  <a:buNone/>
                  <a:tabLst/>
                  <a:defRPr/>
                </a:pPr>
                <a:r>
                  <a:rPr kumimoji="0" sz="800" b="1" i="0" u="none" strike="noStrike" kern="0" cap="none" spc="0" normalizeH="0" baseline="0" noProof="0">
                    <a:ln>
                      <a:noFill/>
                    </a:ln>
                    <a:solidFill>
                      <a:srgbClr val="4C4C4C"/>
                    </a:solidFill>
                    <a:effectLst/>
                    <a:uLnTx/>
                    <a:uFillTx/>
                    <a:latin typeface="Arial"/>
                    <a:ea typeface="+mn-ea"/>
                    <a:cs typeface="HelveticaNeueLT Std"/>
                  </a:rPr>
                  <a:t>VTD</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34" name="object 18">
                <a:extLst>
                  <a:ext uri="{FF2B5EF4-FFF2-40B4-BE49-F238E27FC236}">
                    <a16:creationId xmlns:a16="http://schemas.microsoft.com/office/drawing/2014/main" id="{D7548714-DE1B-418A-8F79-D2FA1679B7E5}"/>
                  </a:ext>
                </a:extLst>
              </p:cNvPr>
              <p:cNvSpPr txBox="1"/>
              <p:nvPr/>
            </p:nvSpPr>
            <p:spPr>
              <a:xfrm>
                <a:off x="6261403" y="4065903"/>
                <a:ext cx="531292"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47"/>
                  </a:spcBef>
                  <a:spcAft>
                    <a:spcPts val="0"/>
                  </a:spcAft>
                  <a:buClrTx/>
                  <a:buSzTx/>
                  <a:buFontTx/>
                  <a:buNone/>
                  <a:tabLst/>
                  <a:defRPr/>
                </a:pPr>
                <a:r>
                  <a:rPr kumimoji="0" sz="800" b="1" i="0" u="none" strike="noStrike" kern="0" cap="none" spc="0" normalizeH="0" baseline="0" noProof="0">
                    <a:ln>
                      <a:noFill/>
                    </a:ln>
                    <a:solidFill>
                      <a:srgbClr val="4C4C4C"/>
                    </a:solidFill>
                    <a:effectLst/>
                    <a:uLnTx/>
                    <a:uFillTx/>
                    <a:latin typeface="Arial"/>
                    <a:ea typeface="+mn-ea"/>
                    <a:cs typeface="HelveticaNeueLT Std"/>
                  </a:rPr>
                  <a:t>VTD</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35" name="object 19">
                <a:extLst>
                  <a:ext uri="{FF2B5EF4-FFF2-40B4-BE49-F238E27FC236}">
                    <a16:creationId xmlns:a16="http://schemas.microsoft.com/office/drawing/2014/main" id="{5AFC1699-E3A8-4A2B-A663-00CAA0D6A85A}"/>
                  </a:ext>
                </a:extLst>
              </p:cNvPr>
              <p:cNvSpPr txBox="1"/>
              <p:nvPr/>
            </p:nvSpPr>
            <p:spPr>
              <a:xfrm>
                <a:off x="4842196" y="4964079"/>
                <a:ext cx="346531" cy="177427"/>
              </a:xfrm>
              <a:prstGeom prst="rect">
                <a:avLst/>
              </a:prstGeom>
              <a:solidFill>
                <a:srgbClr val="788BBC"/>
              </a:solidFill>
              <a:ln w="6096">
                <a:solidFill>
                  <a:srgbClr val="231F2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70"/>
                  </a:spcBef>
                  <a:spcAft>
                    <a:spcPct val="0"/>
                  </a:spcAft>
                  <a:buClrTx/>
                  <a:buSzTx/>
                  <a:buFontTx/>
                  <a:buNone/>
                  <a:tabLst/>
                  <a:defRPr/>
                </a:pPr>
                <a:r>
                  <a:rPr kumimoji="0" sz="800" b="1" i="0" u="none" strike="noStrike" kern="1200" cap="none" spc="3" normalizeH="0" baseline="0" noProof="0">
                    <a:ln>
                      <a:noFill/>
                    </a:ln>
                    <a:solidFill>
                      <a:srgbClr val="FFFFFF"/>
                    </a:solidFill>
                    <a:effectLst/>
                    <a:uLnTx/>
                    <a:uFillTx/>
                    <a:latin typeface="Arial"/>
                    <a:ea typeface="+mn-ea"/>
                    <a:cs typeface="HelveticaNeueLT Std"/>
                  </a:rPr>
                  <a:t>M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36" name="object 20">
                <a:extLst>
                  <a:ext uri="{FF2B5EF4-FFF2-40B4-BE49-F238E27FC236}">
                    <a16:creationId xmlns:a16="http://schemas.microsoft.com/office/drawing/2014/main" id="{960081BD-23C0-4928-8DDB-EFE4A7DED8FC}"/>
                  </a:ext>
                </a:extLst>
              </p:cNvPr>
              <p:cNvSpPr txBox="1"/>
              <p:nvPr/>
            </p:nvSpPr>
            <p:spPr>
              <a:xfrm>
                <a:off x="4842196" y="5731564"/>
                <a:ext cx="346531" cy="177427"/>
              </a:xfrm>
              <a:prstGeom prst="rect">
                <a:avLst/>
              </a:prstGeom>
              <a:solidFill>
                <a:srgbClr val="788BBC"/>
              </a:solidFill>
              <a:ln w="6096">
                <a:solidFill>
                  <a:srgbClr val="231F2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72"/>
                  </a:spcBef>
                  <a:spcAft>
                    <a:spcPct val="0"/>
                  </a:spcAft>
                  <a:buClrTx/>
                  <a:buSzTx/>
                  <a:buFontTx/>
                  <a:buNone/>
                  <a:tabLst/>
                  <a:defRPr/>
                </a:pPr>
                <a:r>
                  <a:rPr kumimoji="0" sz="800" b="1" i="0" u="none" strike="noStrike" kern="1200" cap="none" spc="3" normalizeH="0" baseline="0" noProof="0">
                    <a:ln>
                      <a:noFill/>
                    </a:ln>
                    <a:solidFill>
                      <a:srgbClr val="FFFFFF"/>
                    </a:solidFill>
                    <a:effectLst/>
                    <a:uLnTx/>
                    <a:uFillTx/>
                    <a:latin typeface="Arial"/>
                    <a:ea typeface="+mn-ea"/>
                    <a:cs typeface="HelveticaNeueLT Std"/>
                  </a:rPr>
                  <a:t>M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37" name="object 21">
                <a:extLst>
                  <a:ext uri="{FF2B5EF4-FFF2-40B4-BE49-F238E27FC236}">
                    <a16:creationId xmlns:a16="http://schemas.microsoft.com/office/drawing/2014/main" id="{A4B7309F-4B76-4A0B-8A8A-D0A3BE7B433E}"/>
                  </a:ext>
                </a:extLst>
              </p:cNvPr>
              <p:cNvSpPr txBox="1"/>
              <p:nvPr/>
            </p:nvSpPr>
            <p:spPr>
              <a:xfrm>
                <a:off x="5935791" y="4964080"/>
                <a:ext cx="346531" cy="177427"/>
              </a:xfrm>
              <a:prstGeom prst="rect">
                <a:avLst/>
              </a:prstGeom>
              <a:solidFill>
                <a:srgbClr val="788BBC"/>
              </a:solidFill>
              <a:ln w="6096">
                <a:solidFill>
                  <a:srgbClr val="231F2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70"/>
                  </a:spcBef>
                  <a:spcAft>
                    <a:spcPct val="0"/>
                  </a:spcAft>
                  <a:buClrTx/>
                  <a:buSzTx/>
                  <a:buFontTx/>
                  <a:buNone/>
                  <a:tabLst/>
                  <a:defRPr/>
                </a:pPr>
                <a:r>
                  <a:rPr kumimoji="0" sz="800" b="1" i="0" u="none" strike="noStrike" kern="1200" cap="none" spc="3" normalizeH="0" baseline="0" noProof="0">
                    <a:ln>
                      <a:noFill/>
                    </a:ln>
                    <a:solidFill>
                      <a:srgbClr val="FFFFFF"/>
                    </a:solidFill>
                    <a:effectLst/>
                    <a:uLnTx/>
                    <a:uFillTx/>
                    <a:latin typeface="Arial"/>
                    <a:ea typeface="+mn-ea"/>
                    <a:cs typeface="HelveticaNeueLT Std"/>
                  </a:rPr>
                  <a:t>M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38" name="object 22">
                <a:extLst>
                  <a:ext uri="{FF2B5EF4-FFF2-40B4-BE49-F238E27FC236}">
                    <a16:creationId xmlns:a16="http://schemas.microsoft.com/office/drawing/2014/main" id="{4D648D36-63CF-4E10-B50C-F14034451057}"/>
                  </a:ext>
                </a:extLst>
              </p:cNvPr>
              <p:cNvSpPr txBox="1"/>
              <p:nvPr/>
            </p:nvSpPr>
            <p:spPr>
              <a:xfrm>
                <a:off x="4336924" y="5198472"/>
                <a:ext cx="531292" cy="177427"/>
              </a:xfrm>
              <a:prstGeom prst="rect">
                <a:avLst/>
              </a:prstGeom>
              <a:solidFill>
                <a:srgbClr val="AADAF6"/>
              </a:solidFill>
              <a:ln w="9144">
                <a:solidFill>
                  <a:srgbClr val="65D7FF"/>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39" name="object 23">
                <a:extLst>
                  <a:ext uri="{FF2B5EF4-FFF2-40B4-BE49-F238E27FC236}">
                    <a16:creationId xmlns:a16="http://schemas.microsoft.com/office/drawing/2014/main" id="{B5F67F57-2C05-4AC5-A360-B8F9B01C6F95}"/>
                  </a:ext>
                </a:extLst>
              </p:cNvPr>
              <p:cNvSpPr txBox="1"/>
              <p:nvPr/>
            </p:nvSpPr>
            <p:spPr>
              <a:xfrm>
                <a:off x="4336924" y="5486758"/>
                <a:ext cx="531292" cy="177427"/>
              </a:xfrm>
              <a:prstGeom prst="rect">
                <a:avLst/>
              </a:prstGeom>
              <a:solidFill>
                <a:srgbClr val="AADAF6"/>
              </a:solidFill>
              <a:ln w="9144">
                <a:solidFill>
                  <a:srgbClr val="65D7FF"/>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48" name="object 52">
                <a:extLst>
                  <a:ext uri="{FF2B5EF4-FFF2-40B4-BE49-F238E27FC236}">
                    <a16:creationId xmlns:a16="http://schemas.microsoft.com/office/drawing/2014/main" id="{71655984-F55E-4734-8039-C5DA8DC6E978}"/>
                  </a:ext>
                </a:extLst>
              </p:cNvPr>
              <p:cNvSpPr txBox="1"/>
              <p:nvPr/>
            </p:nvSpPr>
            <p:spPr>
              <a:xfrm>
                <a:off x="3323214" y="5331828"/>
                <a:ext cx="876627" cy="177427"/>
              </a:xfrm>
              <a:prstGeom prst="rect">
                <a:avLst/>
              </a:prstGeom>
              <a:solidFill>
                <a:srgbClr val="AADAF6"/>
              </a:solidFill>
              <a:ln w="9144">
                <a:solidFill>
                  <a:srgbClr val="65D7FF"/>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620"/>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Post</a:t>
                </a:r>
                <a:r>
                  <a:rPr kumimoji="0" lang="en-US" sz="800" b="1" i="0" u="none" strike="noStrike" kern="1200" cap="none" spc="-19" normalizeH="0" baseline="0" noProof="0">
                    <a:ln>
                      <a:noFill/>
                    </a:ln>
                    <a:solidFill>
                      <a:srgbClr val="4C4C4C"/>
                    </a:solidFill>
                    <a:effectLst/>
                    <a:uLnTx/>
                    <a:uFillTx/>
                    <a:latin typeface="Arial"/>
                    <a:ea typeface="+mn-ea"/>
                    <a:cs typeface="HelveticaNeueLT Std"/>
                  </a:rPr>
                  <a:t>-</a:t>
                </a:r>
                <a:r>
                  <a:rPr kumimoji="0" sz="800" b="1" i="0" u="none" strike="noStrike" kern="1200" cap="none" spc="0" normalizeH="0" baseline="0" noProof="0">
                    <a:ln>
                      <a:noFill/>
                    </a:ln>
                    <a:solidFill>
                      <a:srgbClr val="4C4C4C"/>
                    </a:solidFill>
                    <a:effectLst/>
                    <a:uLnTx/>
                    <a:uFillTx/>
                    <a:latin typeface="Arial"/>
                    <a:ea typeface="+mn-ea"/>
                    <a:cs typeface="HelveticaNeueLT Std"/>
                  </a:rPr>
                  <a:t>ASCT</a:t>
                </a:r>
              </a:p>
            </p:txBody>
          </p:sp>
          <p:sp>
            <p:nvSpPr>
              <p:cNvPr id="267" name="object 46">
                <a:extLst>
                  <a:ext uri="{FF2B5EF4-FFF2-40B4-BE49-F238E27FC236}">
                    <a16:creationId xmlns:a16="http://schemas.microsoft.com/office/drawing/2014/main" id="{466D1341-D6F2-41A7-939D-ACF19D0C48B2}"/>
                  </a:ext>
                </a:extLst>
              </p:cNvPr>
              <p:cNvSpPr txBox="1"/>
              <p:nvPr/>
            </p:nvSpPr>
            <p:spPr>
              <a:xfrm>
                <a:off x="6263075" y="4680750"/>
                <a:ext cx="529620" cy="177427"/>
              </a:xfrm>
              <a:prstGeom prst="rect">
                <a:avLst/>
              </a:prstGeom>
              <a:solidFill>
                <a:srgbClr val="E4E4E4"/>
              </a:solidFill>
              <a:ln w="9144">
                <a:solidFill>
                  <a:srgbClr val="B2B4B7"/>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617"/>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ASCT</a:t>
                </a:r>
              </a:p>
            </p:txBody>
          </p:sp>
          <p:sp>
            <p:nvSpPr>
              <p:cNvPr id="268" name="object 46">
                <a:extLst>
                  <a:ext uri="{FF2B5EF4-FFF2-40B4-BE49-F238E27FC236}">
                    <a16:creationId xmlns:a16="http://schemas.microsoft.com/office/drawing/2014/main" id="{A86F7BF1-BD44-4C2D-92E8-C3A96735BCE8}"/>
                  </a:ext>
                </a:extLst>
              </p:cNvPr>
              <p:cNvSpPr txBox="1"/>
              <p:nvPr/>
            </p:nvSpPr>
            <p:spPr>
              <a:xfrm>
                <a:off x="4338596" y="4680750"/>
                <a:ext cx="529620" cy="177427"/>
              </a:xfrm>
              <a:prstGeom prst="rect">
                <a:avLst/>
              </a:prstGeom>
              <a:solidFill>
                <a:srgbClr val="E4E4E4"/>
              </a:solidFill>
              <a:ln w="9144">
                <a:solidFill>
                  <a:srgbClr val="B2B4B7"/>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617"/>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ASCT</a:t>
                </a:r>
              </a:p>
            </p:txBody>
          </p:sp>
          <p:sp>
            <p:nvSpPr>
              <p:cNvPr id="269" name="object 19">
                <a:extLst>
                  <a:ext uri="{FF2B5EF4-FFF2-40B4-BE49-F238E27FC236}">
                    <a16:creationId xmlns:a16="http://schemas.microsoft.com/office/drawing/2014/main" id="{D0E773A5-E15D-4A84-97DE-F842A9C289EB}"/>
                  </a:ext>
                </a:extLst>
              </p:cNvPr>
              <p:cNvSpPr txBox="1"/>
              <p:nvPr/>
            </p:nvSpPr>
            <p:spPr>
              <a:xfrm>
                <a:off x="4842196" y="4411261"/>
                <a:ext cx="346531" cy="177427"/>
              </a:xfrm>
              <a:prstGeom prst="rect">
                <a:avLst/>
              </a:prstGeom>
              <a:solidFill>
                <a:srgbClr val="788BBC"/>
              </a:solidFill>
              <a:ln w="6096">
                <a:solidFill>
                  <a:srgbClr val="231F2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70"/>
                  </a:spcBef>
                  <a:spcAft>
                    <a:spcPct val="0"/>
                  </a:spcAft>
                  <a:buClrTx/>
                  <a:buSzTx/>
                  <a:buFontTx/>
                  <a:buNone/>
                  <a:tabLst/>
                  <a:defRPr/>
                </a:pPr>
                <a:r>
                  <a:rPr kumimoji="0" sz="800" b="1" i="0" u="none" strike="noStrike" kern="1200" cap="none" spc="3" normalizeH="0" baseline="0" noProof="0">
                    <a:ln>
                      <a:noFill/>
                    </a:ln>
                    <a:solidFill>
                      <a:srgbClr val="FFFFFF"/>
                    </a:solidFill>
                    <a:effectLst/>
                    <a:uLnTx/>
                    <a:uFillTx/>
                    <a:latin typeface="Arial"/>
                    <a:ea typeface="+mn-ea"/>
                    <a:cs typeface="HelveticaNeueLT Std"/>
                  </a:rPr>
                  <a:t>M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70" name="object 21">
                <a:extLst>
                  <a:ext uri="{FF2B5EF4-FFF2-40B4-BE49-F238E27FC236}">
                    <a16:creationId xmlns:a16="http://schemas.microsoft.com/office/drawing/2014/main" id="{B78A806D-4C49-4701-8230-F67B10A3CEE8}"/>
                  </a:ext>
                </a:extLst>
              </p:cNvPr>
              <p:cNvSpPr txBox="1"/>
              <p:nvPr/>
            </p:nvSpPr>
            <p:spPr>
              <a:xfrm>
                <a:off x="5935791" y="4411261"/>
                <a:ext cx="346531" cy="177427"/>
              </a:xfrm>
              <a:prstGeom prst="rect">
                <a:avLst/>
              </a:prstGeom>
              <a:solidFill>
                <a:srgbClr val="788BBC"/>
              </a:solidFill>
              <a:ln w="6096">
                <a:solidFill>
                  <a:srgbClr val="231F2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70"/>
                  </a:spcBef>
                  <a:spcAft>
                    <a:spcPct val="0"/>
                  </a:spcAft>
                  <a:buClrTx/>
                  <a:buSzTx/>
                  <a:buFontTx/>
                  <a:buNone/>
                  <a:tabLst/>
                  <a:defRPr/>
                </a:pPr>
                <a:r>
                  <a:rPr kumimoji="0" sz="800" b="1" i="0" u="none" strike="noStrike" kern="1200" cap="none" spc="3" normalizeH="0" baseline="0" noProof="0">
                    <a:ln>
                      <a:noFill/>
                    </a:ln>
                    <a:solidFill>
                      <a:srgbClr val="FFFFFF"/>
                    </a:solidFill>
                    <a:effectLst/>
                    <a:uLnTx/>
                    <a:uFillTx/>
                    <a:latin typeface="Arial"/>
                    <a:ea typeface="+mn-ea"/>
                    <a:cs typeface="HelveticaNeueLT Std"/>
                  </a:rPr>
                  <a:t>M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cxnSp>
            <p:nvCxnSpPr>
              <p:cNvPr id="271" name="Straight Connector 270">
                <a:extLst>
                  <a:ext uri="{FF2B5EF4-FFF2-40B4-BE49-F238E27FC236}">
                    <a16:creationId xmlns:a16="http://schemas.microsoft.com/office/drawing/2014/main" id="{5C295BED-522D-44FE-9EEC-09F4D9A20EB3}"/>
                  </a:ext>
                </a:extLst>
              </p:cNvPr>
              <p:cNvCxnSpPr>
                <a:cxnSpLocks/>
              </p:cNvCxnSpPr>
              <p:nvPr/>
            </p:nvCxnSpPr>
            <p:spPr>
              <a:xfrm>
                <a:off x="4336924" y="4368376"/>
                <a:ext cx="2501874" cy="0"/>
              </a:xfrm>
              <a:prstGeom prst="line">
                <a:avLst/>
              </a:prstGeom>
              <a:noFill/>
              <a:ln w="6350" cap="flat" cmpd="sng" algn="ctr">
                <a:solidFill>
                  <a:srgbClr val="FFFFFF">
                    <a:lumMod val="65000"/>
                  </a:srgbClr>
                </a:solidFill>
                <a:prstDash val="dash"/>
                <a:miter lim="800000"/>
              </a:ln>
              <a:effectLst/>
            </p:spPr>
          </p:cxnSp>
          <p:cxnSp>
            <p:nvCxnSpPr>
              <p:cNvPr id="276" name="Straight Connector 275">
                <a:extLst>
                  <a:ext uri="{FF2B5EF4-FFF2-40B4-BE49-F238E27FC236}">
                    <a16:creationId xmlns:a16="http://schemas.microsoft.com/office/drawing/2014/main" id="{CA794771-7F9E-4E33-9FF2-C5736674FE09}"/>
                  </a:ext>
                </a:extLst>
              </p:cNvPr>
              <p:cNvCxnSpPr/>
              <p:nvPr/>
            </p:nvCxnSpPr>
            <p:spPr>
              <a:xfrm>
                <a:off x="5557501" y="2536654"/>
                <a:ext cx="0" cy="1672045"/>
              </a:xfrm>
              <a:prstGeom prst="line">
                <a:avLst/>
              </a:prstGeom>
              <a:noFill/>
              <a:ln w="6350" cap="flat" cmpd="sng" algn="ctr">
                <a:solidFill>
                  <a:srgbClr val="4C4C4C"/>
                </a:solidFill>
                <a:prstDash val="solid"/>
                <a:miter lim="800000"/>
              </a:ln>
              <a:effectLst/>
            </p:spPr>
          </p:cxnSp>
          <p:cxnSp>
            <p:nvCxnSpPr>
              <p:cNvPr id="277" name="Straight Connector 276">
                <a:extLst>
                  <a:ext uri="{FF2B5EF4-FFF2-40B4-BE49-F238E27FC236}">
                    <a16:creationId xmlns:a16="http://schemas.microsoft.com/office/drawing/2014/main" id="{23E308E6-296D-41F5-A82D-E9284FA74387}"/>
                  </a:ext>
                </a:extLst>
              </p:cNvPr>
              <p:cNvCxnSpPr/>
              <p:nvPr/>
            </p:nvCxnSpPr>
            <p:spPr>
              <a:xfrm>
                <a:off x="5327896" y="2538902"/>
                <a:ext cx="477602" cy="0"/>
              </a:xfrm>
              <a:prstGeom prst="line">
                <a:avLst/>
              </a:prstGeom>
              <a:noFill/>
              <a:ln w="6350" cap="flat" cmpd="sng" algn="ctr">
                <a:solidFill>
                  <a:srgbClr val="4C4C4C"/>
                </a:solidFill>
                <a:prstDash val="solid"/>
                <a:miter lim="800000"/>
              </a:ln>
              <a:effectLst/>
            </p:spPr>
          </p:cxnSp>
          <p:cxnSp>
            <p:nvCxnSpPr>
              <p:cNvPr id="278" name="Straight Connector 277">
                <a:extLst>
                  <a:ext uri="{FF2B5EF4-FFF2-40B4-BE49-F238E27FC236}">
                    <a16:creationId xmlns:a16="http://schemas.microsoft.com/office/drawing/2014/main" id="{6D2C0D80-41D0-450A-981A-5BF630D5C407}"/>
                  </a:ext>
                </a:extLst>
              </p:cNvPr>
              <p:cNvCxnSpPr/>
              <p:nvPr/>
            </p:nvCxnSpPr>
            <p:spPr>
              <a:xfrm>
                <a:off x="5327896" y="4214187"/>
                <a:ext cx="477602" cy="0"/>
              </a:xfrm>
              <a:prstGeom prst="line">
                <a:avLst/>
              </a:prstGeom>
              <a:noFill/>
              <a:ln w="6350" cap="flat" cmpd="sng" algn="ctr">
                <a:solidFill>
                  <a:srgbClr val="4C4C4C"/>
                </a:solidFill>
                <a:prstDash val="solid"/>
                <a:miter lim="800000"/>
              </a:ln>
              <a:effectLst/>
            </p:spPr>
          </p:cxnSp>
          <p:sp>
            <p:nvSpPr>
              <p:cNvPr id="283" name="object 47">
                <a:extLst>
                  <a:ext uri="{FF2B5EF4-FFF2-40B4-BE49-F238E27FC236}">
                    <a16:creationId xmlns:a16="http://schemas.microsoft.com/office/drawing/2014/main" id="{410EBDBA-74D3-402D-B057-A23EFA65B95B}"/>
                  </a:ext>
                </a:extLst>
              </p:cNvPr>
              <p:cNvSpPr txBox="1"/>
              <p:nvPr/>
            </p:nvSpPr>
            <p:spPr>
              <a:xfrm>
                <a:off x="5241162" y="4196647"/>
                <a:ext cx="638775" cy="354852"/>
              </a:xfrm>
              <a:prstGeom prst="rect">
                <a:avLst/>
              </a:prstGeom>
              <a:solidFill>
                <a:srgbClr val="FFFFFF"/>
              </a:solidFill>
              <a:ln w="9144">
                <a:solidFill>
                  <a:srgbClr val="B2B4B7"/>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9"/>
                  </a:spcBef>
                  <a:spcAft>
                    <a:spcPts val="0"/>
                  </a:spcAft>
                  <a:buClrTx/>
                  <a:buSzTx/>
                  <a:buFontTx/>
                  <a:buNone/>
                  <a:tabLst/>
                  <a:defRPr/>
                </a:pPr>
                <a:r>
                  <a:rPr kumimoji="0" lang="en-US" sz="800" b="1" i="0" u="none" strike="noStrike" kern="0" cap="none" spc="0" normalizeH="0" baseline="0" noProof="0">
                    <a:ln>
                      <a:noFill/>
                    </a:ln>
                    <a:solidFill>
                      <a:srgbClr val="4C4C4C"/>
                    </a:solidFill>
                    <a:effectLst/>
                    <a:uLnTx/>
                    <a:uFillTx/>
                    <a:latin typeface="Arial"/>
                    <a:ea typeface="+mn-ea"/>
                    <a:cs typeface="HelveticaNeueLT Std"/>
                  </a:rPr>
                  <a:t>24</a:t>
                </a:r>
                <a:r>
                  <a:rPr kumimoji="0" sz="800" b="1" i="0" u="none" strike="noStrike" kern="0" cap="none" spc="-28" normalizeH="0" baseline="0" noProof="0">
                    <a:ln>
                      <a:noFill/>
                    </a:ln>
                    <a:solidFill>
                      <a:srgbClr val="4C4C4C"/>
                    </a:solidFill>
                    <a:effectLst/>
                    <a:uLnTx/>
                    <a:uFillTx/>
                    <a:latin typeface="Arial"/>
                    <a:ea typeface="+mn-ea"/>
                    <a:cs typeface="HelveticaNeueLT Std"/>
                  </a:rPr>
                  <a:t> </a:t>
                </a:r>
                <a:r>
                  <a:rPr kumimoji="0" sz="800" b="1" i="0" u="none" strike="noStrike" kern="0" cap="none" spc="0" normalizeH="0" baseline="0" noProof="0">
                    <a:ln>
                      <a:noFill/>
                    </a:ln>
                    <a:solidFill>
                      <a:srgbClr val="4C4C4C"/>
                    </a:solidFill>
                    <a:effectLst/>
                    <a:uLnTx/>
                    <a:uFillTx/>
                    <a:latin typeface="Arial"/>
                    <a:ea typeface="+mn-ea"/>
                    <a:cs typeface="HelveticaNeueLT Std"/>
                  </a:rPr>
                  <a:t>weeks</a:t>
                </a:r>
                <a:endParaRPr kumimoji="0"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85" name="TextBox 284">
                <a:extLst>
                  <a:ext uri="{FF2B5EF4-FFF2-40B4-BE49-F238E27FC236}">
                    <a16:creationId xmlns:a16="http://schemas.microsoft.com/office/drawing/2014/main" id="{D2BB5673-2E54-43F1-8CAE-7A07FC6516A9}"/>
                  </a:ext>
                </a:extLst>
              </p:cNvPr>
              <p:cNvSpPr txBox="1"/>
              <p:nvPr/>
            </p:nvSpPr>
            <p:spPr>
              <a:xfrm>
                <a:off x="5219676" y="3144141"/>
                <a:ext cx="706870" cy="532279"/>
              </a:xfrm>
              <a:prstGeom prst="rect">
                <a:avLst/>
              </a:prstGeom>
              <a:solidFill>
                <a:srgbClr val="FFFFFF">
                  <a:alpha val="84000"/>
                </a:srgbClr>
              </a:solidFill>
            </p:spPr>
            <p:txBody>
              <a:bodyPr vert="horz" wrap="square" lIns="0" tIns="0" rIns="0" bIns="0" rtlCol="0" anchor="ctr">
                <a:spAutoFit/>
              </a:bodyPr>
              <a:lstStyle/>
              <a:p>
                <a:pPr marL="0" marR="0" lvl="0" indent="0" algn="ctr" defTabSz="289339"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4C4C4C"/>
                    </a:solidFill>
                    <a:effectLst/>
                    <a:uLnTx/>
                    <a:uFillTx/>
                    <a:latin typeface="Arial"/>
                    <a:ea typeface="+mn-ea"/>
                    <a:cs typeface="Arial" panose="020B0604020202020204" pitchFamily="34" charset="0"/>
                  </a:rPr>
                  <a:t>Six         4-week cycles</a:t>
                </a:r>
                <a:endParaRPr kumimoji="0" lang="en-US" sz="800" b="0" i="0" u="none" strike="noStrike" kern="0" cap="none" spc="0" normalizeH="0" baseline="0" noProof="0">
                  <a:ln>
                    <a:noFill/>
                  </a:ln>
                  <a:solidFill>
                    <a:srgbClr val="4C4C4C"/>
                  </a:solidFill>
                  <a:effectLst/>
                  <a:uLnTx/>
                  <a:uFillTx/>
                  <a:latin typeface="Arial"/>
                  <a:ea typeface="+mn-ea"/>
                  <a:cs typeface="+mn-cs"/>
                </a:endParaRPr>
              </a:p>
            </p:txBody>
          </p:sp>
        </p:grpSp>
        <p:grpSp>
          <p:nvGrpSpPr>
            <p:cNvPr id="4" name="Group 3">
              <a:extLst>
                <a:ext uri="{FF2B5EF4-FFF2-40B4-BE49-F238E27FC236}">
                  <a16:creationId xmlns:a16="http://schemas.microsoft.com/office/drawing/2014/main" id="{5CDFE25B-08CA-4ED9-9CCB-F31086851EEE}"/>
                </a:ext>
              </a:extLst>
            </p:cNvPr>
            <p:cNvGrpSpPr/>
            <p:nvPr/>
          </p:nvGrpSpPr>
          <p:grpSpPr>
            <a:xfrm>
              <a:off x="4619673" y="1629301"/>
              <a:ext cx="2391391" cy="1518107"/>
              <a:chOff x="7833999" y="2065343"/>
              <a:chExt cx="3778989" cy="2398983"/>
            </a:xfrm>
          </p:grpSpPr>
          <p:sp>
            <p:nvSpPr>
              <p:cNvPr id="242" name="object 28">
                <a:extLst>
                  <a:ext uri="{FF2B5EF4-FFF2-40B4-BE49-F238E27FC236}">
                    <a16:creationId xmlns:a16="http://schemas.microsoft.com/office/drawing/2014/main" id="{FE525C00-ED95-46DE-8333-2F7F5F2BF132}"/>
                  </a:ext>
                </a:extLst>
              </p:cNvPr>
              <p:cNvSpPr txBox="1"/>
              <p:nvPr/>
            </p:nvSpPr>
            <p:spPr>
              <a:xfrm>
                <a:off x="11082531" y="2092965"/>
                <a:ext cx="529620" cy="177427"/>
              </a:xfrm>
              <a:prstGeom prst="rect">
                <a:avLst/>
              </a:prstGeom>
              <a:solidFill>
                <a:srgbClr val="BCBEC0"/>
              </a:solidFill>
              <a:ln w="6096">
                <a:solidFill>
                  <a:srgbClr val="769AD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7"/>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Arm</a:t>
                </a:r>
                <a:r>
                  <a:rPr kumimoji="0" sz="800" b="1" i="0" u="none" strike="noStrike" kern="1200" cap="none" spc="-32" normalizeH="0" baseline="0" noProof="0">
                    <a:ln>
                      <a:noFill/>
                    </a:ln>
                    <a:solidFill>
                      <a:srgbClr val="4C4C4C"/>
                    </a:solidFill>
                    <a:effectLst/>
                    <a:uLnTx/>
                    <a:uFillTx/>
                    <a:latin typeface="Arial"/>
                    <a:ea typeface="+mn-ea"/>
                    <a:cs typeface="HelveticaNeueLT Std"/>
                  </a:rPr>
                  <a:t> </a:t>
                </a:r>
                <a:r>
                  <a:rPr kumimoji="0" sz="800" b="1" i="0" u="none" strike="noStrike" kern="1200" cap="none" spc="3" normalizeH="0" baseline="0" noProof="0">
                    <a:ln>
                      <a:noFill/>
                    </a:ln>
                    <a:solidFill>
                      <a:srgbClr val="4C4C4C"/>
                    </a:solidFill>
                    <a:effectLst/>
                    <a:uLnTx/>
                    <a:uFillTx/>
                    <a:latin typeface="Arial"/>
                    <a:ea typeface="+mn-ea"/>
                    <a:cs typeface="HelveticaNeueLT Std"/>
                  </a:rPr>
                  <a:t>A</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43" name="object 43">
                <a:extLst>
                  <a:ext uri="{FF2B5EF4-FFF2-40B4-BE49-F238E27FC236}">
                    <a16:creationId xmlns:a16="http://schemas.microsoft.com/office/drawing/2014/main" id="{2F228A0D-A283-4EAE-834F-31913CA1BC9B}"/>
                  </a:ext>
                </a:extLst>
              </p:cNvPr>
              <p:cNvSpPr txBox="1"/>
              <p:nvPr/>
            </p:nvSpPr>
            <p:spPr>
              <a:xfrm>
                <a:off x="8454260" y="4286899"/>
                <a:ext cx="346530" cy="177427"/>
              </a:xfrm>
              <a:prstGeom prst="rect">
                <a:avLst/>
              </a:prstGeom>
              <a:solidFill>
                <a:srgbClr val="788BBC"/>
              </a:solidFill>
              <a:ln w="6096">
                <a:solidFill>
                  <a:srgbClr val="231F2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72"/>
                  </a:spcBef>
                  <a:spcAft>
                    <a:spcPct val="0"/>
                  </a:spcAft>
                  <a:buClrTx/>
                  <a:buSzTx/>
                  <a:buFontTx/>
                  <a:buNone/>
                  <a:tabLst/>
                  <a:defRPr/>
                </a:pPr>
                <a:r>
                  <a:rPr kumimoji="0" sz="800" b="1" i="0" u="none" strike="noStrike" kern="1200" cap="none" spc="3" normalizeH="0" baseline="0" noProof="0">
                    <a:ln>
                      <a:noFill/>
                    </a:ln>
                    <a:solidFill>
                      <a:srgbClr val="FFFFFF"/>
                    </a:solidFill>
                    <a:effectLst/>
                    <a:uLnTx/>
                    <a:uFillTx/>
                    <a:latin typeface="Arial"/>
                    <a:ea typeface="+mn-ea"/>
                    <a:cs typeface="HelveticaNeueLT Std"/>
                  </a:rPr>
                  <a:t>M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44" name="object 44">
                <a:extLst>
                  <a:ext uri="{FF2B5EF4-FFF2-40B4-BE49-F238E27FC236}">
                    <a16:creationId xmlns:a16="http://schemas.microsoft.com/office/drawing/2014/main" id="{5C59600F-C8E9-45AA-8EC6-76A0455ED607}"/>
                  </a:ext>
                </a:extLst>
              </p:cNvPr>
              <p:cNvSpPr txBox="1"/>
              <p:nvPr/>
            </p:nvSpPr>
            <p:spPr>
              <a:xfrm>
                <a:off x="10006339" y="4286899"/>
                <a:ext cx="346530" cy="177427"/>
              </a:xfrm>
              <a:prstGeom prst="rect">
                <a:avLst/>
              </a:prstGeom>
              <a:solidFill>
                <a:srgbClr val="788BBC"/>
              </a:solidFill>
              <a:ln w="6096">
                <a:solidFill>
                  <a:srgbClr val="231F2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72"/>
                  </a:spcBef>
                  <a:spcAft>
                    <a:spcPct val="0"/>
                  </a:spcAft>
                  <a:buClrTx/>
                  <a:buSzTx/>
                  <a:buFontTx/>
                  <a:buNone/>
                  <a:tabLst/>
                  <a:defRPr/>
                </a:pPr>
                <a:r>
                  <a:rPr kumimoji="0" sz="800" b="1" i="0" u="none" strike="noStrike" kern="1200" cap="none" spc="3" normalizeH="0" baseline="0" noProof="0">
                    <a:ln>
                      <a:noFill/>
                    </a:ln>
                    <a:solidFill>
                      <a:srgbClr val="FFFFFF"/>
                    </a:solidFill>
                    <a:effectLst/>
                    <a:uLnTx/>
                    <a:uFillTx/>
                    <a:latin typeface="Arial"/>
                    <a:ea typeface="+mn-ea"/>
                    <a:cs typeface="HelveticaNeueLT Std"/>
                  </a:rPr>
                  <a:t>M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45" name="object 46">
                <a:extLst>
                  <a:ext uri="{FF2B5EF4-FFF2-40B4-BE49-F238E27FC236}">
                    <a16:creationId xmlns:a16="http://schemas.microsoft.com/office/drawing/2014/main" id="{17FFC62C-81B1-46A4-98BE-3B6C54090ADA}"/>
                  </a:ext>
                </a:extLst>
              </p:cNvPr>
              <p:cNvSpPr txBox="1"/>
              <p:nvPr/>
            </p:nvSpPr>
            <p:spPr>
              <a:xfrm>
                <a:off x="11081695" y="3616533"/>
                <a:ext cx="529620" cy="177427"/>
              </a:xfrm>
              <a:prstGeom prst="rect">
                <a:avLst/>
              </a:prstGeom>
              <a:solidFill>
                <a:srgbClr val="E4E4E4"/>
              </a:solidFill>
              <a:ln w="9144">
                <a:solidFill>
                  <a:srgbClr val="B2B4B7"/>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617"/>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ASCT</a:t>
                </a:r>
              </a:p>
            </p:txBody>
          </p:sp>
          <p:sp>
            <p:nvSpPr>
              <p:cNvPr id="247" name="object 51">
                <a:extLst>
                  <a:ext uri="{FF2B5EF4-FFF2-40B4-BE49-F238E27FC236}">
                    <a16:creationId xmlns:a16="http://schemas.microsoft.com/office/drawing/2014/main" id="{387BC62C-4CCD-4785-9D4E-D0B9A1B4AA07}"/>
                  </a:ext>
                </a:extLst>
              </p:cNvPr>
              <p:cNvSpPr txBox="1"/>
              <p:nvPr/>
            </p:nvSpPr>
            <p:spPr>
              <a:xfrm>
                <a:off x="7833999" y="3967620"/>
                <a:ext cx="866675" cy="177427"/>
              </a:xfrm>
              <a:prstGeom prst="rect">
                <a:avLst/>
              </a:prstGeom>
              <a:solidFill>
                <a:srgbClr val="AADAF6"/>
              </a:solidFill>
              <a:ln w="9144">
                <a:solidFill>
                  <a:srgbClr val="65D7FF"/>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620"/>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Post</a:t>
                </a:r>
                <a:r>
                  <a:rPr kumimoji="0" lang="en-US" sz="800" b="1" i="0" u="none" strike="noStrike" kern="1200" cap="none" spc="-19" normalizeH="0" baseline="0" noProof="0">
                    <a:ln>
                      <a:noFill/>
                    </a:ln>
                    <a:solidFill>
                      <a:srgbClr val="4C4C4C"/>
                    </a:solidFill>
                    <a:effectLst/>
                    <a:uLnTx/>
                    <a:uFillTx/>
                    <a:latin typeface="Arial"/>
                    <a:ea typeface="+mn-ea"/>
                    <a:cs typeface="HelveticaNeueLT Std"/>
                  </a:rPr>
                  <a:t>-</a:t>
                </a:r>
                <a:r>
                  <a:rPr kumimoji="0" sz="800" b="1" i="0" u="none" strike="noStrike" kern="1200" cap="none" spc="0" normalizeH="0" baseline="0" noProof="0">
                    <a:ln>
                      <a:noFill/>
                    </a:ln>
                    <a:solidFill>
                      <a:srgbClr val="4C4C4C"/>
                    </a:solidFill>
                    <a:effectLst/>
                    <a:uLnTx/>
                    <a:uFillTx/>
                    <a:latin typeface="Arial"/>
                    <a:ea typeface="+mn-ea"/>
                    <a:cs typeface="HelveticaNeueLT Std"/>
                  </a:rPr>
                  <a:t>ASCT</a:t>
                </a:r>
              </a:p>
            </p:txBody>
          </p:sp>
          <p:sp>
            <p:nvSpPr>
              <p:cNvPr id="249" name="object 13">
                <a:extLst>
                  <a:ext uri="{FF2B5EF4-FFF2-40B4-BE49-F238E27FC236}">
                    <a16:creationId xmlns:a16="http://schemas.microsoft.com/office/drawing/2014/main" id="{6D221844-C08C-4A75-A1EC-A377A535F509}"/>
                  </a:ext>
                </a:extLst>
              </p:cNvPr>
              <p:cNvSpPr txBox="1"/>
              <p:nvPr/>
            </p:nvSpPr>
            <p:spPr>
              <a:xfrm>
                <a:off x="11081695" y="3159897"/>
                <a:ext cx="531293"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0"/>
                  </a:spcBef>
                  <a:spcAft>
                    <a:spcPts val="0"/>
                  </a:spcAft>
                  <a:buClrTx/>
                  <a:buSzTx/>
                  <a:buFontTx/>
                  <a:buNone/>
                  <a:tabLst/>
                  <a:defRPr/>
                </a:pPr>
                <a:r>
                  <a:rPr kumimoji="0" lang="en-US" sz="800" b="1" i="0" u="none" strike="noStrike" kern="0" cap="none" spc="0" normalizeH="0" baseline="0" noProof="0">
                    <a:ln>
                      <a:noFill/>
                    </a:ln>
                    <a:solidFill>
                      <a:srgbClr val="4C4C4C"/>
                    </a:solidFill>
                    <a:effectLst/>
                    <a:uLnTx/>
                    <a:uFillTx/>
                    <a:latin typeface="Arial"/>
                    <a:ea typeface="+mn-ea"/>
                    <a:cs typeface="HelveticaNeueLT Std"/>
                  </a:rPr>
                  <a:t>VTD</a:t>
                </a:r>
                <a:endParaRPr kumimoji="0" lang="en-US"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50" name="object 13">
                <a:extLst>
                  <a:ext uri="{FF2B5EF4-FFF2-40B4-BE49-F238E27FC236}">
                    <a16:creationId xmlns:a16="http://schemas.microsoft.com/office/drawing/2014/main" id="{73357F0C-C610-465D-BA21-C3FF2176A6F1}"/>
                  </a:ext>
                </a:extLst>
              </p:cNvPr>
              <p:cNvSpPr txBox="1"/>
              <p:nvPr/>
            </p:nvSpPr>
            <p:spPr>
              <a:xfrm>
                <a:off x="11081695" y="2953865"/>
                <a:ext cx="531293"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0"/>
                  </a:spcBef>
                  <a:spcAft>
                    <a:spcPts val="0"/>
                  </a:spcAft>
                  <a:buClrTx/>
                  <a:buSzTx/>
                  <a:buFontTx/>
                  <a:buNone/>
                  <a:tabLst/>
                  <a:defRPr/>
                </a:pPr>
                <a:r>
                  <a:rPr kumimoji="0" lang="en-US" sz="800" b="1" i="0" u="none" strike="noStrike" kern="0" cap="none" spc="0" normalizeH="0" baseline="0" noProof="0">
                    <a:ln>
                      <a:noFill/>
                    </a:ln>
                    <a:solidFill>
                      <a:srgbClr val="4C4C4C"/>
                    </a:solidFill>
                    <a:effectLst/>
                    <a:uLnTx/>
                    <a:uFillTx/>
                    <a:latin typeface="Arial"/>
                    <a:ea typeface="+mn-ea"/>
                    <a:cs typeface="HelveticaNeueLT Std"/>
                  </a:rPr>
                  <a:t>VTD</a:t>
                </a:r>
                <a:endParaRPr kumimoji="0" lang="en-US"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51" name="object 13">
                <a:extLst>
                  <a:ext uri="{FF2B5EF4-FFF2-40B4-BE49-F238E27FC236}">
                    <a16:creationId xmlns:a16="http://schemas.microsoft.com/office/drawing/2014/main" id="{8CBD410D-2529-4BBA-A498-D4ED174C3FAE}"/>
                  </a:ext>
                </a:extLst>
              </p:cNvPr>
              <p:cNvSpPr txBox="1"/>
              <p:nvPr/>
            </p:nvSpPr>
            <p:spPr>
              <a:xfrm>
                <a:off x="11081695" y="2747836"/>
                <a:ext cx="531293"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0"/>
                  </a:spcBef>
                  <a:spcAft>
                    <a:spcPts val="0"/>
                  </a:spcAft>
                  <a:buClrTx/>
                  <a:buSzTx/>
                  <a:buFontTx/>
                  <a:buNone/>
                  <a:tabLst/>
                  <a:defRPr/>
                </a:pPr>
                <a:r>
                  <a:rPr kumimoji="0" lang="en-US" sz="800" b="1" i="0" u="none" strike="noStrike" kern="0" cap="none" spc="0" normalizeH="0" baseline="0" noProof="0">
                    <a:ln>
                      <a:noFill/>
                    </a:ln>
                    <a:solidFill>
                      <a:srgbClr val="4C4C4C"/>
                    </a:solidFill>
                    <a:effectLst/>
                    <a:uLnTx/>
                    <a:uFillTx/>
                    <a:latin typeface="Arial"/>
                    <a:ea typeface="+mn-ea"/>
                    <a:cs typeface="HelveticaNeueLT Std"/>
                  </a:rPr>
                  <a:t>VTD</a:t>
                </a:r>
                <a:endParaRPr kumimoji="0" lang="en-US"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52" name="object 13">
                <a:extLst>
                  <a:ext uri="{FF2B5EF4-FFF2-40B4-BE49-F238E27FC236}">
                    <a16:creationId xmlns:a16="http://schemas.microsoft.com/office/drawing/2014/main" id="{98BD87C7-08AE-447F-903A-298290A260E3}"/>
                  </a:ext>
                </a:extLst>
              </p:cNvPr>
              <p:cNvSpPr txBox="1"/>
              <p:nvPr/>
            </p:nvSpPr>
            <p:spPr>
              <a:xfrm>
                <a:off x="11081695" y="2541803"/>
                <a:ext cx="531293" cy="177427"/>
              </a:xfrm>
              <a:prstGeom prst="rect">
                <a:avLst/>
              </a:prstGeom>
              <a:solidFill>
                <a:srgbClr val="F7A08E"/>
              </a:solidFill>
              <a:ln w="9144">
                <a:solidFill>
                  <a:srgbClr val="D1890D"/>
                </a:solidFill>
              </a:ln>
            </p:spPr>
            <p:txBody>
              <a:bodyPr vert="horz" wrap="square" lIns="0" tIns="0" rIns="0" bIns="0" rtlCol="0" anchor="ctr">
                <a:spAutoFit/>
              </a:bodyPr>
              <a:lstStyle/>
              <a:p>
                <a:pPr marL="0" marR="0" lvl="0" indent="0" algn="ctr" defTabSz="289339" rtl="0" eaLnBrk="1" fontAlgn="auto" latinLnBrk="0" hangingPunct="1">
                  <a:lnSpc>
                    <a:spcPct val="100000"/>
                  </a:lnSpc>
                  <a:spcBef>
                    <a:spcPts val="250"/>
                  </a:spcBef>
                  <a:spcAft>
                    <a:spcPts val="0"/>
                  </a:spcAft>
                  <a:buClrTx/>
                  <a:buSzTx/>
                  <a:buFontTx/>
                  <a:buNone/>
                  <a:tabLst/>
                  <a:defRPr/>
                </a:pPr>
                <a:r>
                  <a:rPr kumimoji="0" lang="en-US" sz="800" b="1" i="0" u="none" strike="noStrike" kern="0" cap="none" spc="0" normalizeH="0" baseline="0" noProof="0">
                    <a:ln>
                      <a:noFill/>
                    </a:ln>
                    <a:solidFill>
                      <a:srgbClr val="4C4C4C"/>
                    </a:solidFill>
                    <a:effectLst/>
                    <a:uLnTx/>
                    <a:uFillTx/>
                    <a:latin typeface="Arial"/>
                    <a:ea typeface="+mn-ea"/>
                    <a:cs typeface="HelveticaNeueLT Std"/>
                  </a:rPr>
                  <a:t>VTD</a:t>
                </a:r>
                <a:endParaRPr kumimoji="0" lang="en-US" sz="800" b="0" i="0" u="none" strike="noStrike" kern="0" cap="none" spc="0" normalizeH="0" baseline="0" noProof="0">
                  <a:ln>
                    <a:noFill/>
                  </a:ln>
                  <a:solidFill>
                    <a:srgbClr val="4C4C4C"/>
                  </a:solidFill>
                  <a:effectLst/>
                  <a:uLnTx/>
                  <a:uFillTx/>
                  <a:latin typeface="Arial"/>
                  <a:ea typeface="+mn-ea"/>
                  <a:cs typeface="HelveticaNeueLT Std"/>
                </a:endParaRPr>
              </a:p>
            </p:txBody>
          </p:sp>
          <p:sp>
            <p:nvSpPr>
              <p:cNvPr id="253" name="object 7">
                <a:extLst>
                  <a:ext uri="{FF2B5EF4-FFF2-40B4-BE49-F238E27FC236}">
                    <a16:creationId xmlns:a16="http://schemas.microsoft.com/office/drawing/2014/main" id="{D7CA95C2-FC95-4978-946C-1639830CA764}"/>
                  </a:ext>
                </a:extLst>
              </p:cNvPr>
              <p:cNvSpPr txBox="1"/>
              <p:nvPr/>
            </p:nvSpPr>
            <p:spPr>
              <a:xfrm>
                <a:off x="9478625" y="2541803"/>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54" name="object 7">
                <a:extLst>
                  <a:ext uri="{FF2B5EF4-FFF2-40B4-BE49-F238E27FC236}">
                    <a16:creationId xmlns:a16="http://schemas.microsoft.com/office/drawing/2014/main" id="{B4CBF746-45EE-4EDF-AF6B-0712E4A8A45F}"/>
                  </a:ext>
                </a:extLst>
              </p:cNvPr>
              <p:cNvSpPr txBox="1"/>
              <p:nvPr/>
            </p:nvSpPr>
            <p:spPr>
              <a:xfrm>
                <a:off x="9478625" y="2747836"/>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55" name="object 7">
                <a:extLst>
                  <a:ext uri="{FF2B5EF4-FFF2-40B4-BE49-F238E27FC236}">
                    <a16:creationId xmlns:a16="http://schemas.microsoft.com/office/drawing/2014/main" id="{FCFC27E4-8878-4C72-B17C-9BD8DCC87DFB}"/>
                  </a:ext>
                </a:extLst>
              </p:cNvPr>
              <p:cNvSpPr txBox="1"/>
              <p:nvPr/>
            </p:nvSpPr>
            <p:spPr>
              <a:xfrm>
                <a:off x="9478625" y="2953865"/>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56" name="object 7">
                <a:extLst>
                  <a:ext uri="{FF2B5EF4-FFF2-40B4-BE49-F238E27FC236}">
                    <a16:creationId xmlns:a16="http://schemas.microsoft.com/office/drawing/2014/main" id="{C23F7A46-1406-490D-908B-E16827FCDE1D}"/>
                  </a:ext>
                </a:extLst>
              </p:cNvPr>
              <p:cNvSpPr txBox="1"/>
              <p:nvPr/>
            </p:nvSpPr>
            <p:spPr>
              <a:xfrm>
                <a:off x="9478625" y="3159897"/>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57" name="object 7">
                <a:extLst>
                  <a:ext uri="{FF2B5EF4-FFF2-40B4-BE49-F238E27FC236}">
                    <a16:creationId xmlns:a16="http://schemas.microsoft.com/office/drawing/2014/main" id="{7D554563-E365-4926-ACCC-2EB2CB347054}"/>
                  </a:ext>
                </a:extLst>
              </p:cNvPr>
              <p:cNvSpPr txBox="1"/>
              <p:nvPr/>
            </p:nvSpPr>
            <p:spPr>
              <a:xfrm>
                <a:off x="9478625" y="3484552"/>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58" name="object 7">
                <a:extLst>
                  <a:ext uri="{FF2B5EF4-FFF2-40B4-BE49-F238E27FC236}">
                    <a16:creationId xmlns:a16="http://schemas.microsoft.com/office/drawing/2014/main" id="{01512090-687C-4DA4-AE09-7222928EE5AC}"/>
                  </a:ext>
                </a:extLst>
              </p:cNvPr>
              <p:cNvSpPr txBox="1"/>
              <p:nvPr/>
            </p:nvSpPr>
            <p:spPr>
              <a:xfrm>
                <a:off x="9478625" y="3678098"/>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59" name="object 7">
                <a:extLst>
                  <a:ext uri="{FF2B5EF4-FFF2-40B4-BE49-F238E27FC236}">
                    <a16:creationId xmlns:a16="http://schemas.microsoft.com/office/drawing/2014/main" id="{55E8AC86-2EA6-4DFA-88A8-88FDC3B9705C}"/>
                  </a:ext>
                </a:extLst>
              </p:cNvPr>
              <p:cNvSpPr txBox="1"/>
              <p:nvPr/>
            </p:nvSpPr>
            <p:spPr>
              <a:xfrm>
                <a:off x="9478625" y="3877884"/>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60" name="object 7">
                <a:extLst>
                  <a:ext uri="{FF2B5EF4-FFF2-40B4-BE49-F238E27FC236}">
                    <a16:creationId xmlns:a16="http://schemas.microsoft.com/office/drawing/2014/main" id="{AEB5CE13-D158-4A4B-874B-2F8EF46A789E}"/>
                  </a:ext>
                </a:extLst>
              </p:cNvPr>
              <p:cNvSpPr txBox="1"/>
              <p:nvPr/>
            </p:nvSpPr>
            <p:spPr>
              <a:xfrm>
                <a:off x="9478625" y="4077674"/>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61" name="object 7">
                <a:extLst>
                  <a:ext uri="{FF2B5EF4-FFF2-40B4-BE49-F238E27FC236}">
                    <a16:creationId xmlns:a16="http://schemas.microsoft.com/office/drawing/2014/main" id="{BC761A02-8C80-4382-9AF5-A1D17EB6637E}"/>
                  </a:ext>
                </a:extLst>
              </p:cNvPr>
              <p:cNvSpPr txBox="1"/>
              <p:nvPr/>
            </p:nvSpPr>
            <p:spPr>
              <a:xfrm>
                <a:off x="8840448" y="2541803"/>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62" name="object 7">
                <a:extLst>
                  <a:ext uri="{FF2B5EF4-FFF2-40B4-BE49-F238E27FC236}">
                    <a16:creationId xmlns:a16="http://schemas.microsoft.com/office/drawing/2014/main" id="{0CEBE4A2-5138-4C69-B4BF-86C65FC412E4}"/>
                  </a:ext>
                </a:extLst>
              </p:cNvPr>
              <p:cNvSpPr txBox="1"/>
              <p:nvPr/>
            </p:nvSpPr>
            <p:spPr>
              <a:xfrm>
                <a:off x="8840448" y="2747836"/>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63" name="object 7">
                <a:extLst>
                  <a:ext uri="{FF2B5EF4-FFF2-40B4-BE49-F238E27FC236}">
                    <a16:creationId xmlns:a16="http://schemas.microsoft.com/office/drawing/2014/main" id="{8D762D18-FF8D-4418-8296-962900B03CCD}"/>
                  </a:ext>
                </a:extLst>
              </p:cNvPr>
              <p:cNvSpPr txBox="1"/>
              <p:nvPr/>
            </p:nvSpPr>
            <p:spPr>
              <a:xfrm>
                <a:off x="8840448" y="2953865"/>
                <a:ext cx="531293" cy="177427"/>
              </a:xfrm>
              <a:prstGeom prst="rect">
                <a:avLst/>
              </a:prstGeom>
              <a:solidFill>
                <a:srgbClr val="50BDED"/>
              </a:solidFill>
              <a:ln w="9144">
                <a:solidFill>
                  <a:srgbClr val="00B0F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64" name="object 7">
                <a:extLst>
                  <a:ext uri="{FF2B5EF4-FFF2-40B4-BE49-F238E27FC236}">
                    <a16:creationId xmlns:a16="http://schemas.microsoft.com/office/drawing/2014/main" id="{D757B19A-CD68-451C-A6B9-7BAB42B913F3}"/>
                  </a:ext>
                </a:extLst>
              </p:cNvPr>
              <p:cNvSpPr txBox="1"/>
              <p:nvPr/>
            </p:nvSpPr>
            <p:spPr>
              <a:xfrm>
                <a:off x="8840448" y="3867466"/>
                <a:ext cx="531293" cy="177427"/>
              </a:xfrm>
              <a:prstGeom prst="rect">
                <a:avLst/>
              </a:prstGeom>
              <a:solidFill>
                <a:srgbClr val="AADAF6"/>
              </a:solidFill>
              <a:ln w="9144">
                <a:solidFill>
                  <a:srgbClr val="65D7FF"/>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65" name="object 7">
                <a:extLst>
                  <a:ext uri="{FF2B5EF4-FFF2-40B4-BE49-F238E27FC236}">
                    <a16:creationId xmlns:a16="http://schemas.microsoft.com/office/drawing/2014/main" id="{2B1251A2-809E-4C92-8517-4C8B2DD36676}"/>
                  </a:ext>
                </a:extLst>
              </p:cNvPr>
              <p:cNvSpPr txBox="1"/>
              <p:nvPr/>
            </p:nvSpPr>
            <p:spPr>
              <a:xfrm>
                <a:off x="8840448" y="4067254"/>
                <a:ext cx="531293" cy="177427"/>
              </a:xfrm>
              <a:prstGeom prst="rect">
                <a:avLst/>
              </a:prstGeom>
              <a:solidFill>
                <a:srgbClr val="AADAF6"/>
              </a:solidFill>
              <a:ln w="9144">
                <a:solidFill>
                  <a:srgbClr val="65D7FF"/>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0"/>
                  </a:spcBef>
                  <a:spcAft>
                    <a:spcPct val="0"/>
                  </a:spcAft>
                  <a:buClrTx/>
                  <a:buSzTx/>
                  <a:buFontTx/>
                  <a:buNone/>
                  <a:tabLst/>
                  <a:defRPr/>
                </a:pPr>
                <a:r>
                  <a:rPr kumimoji="0" lang="en-US" sz="800" b="1" i="0" u="none" strike="noStrike" kern="1200" cap="none" spc="0" normalizeH="0" baseline="0" noProof="0">
                    <a:ln>
                      <a:noFill/>
                    </a:ln>
                    <a:solidFill>
                      <a:srgbClr val="4C4C4C"/>
                    </a:solidFill>
                    <a:effectLst/>
                    <a:uLnTx/>
                    <a:uFillTx/>
                    <a:latin typeface="Arial"/>
                    <a:ea typeface="+mn-ea"/>
                    <a:cs typeface="HelveticaNeueLT Std"/>
                  </a:rPr>
                  <a:t>V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66" name="object 46">
                <a:extLst>
                  <a:ext uri="{FF2B5EF4-FFF2-40B4-BE49-F238E27FC236}">
                    <a16:creationId xmlns:a16="http://schemas.microsoft.com/office/drawing/2014/main" id="{10F9250F-29FC-4506-9750-2870FB550038}"/>
                  </a:ext>
                </a:extLst>
              </p:cNvPr>
              <p:cNvSpPr txBox="1"/>
              <p:nvPr/>
            </p:nvSpPr>
            <p:spPr>
              <a:xfrm>
                <a:off x="8842121" y="3336194"/>
                <a:ext cx="529620" cy="177427"/>
              </a:xfrm>
              <a:prstGeom prst="rect">
                <a:avLst/>
              </a:prstGeom>
              <a:solidFill>
                <a:srgbClr val="E4E4E4"/>
              </a:solidFill>
              <a:ln w="9144">
                <a:solidFill>
                  <a:srgbClr val="B2B4B7"/>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617"/>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ASCT</a:t>
                </a:r>
              </a:p>
            </p:txBody>
          </p:sp>
          <p:sp>
            <p:nvSpPr>
              <p:cNvPr id="272" name="object 28">
                <a:extLst>
                  <a:ext uri="{FF2B5EF4-FFF2-40B4-BE49-F238E27FC236}">
                    <a16:creationId xmlns:a16="http://schemas.microsoft.com/office/drawing/2014/main" id="{03930760-1443-475C-A8F7-411B86BD038B}"/>
                  </a:ext>
                </a:extLst>
              </p:cNvPr>
              <p:cNvSpPr txBox="1"/>
              <p:nvPr/>
            </p:nvSpPr>
            <p:spPr>
              <a:xfrm>
                <a:off x="9478625" y="2092965"/>
                <a:ext cx="529620" cy="177427"/>
              </a:xfrm>
              <a:prstGeom prst="rect">
                <a:avLst/>
              </a:prstGeom>
              <a:solidFill>
                <a:srgbClr val="BCBEC0"/>
              </a:solidFill>
              <a:ln w="6096">
                <a:solidFill>
                  <a:srgbClr val="769AD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7"/>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Arm</a:t>
                </a:r>
                <a:r>
                  <a:rPr kumimoji="0" sz="800" b="1" i="0" u="none" strike="noStrike" kern="1200" cap="none" spc="-32" normalizeH="0" baseline="0" noProof="0">
                    <a:ln>
                      <a:noFill/>
                    </a:ln>
                    <a:solidFill>
                      <a:srgbClr val="4C4C4C"/>
                    </a:solidFill>
                    <a:effectLst/>
                    <a:uLnTx/>
                    <a:uFillTx/>
                    <a:latin typeface="Arial"/>
                    <a:ea typeface="+mn-ea"/>
                    <a:cs typeface="HelveticaNeueLT Std"/>
                  </a:rPr>
                  <a:t> </a:t>
                </a:r>
                <a:r>
                  <a:rPr kumimoji="0" sz="800" b="1" i="0" u="none" strike="noStrike" kern="1200" cap="none" spc="3" normalizeH="0" baseline="0" noProof="0">
                    <a:ln>
                      <a:noFill/>
                    </a:ln>
                    <a:solidFill>
                      <a:srgbClr val="4C4C4C"/>
                    </a:solidFill>
                    <a:effectLst/>
                    <a:uLnTx/>
                    <a:uFillTx/>
                    <a:latin typeface="Arial"/>
                    <a:ea typeface="+mn-ea"/>
                    <a:cs typeface="HelveticaNeueLT Std"/>
                  </a:rPr>
                  <a:t>A</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73" name="object 28">
                <a:extLst>
                  <a:ext uri="{FF2B5EF4-FFF2-40B4-BE49-F238E27FC236}">
                    <a16:creationId xmlns:a16="http://schemas.microsoft.com/office/drawing/2014/main" id="{C0E5641A-445E-40C5-8D5C-098C407085F5}"/>
                  </a:ext>
                </a:extLst>
              </p:cNvPr>
              <p:cNvSpPr txBox="1"/>
              <p:nvPr/>
            </p:nvSpPr>
            <p:spPr>
              <a:xfrm>
                <a:off x="8842121" y="2092965"/>
                <a:ext cx="529620" cy="177427"/>
              </a:xfrm>
              <a:prstGeom prst="rect">
                <a:avLst/>
              </a:prstGeom>
              <a:solidFill>
                <a:srgbClr val="BCBEC0"/>
              </a:solidFill>
              <a:ln w="6096">
                <a:solidFill>
                  <a:srgbClr val="769AD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257"/>
                  </a:spcBef>
                  <a:spcAft>
                    <a:spcPct val="0"/>
                  </a:spcAft>
                  <a:buClrTx/>
                  <a:buSzTx/>
                  <a:buFontTx/>
                  <a:buNone/>
                  <a:tabLst/>
                  <a:defRPr/>
                </a:pPr>
                <a:r>
                  <a:rPr kumimoji="0" sz="800" b="1" i="0" u="none" strike="noStrike" kern="1200" cap="none" spc="0" normalizeH="0" baseline="0" noProof="0">
                    <a:ln>
                      <a:noFill/>
                    </a:ln>
                    <a:solidFill>
                      <a:srgbClr val="4C4C4C"/>
                    </a:solidFill>
                    <a:effectLst/>
                    <a:uLnTx/>
                    <a:uFillTx/>
                    <a:latin typeface="Arial"/>
                    <a:ea typeface="+mn-ea"/>
                    <a:cs typeface="HelveticaNeueLT Std"/>
                  </a:rPr>
                  <a:t>Arm</a:t>
                </a:r>
                <a:r>
                  <a:rPr kumimoji="0" sz="800" b="1" i="0" u="none" strike="noStrike" kern="1200" cap="none" spc="-32" normalizeH="0" baseline="0" noProof="0">
                    <a:ln>
                      <a:noFill/>
                    </a:ln>
                    <a:solidFill>
                      <a:srgbClr val="4C4C4C"/>
                    </a:solidFill>
                    <a:effectLst/>
                    <a:uLnTx/>
                    <a:uFillTx/>
                    <a:latin typeface="Arial"/>
                    <a:ea typeface="+mn-ea"/>
                    <a:cs typeface="HelveticaNeueLT Std"/>
                  </a:rPr>
                  <a:t> </a:t>
                </a:r>
                <a:r>
                  <a:rPr kumimoji="0" lang="en-US" sz="800" b="1" i="0" u="none" strike="noStrike" kern="1200" cap="none" spc="3" normalizeH="0" baseline="0" noProof="0">
                    <a:ln>
                      <a:noFill/>
                    </a:ln>
                    <a:solidFill>
                      <a:srgbClr val="4C4C4C"/>
                    </a:solidFill>
                    <a:effectLst/>
                    <a:uLnTx/>
                    <a:uFillTx/>
                    <a:latin typeface="Arial"/>
                    <a:ea typeface="+mn-ea"/>
                    <a:cs typeface="HelveticaNeueLT Std"/>
                  </a:rPr>
                  <a:t>B</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cxnSp>
            <p:nvCxnSpPr>
              <p:cNvPr id="279" name="Straight Connector 278">
                <a:extLst>
                  <a:ext uri="{FF2B5EF4-FFF2-40B4-BE49-F238E27FC236}">
                    <a16:creationId xmlns:a16="http://schemas.microsoft.com/office/drawing/2014/main" id="{1647B3BD-CA32-49EE-8953-858BE2424B79}"/>
                  </a:ext>
                </a:extLst>
              </p:cNvPr>
              <p:cNvCxnSpPr>
                <a:cxnSpLocks/>
              </p:cNvCxnSpPr>
              <p:nvPr/>
            </p:nvCxnSpPr>
            <p:spPr>
              <a:xfrm>
                <a:off x="10509505" y="2545174"/>
                <a:ext cx="0" cy="774364"/>
              </a:xfrm>
              <a:prstGeom prst="line">
                <a:avLst/>
              </a:prstGeom>
              <a:noFill/>
              <a:ln w="6350" cap="flat" cmpd="sng" algn="ctr">
                <a:solidFill>
                  <a:srgbClr val="4C4C4C"/>
                </a:solidFill>
                <a:prstDash val="solid"/>
                <a:miter lim="800000"/>
              </a:ln>
              <a:effectLst/>
            </p:spPr>
          </p:cxnSp>
          <p:cxnSp>
            <p:nvCxnSpPr>
              <p:cNvPr id="280" name="Straight Connector 279">
                <a:extLst>
                  <a:ext uri="{FF2B5EF4-FFF2-40B4-BE49-F238E27FC236}">
                    <a16:creationId xmlns:a16="http://schemas.microsoft.com/office/drawing/2014/main" id="{9CCDD598-FBCB-4DC2-97F8-AE703E7DA3EC}"/>
                  </a:ext>
                </a:extLst>
              </p:cNvPr>
              <p:cNvCxnSpPr>
                <a:cxnSpLocks/>
              </p:cNvCxnSpPr>
              <p:nvPr/>
            </p:nvCxnSpPr>
            <p:spPr>
              <a:xfrm>
                <a:off x="10279901" y="2536653"/>
                <a:ext cx="477602" cy="0"/>
              </a:xfrm>
              <a:prstGeom prst="line">
                <a:avLst/>
              </a:prstGeom>
              <a:noFill/>
              <a:ln w="6350" cap="flat" cmpd="sng" algn="ctr">
                <a:solidFill>
                  <a:srgbClr val="4C4C4C"/>
                </a:solidFill>
                <a:prstDash val="solid"/>
                <a:miter lim="800000"/>
              </a:ln>
              <a:effectLst/>
            </p:spPr>
          </p:cxnSp>
          <p:cxnSp>
            <p:nvCxnSpPr>
              <p:cNvPr id="281" name="Straight Connector 280">
                <a:extLst>
                  <a:ext uri="{FF2B5EF4-FFF2-40B4-BE49-F238E27FC236}">
                    <a16:creationId xmlns:a16="http://schemas.microsoft.com/office/drawing/2014/main" id="{833DD43F-94C4-4DFC-8458-FEB47BE23C88}"/>
                  </a:ext>
                </a:extLst>
              </p:cNvPr>
              <p:cNvCxnSpPr>
                <a:cxnSpLocks/>
              </p:cNvCxnSpPr>
              <p:nvPr/>
            </p:nvCxnSpPr>
            <p:spPr>
              <a:xfrm>
                <a:off x="10279901" y="3321636"/>
                <a:ext cx="477602" cy="0"/>
              </a:xfrm>
              <a:prstGeom prst="line">
                <a:avLst/>
              </a:prstGeom>
              <a:noFill/>
              <a:ln w="6350" cap="flat" cmpd="sng" algn="ctr">
                <a:solidFill>
                  <a:srgbClr val="4C4C4C"/>
                </a:solidFill>
                <a:prstDash val="solid"/>
                <a:miter lim="800000"/>
              </a:ln>
              <a:effectLst/>
            </p:spPr>
          </p:cxnSp>
          <p:sp>
            <p:nvSpPr>
              <p:cNvPr id="282" name="TextBox 281">
                <a:extLst>
                  <a:ext uri="{FF2B5EF4-FFF2-40B4-BE49-F238E27FC236}">
                    <a16:creationId xmlns:a16="http://schemas.microsoft.com/office/drawing/2014/main" id="{1845A5B6-4ADD-43DD-988E-931F0F83D922}"/>
                  </a:ext>
                </a:extLst>
              </p:cNvPr>
              <p:cNvSpPr txBox="1"/>
              <p:nvPr/>
            </p:nvSpPr>
            <p:spPr>
              <a:xfrm>
                <a:off x="10201310" y="2668494"/>
                <a:ext cx="624439" cy="532279"/>
              </a:xfrm>
              <a:prstGeom prst="rect">
                <a:avLst/>
              </a:prstGeom>
              <a:solidFill>
                <a:srgbClr val="FFFFFF">
                  <a:alpha val="84000"/>
                </a:srgbClr>
              </a:solidFill>
            </p:spPr>
            <p:txBody>
              <a:bodyPr vert="horz" wrap="square" lIns="0" tIns="0" rIns="0" bIns="0" rtlCol="0" anchor="ctr">
                <a:spAutoFit/>
              </a:bodyPr>
              <a:lstStyle/>
              <a:p>
                <a:pPr marL="0" marR="0" lvl="0" indent="0" algn="ctr" defTabSz="289339"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4C4C4C"/>
                    </a:solidFill>
                    <a:effectLst/>
                    <a:uLnTx/>
                    <a:uFillTx/>
                    <a:latin typeface="Arial"/>
                    <a:ea typeface="+mn-ea"/>
                    <a:cs typeface="Arial" panose="020B0604020202020204" pitchFamily="34" charset="0"/>
                  </a:rPr>
                  <a:t>Four     3-week cycles</a:t>
                </a:r>
                <a:endParaRPr kumimoji="0" lang="en-US" sz="800" b="0" i="0" u="none" strike="noStrike" kern="0" cap="none" spc="0" normalizeH="0" baseline="0" noProof="0">
                  <a:ln>
                    <a:noFill/>
                  </a:ln>
                  <a:solidFill>
                    <a:srgbClr val="4C4C4C"/>
                  </a:solidFill>
                  <a:effectLst/>
                  <a:uLnTx/>
                  <a:uFillTx/>
                  <a:latin typeface="Arial"/>
                  <a:ea typeface="+mn-ea"/>
                  <a:cs typeface="+mn-cs"/>
                </a:endParaRPr>
              </a:p>
            </p:txBody>
          </p:sp>
          <p:sp>
            <p:nvSpPr>
              <p:cNvPr id="286" name="object 43">
                <a:extLst>
                  <a:ext uri="{FF2B5EF4-FFF2-40B4-BE49-F238E27FC236}">
                    <a16:creationId xmlns:a16="http://schemas.microsoft.com/office/drawing/2014/main" id="{7EE64CD0-49E6-4F35-AADB-1C173FC6FA74}"/>
                  </a:ext>
                </a:extLst>
              </p:cNvPr>
              <p:cNvSpPr txBox="1"/>
              <p:nvPr/>
            </p:nvSpPr>
            <p:spPr>
              <a:xfrm>
                <a:off x="8454260" y="3644485"/>
                <a:ext cx="346530" cy="177427"/>
              </a:xfrm>
              <a:prstGeom prst="rect">
                <a:avLst/>
              </a:prstGeom>
              <a:solidFill>
                <a:srgbClr val="788BBC"/>
              </a:solidFill>
              <a:ln w="6096">
                <a:solidFill>
                  <a:srgbClr val="231F20"/>
                </a:solidFill>
              </a:ln>
            </p:spPr>
            <p:txBody>
              <a:bodyPr vert="horz" wrap="square" lIns="0" tIns="0" rIns="0" bIns="0" rtlCol="0" anchor="ctr">
                <a:spAutoFit/>
              </a:bodyPr>
              <a:lstStyle/>
              <a:p>
                <a:pPr marL="0" marR="0" lvl="0" indent="0" algn="ctr" defTabSz="289339" rtl="0" eaLnBrk="0" fontAlgn="base" latinLnBrk="0" hangingPunct="0">
                  <a:lnSpc>
                    <a:spcPct val="100000"/>
                  </a:lnSpc>
                  <a:spcBef>
                    <a:spcPts val="72"/>
                  </a:spcBef>
                  <a:spcAft>
                    <a:spcPct val="0"/>
                  </a:spcAft>
                  <a:buClrTx/>
                  <a:buSzTx/>
                  <a:buFontTx/>
                  <a:buNone/>
                  <a:tabLst/>
                  <a:defRPr/>
                </a:pPr>
                <a:r>
                  <a:rPr kumimoji="0" sz="800" b="1" i="0" u="none" strike="noStrike" kern="1200" cap="none" spc="3" normalizeH="0" baseline="0" noProof="0">
                    <a:ln>
                      <a:noFill/>
                    </a:ln>
                    <a:solidFill>
                      <a:srgbClr val="FFFFFF"/>
                    </a:solidFill>
                    <a:effectLst/>
                    <a:uLnTx/>
                    <a:uFillTx/>
                    <a:latin typeface="Arial"/>
                    <a:ea typeface="+mn-ea"/>
                    <a:cs typeface="HelveticaNeueLT Std"/>
                  </a:rPr>
                  <a:t>MRD</a:t>
                </a:r>
                <a:endParaRPr kumimoji="0" sz="800" b="1" i="0" u="none" strike="noStrike" kern="1200" cap="none" spc="0" normalizeH="0" baseline="0" noProof="0">
                  <a:ln>
                    <a:noFill/>
                  </a:ln>
                  <a:solidFill>
                    <a:srgbClr val="4C4C4C"/>
                  </a:solidFill>
                  <a:effectLst/>
                  <a:uLnTx/>
                  <a:uFillTx/>
                  <a:latin typeface="Arial"/>
                  <a:ea typeface="+mn-ea"/>
                  <a:cs typeface="HelveticaNeueLT Std"/>
                </a:endParaRPr>
              </a:p>
            </p:txBody>
          </p:sp>
          <p:sp>
            <p:nvSpPr>
              <p:cNvPr id="287" name="Rectangle 286">
                <a:extLst>
                  <a:ext uri="{FF2B5EF4-FFF2-40B4-BE49-F238E27FC236}">
                    <a16:creationId xmlns:a16="http://schemas.microsoft.com/office/drawing/2014/main" id="{48A7C29B-61AF-4D35-B99F-D67F7FC98729}"/>
                  </a:ext>
                </a:extLst>
              </p:cNvPr>
              <p:cNvSpPr/>
              <p:nvPr/>
            </p:nvSpPr>
            <p:spPr>
              <a:xfrm>
                <a:off x="8819406" y="2065343"/>
                <a:ext cx="571728" cy="2194560"/>
              </a:xfrm>
              <a:prstGeom prst="rect">
                <a:avLst/>
              </a:prstGeom>
              <a:solidFill>
                <a:srgbClr val="FFFFFF">
                  <a:alpha val="62000"/>
                </a:srgbClr>
              </a:solidFill>
              <a:ln w="12700" cap="flat" cmpd="sng" algn="ctr">
                <a:solidFill>
                  <a:srgbClr val="FFFFFF">
                    <a:lumMod val="75000"/>
                  </a:srgbClr>
                </a:solidFill>
                <a:prstDash val="dash"/>
                <a:miter lim="800000"/>
              </a:ln>
              <a:effectLst/>
            </p:spPr>
            <p:txBody>
              <a:bodyPr vert="horz" lIns="0" tIns="0" rIns="0" bIns="0" rtlCol="0" anchor="ctr"/>
              <a:lstStyle/>
              <a:p>
                <a:pPr marL="0" marR="0" lvl="0" indent="0" algn="ctr" defTabSz="289339"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4C4C4C"/>
                  </a:solidFill>
                  <a:effectLst/>
                  <a:uLnTx/>
                  <a:uFillTx/>
                  <a:latin typeface="Arial"/>
                  <a:ea typeface="+mn-ea"/>
                  <a:cs typeface="+mn-cs"/>
                </a:endParaRPr>
              </a:p>
            </p:txBody>
          </p:sp>
        </p:grpSp>
      </p:grpSp>
      <p:sp>
        <p:nvSpPr>
          <p:cNvPr id="83" name="Marcador de texto 7">
            <a:extLst>
              <a:ext uri="{FF2B5EF4-FFF2-40B4-BE49-F238E27FC236}">
                <a16:creationId xmlns:a16="http://schemas.microsoft.com/office/drawing/2014/main" id="{B2D48D97-5C9A-4B83-9722-7D77A0E1EBED}"/>
              </a:ext>
            </a:extLst>
          </p:cNvPr>
          <p:cNvSpPr txBox="1">
            <a:spLocks/>
          </p:cNvSpPr>
          <p:nvPr/>
        </p:nvSpPr>
        <p:spPr>
          <a:xfrm>
            <a:off x="2618697" y="4827721"/>
            <a:ext cx="6274836" cy="235679"/>
          </a:xfrm>
          <a:prstGeom prst="rect">
            <a:avLst/>
          </a:prstGeom>
        </p:spPr>
        <p:txBody>
          <a:bodyPr vert="horz" wrap="square" lIns="0" tIns="0" rIns="0" bIns="81000" spcCol="301752" rtlCol="0" anchor="b">
            <a:spAutoFit/>
          </a:bodyPr>
          <a:lstStyle>
            <a:lvl1pPr marL="0" indent="0" algn="l" defTabSz="771525" rtl="0" eaLnBrk="1" latinLnBrk="0" hangingPunct="1">
              <a:lnSpc>
                <a:spcPct val="100000"/>
              </a:lnSpc>
              <a:spcBef>
                <a:spcPts val="0"/>
              </a:spcBef>
              <a:buFont typeface="Trebuchet MS" panose="020B0603020202020204" pitchFamily="34" charset="0"/>
              <a:buNone/>
              <a:defRPr sz="844" kern="1200">
                <a:solidFill>
                  <a:schemeClr val="tx1"/>
                </a:solidFill>
                <a:latin typeface="+mn-lt"/>
                <a:ea typeface="+mn-ea"/>
                <a:cs typeface="+mn-cs"/>
              </a:defRPr>
            </a:lvl1pPr>
            <a:lvl2pPr marL="385763"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2pPr>
            <a:lvl3pPr marL="578644"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3pPr>
            <a:lvl4pPr marL="771525"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4pPr>
            <a:lvl5pPr marL="964406"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5pPr>
            <a:lvl6pPr marL="1157288"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6pPr>
            <a:lvl7pPr marL="1350169"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7pPr>
            <a:lvl8pPr marL="1543050"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8pPr>
            <a:lvl9pPr marL="1735931"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9pPr>
          </a:lstStyle>
          <a:p>
            <a:pPr marL="0" marR="0" lvl="0" indent="0" algn="r" defTabSz="771525"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000" b="0" i="0" u="none" strike="noStrike" kern="0" cap="none" spc="-30" normalizeH="0" baseline="0" noProof="0">
                <a:ln>
                  <a:noFill/>
                </a:ln>
                <a:solidFill>
                  <a:srgbClr val="000020"/>
                </a:solidFill>
                <a:effectLst/>
                <a:uLnTx/>
                <a:uFillTx/>
                <a:latin typeface="Trebuchet MS"/>
                <a:ea typeface="ＭＳ Ｐゴシック" charset="-128"/>
              </a:rPr>
              <a:t>Rosiñol Dachs L, </a:t>
            </a: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et al. </a:t>
            </a:r>
            <a:r>
              <a:rPr kumimoji="0" lang="en-US" sz="1000" b="0" i="1" u="none" strike="noStrike" kern="1200" cap="none" spc="0" normalizeH="0" baseline="0" noProof="0">
                <a:ln>
                  <a:noFill/>
                </a:ln>
                <a:solidFill>
                  <a:srgbClr val="1A1A1A"/>
                </a:solidFill>
                <a:effectLst/>
                <a:uLnTx/>
                <a:uFillTx/>
                <a:latin typeface="Trebuchet MS"/>
                <a:ea typeface="+mn-ea"/>
                <a:cs typeface="+mn-cs"/>
              </a:rPr>
              <a:t>Blood.</a:t>
            </a:r>
            <a:r>
              <a:rPr kumimoji="0" lang="en-US" sz="1000" b="0" i="0" u="none" strike="noStrike" kern="1200" cap="none" spc="0" normalizeH="0" baseline="0" noProof="0">
                <a:ln>
                  <a:noFill/>
                </a:ln>
                <a:solidFill>
                  <a:srgbClr val="1A1A1A"/>
                </a:solidFill>
                <a:effectLst/>
                <a:uLnTx/>
                <a:uFillTx/>
                <a:latin typeface="Trebuchet MS"/>
                <a:ea typeface="+mn-ea"/>
                <a:cs typeface="+mn-cs"/>
              </a:rPr>
              <a:t> 2018;132(suppl 1): abstract 3245.</a:t>
            </a:r>
            <a:endPar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endParaRPr>
          </a:p>
        </p:txBody>
      </p:sp>
    </p:spTree>
    <p:extLst>
      <p:ext uri="{BB962C8B-B14F-4D97-AF65-F5344CB8AC3E}">
        <p14:creationId xmlns:p14="http://schemas.microsoft.com/office/powerpoint/2010/main" val="8225064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altLang="en-US" noProof="0">
                <a:solidFill>
                  <a:srgbClr val="595454"/>
                </a:solidFill>
              </a:rPr>
              <a:t>≥VGPR AND MRD-negative rate post-induction and post-ASCT in GEM studies</a:t>
            </a:r>
            <a:endParaRPr lang="en-US" cap="none" baseline="30000" noProof="0">
              <a:solidFill>
                <a:srgbClr val="595454"/>
              </a:solidFill>
            </a:endParaRPr>
          </a:p>
        </p:txBody>
      </p:sp>
      <p:sp>
        <p:nvSpPr>
          <p:cNvPr id="8" name="Content Placeholder 4">
            <a:extLst>
              <a:ext uri="{FF2B5EF4-FFF2-40B4-BE49-F238E27FC236}">
                <a16:creationId xmlns:a16="http://schemas.microsoft.com/office/drawing/2014/main" id="{FE706F98-357E-4FD9-8C40-5D2F8185A2E3}"/>
              </a:ext>
            </a:extLst>
          </p:cNvPr>
          <p:cNvSpPr txBox="1">
            <a:spLocks/>
          </p:cNvSpPr>
          <p:nvPr/>
        </p:nvSpPr>
        <p:spPr>
          <a:xfrm>
            <a:off x="326004" y="882381"/>
            <a:ext cx="8452235" cy="235629"/>
          </a:xfrm>
          <a:prstGeom prst="rect">
            <a:avLst/>
          </a:prstGeom>
        </p:spPr>
        <p:txBody>
          <a:bodyPr vert="horz" lIns="57865" tIns="28932" rIns="57865" bIns="28932" rtlCol="0">
            <a:noAutofit/>
          </a:bodyPr>
          <a:lstStyle>
            <a:lvl1pPr marL="177800" indent="-1778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rgbClr val="4C4C4C"/>
                </a:solidFill>
                <a:latin typeface="+mn-lt"/>
                <a:ea typeface="+mn-ea"/>
                <a:cs typeface="+mn-cs"/>
              </a:defRPr>
            </a:lvl1pPr>
            <a:lvl2pPr marL="487363" indent="-187325"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rgbClr val="4C4C4C"/>
                </a:solidFill>
                <a:latin typeface="+mn-lt"/>
                <a:ea typeface="+mn-ea"/>
                <a:cs typeface="+mn-cs"/>
              </a:defRPr>
            </a:lvl2pPr>
            <a:lvl3pPr marL="771525" indent="-13652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rgbClr val="4C4C4C"/>
                </a:solidFill>
                <a:latin typeface="+mn-lt"/>
                <a:ea typeface="+mn-ea"/>
                <a:cs typeface="+mn-cs"/>
              </a:defRPr>
            </a:lvl3pPr>
            <a:lvl4pPr marL="1028700" indent="-1778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rgbClr val="4C4C4C"/>
                </a:solidFill>
                <a:latin typeface="+mn-lt"/>
                <a:ea typeface="+mn-ea"/>
                <a:cs typeface="+mn-cs"/>
              </a:defRPr>
            </a:lvl4pPr>
            <a:lvl5pPr marL="1206500" indent="-1778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rgbClr val="4C4C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0" indent="-177800" algn="l" defTabSz="914400" rtl="0" eaLnBrk="1" fontAlgn="base" latinLnBrk="0" hangingPunct="1">
              <a:lnSpc>
                <a:spcPct val="90000"/>
              </a:lnSpc>
              <a:spcBef>
                <a:spcPts val="1000"/>
              </a:spcBef>
              <a:spcAft>
                <a:spcPct val="0"/>
              </a:spcAft>
              <a:buClr>
                <a:srgbClr val="595454"/>
              </a:buClr>
              <a:buSzTx/>
              <a:buFont typeface="Arial" panose="020B0604020202020204" pitchFamily="34" charset="0"/>
              <a:buChar char="•"/>
              <a:tabLst/>
              <a:defRPr/>
            </a:pPr>
            <a:r>
              <a:rPr kumimoji="0" lang="en-US" sz="1266" b="1" i="0" u="none" strike="noStrike" kern="1200" cap="none" spc="0" normalizeH="0" baseline="0" noProof="0">
                <a:ln>
                  <a:noFill/>
                </a:ln>
                <a:solidFill>
                  <a:srgbClr val="4C4C4C"/>
                </a:solidFill>
                <a:effectLst/>
                <a:uLnTx/>
                <a:uFillTx/>
                <a:latin typeface="Trebuchet MS"/>
                <a:ea typeface="+mn-ea"/>
                <a:cs typeface="+mn-cs"/>
              </a:rPr>
              <a:t>VRD demonstrated greater ≥VGPR rate vs VTD after induction in the GEM (primary comparison) studies</a:t>
            </a:r>
          </a:p>
          <a:p>
            <a:pPr marL="487363" marR="0" lvl="1" indent="-187325" algn="l" defTabSz="914400" rtl="0" eaLnBrk="1" fontAlgn="base" latinLnBrk="0" hangingPunct="1">
              <a:lnSpc>
                <a:spcPct val="90000"/>
              </a:lnSpc>
              <a:spcBef>
                <a:spcPts val="500"/>
              </a:spcBef>
              <a:spcAft>
                <a:spcPct val="0"/>
              </a:spcAft>
              <a:buClr>
                <a:srgbClr val="595454"/>
              </a:buClr>
              <a:buSzTx/>
              <a:buFont typeface="Arial" panose="020B0604020202020204" pitchFamily="34" charset="0"/>
              <a:buChar char="–"/>
              <a:tabLst/>
              <a:defRPr/>
            </a:pPr>
            <a:r>
              <a:rPr kumimoji="0" lang="en-US" sz="1266" b="1" i="0" u="none" strike="noStrike" kern="1200" cap="none" spc="0" normalizeH="0" baseline="0" noProof="0">
                <a:ln>
                  <a:noFill/>
                </a:ln>
                <a:solidFill>
                  <a:srgbClr val="4C4C4C"/>
                </a:solidFill>
                <a:effectLst/>
                <a:uLnTx/>
                <a:uFillTx/>
                <a:latin typeface="Trebuchet MS"/>
                <a:ea typeface="+mn-ea"/>
                <a:cs typeface="+mn-cs"/>
              </a:rPr>
              <a:t>The improvement in ≥VGPR rate with VRD vs VTD was maintained after ASCT</a:t>
            </a:r>
          </a:p>
          <a:p>
            <a:pPr marL="487363" marR="0" lvl="1" indent="-187325" algn="l" defTabSz="914400" rtl="0" eaLnBrk="1" fontAlgn="base" latinLnBrk="0" hangingPunct="1">
              <a:lnSpc>
                <a:spcPct val="90000"/>
              </a:lnSpc>
              <a:spcBef>
                <a:spcPts val="500"/>
              </a:spcBef>
              <a:spcAft>
                <a:spcPct val="0"/>
              </a:spcAft>
              <a:buClr>
                <a:srgbClr val="595454"/>
              </a:buClr>
              <a:buSzTx/>
              <a:buFont typeface="Arial" panose="020B0604020202020204" pitchFamily="34" charset="0"/>
              <a:buChar char="–"/>
              <a:tabLst/>
              <a:defRPr/>
            </a:pPr>
            <a:endParaRPr kumimoji="0" lang="en-US" sz="1266" b="1" i="0" u="none" strike="noStrike" kern="1200" cap="none" spc="0" normalizeH="0" baseline="0" noProof="0">
              <a:ln>
                <a:noFill/>
              </a:ln>
              <a:solidFill>
                <a:srgbClr val="4C4C4C"/>
              </a:solidFill>
              <a:effectLst/>
              <a:uLnTx/>
              <a:uFillTx/>
              <a:latin typeface="Trebuchet MS"/>
              <a:ea typeface="+mn-ea"/>
              <a:cs typeface="+mn-cs"/>
            </a:endParaRPr>
          </a:p>
        </p:txBody>
      </p:sp>
      <p:sp>
        <p:nvSpPr>
          <p:cNvPr id="7" name="Text Placeholder 6">
            <a:extLst>
              <a:ext uri="{FF2B5EF4-FFF2-40B4-BE49-F238E27FC236}">
                <a16:creationId xmlns:a16="http://schemas.microsoft.com/office/drawing/2014/main" id="{E9451176-01D0-42B7-8433-CC2556864C6B}"/>
              </a:ext>
            </a:extLst>
          </p:cNvPr>
          <p:cNvSpPr>
            <a:spLocks noGrp="1"/>
          </p:cNvSpPr>
          <p:nvPr>
            <p:ph type="body" sz="quarter" idx="13"/>
          </p:nvPr>
        </p:nvSpPr>
        <p:spPr>
          <a:xfrm>
            <a:off x="81737" y="4551310"/>
            <a:ext cx="6641935" cy="232165"/>
          </a:xfrm>
        </p:spPr>
        <p:txBody>
          <a:bodyPr/>
          <a:lstStyle/>
          <a:p>
            <a:r>
              <a:rPr lang="en-US" sz="800" baseline="30000" noProof="0">
                <a:solidFill>
                  <a:srgbClr val="000020"/>
                </a:solidFill>
              </a:rPr>
              <a:t>a</a:t>
            </a:r>
            <a:r>
              <a:rPr lang="en-US" sz="800" noProof="0">
                <a:solidFill>
                  <a:srgbClr val="000020"/>
                </a:solidFill>
              </a:rPr>
              <a:t>Dichotemized response; patients without any MRD assessment were not included in the positive category.</a:t>
            </a:r>
          </a:p>
        </p:txBody>
      </p:sp>
      <p:graphicFrame>
        <p:nvGraphicFramePr>
          <p:cNvPr id="9" name="Chart 8">
            <a:extLst>
              <a:ext uri="{FF2B5EF4-FFF2-40B4-BE49-F238E27FC236}">
                <a16:creationId xmlns:a16="http://schemas.microsoft.com/office/drawing/2014/main" id="{7025339D-F10F-4EC2-B0D7-FCBA1544EE7D}"/>
              </a:ext>
            </a:extLst>
          </p:cNvPr>
          <p:cNvGraphicFramePr/>
          <p:nvPr/>
        </p:nvGraphicFramePr>
        <p:xfrm>
          <a:off x="636104" y="1791024"/>
          <a:ext cx="7776376" cy="2388603"/>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Connector 9">
            <a:extLst>
              <a:ext uri="{FF2B5EF4-FFF2-40B4-BE49-F238E27FC236}">
                <a16:creationId xmlns:a16="http://schemas.microsoft.com/office/drawing/2014/main" id="{421AC9B3-319E-4E57-A449-0673C3053C25}"/>
              </a:ext>
            </a:extLst>
          </p:cNvPr>
          <p:cNvCxnSpPr>
            <a:cxnSpLocks/>
          </p:cNvCxnSpPr>
          <p:nvPr/>
        </p:nvCxnSpPr>
        <p:spPr>
          <a:xfrm>
            <a:off x="1989137" y="4251143"/>
            <a:ext cx="1691863" cy="0"/>
          </a:xfrm>
          <a:prstGeom prst="line">
            <a:avLst/>
          </a:prstGeom>
          <a:noFill/>
          <a:ln w="6350" cap="flat" cmpd="sng" algn="ctr">
            <a:solidFill>
              <a:srgbClr val="4C4C4C"/>
            </a:solidFill>
            <a:prstDash val="solid"/>
            <a:miter lim="800000"/>
          </a:ln>
          <a:effectLst/>
        </p:spPr>
      </p:cxnSp>
      <p:sp>
        <p:nvSpPr>
          <p:cNvPr id="11" name="TextBox 10">
            <a:extLst>
              <a:ext uri="{FF2B5EF4-FFF2-40B4-BE49-F238E27FC236}">
                <a16:creationId xmlns:a16="http://schemas.microsoft.com/office/drawing/2014/main" id="{D4DEC8C3-927A-4000-BCAD-85657640ACBE}"/>
              </a:ext>
            </a:extLst>
          </p:cNvPr>
          <p:cNvSpPr txBox="1"/>
          <p:nvPr/>
        </p:nvSpPr>
        <p:spPr>
          <a:xfrm>
            <a:off x="2350846" y="4251143"/>
            <a:ext cx="808235" cy="228652"/>
          </a:xfrm>
          <a:prstGeom prst="rect">
            <a:avLst/>
          </a:prstGeom>
          <a:noFill/>
        </p:spPr>
        <p:txBody>
          <a:bodyPr wrap="none" rtlCol="0">
            <a:spAutoFit/>
          </a:bodyPr>
          <a:lstStyle/>
          <a:p>
            <a:pPr marL="0" marR="0" lvl="0" indent="0" algn="ctr" defTabSz="289339" rtl="0" eaLnBrk="1" fontAlgn="auto" latinLnBrk="0" hangingPunct="1">
              <a:lnSpc>
                <a:spcPct val="100000"/>
              </a:lnSpc>
              <a:spcBef>
                <a:spcPts val="0"/>
              </a:spcBef>
              <a:spcAft>
                <a:spcPts val="0"/>
              </a:spcAft>
              <a:buClrTx/>
              <a:buSzTx/>
              <a:buFontTx/>
              <a:buNone/>
              <a:tabLst/>
              <a:defRPr/>
            </a:pPr>
            <a:r>
              <a:rPr kumimoji="0" lang="en-US" sz="886" b="1" i="0" u="none" strike="noStrike" kern="0" cap="none" spc="0" normalizeH="0" baseline="0" noProof="0">
                <a:ln>
                  <a:noFill/>
                </a:ln>
                <a:solidFill>
                  <a:srgbClr val="4C4C4C"/>
                </a:solidFill>
                <a:effectLst/>
                <a:uLnTx/>
                <a:uFillTx/>
                <a:latin typeface="Arial" panose="020B0604020202020204"/>
                <a:ea typeface="+mn-ea"/>
                <a:cs typeface="+mn-cs"/>
              </a:rPr>
              <a:t>≥VGPR rate</a:t>
            </a:r>
          </a:p>
        </p:txBody>
      </p:sp>
      <p:cxnSp>
        <p:nvCxnSpPr>
          <p:cNvPr id="12" name="Straight Connector 11">
            <a:extLst>
              <a:ext uri="{FF2B5EF4-FFF2-40B4-BE49-F238E27FC236}">
                <a16:creationId xmlns:a16="http://schemas.microsoft.com/office/drawing/2014/main" id="{248B4D77-0D5D-4B42-BE8B-E051C8CD9167}"/>
              </a:ext>
            </a:extLst>
          </p:cNvPr>
          <p:cNvCxnSpPr>
            <a:cxnSpLocks/>
          </p:cNvCxnSpPr>
          <p:nvPr/>
        </p:nvCxnSpPr>
        <p:spPr>
          <a:xfrm>
            <a:off x="5076686" y="4251143"/>
            <a:ext cx="1635127" cy="0"/>
          </a:xfrm>
          <a:prstGeom prst="line">
            <a:avLst/>
          </a:prstGeom>
          <a:noFill/>
          <a:ln w="6350" cap="flat" cmpd="sng" algn="ctr">
            <a:solidFill>
              <a:srgbClr val="4C4C4C"/>
            </a:solidFill>
            <a:prstDash val="solid"/>
            <a:miter lim="800000"/>
          </a:ln>
          <a:effectLst/>
        </p:spPr>
      </p:cxnSp>
      <p:sp>
        <p:nvSpPr>
          <p:cNvPr id="13" name="TextBox 12">
            <a:extLst>
              <a:ext uri="{FF2B5EF4-FFF2-40B4-BE49-F238E27FC236}">
                <a16:creationId xmlns:a16="http://schemas.microsoft.com/office/drawing/2014/main" id="{786AA7F8-651D-4866-9014-E72C886BA791}"/>
              </a:ext>
            </a:extLst>
          </p:cNvPr>
          <p:cNvSpPr txBox="1"/>
          <p:nvPr/>
        </p:nvSpPr>
        <p:spPr>
          <a:xfrm>
            <a:off x="4895897" y="4251143"/>
            <a:ext cx="2048959" cy="228652"/>
          </a:xfrm>
          <a:prstGeom prst="rect">
            <a:avLst/>
          </a:prstGeom>
          <a:noFill/>
        </p:spPr>
        <p:txBody>
          <a:bodyPr wrap="none" rtlCol="0">
            <a:spAutoFit/>
          </a:bodyPr>
          <a:lstStyle/>
          <a:p>
            <a:pPr marL="0" marR="0" lvl="0" indent="0" algn="ctr" defTabSz="289339" rtl="0" eaLnBrk="1" fontAlgn="auto" latinLnBrk="0" hangingPunct="1">
              <a:lnSpc>
                <a:spcPct val="100000"/>
              </a:lnSpc>
              <a:spcBef>
                <a:spcPts val="0"/>
              </a:spcBef>
              <a:spcAft>
                <a:spcPts val="0"/>
              </a:spcAft>
              <a:buClrTx/>
              <a:buSzTx/>
              <a:buFontTx/>
              <a:buNone/>
              <a:tabLst/>
              <a:defRPr/>
            </a:pPr>
            <a:r>
              <a:rPr kumimoji="0" lang="en-US" sz="886" b="1" i="0" u="none" strike="noStrike" kern="0" cap="none" spc="0" normalizeH="0" baseline="0" noProof="0">
                <a:ln>
                  <a:noFill/>
                </a:ln>
                <a:solidFill>
                  <a:srgbClr val="4C4C4C"/>
                </a:solidFill>
                <a:effectLst/>
                <a:uLnTx/>
                <a:uFillTx/>
                <a:latin typeface="Arial" panose="020B0604020202020204"/>
                <a:ea typeface="+mn-ea"/>
                <a:cs typeface="+mn-cs"/>
              </a:rPr>
              <a:t>MRD-negative rate (10</a:t>
            </a:r>
            <a:r>
              <a:rPr kumimoji="0" lang="en-US" sz="886" b="1" i="0" u="none" strike="noStrike" kern="0" cap="none" spc="0" normalizeH="0" baseline="30000" noProof="0">
                <a:ln>
                  <a:noFill/>
                </a:ln>
                <a:solidFill>
                  <a:srgbClr val="4C4C4C"/>
                </a:solidFill>
                <a:effectLst/>
                <a:uLnTx/>
                <a:uFillTx/>
                <a:latin typeface="Arial" panose="020B0604020202020204"/>
                <a:ea typeface="+mn-ea"/>
                <a:cs typeface="+mn-cs"/>
              </a:rPr>
              <a:t>−4</a:t>
            </a:r>
            <a:r>
              <a:rPr kumimoji="0" lang="en-US" sz="886" b="1" i="0" u="none" strike="noStrike" kern="0" cap="none" spc="0" normalizeH="0" baseline="0" noProof="0">
                <a:ln>
                  <a:noFill/>
                </a:ln>
                <a:solidFill>
                  <a:srgbClr val="4C4C4C"/>
                </a:solidFill>
                <a:effectLst/>
                <a:uLnTx/>
                <a:uFillTx/>
                <a:latin typeface="Arial" panose="020B0604020202020204"/>
                <a:ea typeface="+mn-ea"/>
                <a:cs typeface="+mn-cs"/>
              </a:rPr>
              <a:t> threshold)</a:t>
            </a:r>
            <a:endParaRPr kumimoji="0" lang="en-US" sz="886" b="1" i="0" u="none" strike="noStrike" kern="0" cap="none" spc="0" normalizeH="0" baseline="30000" noProof="0">
              <a:ln>
                <a:noFill/>
              </a:ln>
              <a:solidFill>
                <a:srgbClr val="4C4C4C"/>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B74021E7-3FF7-4422-962E-ED301D23EFCD}"/>
              </a:ext>
            </a:extLst>
          </p:cNvPr>
          <p:cNvGrpSpPr/>
          <p:nvPr/>
        </p:nvGrpSpPr>
        <p:grpSpPr>
          <a:xfrm>
            <a:off x="1327148" y="1808514"/>
            <a:ext cx="7085331" cy="690747"/>
            <a:chOff x="1750573" y="2284133"/>
            <a:chExt cx="7217146" cy="1091551"/>
          </a:xfrm>
        </p:grpSpPr>
        <p:sp>
          <p:nvSpPr>
            <p:cNvPr id="4" name="Rectangle 3">
              <a:extLst>
                <a:ext uri="{FF2B5EF4-FFF2-40B4-BE49-F238E27FC236}">
                  <a16:creationId xmlns:a16="http://schemas.microsoft.com/office/drawing/2014/main" id="{6EDEABA3-D823-408D-98AD-15F99E95BEAD}"/>
                </a:ext>
              </a:extLst>
            </p:cNvPr>
            <p:cNvSpPr/>
            <p:nvPr/>
          </p:nvSpPr>
          <p:spPr>
            <a:xfrm>
              <a:off x="1750573" y="2333231"/>
              <a:ext cx="7217146" cy="819021"/>
            </a:xfrm>
            <a:prstGeom prst="rect">
              <a:avLst/>
            </a:prstGeom>
            <a:solidFill>
              <a:srgbClr val="F3F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519" b="1" i="0" u="none" strike="noStrike" kern="1200" cap="none" spc="0" normalizeH="0" baseline="0" noProof="0">
                <a:ln>
                  <a:noFill/>
                </a:ln>
                <a:solidFill>
                  <a:srgbClr val="FFFFFF"/>
                </a:solidFill>
                <a:effectLst/>
                <a:uLnTx/>
                <a:uFillTx/>
                <a:latin typeface="Trebuchet MS"/>
                <a:ea typeface="+mn-ea"/>
                <a:cs typeface="+mn-cs"/>
              </a:endParaRPr>
            </a:p>
          </p:txBody>
        </p:sp>
        <p:sp>
          <p:nvSpPr>
            <p:cNvPr id="14" name="TextBox 13">
              <a:extLst>
                <a:ext uri="{FF2B5EF4-FFF2-40B4-BE49-F238E27FC236}">
                  <a16:creationId xmlns:a16="http://schemas.microsoft.com/office/drawing/2014/main" id="{4EB99BE2-38E5-4507-A0BE-AB37F95270FF}"/>
                </a:ext>
              </a:extLst>
            </p:cNvPr>
            <p:cNvSpPr txBox="1"/>
            <p:nvPr/>
          </p:nvSpPr>
          <p:spPr>
            <a:xfrm>
              <a:off x="1856704" y="2284133"/>
              <a:ext cx="1168284" cy="792165"/>
            </a:xfrm>
            <a:prstGeom prst="rect">
              <a:avLst/>
            </a:prstGeom>
            <a:noFill/>
          </p:spPr>
          <p:txBody>
            <a:bodyPr wrap="none" rtlCol="0">
              <a:spAutoFit/>
            </a:bodyPr>
            <a:lstStyle/>
            <a:p>
              <a:pPr marL="0" marR="0" lvl="0" indent="0" algn="ctr" defTabSz="289339" rtl="0" eaLnBrk="1" fontAlgn="auto" latinLnBrk="0" hangingPunct="1">
                <a:lnSpc>
                  <a:spcPct val="100000"/>
                </a:lnSpc>
                <a:spcBef>
                  <a:spcPts val="0"/>
                </a:spcBef>
                <a:spcAft>
                  <a:spcPts val="0"/>
                </a:spcAft>
                <a:buClrTx/>
                <a:buSzTx/>
                <a:buFontTx/>
                <a:buNone/>
                <a:tabLst/>
                <a:defRPr/>
              </a:pPr>
              <a:r>
                <a:rPr kumimoji="0" lang="en-US" sz="886" b="0" i="0" u="none" strike="noStrike" kern="0" cap="none" spc="0" normalizeH="0" baseline="0" noProof="0">
                  <a:ln>
                    <a:noFill/>
                  </a:ln>
                  <a:solidFill>
                    <a:srgbClr val="4C4C4C"/>
                  </a:solidFill>
                  <a:effectLst/>
                  <a:uLnTx/>
                  <a:uFillTx/>
                  <a:latin typeface="Arial" panose="020B0604020202020204"/>
                  <a:ea typeface="+mn-ea"/>
                  <a:cs typeface="+mn-cs"/>
                </a:rPr>
                <a:t>1.87 </a:t>
              </a:r>
            </a:p>
            <a:p>
              <a:pPr marL="0" marR="0" lvl="0" indent="0" algn="ctr" defTabSz="289339" rtl="0" eaLnBrk="1" fontAlgn="auto" latinLnBrk="0" hangingPunct="1">
                <a:lnSpc>
                  <a:spcPct val="100000"/>
                </a:lnSpc>
                <a:spcBef>
                  <a:spcPts val="0"/>
                </a:spcBef>
                <a:spcAft>
                  <a:spcPts val="0"/>
                </a:spcAft>
                <a:buClrTx/>
                <a:buSzTx/>
                <a:buFontTx/>
                <a:buNone/>
                <a:tabLst/>
                <a:defRPr/>
              </a:pPr>
              <a:r>
                <a:rPr kumimoji="0" lang="en-US" sz="886" b="0" i="0" u="none" strike="noStrike" kern="0" cap="none" spc="0" normalizeH="0" baseline="0" noProof="0">
                  <a:ln>
                    <a:noFill/>
                  </a:ln>
                  <a:solidFill>
                    <a:srgbClr val="4C4C4C"/>
                  </a:solidFill>
                  <a:effectLst/>
                  <a:uLnTx/>
                  <a:uFillTx/>
                  <a:latin typeface="Arial" panose="020B0604020202020204"/>
                  <a:ea typeface="+mn-ea"/>
                  <a:cs typeface="+mn-cs"/>
                </a:rPr>
                <a:t>(1.23-2.83)</a:t>
              </a:r>
            </a:p>
            <a:p>
              <a:pPr marL="0" marR="0" lvl="0" indent="0" algn="ctr" defTabSz="289339" rtl="0" eaLnBrk="1" fontAlgn="auto" latinLnBrk="0" hangingPunct="1">
                <a:lnSpc>
                  <a:spcPct val="100000"/>
                </a:lnSpc>
                <a:spcBef>
                  <a:spcPts val="0"/>
                </a:spcBef>
                <a:spcAft>
                  <a:spcPts val="0"/>
                </a:spcAft>
                <a:buClrTx/>
                <a:buSzTx/>
                <a:buFontTx/>
                <a:buNone/>
                <a:tabLst/>
                <a:defRPr/>
              </a:pPr>
              <a:r>
                <a:rPr kumimoji="0" lang="en-US" sz="886" b="0" i="1" u="none" strike="noStrike" kern="0" cap="none" spc="0" normalizeH="0" baseline="0" noProof="0">
                  <a:ln>
                    <a:noFill/>
                  </a:ln>
                  <a:solidFill>
                    <a:srgbClr val="4C4C4C"/>
                  </a:solidFill>
                  <a:effectLst/>
                  <a:uLnTx/>
                  <a:uFillTx/>
                  <a:latin typeface="Arial" panose="020B0604020202020204"/>
                  <a:ea typeface="+mn-ea"/>
                  <a:cs typeface="+mn-cs"/>
                </a:rPr>
                <a:t>P</a:t>
              </a:r>
              <a:r>
                <a:rPr kumimoji="0" lang="en-US" sz="886" b="0" i="0" u="none" strike="noStrike" kern="0" cap="none" spc="0" normalizeH="0" baseline="0" noProof="0">
                  <a:ln>
                    <a:noFill/>
                  </a:ln>
                  <a:solidFill>
                    <a:srgbClr val="4C4C4C"/>
                  </a:solidFill>
                  <a:effectLst/>
                  <a:uLnTx/>
                  <a:uFillTx/>
                  <a:latin typeface="Arial" panose="020B0604020202020204"/>
                  <a:ea typeface="+mn-ea"/>
                  <a:cs typeface="+mn-cs"/>
                </a:rPr>
                <a:t> = .00281</a:t>
              </a:r>
            </a:p>
          </p:txBody>
        </p:sp>
        <p:grpSp>
          <p:nvGrpSpPr>
            <p:cNvPr id="15" name="Group 14">
              <a:extLst>
                <a:ext uri="{FF2B5EF4-FFF2-40B4-BE49-F238E27FC236}">
                  <a16:creationId xmlns:a16="http://schemas.microsoft.com/office/drawing/2014/main" id="{9271F7E1-E6C3-43C9-88FD-0181BCDA467B}"/>
                </a:ext>
              </a:extLst>
            </p:cNvPr>
            <p:cNvGrpSpPr/>
            <p:nvPr/>
          </p:nvGrpSpPr>
          <p:grpSpPr>
            <a:xfrm>
              <a:off x="2016946" y="3009477"/>
              <a:ext cx="753167" cy="92689"/>
              <a:chOff x="2066925" y="1998760"/>
              <a:chExt cx="1224078" cy="122740"/>
            </a:xfrm>
          </p:grpSpPr>
          <p:cxnSp>
            <p:nvCxnSpPr>
              <p:cNvPr id="16" name="Straight Connector 15">
                <a:extLst>
                  <a:ext uri="{FF2B5EF4-FFF2-40B4-BE49-F238E27FC236}">
                    <a16:creationId xmlns:a16="http://schemas.microsoft.com/office/drawing/2014/main" id="{A97CA854-5833-4E8D-BEC3-AF8B76119AA8}"/>
                  </a:ext>
                </a:extLst>
              </p:cNvPr>
              <p:cNvCxnSpPr>
                <a:cxnSpLocks/>
              </p:cNvCxnSpPr>
              <p:nvPr/>
            </p:nvCxnSpPr>
            <p:spPr>
              <a:xfrm flipV="1">
                <a:off x="2066925" y="1998773"/>
                <a:ext cx="0" cy="122709"/>
              </a:xfrm>
              <a:prstGeom prst="line">
                <a:avLst/>
              </a:prstGeom>
              <a:noFill/>
              <a:ln w="6350" cap="flat" cmpd="sng" algn="ctr">
                <a:solidFill>
                  <a:srgbClr val="4C4C4C"/>
                </a:solidFill>
                <a:prstDash val="solid"/>
                <a:miter lim="800000"/>
              </a:ln>
              <a:effectLst/>
            </p:spPr>
          </p:cxnSp>
          <p:cxnSp>
            <p:nvCxnSpPr>
              <p:cNvPr id="17" name="Straight Connector 16">
                <a:extLst>
                  <a:ext uri="{FF2B5EF4-FFF2-40B4-BE49-F238E27FC236}">
                    <a16:creationId xmlns:a16="http://schemas.microsoft.com/office/drawing/2014/main" id="{0640F0DB-82B4-4E3C-9307-CB339921F9D4}"/>
                  </a:ext>
                </a:extLst>
              </p:cNvPr>
              <p:cNvCxnSpPr>
                <a:cxnSpLocks/>
              </p:cNvCxnSpPr>
              <p:nvPr/>
            </p:nvCxnSpPr>
            <p:spPr>
              <a:xfrm flipV="1">
                <a:off x="3291003" y="1998785"/>
                <a:ext cx="0" cy="122715"/>
              </a:xfrm>
              <a:prstGeom prst="line">
                <a:avLst/>
              </a:prstGeom>
              <a:noFill/>
              <a:ln w="6350" cap="flat" cmpd="sng" algn="ctr">
                <a:solidFill>
                  <a:srgbClr val="4C4C4C"/>
                </a:solidFill>
                <a:prstDash val="solid"/>
                <a:miter lim="800000"/>
              </a:ln>
              <a:effectLst/>
            </p:spPr>
          </p:cxnSp>
          <p:cxnSp>
            <p:nvCxnSpPr>
              <p:cNvPr id="18" name="Straight Connector 17">
                <a:extLst>
                  <a:ext uri="{FF2B5EF4-FFF2-40B4-BE49-F238E27FC236}">
                    <a16:creationId xmlns:a16="http://schemas.microsoft.com/office/drawing/2014/main" id="{0F81828F-CBBC-4F3D-A5B7-83BB93A23A8F}"/>
                  </a:ext>
                </a:extLst>
              </p:cNvPr>
              <p:cNvCxnSpPr>
                <a:cxnSpLocks/>
              </p:cNvCxnSpPr>
              <p:nvPr/>
            </p:nvCxnSpPr>
            <p:spPr>
              <a:xfrm flipH="1">
                <a:off x="2066925" y="1998760"/>
                <a:ext cx="1224078" cy="0"/>
              </a:xfrm>
              <a:prstGeom prst="line">
                <a:avLst/>
              </a:prstGeom>
              <a:noFill/>
              <a:ln w="6350" cap="flat" cmpd="sng" algn="ctr">
                <a:solidFill>
                  <a:srgbClr val="4C4C4C"/>
                </a:solidFill>
                <a:prstDash val="solid"/>
                <a:miter lim="800000"/>
              </a:ln>
              <a:effectLst/>
            </p:spPr>
          </p:cxnSp>
        </p:grpSp>
        <p:sp>
          <p:nvSpPr>
            <p:cNvPr id="19" name="TextBox 18">
              <a:extLst>
                <a:ext uri="{FF2B5EF4-FFF2-40B4-BE49-F238E27FC236}">
                  <a16:creationId xmlns:a16="http://schemas.microsoft.com/office/drawing/2014/main" id="{9EA593BC-EE61-457C-A91E-E46DA775E24E}"/>
                </a:ext>
              </a:extLst>
            </p:cNvPr>
            <p:cNvSpPr txBox="1"/>
            <p:nvPr/>
          </p:nvSpPr>
          <p:spPr>
            <a:xfrm>
              <a:off x="3472802" y="2449321"/>
              <a:ext cx="1168284" cy="619809"/>
            </a:xfrm>
            <a:prstGeom prst="rect">
              <a:avLst/>
            </a:prstGeom>
            <a:noFill/>
          </p:spPr>
          <p:txBody>
            <a:bodyPr wrap="none" rtlCol="0">
              <a:spAutoFit/>
            </a:bodyPr>
            <a:lstStyle/>
            <a:p>
              <a:pPr marL="0" marR="0" lvl="0" indent="0" algn="ctr" defTabSz="289339" rtl="0" eaLnBrk="0" fontAlgn="base" latinLnBrk="0" hangingPunct="0">
                <a:lnSpc>
                  <a:spcPct val="100000"/>
                </a:lnSpc>
                <a:spcBef>
                  <a:spcPct val="20000"/>
                </a:spcBef>
                <a:spcAft>
                  <a:spcPct val="0"/>
                </a:spcAft>
                <a:buClrTx/>
                <a:buSzTx/>
                <a:buFontTx/>
                <a:buNone/>
                <a:tabLst/>
                <a:defRPr/>
              </a:pPr>
              <a:r>
                <a:rPr kumimoji="0" lang="en-US" sz="886" b="1" i="0" u="none" strike="noStrike" kern="1200" cap="none" spc="0" normalizeH="0" baseline="0" noProof="0">
                  <a:ln>
                    <a:noFill/>
                  </a:ln>
                  <a:solidFill>
                    <a:srgbClr val="4C4C4C"/>
                  </a:solidFill>
                  <a:effectLst/>
                  <a:uLnTx/>
                  <a:uFillTx/>
                  <a:latin typeface="Arial" panose="020B0604020202020204"/>
                  <a:ea typeface="+mn-ea"/>
                  <a:cs typeface="+mn-cs"/>
                </a:rPr>
                <a:t>2.52 </a:t>
              </a:r>
            </a:p>
            <a:p>
              <a:pPr marL="0" marR="0" lvl="0" indent="0" algn="ctr" defTabSz="289339" rtl="0" eaLnBrk="0" fontAlgn="base" latinLnBrk="0" hangingPunct="0">
                <a:lnSpc>
                  <a:spcPct val="100000"/>
                </a:lnSpc>
                <a:spcBef>
                  <a:spcPct val="20000"/>
                </a:spcBef>
                <a:spcAft>
                  <a:spcPct val="0"/>
                </a:spcAft>
                <a:buClrTx/>
                <a:buSzTx/>
                <a:buFontTx/>
                <a:buNone/>
                <a:tabLst/>
                <a:defRPr/>
              </a:pPr>
              <a:r>
                <a:rPr kumimoji="0" lang="en-US" sz="886" b="1" i="0" u="none" strike="noStrike" kern="1200" cap="none" spc="0" normalizeH="0" baseline="0" noProof="0">
                  <a:ln>
                    <a:noFill/>
                  </a:ln>
                  <a:solidFill>
                    <a:srgbClr val="4C4C4C"/>
                  </a:solidFill>
                  <a:effectLst/>
                  <a:uLnTx/>
                  <a:uFillTx/>
                  <a:latin typeface="Arial" panose="020B0604020202020204"/>
                  <a:ea typeface="+mn-ea"/>
                  <a:cs typeface="+mn-cs"/>
                </a:rPr>
                <a:t>(1.64-3.87)</a:t>
              </a:r>
            </a:p>
          </p:txBody>
        </p:sp>
        <p:sp>
          <p:nvSpPr>
            <p:cNvPr id="23" name="TextBox 22">
              <a:extLst>
                <a:ext uri="{FF2B5EF4-FFF2-40B4-BE49-F238E27FC236}">
                  <a16:creationId xmlns:a16="http://schemas.microsoft.com/office/drawing/2014/main" id="{AC666254-BD3C-45CD-8B67-59FA33699E90}"/>
                </a:ext>
              </a:extLst>
            </p:cNvPr>
            <p:cNvSpPr txBox="1"/>
            <p:nvPr/>
          </p:nvSpPr>
          <p:spPr>
            <a:xfrm>
              <a:off x="5149942" y="2449321"/>
              <a:ext cx="1234148" cy="619809"/>
            </a:xfrm>
            <a:prstGeom prst="rect">
              <a:avLst/>
            </a:prstGeom>
            <a:noFill/>
          </p:spPr>
          <p:txBody>
            <a:bodyPr wrap="none" rtlCol="0">
              <a:spAutoFit/>
            </a:bodyPr>
            <a:lstStyle/>
            <a:p>
              <a:pPr marL="0" marR="0" lvl="0" indent="0" algn="ctr" defTabSz="289339" rtl="0" eaLnBrk="0" fontAlgn="base" latinLnBrk="0" hangingPunct="0">
                <a:lnSpc>
                  <a:spcPct val="100000"/>
                </a:lnSpc>
                <a:spcBef>
                  <a:spcPct val="20000"/>
                </a:spcBef>
                <a:spcAft>
                  <a:spcPct val="0"/>
                </a:spcAft>
                <a:buClrTx/>
                <a:buSzTx/>
                <a:buFontTx/>
                <a:buNone/>
                <a:tabLst/>
                <a:defRPr/>
              </a:pPr>
              <a:r>
                <a:rPr kumimoji="0" lang="en-US" sz="886" b="1" i="0" u="none" strike="noStrike" kern="1200" cap="none" spc="0" normalizeH="0" baseline="0" noProof="0">
                  <a:ln>
                    <a:noFill/>
                  </a:ln>
                  <a:solidFill>
                    <a:srgbClr val="4C4C4C"/>
                  </a:solidFill>
                  <a:effectLst/>
                  <a:uLnTx/>
                  <a:uFillTx/>
                  <a:latin typeface="Arial" panose="020B0604020202020204"/>
                  <a:ea typeface="+mn-ea"/>
                  <a:cs typeface="+mn-cs"/>
                </a:rPr>
                <a:t>1.39 </a:t>
              </a:r>
            </a:p>
            <a:p>
              <a:pPr marL="0" marR="0" lvl="0" indent="0" algn="ctr" defTabSz="289339" rtl="0" eaLnBrk="0" fontAlgn="base" latinLnBrk="0" hangingPunct="0">
                <a:lnSpc>
                  <a:spcPct val="100000"/>
                </a:lnSpc>
                <a:spcBef>
                  <a:spcPct val="20000"/>
                </a:spcBef>
                <a:spcAft>
                  <a:spcPct val="0"/>
                </a:spcAft>
                <a:buClrTx/>
                <a:buSzTx/>
                <a:buFontTx/>
                <a:buNone/>
                <a:tabLst/>
                <a:defRPr/>
              </a:pPr>
              <a:r>
                <a:rPr kumimoji="0" lang="en-US" sz="886" b="1" i="0" u="none" strike="noStrike" kern="1200" cap="none" spc="0" normalizeH="0" baseline="0" noProof="0">
                  <a:ln>
                    <a:noFill/>
                  </a:ln>
                  <a:solidFill>
                    <a:srgbClr val="4C4C4C"/>
                  </a:solidFill>
                  <a:effectLst/>
                  <a:uLnTx/>
                  <a:uFillTx/>
                  <a:latin typeface="Arial" panose="020B0604020202020204"/>
                  <a:ea typeface="+mn-ea"/>
                  <a:cs typeface="+mn-cs"/>
                </a:rPr>
                <a:t>(0.87-2.22)</a:t>
              </a:r>
              <a:r>
                <a:rPr kumimoji="0" lang="en-US" sz="886" b="1" i="0" u="none" strike="noStrike" kern="1200" cap="none" spc="0" normalizeH="0" baseline="30000" noProof="0">
                  <a:ln>
                    <a:noFill/>
                  </a:ln>
                  <a:solidFill>
                    <a:srgbClr val="4C4C4C"/>
                  </a:solidFill>
                  <a:effectLst/>
                  <a:uLnTx/>
                  <a:uFillTx/>
                  <a:latin typeface="Arial" panose="020B0604020202020204"/>
                  <a:ea typeface="+mn-ea"/>
                  <a:cs typeface="+mn-cs"/>
                </a:rPr>
                <a:t>a</a:t>
              </a:r>
            </a:p>
          </p:txBody>
        </p:sp>
        <p:sp>
          <p:nvSpPr>
            <p:cNvPr id="27" name="TextBox 26">
              <a:extLst>
                <a:ext uri="{FF2B5EF4-FFF2-40B4-BE49-F238E27FC236}">
                  <a16:creationId xmlns:a16="http://schemas.microsoft.com/office/drawing/2014/main" id="{4CD82D0C-3384-4446-8421-4CBA29745A9E}"/>
                </a:ext>
              </a:extLst>
            </p:cNvPr>
            <p:cNvSpPr txBox="1"/>
            <p:nvPr/>
          </p:nvSpPr>
          <p:spPr>
            <a:xfrm>
              <a:off x="6785624" y="2449321"/>
              <a:ext cx="1234148" cy="619809"/>
            </a:xfrm>
            <a:prstGeom prst="rect">
              <a:avLst/>
            </a:prstGeom>
            <a:noFill/>
          </p:spPr>
          <p:txBody>
            <a:bodyPr wrap="none" rtlCol="0">
              <a:spAutoFit/>
            </a:bodyPr>
            <a:lstStyle/>
            <a:p>
              <a:pPr marL="0" marR="0" lvl="0" indent="0" algn="ctr" defTabSz="289339" rtl="0" eaLnBrk="0" fontAlgn="base" latinLnBrk="0" hangingPunct="0">
                <a:lnSpc>
                  <a:spcPct val="100000"/>
                </a:lnSpc>
                <a:spcBef>
                  <a:spcPct val="20000"/>
                </a:spcBef>
                <a:spcAft>
                  <a:spcPct val="0"/>
                </a:spcAft>
                <a:buClrTx/>
                <a:buSzTx/>
                <a:buFontTx/>
                <a:buNone/>
                <a:tabLst/>
                <a:defRPr/>
              </a:pPr>
              <a:r>
                <a:rPr kumimoji="0" lang="en-US" sz="886" b="1" i="0" u="none" strike="noStrike" kern="1200" cap="none" spc="0" normalizeH="0" baseline="0" noProof="0">
                  <a:ln>
                    <a:noFill/>
                  </a:ln>
                  <a:solidFill>
                    <a:srgbClr val="4C4C4C"/>
                  </a:solidFill>
                  <a:effectLst/>
                  <a:uLnTx/>
                  <a:uFillTx/>
                  <a:latin typeface="Arial" panose="020B0604020202020204"/>
                  <a:ea typeface="+mn-ea"/>
                  <a:cs typeface="+mn-cs"/>
                </a:rPr>
                <a:t>1.70 </a:t>
              </a:r>
            </a:p>
            <a:p>
              <a:pPr marL="0" marR="0" lvl="0" indent="0" algn="ctr" defTabSz="289339" rtl="0" eaLnBrk="0" fontAlgn="base" latinLnBrk="0" hangingPunct="0">
                <a:lnSpc>
                  <a:spcPct val="100000"/>
                </a:lnSpc>
                <a:spcBef>
                  <a:spcPct val="20000"/>
                </a:spcBef>
                <a:spcAft>
                  <a:spcPct val="0"/>
                </a:spcAft>
                <a:buClrTx/>
                <a:buSzTx/>
                <a:buFontTx/>
                <a:buNone/>
                <a:tabLst/>
                <a:defRPr/>
              </a:pPr>
              <a:r>
                <a:rPr kumimoji="0" lang="en-US" sz="886" b="1" i="0" u="none" strike="noStrike" kern="1200" cap="none" spc="0" normalizeH="0" baseline="0" noProof="0">
                  <a:ln>
                    <a:noFill/>
                  </a:ln>
                  <a:solidFill>
                    <a:srgbClr val="4C4C4C"/>
                  </a:solidFill>
                  <a:effectLst/>
                  <a:uLnTx/>
                  <a:uFillTx/>
                  <a:latin typeface="Arial" panose="020B0604020202020204"/>
                  <a:ea typeface="+mn-ea"/>
                  <a:cs typeface="+mn-cs"/>
                </a:rPr>
                <a:t>(0.94-3.05)</a:t>
              </a:r>
              <a:r>
                <a:rPr kumimoji="0" lang="en-US" sz="886" b="1" i="0" u="none" strike="noStrike" kern="1200" cap="none" spc="0" normalizeH="0" baseline="30000" noProof="0">
                  <a:ln>
                    <a:noFill/>
                  </a:ln>
                  <a:solidFill>
                    <a:srgbClr val="4C4C4C"/>
                  </a:solidFill>
                  <a:effectLst/>
                  <a:uLnTx/>
                  <a:uFillTx/>
                  <a:latin typeface="Arial" panose="020B0604020202020204"/>
                  <a:ea typeface="+mn-ea"/>
                  <a:cs typeface="+mn-cs"/>
                </a:rPr>
                <a:t>a</a:t>
              </a:r>
            </a:p>
          </p:txBody>
        </p:sp>
        <p:grpSp>
          <p:nvGrpSpPr>
            <p:cNvPr id="36" name="Group 35">
              <a:extLst>
                <a:ext uri="{FF2B5EF4-FFF2-40B4-BE49-F238E27FC236}">
                  <a16:creationId xmlns:a16="http://schemas.microsoft.com/office/drawing/2014/main" id="{DDB8B8CD-06DE-41A0-8DE4-ACACD2A2B43E}"/>
                </a:ext>
              </a:extLst>
            </p:cNvPr>
            <p:cNvGrpSpPr/>
            <p:nvPr/>
          </p:nvGrpSpPr>
          <p:grpSpPr>
            <a:xfrm>
              <a:off x="3680361" y="3009474"/>
              <a:ext cx="753167" cy="92688"/>
              <a:chOff x="2066925" y="1998761"/>
              <a:chExt cx="1224078" cy="122739"/>
            </a:xfrm>
          </p:grpSpPr>
          <p:cxnSp>
            <p:nvCxnSpPr>
              <p:cNvPr id="37" name="Straight Connector 36">
                <a:extLst>
                  <a:ext uri="{FF2B5EF4-FFF2-40B4-BE49-F238E27FC236}">
                    <a16:creationId xmlns:a16="http://schemas.microsoft.com/office/drawing/2014/main" id="{F3E2873E-40DA-493C-AC59-3C7AC8DEA134}"/>
                  </a:ext>
                </a:extLst>
              </p:cNvPr>
              <p:cNvCxnSpPr>
                <a:cxnSpLocks/>
              </p:cNvCxnSpPr>
              <p:nvPr/>
            </p:nvCxnSpPr>
            <p:spPr>
              <a:xfrm flipV="1">
                <a:off x="2066925" y="1998773"/>
                <a:ext cx="0" cy="122709"/>
              </a:xfrm>
              <a:prstGeom prst="line">
                <a:avLst/>
              </a:prstGeom>
              <a:noFill/>
              <a:ln w="6350" cap="flat" cmpd="sng" algn="ctr">
                <a:solidFill>
                  <a:srgbClr val="4C4C4C"/>
                </a:solidFill>
                <a:prstDash val="solid"/>
                <a:miter lim="800000"/>
              </a:ln>
              <a:effectLst/>
            </p:spPr>
          </p:cxnSp>
          <p:cxnSp>
            <p:nvCxnSpPr>
              <p:cNvPr id="38" name="Straight Connector 37">
                <a:extLst>
                  <a:ext uri="{FF2B5EF4-FFF2-40B4-BE49-F238E27FC236}">
                    <a16:creationId xmlns:a16="http://schemas.microsoft.com/office/drawing/2014/main" id="{1474DEA6-95C9-4F78-B169-D2BF1215B097}"/>
                  </a:ext>
                </a:extLst>
              </p:cNvPr>
              <p:cNvCxnSpPr>
                <a:cxnSpLocks/>
              </p:cNvCxnSpPr>
              <p:nvPr/>
            </p:nvCxnSpPr>
            <p:spPr>
              <a:xfrm flipV="1">
                <a:off x="3291003" y="1998785"/>
                <a:ext cx="0" cy="122715"/>
              </a:xfrm>
              <a:prstGeom prst="line">
                <a:avLst/>
              </a:prstGeom>
              <a:noFill/>
              <a:ln w="6350" cap="flat" cmpd="sng" algn="ctr">
                <a:solidFill>
                  <a:srgbClr val="4C4C4C"/>
                </a:solidFill>
                <a:prstDash val="solid"/>
                <a:miter lim="800000"/>
              </a:ln>
              <a:effectLst/>
            </p:spPr>
          </p:cxnSp>
          <p:cxnSp>
            <p:nvCxnSpPr>
              <p:cNvPr id="39" name="Straight Connector 38">
                <a:extLst>
                  <a:ext uri="{FF2B5EF4-FFF2-40B4-BE49-F238E27FC236}">
                    <a16:creationId xmlns:a16="http://schemas.microsoft.com/office/drawing/2014/main" id="{F9D97FB1-1263-421C-8B7F-A121F163734D}"/>
                  </a:ext>
                </a:extLst>
              </p:cNvPr>
              <p:cNvCxnSpPr>
                <a:cxnSpLocks/>
              </p:cNvCxnSpPr>
              <p:nvPr/>
            </p:nvCxnSpPr>
            <p:spPr>
              <a:xfrm flipH="1">
                <a:off x="2066925" y="1998761"/>
                <a:ext cx="1224078" cy="1"/>
              </a:xfrm>
              <a:prstGeom prst="line">
                <a:avLst/>
              </a:prstGeom>
              <a:noFill/>
              <a:ln w="6350" cap="flat" cmpd="sng" algn="ctr">
                <a:solidFill>
                  <a:srgbClr val="4C4C4C"/>
                </a:solidFill>
                <a:prstDash val="solid"/>
                <a:miter lim="800000"/>
              </a:ln>
              <a:effectLst/>
            </p:spPr>
          </p:cxnSp>
        </p:grpSp>
        <p:grpSp>
          <p:nvGrpSpPr>
            <p:cNvPr id="44" name="Group 43">
              <a:extLst>
                <a:ext uri="{FF2B5EF4-FFF2-40B4-BE49-F238E27FC236}">
                  <a16:creationId xmlns:a16="http://schemas.microsoft.com/office/drawing/2014/main" id="{3BE284E7-ACD6-4D6A-ACE3-E56AB944CB2C}"/>
                </a:ext>
              </a:extLst>
            </p:cNvPr>
            <p:cNvGrpSpPr/>
            <p:nvPr/>
          </p:nvGrpSpPr>
          <p:grpSpPr>
            <a:xfrm>
              <a:off x="5343776" y="3009474"/>
              <a:ext cx="753167" cy="92688"/>
              <a:chOff x="2066925" y="1998761"/>
              <a:chExt cx="1224078" cy="122739"/>
            </a:xfrm>
          </p:grpSpPr>
          <p:cxnSp>
            <p:nvCxnSpPr>
              <p:cNvPr id="45" name="Straight Connector 44">
                <a:extLst>
                  <a:ext uri="{FF2B5EF4-FFF2-40B4-BE49-F238E27FC236}">
                    <a16:creationId xmlns:a16="http://schemas.microsoft.com/office/drawing/2014/main" id="{40F07358-9F4F-4D64-9FA7-E145280D5D83}"/>
                  </a:ext>
                </a:extLst>
              </p:cNvPr>
              <p:cNvCxnSpPr>
                <a:cxnSpLocks/>
              </p:cNvCxnSpPr>
              <p:nvPr/>
            </p:nvCxnSpPr>
            <p:spPr>
              <a:xfrm flipV="1">
                <a:off x="2066925" y="1998773"/>
                <a:ext cx="0" cy="122709"/>
              </a:xfrm>
              <a:prstGeom prst="line">
                <a:avLst/>
              </a:prstGeom>
              <a:noFill/>
              <a:ln w="6350" cap="flat" cmpd="sng" algn="ctr">
                <a:solidFill>
                  <a:srgbClr val="4C4C4C"/>
                </a:solidFill>
                <a:prstDash val="solid"/>
                <a:miter lim="800000"/>
              </a:ln>
              <a:effectLst/>
            </p:spPr>
          </p:cxnSp>
          <p:cxnSp>
            <p:nvCxnSpPr>
              <p:cNvPr id="46" name="Straight Connector 45">
                <a:extLst>
                  <a:ext uri="{FF2B5EF4-FFF2-40B4-BE49-F238E27FC236}">
                    <a16:creationId xmlns:a16="http://schemas.microsoft.com/office/drawing/2014/main" id="{D9817FE0-3866-4F36-AE55-5F4BFE6DEBDA}"/>
                  </a:ext>
                </a:extLst>
              </p:cNvPr>
              <p:cNvCxnSpPr>
                <a:cxnSpLocks/>
              </p:cNvCxnSpPr>
              <p:nvPr/>
            </p:nvCxnSpPr>
            <p:spPr>
              <a:xfrm flipV="1">
                <a:off x="3291003" y="1998785"/>
                <a:ext cx="0" cy="122715"/>
              </a:xfrm>
              <a:prstGeom prst="line">
                <a:avLst/>
              </a:prstGeom>
              <a:noFill/>
              <a:ln w="6350" cap="flat" cmpd="sng" algn="ctr">
                <a:solidFill>
                  <a:srgbClr val="4C4C4C"/>
                </a:solidFill>
                <a:prstDash val="solid"/>
                <a:miter lim="800000"/>
              </a:ln>
              <a:effectLst/>
            </p:spPr>
          </p:cxnSp>
          <p:cxnSp>
            <p:nvCxnSpPr>
              <p:cNvPr id="47" name="Straight Connector 46">
                <a:extLst>
                  <a:ext uri="{FF2B5EF4-FFF2-40B4-BE49-F238E27FC236}">
                    <a16:creationId xmlns:a16="http://schemas.microsoft.com/office/drawing/2014/main" id="{C8F5EC45-8E6F-4B35-A4E0-8D3C247DB4C2}"/>
                  </a:ext>
                </a:extLst>
              </p:cNvPr>
              <p:cNvCxnSpPr>
                <a:cxnSpLocks/>
              </p:cNvCxnSpPr>
              <p:nvPr/>
            </p:nvCxnSpPr>
            <p:spPr>
              <a:xfrm flipH="1">
                <a:off x="2066925" y="1998761"/>
                <a:ext cx="1224078" cy="1"/>
              </a:xfrm>
              <a:prstGeom prst="line">
                <a:avLst/>
              </a:prstGeom>
              <a:noFill/>
              <a:ln w="6350" cap="flat" cmpd="sng" algn="ctr">
                <a:solidFill>
                  <a:srgbClr val="4C4C4C"/>
                </a:solidFill>
                <a:prstDash val="solid"/>
                <a:miter lim="800000"/>
              </a:ln>
              <a:effectLst/>
            </p:spPr>
          </p:cxnSp>
        </p:grpSp>
        <p:grpSp>
          <p:nvGrpSpPr>
            <p:cNvPr id="48" name="Group 47">
              <a:extLst>
                <a:ext uri="{FF2B5EF4-FFF2-40B4-BE49-F238E27FC236}">
                  <a16:creationId xmlns:a16="http://schemas.microsoft.com/office/drawing/2014/main" id="{CD7C3370-6FCF-4E77-80A8-A9937456FA7B}"/>
                </a:ext>
              </a:extLst>
            </p:cNvPr>
            <p:cNvGrpSpPr/>
            <p:nvPr/>
          </p:nvGrpSpPr>
          <p:grpSpPr>
            <a:xfrm>
              <a:off x="7007191" y="3009474"/>
              <a:ext cx="753167" cy="92688"/>
              <a:chOff x="2066925" y="1998761"/>
              <a:chExt cx="1224078" cy="122739"/>
            </a:xfrm>
          </p:grpSpPr>
          <p:cxnSp>
            <p:nvCxnSpPr>
              <p:cNvPr id="49" name="Straight Connector 48">
                <a:extLst>
                  <a:ext uri="{FF2B5EF4-FFF2-40B4-BE49-F238E27FC236}">
                    <a16:creationId xmlns:a16="http://schemas.microsoft.com/office/drawing/2014/main" id="{95031326-CF6E-4662-BC90-105B70F4E619}"/>
                  </a:ext>
                </a:extLst>
              </p:cNvPr>
              <p:cNvCxnSpPr>
                <a:cxnSpLocks/>
              </p:cNvCxnSpPr>
              <p:nvPr/>
            </p:nvCxnSpPr>
            <p:spPr>
              <a:xfrm flipV="1">
                <a:off x="2066925" y="1998773"/>
                <a:ext cx="0" cy="122709"/>
              </a:xfrm>
              <a:prstGeom prst="line">
                <a:avLst/>
              </a:prstGeom>
              <a:noFill/>
              <a:ln w="6350" cap="flat" cmpd="sng" algn="ctr">
                <a:solidFill>
                  <a:srgbClr val="4C4C4C"/>
                </a:solidFill>
                <a:prstDash val="solid"/>
                <a:miter lim="800000"/>
              </a:ln>
              <a:effectLst/>
            </p:spPr>
          </p:cxnSp>
          <p:cxnSp>
            <p:nvCxnSpPr>
              <p:cNvPr id="50" name="Straight Connector 49">
                <a:extLst>
                  <a:ext uri="{FF2B5EF4-FFF2-40B4-BE49-F238E27FC236}">
                    <a16:creationId xmlns:a16="http://schemas.microsoft.com/office/drawing/2014/main" id="{E70E81F9-0772-47A8-8198-240030C7CCFA}"/>
                  </a:ext>
                </a:extLst>
              </p:cNvPr>
              <p:cNvCxnSpPr>
                <a:cxnSpLocks/>
              </p:cNvCxnSpPr>
              <p:nvPr/>
            </p:nvCxnSpPr>
            <p:spPr>
              <a:xfrm flipV="1">
                <a:off x="3291003" y="1998785"/>
                <a:ext cx="0" cy="122715"/>
              </a:xfrm>
              <a:prstGeom prst="line">
                <a:avLst/>
              </a:prstGeom>
              <a:noFill/>
              <a:ln w="6350" cap="flat" cmpd="sng" algn="ctr">
                <a:solidFill>
                  <a:srgbClr val="4C4C4C"/>
                </a:solidFill>
                <a:prstDash val="solid"/>
                <a:miter lim="800000"/>
              </a:ln>
              <a:effectLst/>
            </p:spPr>
          </p:cxnSp>
          <p:cxnSp>
            <p:nvCxnSpPr>
              <p:cNvPr id="51" name="Straight Connector 50">
                <a:extLst>
                  <a:ext uri="{FF2B5EF4-FFF2-40B4-BE49-F238E27FC236}">
                    <a16:creationId xmlns:a16="http://schemas.microsoft.com/office/drawing/2014/main" id="{B4FE288F-C5D8-426D-9971-A6678E1EE719}"/>
                  </a:ext>
                </a:extLst>
              </p:cNvPr>
              <p:cNvCxnSpPr>
                <a:cxnSpLocks/>
              </p:cNvCxnSpPr>
              <p:nvPr/>
            </p:nvCxnSpPr>
            <p:spPr>
              <a:xfrm flipH="1">
                <a:off x="2066925" y="1998761"/>
                <a:ext cx="1224078" cy="1"/>
              </a:xfrm>
              <a:prstGeom prst="line">
                <a:avLst/>
              </a:prstGeom>
              <a:noFill/>
              <a:ln w="6350" cap="flat" cmpd="sng" algn="ctr">
                <a:solidFill>
                  <a:srgbClr val="4C4C4C"/>
                </a:solidFill>
                <a:prstDash val="solid"/>
                <a:miter lim="800000"/>
              </a:ln>
              <a:effectLst/>
            </p:spPr>
          </p:cxnSp>
        </p:grpSp>
        <p:sp>
          <p:nvSpPr>
            <p:cNvPr id="40" name="TextBox 39">
              <a:extLst>
                <a:ext uri="{FF2B5EF4-FFF2-40B4-BE49-F238E27FC236}">
                  <a16:creationId xmlns:a16="http://schemas.microsoft.com/office/drawing/2014/main" id="{56A318D3-00D5-4E8E-A97A-FAB2BCFCEB9F}"/>
                </a:ext>
              </a:extLst>
            </p:cNvPr>
            <p:cNvSpPr txBox="1"/>
            <p:nvPr/>
          </p:nvSpPr>
          <p:spPr>
            <a:xfrm>
              <a:off x="7838884" y="2540456"/>
              <a:ext cx="1128835" cy="835228"/>
            </a:xfrm>
            <a:prstGeom prst="rect">
              <a:avLst/>
            </a:prstGeom>
            <a:noFill/>
          </p:spPr>
          <p:txBody>
            <a:bodyPr wrap="square" rtlCol="0">
              <a:spAutoFit/>
            </a:bodyPr>
            <a:lstStyle/>
            <a:p>
              <a:pPr marL="0" marR="0" lvl="0" indent="0" algn="ctr" defTabSz="289339" rtl="0" eaLnBrk="0" fontAlgn="base" latinLnBrk="0" hangingPunct="0">
                <a:lnSpc>
                  <a:spcPct val="100000"/>
                </a:lnSpc>
                <a:spcBef>
                  <a:spcPct val="20000"/>
                </a:spcBef>
                <a:spcAft>
                  <a:spcPct val="0"/>
                </a:spcAft>
                <a:buClrTx/>
                <a:buSzTx/>
                <a:buFontTx/>
                <a:buNone/>
                <a:tabLst/>
                <a:defRPr/>
              </a:pPr>
              <a:r>
                <a:rPr kumimoji="0" lang="en-US" sz="886" b="1" i="0" u="none" strike="noStrike" kern="1200" cap="none" spc="0" normalizeH="0" baseline="0" noProof="0">
                  <a:ln>
                    <a:noFill/>
                  </a:ln>
                  <a:solidFill>
                    <a:srgbClr val="4C4C4C"/>
                  </a:solidFill>
                  <a:effectLst/>
                  <a:uLnTx/>
                  <a:uFillTx/>
                  <a:latin typeface="Arial" panose="020B0604020202020204"/>
                  <a:ea typeface="+mn-ea"/>
                  <a:cs typeface="+mn-cs"/>
                </a:rPr>
                <a:t>Odds ratio </a:t>
              </a:r>
            </a:p>
            <a:p>
              <a:pPr marL="0" marR="0" lvl="0" indent="0" algn="ctr" defTabSz="289339" rtl="0" eaLnBrk="0" fontAlgn="base" latinLnBrk="0" hangingPunct="0">
                <a:lnSpc>
                  <a:spcPct val="100000"/>
                </a:lnSpc>
                <a:spcBef>
                  <a:spcPct val="20000"/>
                </a:spcBef>
                <a:spcAft>
                  <a:spcPct val="0"/>
                </a:spcAft>
                <a:buClrTx/>
                <a:buSzTx/>
                <a:buFontTx/>
                <a:buNone/>
                <a:tabLst/>
                <a:defRPr/>
              </a:pPr>
              <a:r>
                <a:rPr kumimoji="0" lang="en-US" sz="886" b="1" i="0" u="none" strike="noStrike" kern="1200" cap="none" spc="0" normalizeH="0" baseline="0" noProof="0">
                  <a:ln>
                    <a:noFill/>
                  </a:ln>
                  <a:solidFill>
                    <a:srgbClr val="4C4C4C"/>
                  </a:solidFill>
                  <a:effectLst/>
                  <a:uLnTx/>
                  <a:uFillTx/>
                  <a:latin typeface="Arial" panose="020B0604020202020204"/>
                  <a:ea typeface="+mn-ea"/>
                  <a:cs typeface="+mn-cs"/>
                </a:rPr>
                <a:t>(95% CI)</a:t>
              </a:r>
              <a:endParaRPr kumimoji="0" lang="en-US" sz="886" b="1" i="0" u="none" strike="noStrike" kern="1200" cap="none" spc="0" normalizeH="0" baseline="30000" noProof="0">
                <a:ln>
                  <a:noFill/>
                </a:ln>
                <a:solidFill>
                  <a:srgbClr val="4C4C4C"/>
                </a:solidFill>
                <a:effectLst/>
                <a:uLnTx/>
                <a:uFillTx/>
                <a:latin typeface="Arial" panose="020B0604020202020204"/>
                <a:ea typeface="+mn-ea"/>
                <a:cs typeface="+mn-cs"/>
              </a:endParaRPr>
            </a:p>
          </p:txBody>
        </p:sp>
      </p:grpSp>
      <p:sp>
        <p:nvSpPr>
          <p:cNvPr id="35" name="Marcador de texto 7">
            <a:extLst>
              <a:ext uri="{FF2B5EF4-FFF2-40B4-BE49-F238E27FC236}">
                <a16:creationId xmlns:a16="http://schemas.microsoft.com/office/drawing/2014/main" id="{51D33EFD-1689-41A6-9DE5-E6C5CD145DB1}"/>
              </a:ext>
            </a:extLst>
          </p:cNvPr>
          <p:cNvSpPr txBox="1">
            <a:spLocks/>
          </p:cNvSpPr>
          <p:nvPr/>
        </p:nvSpPr>
        <p:spPr>
          <a:xfrm>
            <a:off x="2618697" y="4827721"/>
            <a:ext cx="6274836" cy="235679"/>
          </a:xfrm>
          <a:prstGeom prst="rect">
            <a:avLst/>
          </a:prstGeom>
        </p:spPr>
        <p:txBody>
          <a:bodyPr vert="horz" wrap="square" lIns="0" tIns="0" rIns="0" bIns="81000" spcCol="301752" rtlCol="0" anchor="b">
            <a:spAutoFit/>
          </a:bodyPr>
          <a:lstStyle>
            <a:lvl1pPr marL="0" indent="0" algn="l" defTabSz="771525" rtl="0" eaLnBrk="1" latinLnBrk="0" hangingPunct="1">
              <a:lnSpc>
                <a:spcPct val="100000"/>
              </a:lnSpc>
              <a:spcBef>
                <a:spcPts val="0"/>
              </a:spcBef>
              <a:buFont typeface="Trebuchet MS" panose="020B0603020202020204" pitchFamily="34" charset="0"/>
              <a:buNone/>
              <a:defRPr sz="844" kern="1200">
                <a:solidFill>
                  <a:schemeClr val="tx1"/>
                </a:solidFill>
                <a:latin typeface="+mn-lt"/>
                <a:ea typeface="+mn-ea"/>
                <a:cs typeface="+mn-cs"/>
              </a:defRPr>
            </a:lvl1pPr>
            <a:lvl2pPr marL="385763"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2pPr>
            <a:lvl3pPr marL="578644"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3pPr>
            <a:lvl4pPr marL="771525"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4pPr>
            <a:lvl5pPr marL="964406"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5pPr>
            <a:lvl6pPr marL="1157288"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6pPr>
            <a:lvl7pPr marL="1350169"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7pPr>
            <a:lvl8pPr marL="1543050"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8pPr>
            <a:lvl9pPr marL="1735931"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9pPr>
          </a:lstStyle>
          <a:p>
            <a:pPr marL="0" marR="0" lvl="0" indent="0" algn="r" defTabSz="771525"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000" b="0" i="0" u="none" strike="noStrike" kern="0" cap="none" spc="-30" normalizeH="0" baseline="0" noProof="0">
                <a:ln>
                  <a:noFill/>
                </a:ln>
                <a:solidFill>
                  <a:srgbClr val="000020"/>
                </a:solidFill>
                <a:effectLst/>
                <a:uLnTx/>
                <a:uFillTx/>
                <a:latin typeface="Trebuchet MS"/>
                <a:ea typeface="ＭＳ Ｐゴシック" charset="-128"/>
              </a:rPr>
              <a:t>Rosiñol Dachs L, </a:t>
            </a: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et al. </a:t>
            </a:r>
            <a:r>
              <a:rPr kumimoji="0" lang="en-US" sz="1000" b="0" i="1" u="none" strike="noStrike" kern="1200" cap="none" spc="0" normalizeH="0" baseline="0" noProof="0">
                <a:ln>
                  <a:noFill/>
                </a:ln>
                <a:solidFill>
                  <a:srgbClr val="1A1A1A"/>
                </a:solidFill>
                <a:effectLst/>
                <a:uLnTx/>
                <a:uFillTx/>
                <a:latin typeface="Trebuchet MS"/>
                <a:ea typeface="+mn-ea"/>
                <a:cs typeface="+mn-cs"/>
              </a:rPr>
              <a:t>Blood.</a:t>
            </a:r>
            <a:r>
              <a:rPr kumimoji="0" lang="en-US" sz="1000" b="0" i="0" u="none" strike="noStrike" kern="1200" cap="none" spc="0" normalizeH="0" baseline="0" noProof="0">
                <a:ln>
                  <a:noFill/>
                </a:ln>
                <a:solidFill>
                  <a:srgbClr val="1A1A1A"/>
                </a:solidFill>
                <a:effectLst/>
                <a:uLnTx/>
                <a:uFillTx/>
                <a:latin typeface="Trebuchet MS"/>
                <a:ea typeface="+mn-ea"/>
                <a:cs typeface="+mn-cs"/>
              </a:rPr>
              <a:t> 2018;132(suppl 1): abstract 3245.</a:t>
            </a:r>
            <a:endPar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endParaRPr>
          </a:p>
        </p:txBody>
      </p:sp>
    </p:spTree>
    <p:extLst>
      <p:ext uri="{BB962C8B-B14F-4D97-AF65-F5344CB8AC3E}">
        <p14:creationId xmlns:p14="http://schemas.microsoft.com/office/powerpoint/2010/main" val="114598285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altLang="en-US" noProof="0">
                <a:solidFill>
                  <a:srgbClr val="595454"/>
                </a:solidFill>
              </a:rPr>
              <a:t>≥VGPR rate through induction and post-ASCT in GEM studies</a:t>
            </a:r>
            <a:br>
              <a:rPr lang="en-US" altLang="en-US" cap="none" baseline="30000" noProof="0">
                <a:solidFill>
                  <a:srgbClr val="595454"/>
                </a:solidFill>
              </a:rPr>
            </a:br>
            <a:r>
              <a:rPr lang="en-US" altLang="en-US" sz="1392" i="1" noProof="0">
                <a:solidFill>
                  <a:srgbClr val="595454"/>
                </a:solidFill>
              </a:rPr>
              <a:t>Secondary endpoint</a:t>
            </a:r>
            <a:endParaRPr lang="en-US" sz="1392" i="1" baseline="30000" noProof="0">
              <a:solidFill>
                <a:srgbClr val="595454"/>
              </a:solidFill>
            </a:endParaRPr>
          </a:p>
        </p:txBody>
      </p:sp>
      <p:sp>
        <p:nvSpPr>
          <p:cNvPr id="8" name="Content Placeholder 4">
            <a:extLst>
              <a:ext uri="{FF2B5EF4-FFF2-40B4-BE49-F238E27FC236}">
                <a16:creationId xmlns:a16="http://schemas.microsoft.com/office/drawing/2014/main" id="{FE706F98-357E-4FD9-8C40-5D2F8185A2E3}"/>
              </a:ext>
            </a:extLst>
          </p:cNvPr>
          <p:cNvSpPr txBox="1">
            <a:spLocks/>
          </p:cNvSpPr>
          <p:nvPr/>
        </p:nvSpPr>
        <p:spPr>
          <a:xfrm>
            <a:off x="325758" y="884057"/>
            <a:ext cx="7273231" cy="235629"/>
          </a:xfrm>
          <a:prstGeom prst="rect">
            <a:avLst/>
          </a:prstGeom>
        </p:spPr>
        <p:txBody>
          <a:bodyPr vert="horz" lIns="57865" tIns="28932" rIns="57865" bIns="28932" rtlCol="0">
            <a:noAutofit/>
          </a:bodyPr>
          <a:lstStyle>
            <a:lvl1pPr marL="177800" indent="-1778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rgbClr val="4C4C4C"/>
                </a:solidFill>
                <a:latin typeface="+mn-lt"/>
                <a:ea typeface="+mn-ea"/>
                <a:cs typeface="+mn-cs"/>
              </a:defRPr>
            </a:lvl1pPr>
            <a:lvl2pPr marL="487363" indent="-187325"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rgbClr val="4C4C4C"/>
                </a:solidFill>
                <a:latin typeface="+mn-lt"/>
                <a:ea typeface="+mn-ea"/>
                <a:cs typeface="+mn-cs"/>
              </a:defRPr>
            </a:lvl2pPr>
            <a:lvl3pPr marL="771525" indent="-13652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rgbClr val="4C4C4C"/>
                </a:solidFill>
                <a:latin typeface="+mn-lt"/>
                <a:ea typeface="+mn-ea"/>
                <a:cs typeface="+mn-cs"/>
              </a:defRPr>
            </a:lvl3pPr>
            <a:lvl4pPr marL="1028700" indent="-1778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rgbClr val="4C4C4C"/>
                </a:solidFill>
                <a:latin typeface="+mn-lt"/>
                <a:ea typeface="+mn-ea"/>
                <a:cs typeface="+mn-cs"/>
              </a:defRPr>
            </a:lvl4pPr>
            <a:lvl5pPr marL="1206500" indent="-1778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rgbClr val="4C4C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0" indent="-177800" algn="l" defTabSz="914400" rtl="0" eaLnBrk="1" fontAlgn="base" latinLnBrk="0" hangingPunct="1">
              <a:lnSpc>
                <a:spcPct val="90000"/>
              </a:lnSpc>
              <a:spcBef>
                <a:spcPts val="1000"/>
              </a:spcBef>
              <a:spcAft>
                <a:spcPct val="0"/>
              </a:spcAft>
              <a:buClr>
                <a:srgbClr val="595454"/>
              </a:buClr>
              <a:buSzTx/>
              <a:buFont typeface="Arial" panose="020B0604020202020204" pitchFamily="34" charset="0"/>
              <a:buChar char="•"/>
              <a:tabLst/>
              <a:defRPr/>
            </a:pPr>
            <a:r>
              <a:rPr kumimoji="0" lang="en-US" sz="1266" b="1" i="0" u="none" strike="noStrike" kern="1200" cap="none" spc="0" normalizeH="0" baseline="0" noProof="0">
                <a:ln>
                  <a:noFill/>
                </a:ln>
                <a:solidFill>
                  <a:srgbClr val="4C4C4C"/>
                </a:solidFill>
                <a:effectLst/>
                <a:uLnTx/>
                <a:uFillTx/>
                <a:latin typeface="Trebuchet MS"/>
                <a:ea typeface="+mn-ea"/>
                <a:cs typeface="+mn-cs"/>
              </a:rPr>
              <a:t>In the GEM studies, ≥VGPR rate increased during induction</a:t>
            </a:r>
          </a:p>
        </p:txBody>
      </p:sp>
      <p:graphicFrame>
        <p:nvGraphicFramePr>
          <p:cNvPr id="37" name="Chart 36">
            <a:extLst>
              <a:ext uri="{FF2B5EF4-FFF2-40B4-BE49-F238E27FC236}">
                <a16:creationId xmlns:a16="http://schemas.microsoft.com/office/drawing/2014/main" id="{5F8D6530-4B01-47FA-9910-C1349E31B72B}"/>
              </a:ext>
            </a:extLst>
          </p:cNvPr>
          <p:cNvGraphicFramePr/>
          <p:nvPr/>
        </p:nvGraphicFramePr>
        <p:xfrm>
          <a:off x="508883" y="1224227"/>
          <a:ext cx="8261406" cy="3035216"/>
        </p:xfrm>
        <a:graphic>
          <a:graphicData uri="http://schemas.openxmlformats.org/drawingml/2006/chart">
            <c:chart xmlns:c="http://schemas.openxmlformats.org/drawingml/2006/chart" xmlns:r="http://schemas.openxmlformats.org/officeDocument/2006/relationships" r:id="rId3"/>
          </a:graphicData>
        </a:graphic>
      </p:graphicFrame>
      <p:sp>
        <p:nvSpPr>
          <p:cNvPr id="6" name="Content Placeholder 4">
            <a:extLst>
              <a:ext uri="{FF2B5EF4-FFF2-40B4-BE49-F238E27FC236}">
                <a16:creationId xmlns:a16="http://schemas.microsoft.com/office/drawing/2014/main" id="{C7621487-B9B6-467B-9D7E-A0A76D229043}"/>
              </a:ext>
            </a:extLst>
          </p:cNvPr>
          <p:cNvSpPr txBox="1">
            <a:spLocks/>
          </p:cNvSpPr>
          <p:nvPr/>
        </p:nvSpPr>
        <p:spPr>
          <a:xfrm>
            <a:off x="647650" y="4302090"/>
            <a:ext cx="7694404" cy="235629"/>
          </a:xfrm>
          <a:prstGeom prst="rect">
            <a:avLst/>
          </a:prstGeom>
        </p:spPr>
        <p:txBody>
          <a:bodyPr vert="horz" lIns="57865" tIns="28932" rIns="57865" bIns="28932" rtlCol="0">
            <a:noAutofit/>
          </a:bodyPr>
          <a:lstStyle>
            <a:lvl1pPr marL="177800" indent="-1778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rgbClr val="4C4C4C"/>
                </a:solidFill>
                <a:latin typeface="+mn-lt"/>
                <a:ea typeface="+mn-ea"/>
                <a:cs typeface="+mn-cs"/>
              </a:defRPr>
            </a:lvl1pPr>
            <a:lvl2pPr marL="487363" indent="-187325"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rgbClr val="4C4C4C"/>
                </a:solidFill>
                <a:latin typeface="+mn-lt"/>
                <a:ea typeface="+mn-ea"/>
                <a:cs typeface="+mn-cs"/>
              </a:defRPr>
            </a:lvl2pPr>
            <a:lvl3pPr marL="771525" indent="-13652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rgbClr val="4C4C4C"/>
                </a:solidFill>
                <a:latin typeface="+mn-lt"/>
                <a:ea typeface="+mn-ea"/>
                <a:cs typeface="+mn-cs"/>
              </a:defRPr>
            </a:lvl3pPr>
            <a:lvl4pPr marL="1028700" indent="-1778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rgbClr val="4C4C4C"/>
                </a:solidFill>
                <a:latin typeface="+mn-lt"/>
                <a:ea typeface="+mn-ea"/>
                <a:cs typeface="+mn-cs"/>
              </a:defRPr>
            </a:lvl4pPr>
            <a:lvl5pPr marL="1206500" indent="-1778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rgbClr val="4C4C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
                <a:srgbClr val="595454"/>
              </a:buClr>
              <a:buSzTx/>
              <a:buFont typeface="Arial" panose="020B0604020202020204" pitchFamily="34" charset="0"/>
              <a:buNone/>
              <a:tabLst/>
              <a:defRPr/>
            </a:pPr>
            <a:r>
              <a:rPr kumimoji="0" lang="en-US" sz="1013" b="1" i="0" u="none" strike="noStrike" kern="1200" cap="none" spc="0" normalizeH="0" baseline="0" noProof="0">
                <a:ln>
                  <a:noFill/>
                </a:ln>
                <a:solidFill>
                  <a:srgbClr val="4C4C4C"/>
                </a:solidFill>
                <a:effectLst/>
                <a:uLnTx/>
                <a:uFillTx/>
                <a:latin typeface="Trebuchet MS"/>
                <a:ea typeface="+mn-ea"/>
                <a:cs typeface="+mn-cs"/>
              </a:rPr>
              <a:t>Data are based on the 378 VRD and 111 VTD patients who started cycle 6 in the GEM2012 and GEM2005 studies, respectively.</a:t>
            </a:r>
          </a:p>
        </p:txBody>
      </p:sp>
      <p:sp>
        <p:nvSpPr>
          <p:cNvPr id="3" name="Text Placeholder 2">
            <a:extLst>
              <a:ext uri="{FF2B5EF4-FFF2-40B4-BE49-F238E27FC236}">
                <a16:creationId xmlns:a16="http://schemas.microsoft.com/office/drawing/2014/main" id="{1D89548C-9C3E-41EB-AD85-83AB74421717}"/>
              </a:ext>
            </a:extLst>
          </p:cNvPr>
          <p:cNvSpPr>
            <a:spLocks noGrp="1"/>
          </p:cNvSpPr>
          <p:nvPr>
            <p:ph type="body" sz="quarter" idx="13"/>
          </p:nvPr>
        </p:nvSpPr>
        <p:spPr/>
        <p:txBody>
          <a:bodyPr/>
          <a:lstStyle/>
          <a:p>
            <a:r>
              <a:rPr lang="en-US" noProof="0"/>
              <a:t> </a:t>
            </a:r>
          </a:p>
        </p:txBody>
      </p:sp>
      <p:sp>
        <p:nvSpPr>
          <p:cNvPr id="9" name="Marcador de texto 7">
            <a:extLst>
              <a:ext uri="{FF2B5EF4-FFF2-40B4-BE49-F238E27FC236}">
                <a16:creationId xmlns:a16="http://schemas.microsoft.com/office/drawing/2014/main" id="{1A7B558E-3039-4649-BD0F-B283FE2E4ED8}"/>
              </a:ext>
            </a:extLst>
          </p:cNvPr>
          <p:cNvSpPr txBox="1">
            <a:spLocks/>
          </p:cNvSpPr>
          <p:nvPr/>
        </p:nvSpPr>
        <p:spPr>
          <a:xfrm>
            <a:off x="2618697" y="4827721"/>
            <a:ext cx="6274836" cy="235679"/>
          </a:xfrm>
          <a:prstGeom prst="rect">
            <a:avLst/>
          </a:prstGeom>
        </p:spPr>
        <p:txBody>
          <a:bodyPr vert="horz" wrap="square" lIns="0" tIns="0" rIns="0" bIns="81000" spcCol="301752" rtlCol="0" anchor="b">
            <a:spAutoFit/>
          </a:bodyPr>
          <a:lstStyle>
            <a:lvl1pPr marL="0" indent="0" algn="l" defTabSz="771525" rtl="0" eaLnBrk="1" latinLnBrk="0" hangingPunct="1">
              <a:lnSpc>
                <a:spcPct val="100000"/>
              </a:lnSpc>
              <a:spcBef>
                <a:spcPts val="0"/>
              </a:spcBef>
              <a:buFont typeface="Trebuchet MS" panose="020B0603020202020204" pitchFamily="34" charset="0"/>
              <a:buNone/>
              <a:defRPr sz="844" kern="1200">
                <a:solidFill>
                  <a:schemeClr val="tx1"/>
                </a:solidFill>
                <a:latin typeface="+mn-lt"/>
                <a:ea typeface="+mn-ea"/>
                <a:cs typeface="+mn-cs"/>
              </a:defRPr>
            </a:lvl1pPr>
            <a:lvl2pPr marL="385763"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2pPr>
            <a:lvl3pPr marL="578644"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3pPr>
            <a:lvl4pPr marL="771525"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4pPr>
            <a:lvl5pPr marL="964406"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5pPr>
            <a:lvl6pPr marL="1157288"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6pPr>
            <a:lvl7pPr marL="1350169"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7pPr>
            <a:lvl8pPr marL="1543050"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8pPr>
            <a:lvl9pPr marL="1735931"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9pPr>
          </a:lstStyle>
          <a:p>
            <a:pPr marL="0" marR="0" lvl="0" indent="0" algn="r" defTabSz="771525"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000" b="0" i="0" u="none" strike="noStrike" kern="0" cap="none" spc="-30" normalizeH="0" baseline="0" noProof="0">
                <a:ln>
                  <a:noFill/>
                </a:ln>
                <a:solidFill>
                  <a:srgbClr val="000020"/>
                </a:solidFill>
                <a:effectLst/>
                <a:uLnTx/>
                <a:uFillTx/>
                <a:latin typeface="Trebuchet MS"/>
                <a:ea typeface="ＭＳ Ｐゴシック" charset="-128"/>
              </a:rPr>
              <a:t>Rosiñol Dachs L, </a:t>
            </a: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et al. </a:t>
            </a:r>
            <a:r>
              <a:rPr kumimoji="0" lang="en-US" sz="1000" b="0" i="1" u="none" strike="noStrike" kern="1200" cap="none" spc="0" normalizeH="0" baseline="0" noProof="0">
                <a:ln>
                  <a:noFill/>
                </a:ln>
                <a:solidFill>
                  <a:srgbClr val="1A1A1A"/>
                </a:solidFill>
                <a:effectLst/>
                <a:uLnTx/>
                <a:uFillTx/>
                <a:latin typeface="Trebuchet MS"/>
                <a:ea typeface="+mn-ea"/>
                <a:cs typeface="+mn-cs"/>
              </a:rPr>
              <a:t>Blood.</a:t>
            </a:r>
            <a:r>
              <a:rPr kumimoji="0" lang="en-US" sz="1000" b="0" i="0" u="none" strike="noStrike" kern="1200" cap="none" spc="0" normalizeH="0" baseline="0" noProof="0">
                <a:ln>
                  <a:noFill/>
                </a:ln>
                <a:solidFill>
                  <a:srgbClr val="1A1A1A"/>
                </a:solidFill>
                <a:effectLst/>
                <a:uLnTx/>
                <a:uFillTx/>
                <a:latin typeface="Trebuchet MS"/>
                <a:ea typeface="+mn-ea"/>
                <a:cs typeface="+mn-cs"/>
              </a:rPr>
              <a:t> 2018;132(suppl 1): abstract 3245.</a:t>
            </a:r>
            <a:endPar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endParaRPr>
          </a:p>
        </p:txBody>
      </p:sp>
    </p:spTree>
    <p:extLst>
      <p:ext uri="{BB962C8B-B14F-4D97-AF65-F5344CB8AC3E}">
        <p14:creationId xmlns:p14="http://schemas.microsoft.com/office/powerpoint/2010/main" val="353720801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1" name="47 CuadroTexto"/>
          <p:cNvSpPr txBox="1">
            <a:spLocks noChangeArrowheads="1"/>
          </p:cNvSpPr>
          <p:nvPr/>
        </p:nvSpPr>
        <p:spPr bwMode="auto">
          <a:xfrm>
            <a:off x="183285" y="199040"/>
            <a:ext cx="8809640" cy="4047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charset="0"/>
                <a:ea typeface="ＭＳ Ｐゴシック" charset="0"/>
                <a:cs typeface="ＭＳ Ｐゴシック" charset="0"/>
              </a:defRPr>
            </a:lvl1pPr>
            <a:lvl2pPr marL="742950" indent="-285750" eaLnBrk="0" hangingPunct="0">
              <a:defRPr sz="2800" b="1">
                <a:solidFill>
                  <a:schemeClr val="tx1"/>
                </a:solidFill>
                <a:latin typeface="Arial" charset="0"/>
                <a:ea typeface="ＭＳ Ｐゴシック" charset="0"/>
              </a:defRPr>
            </a:lvl2pPr>
            <a:lvl3pPr marL="1143000" indent="-228600" eaLnBrk="0" hangingPunct="0">
              <a:defRPr sz="2800" b="1">
                <a:solidFill>
                  <a:schemeClr val="tx1"/>
                </a:solidFill>
                <a:latin typeface="Arial" charset="0"/>
                <a:ea typeface="ＭＳ Ｐゴシック" charset="0"/>
              </a:defRPr>
            </a:lvl3pPr>
            <a:lvl4pPr marL="1600200" indent="-228600" eaLnBrk="0" hangingPunct="0">
              <a:defRPr sz="2800" b="1">
                <a:solidFill>
                  <a:schemeClr val="tx1"/>
                </a:solidFill>
                <a:latin typeface="Arial" charset="0"/>
                <a:ea typeface="ＭＳ Ｐゴシック" charset="0"/>
              </a:defRPr>
            </a:lvl4pPr>
            <a:lvl5pPr marL="2057400" indent="-228600" eaLnBrk="0" hangingPunct="0">
              <a:defRPr sz="2800" b="1">
                <a:solidFill>
                  <a:schemeClr val="tx1"/>
                </a:solidFill>
                <a:latin typeface="Arial" charset="0"/>
                <a:ea typeface="ＭＳ Ｐゴシック" charset="0"/>
              </a:defRPr>
            </a:lvl5pPr>
            <a:lvl6pPr marL="2514600" indent="-228600" eaLnBrk="0" fontAlgn="base" hangingPunct="0">
              <a:spcBef>
                <a:spcPct val="0"/>
              </a:spcBef>
              <a:spcAft>
                <a:spcPct val="0"/>
              </a:spcAft>
              <a:defRPr sz="2800" b="1">
                <a:solidFill>
                  <a:schemeClr val="tx1"/>
                </a:solidFill>
                <a:latin typeface="Arial" charset="0"/>
                <a:ea typeface="ＭＳ Ｐゴシック" charset="0"/>
              </a:defRPr>
            </a:lvl6pPr>
            <a:lvl7pPr marL="2971800" indent="-228600" eaLnBrk="0" fontAlgn="base" hangingPunct="0">
              <a:spcBef>
                <a:spcPct val="0"/>
              </a:spcBef>
              <a:spcAft>
                <a:spcPct val="0"/>
              </a:spcAft>
              <a:defRPr sz="2800" b="1">
                <a:solidFill>
                  <a:schemeClr val="tx1"/>
                </a:solidFill>
                <a:latin typeface="Arial" charset="0"/>
                <a:ea typeface="ＭＳ Ｐゴシック" charset="0"/>
              </a:defRPr>
            </a:lvl7pPr>
            <a:lvl8pPr marL="3429000" indent="-228600" eaLnBrk="0" fontAlgn="base" hangingPunct="0">
              <a:spcBef>
                <a:spcPct val="0"/>
              </a:spcBef>
              <a:spcAft>
                <a:spcPct val="0"/>
              </a:spcAft>
              <a:defRPr sz="2800" b="1">
                <a:solidFill>
                  <a:schemeClr val="tx1"/>
                </a:solidFill>
                <a:latin typeface="Arial" charset="0"/>
                <a:ea typeface="ＭＳ Ｐゴシック" charset="0"/>
              </a:defRPr>
            </a:lvl8pPr>
            <a:lvl9pPr marL="3886200" indent="-228600" eaLnBrk="0" fontAlgn="base" hangingPunct="0">
              <a:spcBef>
                <a:spcPct val="0"/>
              </a:spcBef>
              <a:spcAft>
                <a:spcPct val="0"/>
              </a:spcAft>
              <a:defRPr sz="2800" b="1">
                <a:solidFill>
                  <a:schemeClr val="tx1"/>
                </a:solidFill>
                <a:latin typeface="Arial" charset="0"/>
                <a:ea typeface="ＭＳ Ｐゴシック"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30" b="1" i="0" u="none" strike="noStrike" kern="1200" cap="none" spc="0" normalizeH="0" baseline="0" noProof="0">
                <a:ln>
                  <a:noFill/>
                </a:ln>
                <a:solidFill>
                  <a:srgbClr val="595454"/>
                </a:solidFill>
                <a:effectLst/>
                <a:uLnTx/>
                <a:uFillTx/>
                <a:latin typeface="Trebuchet MS"/>
                <a:ea typeface="ＭＳ Ｐゴシック" charset="0"/>
                <a:cs typeface="Calibri"/>
              </a:rPr>
              <a:t>Progression-free survival according to next-generation flow MRD levels</a:t>
            </a:r>
          </a:p>
        </p:txBody>
      </p:sp>
      <p:grpSp>
        <p:nvGrpSpPr>
          <p:cNvPr id="2" name="Group 1">
            <a:extLst>
              <a:ext uri="{FF2B5EF4-FFF2-40B4-BE49-F238E27FC236}">
                <a16:creationId xmlns:a16="http://schemas.microsoft.com/office/drawing/2014/main" id="{DCB11E8A-C3F6-4996-8F98-069BD0824A9F}"/>
              </a:ext>
            </a:extLst>
          </p:cNvPr>
          <p:cNvGrpSpPr/>
          <p:nvPr/>
        </p:nvGrpSpPr>
        <p:grpSpPr>
          <a:xfrm>
            <a:off x="369850" y="1004541"/>
            <a:ext cx="5292401" cy="3110516"/>
            <a:chOff x="369850" y="1004541"/>
            <a:chExt cx="5292401" cy="3110516"/>
          </a:xfrm>
        </p:grpSpPr>
        <p:sp>
          <p:nvSpPr>
            <p:cNvPr id="199" name="TextBox 24">
              <a:extLst>
                <a:ext uri="{FF2B5EF4-FFF2-40B4-BE49-F238E27FC236}">
                  <a16:creationId xmlns:a16="http://schemas.microsoft.com/office/drawing/2014/main" id="{221689C0-41DB-4198-8DED-C1E54CE893DB}"/>
                </a:ext>
              </a:extLst>
            </p:cNvPr>
            <p:cNvSpPr txBox="1"/>
            <p:nvPr/>
          </p:nvSpPr>
          <p:spPr>
            <a:xfrm>
              <a:off x="1266697" y="3487205"/>
              <a:ext cx="3754946" cy="219289"/>
            </a:xfrm>
            <a:prstGeom prst="rect">
              <a:avLst/>
            </a:prstGeom>
            <a:noFill/>
          </p:spPr>
          <p:txBody>
            <a:bodyPr wrap="square" lIns="57148" tIns="28574" rIns="57148" bIns="28574">
              <a:spAutoFit/>
            </a:bodyPr>
            <a:lstStyle/>
            <a:p>
              <a:pPr marL="0" marR="0" lvl="0" indent="0" algn="ctr" defTabSz="32145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Calibri"/>
                  <a:ea typeface="+mn-ea"/>
                  <a:cs typeface="Calibri"/>
                </a:rPr>
                <a:t>Time from diagnosis (months)</a:t>
              </a:r>
            </a:p>
          </p:txBody>
        </p:sp>
        <p:sp>
          <p:nvSpPr>
            <p:cNvPr id="200" name="TextBox 23">
              <a:extLst>
                <a:ext uri="{FF2B5EF4-FFF2-40B4-BE49-F238E27FC236}">
                  <a16:creationId xmlns:a16="http://schemas.microsoft.com/office/drawing/2014/main" id="{FB6BC648-7ABC-4651-8A2B-64F9F1854282}"/>
                </a:ext>
              </a:extLst>
            </p:cNvPr>
            <p:cNvSpPr txBox="1"/>
            <p:nvPr/>
          </p:nvSpPr>
          <p:spPr>
            <a:xfrm rot="16200000">
              <a:off x="-334436" y="1991538"/>
              <a:ext cx="2224472" cy="256682"/>
            </a:xfrm>
            <a:prstGeom prst="rect">
              <a:avLst/>
            </a:prstGeom>
            <a:noFill/>
          </p:spPr>
          <p:txBody>
            <a:bodyPr wrap="square" lIns="57148" tIns="28574" rIns="57148" bIns="28574">
              <a:spAutoFit/>
            </a:bodyPr>
            <a:lstStyle/>
            <a:p>
              <a:pPr marL="0" marR="0" lvl="0" indent="0" algn="ctr" defTabSz="32145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Calibri"/>
                  <a:ea typeface="+mn-ea"/>
                  <a:cs typeface="Calibri"/>
                </a:rPr>
                <a:t>PFS (%)</a:t>
              </a:r>
            </a:p>
          </p:txBody>
        </p:sp>
        <p:cxnSp>
          <p:nvCxnSpPr>
            <p:cNvPr id="201" name="Conector recto 200">
              <a:extLst>
                <a:ext uri="{FF2B5EF4-FFF2-40B4-BE49-F238E27FC236}">
                  <a16:creationId xmlns:a16="http://schemas.microsoft.com/office/drawing/2014/main" id="{CB865BA6-9F34-4DEF-A134-5539EA73A446}"/>
                </a:ext>
              </a:extLst>
            </p:cNvPr>
            <p:cNvCxnSpPr/>
            <p:nvPr/>
          </p:nvCxnSpPr>
          <p:spPr>
            <a:xfrm>
              <a:off x="3062549" y="2863471"/>
              <a:ext cx="240056" cy="0"/>
            </a:xfrm>
            <a:prstGeom prst="line">
              <a:avLst/>
            </a:prstGeom>
            <a:noFill/>
            <a:ln w="28575" cap="flat" cmpd="sng" algn="ctr">
              <a:solidFill>
                <a:srgbClr val="004990"/>
              </a:solidFill>
              <a:prstDash val="solid"/>
            </a:ln>
            <a:effectLst/>
          </p:spPr>
        </p:cxnSp>
        <p:cxnSp>
          <p:nvCxnSpPr>
            <p:cNvPr id="202" name="Conector recto 201">
              <a:extLst>
                <a:ext uri="{FF2B5EF4-FFF2-40B4-BE49-F238E27FC236}">
                  <a16:creationId xmlns:a16="http://schemas.microsoft.com/office/drawing/2014/main" id="{B4411835-FD16-459A-A873-7EEBD53F5CDF}"/>
                </a:ext>
              </a:extLst>
            </p:cNvPr>
            <p:cNvCxnSpPr/>
            <p:nvPr/>
          </p:nvCxnSpPr>
          <p:spPr>
            <a:xfrm>
              <a:off x="3062549" y="3042935"/>
              <a:ext cx="240056" cy="0"/>
            </a:xfrm>
            <a:prstGeom prst="line">
              <a:avLst/>
            </a:prstGeom>
            <a:noFill/>
            <a:ln w="28575" cap="flat" cmpd="sng" algn="ctr">
              <a:solidFill>
                <a:srgbClr val="ED6CA5"/>
              </a:solidFill>
              <a:prstDash val="solid"/>
            </a:ln>
            <a:effectLst/>
          </p:spPr>
        </p:cxnSp>
        <p:sp>
          <p:nvSpPr>
            <p:cNvPr id="203" name="TextBox 24">
              <a:extLst>
                <a:ext uri="{FF2B5EF4-FFF2-40B4-BE49-F238E27FC236}">
                  <a16:creationId xmlns:a16="http://schemas.microsoft.com/office/drawing/2014/main" id="{7CA96A40-793D-40FC-BE5C-F72586C964BD}"/>
                </a:ext>
              </a:extLst>
            </p:cNvPr>
            <p:cNvSpPr txBox="1"/>
            <p:nvPr/>
          </p:nvSpPr>
          <p:spPr>
            <a:xfrm>
              <a:off x="3288455" y="2595027"/>
              <a:ext cx="2373796" cy="542455"/>
            </a:xfrm>
            <a:prstGeom prst="rect">
              <a:avLst/>
            </a:prstGeom>
            <a:noFill/>
          </p:spPr>
          <p:txBody>
            <a:bodyPr wrap="square" lIns="57148" tIns="28574" rIns="57148" bIns="28574">
              <a:spAutoFit/>
            </a:bodyPr>
            <a:lstStyle/>
            <a:p>
              <a:pPr marL="0" marR="0" lvl="0" indent="0" algn="l" defTabSz="321450" rtl="0" eaLnBrk="1" fontAlgn="auto" latinLnBrk="0" hangingPunct="1">
                <a:lnSpc>
                  <a:spcPct val="100000"/>
                </a:lnSpc>
                <a:spcBef>
                  <a:spcPts val="0"/>
                </a:spcBef>
                <a:spcAft>
                  <a:spcPts val="0"/>
                </a:spcAft>
                <a:buClrTx/>
                <a:buSzTx/>
                <a:buFontTx/>
                <a:buNone/>
                <a:tabLst>
                  <a:tab pos="807244" algn="l"/>
                  <a:tab pos="1746647" algn="l"/>
                </a:tabLst>
                <a:defRPr/>
              </a:pPr>
              <a:r>
                <a:rPr kumimoji="0" lang="en-US" sz="1050" b="1" i="0" u="none" strike="noStrike" kern="0" cap="none" spc="0" normalizeH="0" baseline="0" noProof="0">
                  <a:ln>
                    <a:noFill/>
                  </a:ln>
                  <a:solidFill>
                    <a:prstClr val="black"/>
                  </a:solidFill>
                  <a:effectLst/>
                  <a:uLnTx/>
                  <a:uFillTx/>
                  <a:latin typeface="Calibri"/>
                  <a:ea typeface="+mn-ea"/>
                  <a:cs typeface="Calibri"/>
                </a:rPr>
                <a:t>	Median PFS </a:t>
              </a:r>
            </a:p>
            <a:p>
              <a:pPr marL="0" marR="0" lvl="0" indent="0" algn="l" defTabSz="321450" rtl="0" eaLnBrk="1" fontAlgn="auto" latinLnBrk="0" hangingPunct="1">
                <a:lnSpc>
                  <a:spcPct val="100000"/>
                </a:lnSpc>
                <a:spcBef>
                  <a:spcPts val="0"/>
                </a:spcBef>
                <a:spcAft>
                  <a:spcPts val="0"/>
                </a:spcAft>
                <a:buClrTx/>
                <a:buSzTx/>
                <a:buFontTx/>
                <a:buNone/>
                <a:tabLst>
                  <a:tab pos="807244" algn="l"/>
                  <a:tab pos="1746647" algn="l"/>
                </a:tabLst>
                <a:defRPr/>
              </a:pPr>
              <a:r>
                <a:rPr kumimoji="0" lang="en-US" sz="1050" b="1" i="0" u="none" strike="noStrike" kern="0" cap="none" spc="0" normalizeH="0" baseline="0" noProof="0">
                  <a:ln>
                    <a:noFill/>
                  </a:ln>
                  <a:solidFill>
                    <a:prstClr val="black"/>
                  </a:solidFill>
                  <a:effectLst/>
                  <a:uLnTx/>
                  <a:uFillTx/>
                  <a:latin typeface="Calibri"/>
                  <a:ea typeface="+mn-ea"/>
                  <a:cs typeface="Calibri"/>
                </a:rPr>
                <a:t>MRD negative        NR</a:t>
              </a:r>
            </a:p>
            <a:p>
              <a:pPr marL="0" marR="0" lvl="0" indent="0" algn="l" defTabSz="321450" rtl="0" eaLnBrk="1" fontAlgn="auto" latinLnBrk="0" hangingPunct="1">
                <a:lnSpc>
                  <a:spcPct val="100000"/>
                </a:lnSpc>
                <a:spcBef>
                  <a:spcPts val="0"/>
                </a:spcBef>
                <a:spcAft>
                  <a:spcPts val="0"/>
                </a:spcAft>
                <a:buClrTx/>
                <a:buSzTx/>
                <a:buFontTx/>
                <a:buNone/>
                <a:tabLst>
                  <a:tab pos="807244" algn="l"/>
                  <a:tab pos="1746647" algn="l"/>
                </a:tabLst>
                <a:defRPr/>
              </a:pPr>
              <a:r>
                <a:rPr kumimoji="0" lang="en-US" sz="1050" b="1" i="0" u="none" strike="noStrike" kern="0" cap="none" spc="0" normalizeH="0" baseline="0" noProof="0">
                  <a:ln>
                    <a:noFill/>
                  </a:ln>
                  <a:solidFill>
                    <a:prstClr val="black"/>
                  </a:solidFill>
                  <a:effectLst/>
                  <a:uLnTx/>
                  <a:uFillTx/>
                  <a:latin typeface="Calibri"/>
                  <a:ea typeface="+mn-ea"/>
                  <a:cs typeface="Calibri"/>
                </a:rPr>
                <a:t>MRD positive	       40 months</a:t>
              </a:r>
              <a:endParaRPr kumimoji="0" lang="en-US" sz="1050" b="1" i="0" u="none" strike="noStrike" kern="0" cap="none" spc="0" normalizeH="0" baseline="30000" noProof="0">
                <a:ln>
                  <a:noFill/>
                </a:ln>
                <a:solidFill>
                  <a:prstClr val="black"/>
                </a:solidFill>
                <a:effectLst/>
                <a:uLnTx/>
                <a:uFillTx/>
                <a:latin typeface="Calibri"/>
                <a:ea typeface="+mn-ea"/>
                <a:cs typeface="Calibri"/>
              </a:endParaRPr>
            </a:p>
          </p:txBody>
        </p:sp>
        <p:sp>
          <p:nvSpPr>
            <p:cNvPr id="204" name="TextBox 24">
              <a:extLst>
                <a:ext uri="{FF2B5EF4-FFF2-40B4-BE49-F238E27FC236}">
                  <a16:creationId xmlns:a16="http://schemas.microsoft.com/office/drawing/2014/main" id="{1926B980-F26A-41F9-ACF8-5B2C0024DEA9}"/>
                </a:ext>
              </a:extLst>
            </p:cNvPr>
            <p:cNvSpPr txBox="1"/>
            <p:nvPr/>
          </p:nvSpPr>
          <p:spPr>
            <a:xfrm>
              <a:off x="1278618" y="2945377"/>
              <a:ext cx="617312" cy="219289"/>
            </a:xfrm>
            <a:prstGeom prst="rect">
              <a:avLst/>
            </a:prstGeom>
            <a:noFill/>
          </p:spPr>
          <p:txBody>
            <a:bodyPr wrap="none" lIns="57148" tIns="28574" rIns="57148" bIns="28574">
              <a:spAutoFit/>
            </a:bodyPr>
            <a:lstStyle/>
            <a:p>
              <a:pPr marL="0" marR="0" lvl="0" indent="0" algn="l" defTabSz="321450" rtl="0" eaLnBrk="1" fontAlgn="auto" latinLnBrk="0" hangingPunct="1">
                <a:lnSpc>
                  <a:spcPct val="100000"/>
                </a:lnSpc>
                <a:spcBef>
                  <a:spcPts val="0"/>
                </a:spcBef>
                <a:spcAft>
                  <a:spcPts val="0"/>
                </a:spcAft>
                <a:buClrTx/>
                <a:buSzTx/>
                <a:buFontTx/>
                <a:buNone/>
                <a:tabLst/>
                <a:defRPr/>
              </a:pPr>
              <a:r>
                <a:rPr kumimoji="0" lang="nl-NL" sz="1050" b="1" i="1" u="none" strike="noStrike" kern="0" cap="none" spc="0" normalizeH="0" baseline="0" noProof="0">
                  <a:ln>
                    <a:noFill/>
                  </a:ln>
                  <a:solidFill>
                    <a:prstClr val="black"/>
                  </a:solidFill>
                  <a:effectLst/>
                  <a:uLnTx/>
                  <a:uFillTx/>
                  <a:latin typeface="Calibri"/>
                  <a:ea typeface="+mn-ea"/>
                  <a:cs typeface="Calibri"/>
                </a:rPr>
                <a:t>P </a:t>
              </a:r>
              <a:r>
                <a:rPr kumimoji="0" lang="en-US" sz="1050" b="1" i="0" u="none" strike="noStrike" kern="0" cap="none" spc="0" normalizeH="0" baseline="0" noProof="0">
                  <a:ln>
                    <a:noFill/>
                  </a:ln>
                  <a:solidFill>
                    <a:prstClr val="black"/>
                  </a:solidFill>
                  <a:effectLst/>
                  <a:uLnTx/>
                  <a:uFillTx/>
                  <a:latin typeface="Calibri"/>
                  <a:ea typeface="+mn-ea"/>
                  <a:cs typeface="Calibri"/>
                </a:rPr>
                <a:t>&lt;.001</a:t>
              </a:r>
              <a:endParaRPr kumimoji="0" lang="en-US" sz="1050" b="1" i="0" u="none" strike="noStrike" kern="0" cap="none" spc="0" normalizeH="0" baseline="30000" noProof="0">
                <a:ln>
                  <a:noFill/>
                </a:ln>
                <a:solidFill>
                  <a:prstClr val="black"/>
                </a:solidFill>
                <a:effectLst/>
                <a:uLnTx/>
                <a:uFillTx/>
                <a:latin typeface="Calibri"/>
                <a:ea typeface="+mn-ea"/>
                <a:cs typeface="Calibri"/>
              </a:endParaRPr>
            </a:p>
          </p:txBody>
        </p:sp>
        <p:grpSp>
          <p:nvGrpSpPr>
            <p:cNvPr id="205" name="Group 5"/>
            <p:cNvGrpSpPr/>
            <p:nvPr/>
          </p:nvGrpSpPr>
          <p:grpSpPr>
            <a:xfrm>
              <a:off x="1362560" y="1098428"/>
              <a:ext cx="3562870" cy="938475"/>
              <a:chOff x="2598325" y="1374503"/>
              <a:chExt cx="4274441" cy="1251298"/>
            </a:xfrm>
          </p:grpSpPr>
          <p:sp>
            <p:nvSpPr>
              <p:cNvPr id="206" name="Line 258">
                <a:extLst>
                  <a:ext uri="{FF2B5EF4-FFF2-40B4-BE49-F238E27FC236}">
                    <a16:creationId xmlns:a16="http://schemas.microsoft.com/office/drawing/2014/main" id="{7F42C14C-526F-4261-A610-F5BE8F47463B}"/>
                  </a:ext>
                </a:extLst>
              </p:cNvPr>
              <p:cNvSpPr>
                <a:spLocks noChangeShapeType="1"/>
              </p:cNvSpPr>
              <p:nvPr/>
            </p:nvSpPr>
            <p:spPr bwMode="auto">
              <a:xfrm>
                <a:off x="2598325" y="1374503"/>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07" name="Line 259">
                <a:extLst>
                  <a:ext uri="{FF2B5EF4-FFF2-40B4-BE49-F238E27FC236}">
                    <a16:creationId xmlns:a16="http://schemas.microsoft.com/office/drawing/2014/main" id="{B81520BD-13C2-4DF5-BFA8-DE266DA5A13F}"/>
                  </a:ext>
                </a:extLst>
              </p:cNvPr>
              <p:cNvSpPr>
                <a:spLocks noChangeShapeType="1"/>
              </p:cNvSpPr>
              <p:nvPr/>
            </p:nvSpPr>
            <p:spPr bwMode="auto">
              <a:xfrm>
                <a:off x="2703255" y="1374504"/>
                <a:ext cx="0" cy="18805"/>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08" name="Line 260">
                <a:extLst>
                  <a:ext uri="{FF2B5EF4-FFF2-40B4-BE49-F238E27FC236}">
                    <a16:creationId xmlns:a16="http://schemas.microsoft.com/office/drawing/2014/main" id="{7FA07D2F-0626-4C18-A664-1E5D0FC4BF12}"/>
                  </a:ext>
                </a:extLst>
              </p:cNvPr>
              <p:cNvSpPr>
                <a:spLocks noChangeShapeType="1"/>
              </p:cNvSpPr>
              <p:nvPr/>
            </p:nvSpPr>
            <p:spPr bwMode="auto">
              <a:xfrm>
                <a:off x="2703254" y="1393307"/>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09" name="Line 261">
                <a:extLst>
                  <a:ext uri="{FF2B5EF4-FFF2-40B4-BE49-F238E27FC236}">
                    <a16:creationId xmlns:a16="http://schemas.microsoft.com/office/drawing/2014/main" id="{273AEB73-F9FA-48C5-9B95-21D0B5B9D3D9}"/>
                  </a:ext>
                </a:extLst>
              </p:cNvPr>
              <p:cNvSpPr>
                <a:spLocks noChangeShapeType="1"/>
              </p:cNvSpPr>
              <p:nvPr/>
            </p:nvSpPr>
            <p:spPr bwMode="auto">
              <a:xfrm>
                <a:off x="2806205" y="1393308"/>
                <a:ext cx="0" cy="17095"/>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0" name="Line 262">
                <a:extLst>
                  <a:ext uri="{FF2B5EF4-FFF2-40B4-BE49-F238E27FC236}">
                    <a16:creationId xmlns:a16="http://schemas.microsoft.com/office/drawing/2014/main" id="{51401A3A-F31F-470D-A455-21E8FA54251D}"/>
                  </a:ext>
                </a:extLst>
              </p:cNvPr>
              <p:cNvSpPr>
                <a:spLocks noChangeShapeType="1"/>
              </p:cNvSpPr>
              <p:nvPr/>
            </p:nvSpPr>
            <p:spPr bwMode="auto">
              <a:xfrm>
                <a:off x="2806206" y="1410401"/>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1" name="Line 263">
                <a:extLst>
                  <a:ext uri="{FF2B5EF4-FFF2-40B4-BE49-F238E27FC236}">
                    <a16:creationId xmlns:a16="http://schemas.microsoft.com/office/drawing/2014/main" id="{9E19B080-F361-4B4B-BE4C-312A707D4F9E}"/>
                  </a:ext>
                </a:extLst>
              </p:cNvPr>
              <p:cNvSpPr>
                <a:spLocks noChangeShapeType="1"/>
              </p:cNvSpPr>
              <p:nvPr/>
            </p:nvSpPr>
            <p:spPr bwMode="auto">
              <a:xfrm>
                <a:off x="2911137" y="1410401"/>
                <a:ext cx="0" cy="27351"/>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2" name="Line 264">
                <a:extLst>
                  <a:ext uri="{FF2B5EF4-FFF2-40B4-BE49-F238E27FC236}">
                    <a16:creationId xmlns:a16="http://schemas.microsoft.com/office/drawing/2014/main" id="{FAFC7B45-FADF-4855-B781-57DB7C211969}"/>
                  </a:ext>
                </a:extLst>
              </p:cNvPr>
              <p:cNvSpPr>
                <a:spLocks noChangeShapeType="1"/>
              </p:cNvSpPr>
              <p:nvPr/>
            </p:nvSpPr>
            <p:spPr bwMode="auto">
              <a:xfrm>
                <a:off x="2911138" y="1437752"/>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3" name="Line 265">
                <a:extLst>
                  <a:ext uri="{FF2B5EF4-FFF2-40B4-BE49-F238E27FC236}">
                    <a16:creationId xmlns:a16="http://schemas.microsoft.com/office/drawing/2014/main" id="{265E1F12-4BDC-4FAD-8C27-B2400FBF759C}"/>
                  </a:ext>
                </a:extLst>
              </p:cNvPr>
              <p:cNvSpPr>
                <a:spLocks noChangeShapeType="1"/>
              </p:cNvSpPr>
              <p:nvPr/>
            </p:nvSpPr>
            <p:spPr bwMode="auto">
              <a:xfrm>
                <a:off x="3016067" y="1437754"/>
                <a:ext cx="0" cy="52993"/>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4" name="Line 266">
                <a:extLst>
                  <a:ext uri="{FF2B5EF4-FFF2-40B4-BE49-F238E27FC236}">
                    <a16:creationId xmlns:a16="http://schemas.microsoft.com/office/drawing/2014/main" id="{2A43F532-95A5-4455-B1E9-218750E3D105}"/>
                  </a:ext>
                </a:extLst>
              </p:cNvPr>
              <p:cNvSpPr>
                <a:spLocks noChangeShapeType="1"/>
              </p:cNvSpPr>
              <p:nvPr/>
            </p:nvSpPr>
            <p:spPr bwMode="auto">
              <a:xfrm>
                <a:off x="3016067" y="1490744"/>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5" name="Line 267">
                <a:extLst>
                  <a:ext uri="{FF2B5EF4-FFF2-40B4-BE49-F238E27FC236}">
                    <a16:creationId xmlns:a16="http://schemas.microsoft.com/office/drawing/2014/main" id="{06BF66D3-9DB8-4AD8-A1DF-04D7E134A4AF}"/>
                  </a:ext>
                </a:extLst>
              </p:cNvPr>
              <p:cNvSpPr>
                <a:spLocks noChangeShapeType="1"/>
              </p:cNvSpPr>
              <p:nvPr/>
            </p:nvSpPr>
            <p:spPr bwMode="auto">
              <a:xfrm>
                <a:off x="3119018" y="1490745"/>
                <a:ext cx="0" cy="17095"/>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6" name="Line 268">
                <a:extLst>
                  <a:ext uri="{FF2B5EF4-FFF2-40B4-BE49-F238E27FC236}">
                    <a16:creationId xmlns:a16="http://schemas.microsoft.com/office/drawing/2014/main" id="{B493198E-24E7-49D4-8A4D-15125BBD0302}"/>
                  </a:ext>
                </a:extLst>
              </p:cNvPr>
              <p:cNvSpPr>
                <a:spLocks noChangeShapeType="1"/>
              </p:cNvSpPr>
              <p:nvPr/>
            </p:nvSpPr>
            <p:spPr bwMode="auto">
              <a:xfrm>
                <a:off x="3119018" y="1507838"/>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7" name="Line 269">
                <a:extLst>
                  <a:ext uri="{FF2B5EF4-FFF2-40B4-BE49-F238E27FC236}">
                    <a16:creationId xmlns:a16="http://schemas.microsoft.com/office/drawing/2014/main" id="{426A1F5A-2F69-480D-AE1A-69B15348B13B}"/>
                  </a:ext>
                </a:extLst>
              </p:cNvPr>
              <p:cNvSpPr>
                <a:spLocks noChangeShapeType="1"/>
              </p:cNvSpPr>
              <p:nvPr/>
            </p:nvSpPr>
            <p:spPr bwMode="auto">
              <a:xfrm>
                <a:off x="3223948" y="1507839"/>
                <a:ext cx="0" cy="18805"/>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8" name="Line 270">
                <a:extLst>
                  <a:ext uri="{FF2B5EF4-FFF2-40B4-BE49-F238E27FC236}">
                    <a16:creationId xmlns:a16="http://schemas.microsoft.com/office/drawing/2014/main" id="{DA185F4A-FB60-40F5-B112-3353EC318B14}"/>
                  </a:ext>
                </a:extLst>
              </p:cNvPr>
              <p:cNvSpPr>
                <a:spLocks noChangeShapeType="1"/>
              </p:cNvSpPr>
              <p:nvPr/>
            </p:nvSpPr>
            <p:spPr bwMode="auto">
              <a:xfrm>
                <a:off x="3223949" y="1526642"/>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19" name="Line 271">
                <a:extLst>
                  <a:ext uri="{FF2B5EF4-FFF2-40B4-BE49-F238E27FC236}">
                    <a16:creationId xmlns:a16="http://schemas.microsoft.com/office/drawing/2014/main" id="{CD8F1D3A-E2E8-4DDE-A2E6-2FEAAE6CF58F}"/>
                  </a:ext>
                </a:extLst>
              </p:cNvPr>
              <p:cNvSpPr>
                <a:spLocks noChangeShapeType="1"/>
              </p:cNvSpPr>
              <p:nvPr/>
            </p:nvSpPr>
            <p:spPr bwMode="auto">
              <a:xfrm>
                <a:off x="3326900" y="1526644"/>
                <a:ext cx="0" cy="70087"/>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0" name="Line 272">
                <a:extLst>
                  <a:ext uri="{FF2B5EF4-FFF2-40B4-BE49-F238E27FC236}">
                    <a16:creationId xmlns:a16="http://schemas.microsoft.com/office/drawing/2014/main" id="{52DA909A-C323-473F-88C2-E1FF4BB55A7E}"/>
                  </a:ext>
                </a:extLst>
              </p:cNvPr>
              <p:cNvSpPr>
                <a:spLocks noChangeShapeType="1"/>
              </p:cNvSpPr>
              <p:nvPr/>
            </p:nvSpPr>
            <p:spPr bwMode="auto">
              <a:xfrm>
                <a:off x="3326901" y="1596728"/>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1" name="Line 273">
                <a:extLst>
                  <a:ext uri="{FF2B5EF4-FFF2-40B4-BE49-F238E27FC236}">
                    <a16:creationId xmlns:a16="http://schemas.microsoft.com/office/drawing/2014/main" id="{AC0DE33B-4CD5-4904-9EE8-105139252F84}"/>
                  </a:ext>
                </a:extLst>
              </p:cNvPr>
              <p:cNvSpPr>
                <a:spLocks noChangeShapeType="1"/>
              </p:cNvSpPr>
              <p:nvPr/>
            </p:nvSpPr>
            <p:spPr bwMode="auto">
              <a:xfrm>
                <a:off x="3431830" y="1596728"/>
                <a:ext cx="0" cy="71796"/>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2" name="Line 274">
                <a:extLst>
                  <a:ext uri="{FF2B5EF4-FFF2-40B4-BE49-F238E27FC236}">
                    <a16:creationId xmlns:a16="http://schemas.microsoft.com/office/drawing/2014/main" id="{3D73FEF2-DB31-4CD2-9941-6C7120745A07}"/>
                  </a:ext>
                </a:extLst>
              </p:cNvPr>
              <p:cNvSpPr>
                <a:spLocks noChangeShapeType="1"/>
              </p:cNvSpPr>
              <p:nvPr/>
            </p:nvSpPr>
            <p:spPr bwMode="auto">
              <a:xfrm>
                <a:off x="3431831" y="1668524"/>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3" name="Line 275">
                <a:extLst>
                  <a:ext uri="{FF2B5EF4-FFF2-40B4-BE49-F238E27FC236}">
                    <a16:creationId xmlns:a16="http://schemas.microsoft.com/office/drawing/2014/main" id="{9E5B989D-2FD7-49B2-8239-6026348E4DDF}"/>
                  </a:ext>
                </a:extLst>
              </p:cNvPr>
              <p:cNvSpPr>
                <a:spLocks noChangeShapeType="1"/>
              </p:cNvSpPr>
              <p:nvPr/>
            </p:nvSpPr>
            <p:spPr bwMode="auto">
              <a:xfrm>
                <a:off x="3536762" y="1668526"/>
                <a:ext cx="0" cy="80344"/>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4" name="Line 276">
                <a:extLst>
                  <a:ext uri="{FF2B5EF4-FFF2-40B4-BE49-F238E27FC236}">
                    <a16:creationId xmlns:a16="http://schemas.microsoft.com/office/drawing/2014/main" id="{637A0654-B49C-4F9C-A758-D7042539AB41}"/>
                  </a:ext>
                </a:extLst>
              </p:cNvPr>
              <p:cNvSpPr>
                <a:spLocks noChangeShapeType="1"/>
              </p:cNvSpPr>
              <p:nvPr/>
            </p:nvSpPr>
            <p:spPr bwMode="auto">
              <a:xfrm>
                <a:off x="3536761" y="1748867"/>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5" name="Line 277">
                <a:extLst>
                  <a:ext uri="{FF2B5EF4-FFF2-40B4-BE49-F238E27FC236}">
                    <a16:creationId xmlns:a16="http://schemas.microsoft.com/office/drawing/2014/main" id="{9809CBE3-86D8-4760-80E2-7183511A8F83}"/>
                  </a:ext>
                </a:extLst>
              </p:cNvPr>
              <p:cNvSpPr>
                <a:spLocks noChangeShapeType="1"/>
              </p:cNvSpPr>
              <p:nvPr/>
            </p:nvSpPr>
            <p:spPr bwMode="auto">
              <a:xfrm>
                <a:off x="3639712" y="1748868"/>
                <a:ext cx="0" cy="18805"/>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6" name="Line 278">
                <a:extLst>
                  <a:ext uri="{FF2B5EF4-FFF2-40B4-BE49-F238E27FC236}">
                    <a16:creationId xmlns:a16="http://schemas.microsoft.com/office/drawing/2014/main" id="{03AFA39D-2067-41EA-BB5F-BC910482E678}"/>
                  </a:ext>
                </a:extLst>
              </p:cNvPr>
              <p:cNvSpPr>
                <a:spLocks noChangeShapeType="1"/>
              </p:cNvSpPr>
              <p:nvPr/>
            </p:nvSpPr>
            <p:spPr bwMode="auto">
              <a:xfrm>
                <a:off x="3639713" y="1767670"/>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7" name="Line 279">
                <a:extLst>
                  <a:ext uri="{FF2B5EF4-FFF2-40B4-BE49-F238E27FC236}">
                    <a16:creationId xmlns:a16="http://schemas.microsoft.com/office/drawing/2014/main" id="{8E81651F-5454-44B4-8C42-6276C11BD039}"/>
                  </a:ext>
                </a:extLst>
              </p:cNvPr>
              <p:cNvSpPr>
                <a:spLocks noChangeShapeType="1"/>
              </p:cNvSpPr>
              <p:nvPr/>
            </p:nvSpPr>
            <p:spPr bwMode="auto">
              <a:xfrm>
                <a:off x="3744642" y="1767672"/>
                <a:ext cx="0" cy="8548"/>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8" name="Line 280">
                <a:extLst>
                  <a:ext uri="{FF2B5EF4-FFF2-40B4-BE49-F238E27FC236}">
                    <a16:creationId xmlns:a16="http://schemas.microsoft.com/office/drawing/2014/main" id="{4C619D5B-2E50-44F6-96CD-979E65114D01}"/>
                  </a:ext>
                </a:extLst>
              </p:cNvPr>
              <p:cNvSpPr>
                <a:spLocks noChangeShapeType="1"/>
              </p:cNvSpPr>
              <p:nvPr/>
            </p:nvSpPr>
            <p:spPr bwMode="auto">
              <a:xfrm>
                <a:off x="3744642" y="1776218"/>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29" name="Line 281">
                <a:extLst>
                  <a:ext uri="{FF2B5EF4-FFF2-40B4-BE49-F238E27FC236}">
                    <a16:creationId xmlns:a16="http://schemas.microsoft.com/office/drawing/2014/main" id="{3F2117B0-A24F-4E82-8942-D2ABB08B2A1F}"/>
                  </a:ext>
                </a:extLst>
              </p:cNvPr>
              <p:cNvSpPr>
                <a:spLocks noChangeShapeType="1"/>
              </p:cNvSpPr>
              <p:nvPr/>
            </p:nvSpPr>
            <p:spPr bwMode="auto">
              <a:xfrm>
                <a:off x="3849573" y="1776219"/>
                <a:ext cx="0" cy="17095"/>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0" name="Line 282">
                <a:extLst>
                  <a:ext uri="{FF2B5EF4-FFF2-40B4-BE49-F238E27FC236}">
                    <a16:creationId xmlns:a16="http://schemas.microsoft.com/office/drawing/2014/main" id="{800D978D-7760-453F-8954-998986C149E8}"/>
                  </a:ext>
                </a:extLst>
              </p:cNvPr>
              <p:cNvSpPr>
                <a:spLocks noChangeShapeType="1"/>
              </p:cNvSpPr>
              <p:nvPr/>
            </p:nvSpPr>
            <p:spPr bwMode="auto">
              <a:xfrm>
                <a:off x="3849573" y="1793312"/>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1" name="Line 283">
                <a:extLst>
                  <a:ext uri="{FF2B5EF4-FFF2-40B4-BE49-F238E27FC236}">
                    <a16:creationId xmlns:a16="http://schemas.microsoft.com/office/drawing/2014/main" id="{0B526BE8-E16D-423E-B0ED-509C3D591A97}"/>
                  </a:ext>
                </a:extLst>
              </p:cNvPr>
              <p:cNvSpPr>
                <a:spLocks noChangeShapeType="1"/>
              </p:cNvSpPr>
              <p:nvPr/>
            </p:nvSpPr>
            <p:spPr bwMode="auto">
              <a:xfrm>
                <a:off x="3952524" y="1793312"/>
                <a:ext cx="0" cy="27351"/>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2" name="Line 284">
                <a:extLst>
                  <a:ext uri="{FF2B5EF4-FFF2-40B4-BE49-F238E27FC236}">
                    <a16:creationId xmlns:a16="http://schemas.microsoft.com/office/drawing/2014/main" id="{309E15D8-A7D4-4E94-A355-B45404802AA0}"/>
                  </a:ext>
                </a:extLst>
              </p:cNvPr>
              <p:cNvSpPr>
                <a:spLocks noChangeShapeType="1"/>
              </p:cNvSpPr>
              <p:nvPr/>
            </p:nvSpPr>
            <p:spPr bwMode="auto">
              <a:xfrm>
                <a:off x="3952525" y="1820663"/>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3" name="Line 285">
                <a:extLst>
                  <a:ext uri="{FF2B5EF4-FFF2-40B4-BE49-F238E27FC236}">
                    <a16:creationId xmlns:a16="http://schemas.microsoft.com/office/drawing/2014/main" id="{2BE14E92-C8C8-43FD-9019-465AB46428F3}"/>
                  </a:ext>
                </a:extLst>
              </p:cNvPr>
              <p:cNvSpPr>
                <a:spLocks noChangeShapeType="1"/>
              </p:cNvSpPr>
              <p:nvPr/>
            </p:nvSpPr>
            <p:spPr bwMode="auto">
              <a:xfrm>
                <a:off x="4057454" y="1820664"/>
                <a:ext cx="0" cy="17095"/>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4" name="Line 286">
                <a:extLst>
                  <a:ext uri="{FF2B5EF4-FFF2-40B4-BE49-F238E27FC236}">
                    <a16:creationId xmlns:a16="http://schemas.microsoft.com/office/drawing/2014/main" id="{926FDB18-F321-4F9C-835C-65E63293A79E}"/>
                  </a:ext>
                </a:extLst>
              </p:cNvPr>
              <p:cNvSpPr>
                <a:spLocks noChangeShapeType="1"/>
              </p:cNvSpPr>
              <p:nvPr/>
            </p:nvSpPr>
            <p:spPr bwMode="auto">
              <a:xfrm>
                <a:off x="4057455" y="1837757"/>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5" name="Line 287">
                <a:extLst>
                  <a:ext uri="{FF2B5EF4-FFF2-40B4-BE49-F238E27FC236}">
                    <a16:creationId xmlns:a16="http://schemas.microsoft.com/office/drawing/2014/main" id="{CBE0F5C3-79E9-482C-85C2-0735622D81D1}"/>
                  </a:ext>
                </a:extLst>
              </p:cNvPr>
              <p:cNvSpPr>
                <a:spLocks noChangeShapeType="1"/>
              </p:cNvSpPr>
              <p:nvPr/>
            </p:nvSpPr>
            <p:spPr bwMode="auto">
              <a:xfrm>
                <a:off x="4162386" y="1837758"/>
                <a:ext cx="0" cy="18805"/>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6" name="Line 288">
                <a:extLst>
                  <a:ext uri="{FF2B5EF4-FFF2-40B4-BE49-F238E27FC236}">
                    <a16:creationId xmlns:a16="http://schemas.microsoft.com/office/drawing/2014/main" id="{3A0368AE-F0B4-4E35-9D0C-8AA65E526D9B}"/>
                  </a:ext>
                </a:extLst>
              </p:cNvPr>
              <p:cNvSpPr>
                <a:spLocks noChangeShapeType="1"/>
              </p:cNvSpPr>
              <p:nvPr/>
            </p:nvSpPr>
            <p:spPr bwMode="auto">
              <a:xfrm>
                <a:off x="4162385" y="1856560"/>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7" name="Line 289">
                <a:extLst>
                  <a:ext uri="{FF2B5EF4-FFF2-40B4-BE49-F238E27FC236}">
                    <a16:creationId xmlns:a16="http://schemas.microsoft.com/office/drawing/2014/main" id="{B47E7A8E-AB66-4CD6-8080-A0801F942099}"/>
                  </a:ext>
                </a:extLst>
              </p:cNvPr>
              <p:cNvSpPr>
                <a:spLocks noChangeShapeType="1"/>
              </p:cNvSpPr>
              <p:nvPr/>
            </p:nvSpPr>
            <p:spPr bwMode="auto">
              <a:xfrm>
                <a:off x="4265336" y="1856562"/>
                <a:ext cx="0" cy="18805"/>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8" name="Line 290">
                <a:extLst>
                  <a:ext uri="{FF2B5EF4-FFF2-40B4-BE49-F238E27FC236}">
                    <a16:creationId xmlns:a16="http://schemas.microsoft.com/office/drawing/2014/main" id="{F63658B0-C9DB-4463-A070-33BF26CA7A76}"/>
                  </a:ext>
                </a:extLst>
              </p:cNvPr>
              <p:cNvSpPr>
                <a:spLocks noChangeShapeType="1"/>
              </p:cNvSpPr>
              <p:nvPr/>
            </p:nvSpPr>
            <p:spPr bwMode="auto">
              <a:xfrm>
                <a:off x="4265337" y="1875365"/>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39" name="Line 291">
                <a:extLst>
                  <a:ext uri="{FF2B5EF4-FFF2-40B4-BE49-F238E27FC236}">
                    <a16:creationId xmlns:a16="http://schemas.microsoft.com/office/drawing/2014/main" id="{281E1D14-0F63-47A3-9BF7-D1581DD88AFF}"/>
                  </a:ext>
                </a:extLst>
              </p:cNvPr>
              <p:cNvSpPr>
                <a:spLocks noChangeShapeType="1"/>
              </p:cNvSpPr>
              <p:nvPr/>
            </p:nvSpPr>
            <p:spPr bwMode="auto">
              <a:xfrm>
                <a:off x="4370266" y="1875365"/>
                <a:ext cx="0" cy="47864"/>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0" name="Line 292">
                <a:extLst>
                  <a:ext uri="{FF2B5EF4-FFF2-40B4-BE49-F238E27FC236}">
                    <a16:creationId xmlns:a16="http://schemas.microsoft.com/office/drawing/2014/main" id="{A2B7D5AA-24BC-43BE-AC66-5EE1B31D9192}"/>
                  </a:ext>
                </a:extLst>
              </p:cNvPr>
              <p:cNvSpPr>
                <a:spLocks noChangeShapeType="1"/>
              </p:cNvSpPr>
              <p:nvPr/>
            </p:nvSpPr>
            <p:spPr bwMode="auto">
              <a:xfrm>
                <a:off x="4370266" y="1923228"/>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1" name="Line 293">
                <a:extLst>
                  <a:ext uri="{FF2B5EF4-FFF2-40B4-BE49-F238E27FC236}">
                    <a16:creationId xmlns:a16="http://schemas.microsoft.com/office/drawing/2014/main" id="{85BC5DE8-B8FD-4BD0-A975-AB3830863C47}"/>
                  </a:ext>
                </a:extLst>
              </p:cNvPr>
              <p:cNvSpPr>
                <a:spLocks noChangeShapeType="1"/>
              </p:cNvSpPr>
              <p:nvPr/>
            </p:nvSpPr>
            <p:spPr bwMode="auto">
              <a:xfrm>
                <a:off x="4475197" y="1923229"/>
                <a:ext cx="0" cy="8548"/>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2" name="Line 294">
                <a:extLst>
                  <a:ext uri="{FF2B5EF4-FFF2-40B4-BE49-F238E27FC236}">
                    <a16:creationId xmlns:a16="http://schemas.microsoft.com/office/drawing/2014/main" id="{46E5D22B-A0A6-4203-8D95-261D679324A4}"/>
                  </a:ext>
                </a:extLst>
              </p:cNvPr>
              <p:cNvSpPr>
                <a:spLocks noChangeShapeType="1"/>
              </p:cNvSpPr>
              <p:nvPr/>
            </p:nvSpPr>
            <p:spPr bwMode="auto">
              <a:xfrm>
                <a:off x="4475197" y="1931775"/>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3" name="Line 295">
                <a:extLst>
                  <a:ext uri="{FF2B5EF4-FFF2-40B4-BE49-F238E27FC236}">
                    <a16:creationId xmlns:a16="http://schemas.microsoft.com/office/drawing/2014/main" id="{671937A8-F259-40B9-A489-0F947DCC2FCC}"/>
                  </a:ext>
                </a:extLst>
              </p:cNvPr>
              <p:cNvSpPr>
                <a:spLocks noChangeShapeType="1"/>
              </p:cNvSpPr>
              <p:nvPr/>
            </p:nvSpPr>
            <p:spPr bwMode="auto">
              <a:xfrm>
                <a:off x="4578148" y="1931777"/>
                <a:ext cx="0" cy="20513"/>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4" name="Line 296">
                <a:extLst>
                  <a:ext uri="{FF2B5EF4-FFF2-40B4-BE49-F238E27FC236}">
                    <a16:creationId xmlns:a16="http://schemas.microsoft.com/office/drawing/2014/main" id="{3D765FF3-FD1A-4AC0-B15F-4F439D190E53}"/>
                  </a:ext>
                </a:extLst>
              </p:cNvPr>
              <p:cNvSpPr>
                <a:spLocks noChangeShapeType="1"/>
              </p:cNvSpPr>
              <p:nvPr/>
            </p:nvSpPr>
            <p:spPr bwMode="auto">
              <a:xfrm>
                <a:off x="4578149" y="1952288"/>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5" name="Line 297">
                <a:extLst>
                  <a:ext uri="{FF2B5EF4-FFF2-40B4-BE49-F238E27FC236}">
                    <a16:creationId xmlns:a16="http://schemas.microsoft.com/office/drawing/2014/main" id="{EA0B32FB-FD96-41CD-8AB9-633559CBEAE4}"/>
                  </a:ext>
                </a:extLst>
              </p:cNvPr>
              <p:cNvSpPr>
                <a:spLocks noChangeShapeType="1"/>
              </p:cNvSpPr>
              <p:nvPr/>
            </p:nvSpPr>
            <p:spPr bwMode="auto">
              <a:xfrm>
                <a:off x="4683079" y="1952288"/>
                <a:ext cx="0" cy="11967"/>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6" name="Line 298">
                <a:extLst>
                  <a:ext uri="{FF2B5EF4-FFF2-40B4-BE49-F238E27FC236}">
                    <a16:creationId xmlns:a16="http://schemas.microsoft.com/office/drawing/2014/main" id="{CC9E89B8-EDEC-446D-83A6-165F7C7972BF}"/>
                  </a:ext>
                </a:extLst>
              </p:cNvPr>
              <p:cNvSpPr>
                <a:spLocks noChangeShapeType="1"/>
              </p:cNvSpPr>
              <p:nvPr/>
            </p:nvSpPr>
            <p:spPr bwMode="auto">
              <a:xfrm>
                <a:off x="4683078" y="1964254"/>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7" name="Line 299">
                <a:extLst>
                  <a:ext uri="{FF2B5EF4-FFF2-40B4-BE49-F238E27FC236}">
                    <a16:creationId xmlns:a16="http://schemas.microsoft.com/office/drawing/2014/main" id="{520F501B-C7C6-4612-BF2F-933207B477C6}"/>
                  </a:ext>
                </a:extLst>
              </p:cNvPr>
              <p:cNvSpPr>
                <a:spLocks noChangeShapeType="1"/>
              </p:cNvSpPr>
              <p:nvPr/>
            </p:nvSpPr>
            <p:spPr bwMode="auto">
              <a:xfrm>
                <a:off x="4786029" y="1964256"/>
                <a:ext cx="0" cy="22223"/>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8" name="Line 300">
                <a:extLst>
                  <a:ext uri="{FF2B5EF4-FFF2-40B4-BE49-F238E27FC236}">
                    <a16:creationId xmlns:a16="http://schemas.microsoft.com/office/drawing/2014/main" id="{9926061C-4E18-4D62-A9E7-4F0789BE3DC1}"/>
                  </a:ext>
                </a:extLst>
              </p:cNvPr>
              <p:cNvSpPr>
                <a:spLocks noChangeShapeType="1"/>
              </p:cNvSpPr>
              <p:nvPr/>
            </p:nvSpPr>
            <p:spPr bwMode="auto">
              <a:xfrm>
                <a:off x="4786030" y="1986476"/>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49" name="Line 301">
                <a:extLst>
                  <a:ext uri="{FF2B5EF4-FFF2-40B4-BE49-F238E27FC236}">
                    <a16:creationId xmlns:a16="http://schemas.microsoft.com/office/drawing/2014/main" id="{9891AC1D-DD6E-4AA9-AF4F-4A0B5F5BDAAF}"/>
                  </a:ext>
                </a:extLst>
              </p:cNvPr>
              <p:cNvSpPr>
                <a:spLocks noChangeShapeType="1"/>
              </p:cNvSpPr>
              <p:nvPr/>
            </p:nvSpPr>
            <p:spPr bwMode="auto">
              <a:xfrm>
                <a:off x="4890962" y="1986476"/>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0" name="Line 302">
                <a:extLst>
                  <a:ext uri="{FF2B5EF4-FFF2-40B4-BE49-F238E27FC236}">
                    <a16:creationId xmlns:a16="http://schemas.microsoft.com/office/drawing/2014/main" id="{14CC1CBA-8286-40F5-AB08-F3C9FC2E188E}"/>
                  </a:ext>
                </a:extLst>
              </p:cNvPr>
              <p:cNvSpPr>
                <a:spLocks noChangeShapeType="1"/>
              </p:cNvSpPr>
              <p:nvPr/>
            </p:nvSpPr>
            <p:spPr bwMode="auto">
              <a:xfrm>
                <a:off x="4995891" y="1986478"/>
                <a:ext cx="0" cy="51283"/>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1" name="Line 303">
                <a:extLst>
                  <a:ext uri="{FF2B5EF4-FFF2-40B4-BE49-F238E27FC236}">
                    <a16:creationId xmlns:a16="http://schemas.microsoft.com/office/drawing/2014/main" id="{5F3BDD6D-1599-4BF7-B7F6-F50F351B2821}"/>
                  </a:ext>
                </a:extLst>
              </p:cNvPr>
              <p:cNvSpPr>
                <a:spLocks noChangeShapeType="1"/>
              </p:cNvSpPr>
              <p:nvPr/>
            </p:nvSpPr>
            <p:spPr bwMode="auto">
              <a:xfrm>
                <a:off x="4995891" y="2037759"/>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2" name="Line 304">
                <a:extLst>
                  <a:ext uri="{FF2B5EF4-FFF2-40B4-BE49-F238E27FC236}">
                    <a16:creationId xmlns:a16="http://schemas.microsoft.com/office/drawing/2014/main" id="{E6AAD72F-80A7-47EC-AC41-E4E403C93765}"/>
                  </a:ext>
                </a:extLst>
              </p:cNvPr>
              <p:cNvSpPr>
                <a:spLocks noChangeShapeType="1"/>
              </p:cNvSpPr>
              <p:nvPr/>
            </p:nvSpPr>
            <p:spPr bwMode="auto">
              <a:xfrm>
                <a:off x="5100822" y="2037759"/>
                <a:ext cx="0" cy="29061"/>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3" name="Line 305">
                <a:extLst>
                  <a:ext uri="{FF2B5EF4-FFF2-40B4-BE49-F238E27FC236}">
                    <a16:creationId xmlns:a16="http://schemas.microsoft.com/office/drawing/2014/main" id="{FCC2E1F8-247A-4C37-A8A7-8020C1796110}"/>
                  </a:ext>
                </a:extLst>
              </p:cNvPr>
              <p:cNvSpPr>
                <a:spLocks noChangeShapeType="1"/>
              </p:cNvSpPr>
              <p:nvPr/>
            </p:nvSpPr>
            <p:spPr bwMode="auto">
              <a:xfrm>
                <a:off x="5100822" y="2066820"/>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4" name="Line 306">
                <a:extLst>
                  <a:ext uri="{FF2B5EF4-FFF2-40B4-BE49-F238E27FC236}">
                    <a16:creationId xmlns:a16="http://schemas.microsoft.com/office/drawing/2014/main" id="{4EE0854E-0298-4114-9444-0B771505559A}"/>
                  </a:ext>
                </a:extLst>
              </p:cNvPr>
              <p:cNvSpPr>
                <a:spLocks noChangeShapeType="1"/>
              </p:cNvSpPr>
              <p:nvPr/>
            </p:nvSpPr>
            <p:spPr bwMode="auto">
              <a:xfrm>
                <a:off x="5203772" y="2066820"/>
                <a:ext cx="0" cy="15386"/>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5" name="Line 307">
                <a:extLst>
                  <a:ext uri="{FF2B5EF4-FFF2-40B4-BE49-F238E27FC236}">
                    <a16:creationId xmlns:a16="http://schemas.microsoft.com/office/drawing/2014/main" id="{CB05D6ED-7572-4D62-A871-32D7B222CD8E}"/>
                  </a:ext>
                </a:extLst>
              </p:cNvPr>
              <p:cNvSpPr>
                <a:spLocks noChangeShapeType="1"/>
              </p:cNvSpPr>
              <p:nvPr/>
            </p:nvSpPr>
            <p:spPr bwMode="auto">
              <a:xfrm>
                <a:off x="5203773" y="2082204"/>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6" name="Line 308">
                <a:extLst>
                  <a:ext uri="{FF2B5EF4-FFF2-40B4-BE49-F238E27FC236}">
                    <a16:creationId xmlns:a16="http://schemas.microsoft.com/office/drawing/2014/main" id="{2BA64D0C-1C81-4408-8FB1-A9BF549A6AE7}"/>
                  </a:ext>
                </a:extLst>
              </p:cNvPr>
              <p:cNvSpPr>
                <a:spLocks noChangeShapeType="1"/>
              </p:cNvSpPr>
              <p:nvPr/>
            </p:nvSpPr>
            <p:spPr bwMode="auto">
              <a:xfrm>
                <a:off x="5308703" y="2082204"/>
                <a:ext cx="0" cy="3248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7" name="Line 309">
                <a:extLst>
                  <a:ext uri="{FF2B5EF4-FFF2-40B4-BE49-F238E27FC236}">
                    <a16:creationId xmlns:a16="http://schemas.microsoft.com/office/drawing/2014/main" id="{DE31D570-F59E-4996-AB5A-7CDDF78BB6D3}"/>
                  </a:ext>
                </a:extLst>
              </p:cNvPr>
              <p:cNvSpPr>
                <a:spLocks noChangeShapeType="1"/>
              </p:cNvSpPr>
              <p:nvPr/>
            </p:nvSpPr>
            <p:spPr bwMode="auto">
              <a:xfrm>
                <a:off x="5308702" y="2114684"/>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8" name="Line 310">
                <a:extLst>
                  <a:ext uri="{FF2B5EF4-FFF2-40B4-BE49-F238E27FC236}">
                    <a16:creationId xmlns:a16="http://schemas.microsoft.com/office/drawing/2014/main" id="{69A64660-6853-49A7-AC9E-C5EDFF4D680C}"/>
                  </a:ext>
                </a:extLst>
              </p:cNvPr>
              <p:cNvSpPr>
                <a:spLocks noChangeShapeType="1"/>
              </p:cNvSpPr>
              <p:nvPr/>
            </p:nvSpPr>
            <p:spPr bwMode="auto">
              <a:xfrm>
                <a:off x="5411653" y="2114685"/>
                <a:ext cx="0" cy="34189"/>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59" name="Line 311">
                <a:extLst>
                  <a:ext uri="{FF2B5EF4-FFF2-40B4-BE49-F238E27FC236}">
                    <a16:creationId xmlns:a16="http://schemas.microsoft.com/office/drawing/2014/main" id="{4F63A055-98BE-44D5-9992-13CBC72098DF}"/>
                  </a:ext>
                </a:extLst>
              </p:cNvPr>
              <p:cNvSpPr>
                <a:spLocks noChangeShapeType="1"/>
              </p:cNvSpPr>
              <p:nvPr/>
            </p:nvSpPr>
            <p:spPr bwMode="auto">
              <a:xfrm>
                <a:off x="5411654" y="2148872"/>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0" name="Line 312">
                <a:extLst>
                  <a:ext uri="{FF2B5EF4-FFF2-40B4-BE49-F238E27FC236}">
                    <a16:creationId xmlns:a16="http://schemas.microsoft.com/office/drawing/2014/main" id="{7509F90B-8EEB-4BA8-BF8D-00ABED97AA44}"/>
                  </a:ext>
                </a:extLst>
              </p:cNvPr>
              <p:cNvSpPr>
                <a:spLocks noChangeShapeType="1"/>
              </p:cNvSpPr>
              <p:nvPr/>
            </p:nvSpPr>
            <p:spPr bwMode="auto">
              <a:xfrm>
                <a:off x="5516585" y="2148875"/>
                <a:ext cx="0" cy="95728"/>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1" name="Line 313">
                <a:extLst>
                  <a:ext uri="{FF2B5EF4-FFF2-40B4-BE49-F238E27FC236}">
                    <a16:creationId xmlns:a16="http://schemas.microsoft.com/office/drawing/2014/main" id="{B2960060-0270-4C9E-A0AE-50FC7080D328}"/>
                  </a:ext>
                </a:extLst>
              </p:cNvPr>
              <p:cNvSpPr>
                <a:spLocks noChangeShapeType="1"/>
              </p:cNvSpPr>
              <p:nvPr/>
            </p:nvSpPr>
            <p:spPr bwMode="auto">
              <a:xfrm>
                <a:off x="5516586" y="2244599"/>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2" name="Line 314">
                <a:extLst>
                  <a:ext uri="{FF2B5EF4-FFF2-40B4-BE49-F238E27FC236}">
                    <a16:creationId xmlns:a16="http://schemas.microsoft.com/office/drawing/2014/main" id="{2B612EF9-98B7-404E-B051-F0262C57DC04}"/>
                  </a:ext>
                </a:extLst>
              </p:cNvPr>
              <p:cNvSpPr>
                <a:spLocks noChangeShapeType="1"/>
              </p:cNvSpPr>
              <p:nvPr/>
            </p:nvSpPr>
            <p:spPr bwMode="auto">
              <a:xfrm>
                <a:off x="5621515" y="2244599"/>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3" name="Line 315">
                <a:extLst>
                  <a:ext uri="{FF2B5EF4-FFF2-40B4-BE49-F238E27FC236}">
                    <a16:creationId xmlns:a16="http://schemas.microsoft.com/office/drawing/2014/main" id="{48D07E5C-5831-456E-A115-ABBD8946F70C}"/>
                  </a:ext>
                </a:extLst>
              </p:cNvPr>
              <p:cNvSpPr>
                <a:spLocks noChangeShapeType="1"/>
              </p:cNvSpPr>
              <p:nvPr/>
            </p:nvSpPr>
            <p:spPr bwMode="auto">
              <a:xfrm>
                <a:off x="5724466" y="2244599"/>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4" name="Line 316">
                <a:extLst>
                  <a:ext uri="{FF2B5EF4-FFF2-40B4-BE49-F238E27FC236}">
                    <a16:creationId xmlns:a16="http://schemas.microsoft.com/office/drawing/2014/main" id="{9597FC0E-FC01-4436-A150-6BEEE2BBF987}"/>
                  </a:ext>
                </a:extLst>
              </p:cNvPr>
              <p:cNvSpPr>
                <a:spLocks noChangeShapeType="1"/>
              </p:cNvSpPr>
              <p:nvPr/>
            </p:nvSpPr>
            <p:spPr bwMode="auto">
              <a:xfrm>
                <a:off x="5829397" y="2244599"/>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5" name="Line 317">
                <a:extLst>
                  <a:ext uri="{FF2B5EF4-FFF2-40B4-BE49-F238E27FC236}">
                    <a16:creationId xmlns:a16="http://schemas.microsoft.com/office/drawing/2014/main" id="{4786EECE-E6E0-4DE2-810E-E2D7D8227D73}"/>
                  </a:ext>
                </a:extLst>
              </p:cNvPr>
              <p:cNvSpPr>
                <a:spLocks noChangeShapeType="1"/>
              </p:cNvSpPr>
              <p:nvPr/>
            </p:nvSpPr>
            <p:spPr bwMode="auto">
              <a:xfrm>
                <a:off x="5934327" y="2244599"/>
                <a:ext cx="0" cy="29061"/>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6" name="Line 318">
                <a:extLst>
                  <a:ext uri="{FF2B5EF4-FFF2-40B4-BE49-F238E27FC236}">
                    <a16:creationId xmlns:a16="http://schemas.microsoft.com/office/drawing/2014/main" id="{BD3C2208-77D9-47DE-BCF3-090FDE2D3997}"/>
                  </a:ext>
                </a:extLst>
              </p:cNvPr>
              <p:cNvSpPr>
                <a:spLocks noChangeShapeType="1"/>
              </p:cNvSpPr>
              <p:nvPr/>
            </p:nvSpPr>
            <p:spPr bwMode="auto">
              <a:xfrm>
                <a:off x="5934326" y="2273660"/>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7" name="Line 319">
                <a:extLst>
                  <a:ext uri="{FF2B5EF4-FFF2-40B4-BE49-F238E27FC236}">
                    <a16:creationId xmlns:a16="http://schemas.microsoft.com/office/drawing/2014/main" id="{66BBA556-B202-40E4-95F7-64F586600618}"/>
                  </a:ext>
                </a:extLst>
              </p:cNvPr>
              <p:cNvSpPr>
                <a:spLocks noChangeShapeType="1"/>
              </p:cNvSpPr>
              <p:nvPr/>
            </p:nvSpPr>
            <p:spPr bwMode="auto">
              <a:xfrm>
                <a:off x="6037279" y="2273660"/>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8" name="Line 320">
                <a:extLst>
                  <a:ext uri="{FF2B5EF4-FFF2-40B4-BE49-F238E27FC236}">
                    <a16:creationId xmlns:a16="http://schemas.microsoft.com/office/drawing/2014/main" id="{D4B54575-66B6-49BA-A49A-D42D673DA210}"/>
                  </a:ext>
                </a:extLst>
              </p:cNvPr>
              <p:cNvSpPr>
                <a:spLocks noChangeShapeType="1"/>
              </p:cNvSpPr>
              <p:nvPr/>
            </p:nvSpPr>
            <p:spPr bwMode="auto">
              <a:xfrm>
                <a:off x="6142210" y="2273662"/>
                <a:ext cx="0" cy="39317"/>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69" name="Line 321">
                <a:extLst>
                  <a:ext uri="{FF2B5EF4-FFF2-40B4-BE49-F238E27FC236}">
                    <a16:creationId xmlns:a16="http://schemas.microsoft.com/office/drawing/2014/main" id="{6C92941B-AC2F-4D84-BC3A-5F2151D4E069}"/>
                  </a:ext>
                </a:extLst>
              </p:cNvPr>
              <p:cNvSpPr>
                <a:spLocks noChangeShapeType="1"/>
              </p:cNvSpPr>
              <p:nvPr/>
            </p:nvSpPr>
            <p:spPr bwMode="auto">
              <a:xfrm>
                <a:off x="6142210" y="2312977"/>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70" name="Line 322">
                <a:extLst>
                  <a:ext uri="{FF2B5EF4-FFF2-40B4-BE49-F238E27FC236}">
                    <a16:creationId xmlns:a16="http://schemas.microsoft.com/office/drawing/2014/main" id="{CDF227BF-6950-4A77-9FCE-E2544E6D2B95}"/>
                  </a:ext>
                </a:extLst>
              </p:cNvPr>
              <p:cNvSpPr>
                <a:spLocks noChangeShapeType="1"/>
              </p:cNvSpPr>
              <p:nvPr/>
            </p:nvSpPr>
            <p:spPr bwMode="auto">
              <a:xfrm>
                <a:off x="6247140" y="2312977"/>
                <a:ext cx="0" cy="49574"/>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71" name="Line 323">
                <a:extLst>
                  <a:ext uri="{FF2B5EF4-FFF2-40B4-BE49-F238E27FC236}">
                    <a16:creationId xmlns:a16="http://schemas.microsoft.com/office/drawing/2014/main" id="{F0A6F03D-2E8A-464D-A802-DDC69AB5F05F}"/>
                  </a:ext>
                </a:extLst>
              </p:cNvPr>
              <p:cNvSpPr>
                <a:spLocks noChangeShapeType="1"/>
              </p:cNvSpPr>
              <p:nvPr/>
            </p:nvSpPr>
            <p:spPr bwMode="auto">
              <a:xfrm>
                <a:off x="6247140" y="2362550"/>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72" name="Line 324">
                <a:extLst>
                  <a:ext uri="{FF2B5EF4-FFF2-40B4-BE49-F238E27FC236}">
                    <a16:creationId xmlns:a16="http://schemas.microsoft.com/office/drawing/2014/main" id="{69D81E0A-7DA8-48B5-BD9A-E9A117166078}"/>
                  </a:ext>
                </a:extLst>
              </p:cNvPr>
              <p:cNvSpPr>
                <a:spLocks noChangeShapeType="1"/>
              </p:cNvSpPr>
              <p:nvPr/>
            </p:nvSpPr>
            <p:spPr bwMode="auto">
              <a:xfrm>
                <a:off x="6350090" y="2362550"/>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73" name="Line 325">
                <a:extLst>
                  <a:ext uri="{FF2B5EF4-FFF2-40B4-BE49-F238E27FC236}">
                    <a16:creationId xmlns:a16="http://schemas.microsoft.com/office/drawing/2014/main" id="{DE3256FB-A768-48B9-9A00-039BCF8FC84C}"/>
                  </a:ext>
                </a:extLst>
              </p:cNvPr>
              <p:cNvSpPr>
                <a:spLocks noChangeShapeType="1"/>
              </p:cNvSpPr>
              <p:nvPr/>
            </p:nvSpPr>
            <p:spPr bwMode="auto">
              <a:xfrm>
                <a:off x="6455022" y="2362550"/>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74" name="Line 326">
                <a:extLst>
                  <a:ext uri="{FF2B5EF4-FFF2-40B4-BE49-F238E27FC236}">
                    <a16:creationId xmlns:a16="http://schemas.microsoft.com/office/drawing/2014/main" id="{CEAB7B22-43AB-4760-B37B-501F8C66DCAC}"/>
                  </a:ext>
                </a:extLst>
              </p:cNvPr>
              <p:cNvSpPr>
                <a:spLocks noChangeShapeType="1"/>
              </p:cNvSpPr>
              <p:nvPr/>
            </p:nvSpPr>
            <p:spPr bwMode="auto">
              <a:xfrm>
                <a:off x="6559951" y="2362550"/>
                <a:ext cx="102951"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75" name="Line 327">
                <a:extLst>
                  <a:ext uri="{FF2B5EF4-FFF2-40B4-BE49-F238E27FC236}">
                    <a16:creationId xmlns:a16="http://schemas.microsoft.com/office/drawing/2014/main" id="{18C3DF45-A4BC-4B3B-ABD1-FB4A6E3F9427}"/>
                  </a:ext>
                </a:extLst>
              </p:cNvPr>
              <p:cNvSpPr>
                <a:spLocks noChangeShapeType="1"/>
              </p:cNvSpPr>
              <p:nvPr/>
            </p:nvSpPr>
            <p:spPr bwMode="auto">
              <a:xfrm>
                <a:off x="6662903" y="2362550"/>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76" name="Line 328">
                <a:extLst>
                  <a:ext uri="{FF2B5EF4-FFF2-40B4-BE49-F238E27FC236}">
                    <a16:creationId xmlns:a16="http://schemas.microsoft.com/office/drawing/2014/main" id="{DC993690-D2BC-4995-84E4-CE402132A1C0}"/>
                  </a:ext>
                </a:extLst>
              </p:cNvPr>
              <p:cNvSpPr>
                <a:spLocks noChangeShapeType="1"/>
              </p:cNvSpPr>
              <p:nvPr/>
            </p:nvSpPr>
            <p:spPr bwMode="auto">
              <a:xfrm>
                <a:off x="6767834" y="2362549"/>
                <a:ext cx="0" cy="263252"/>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77" name="Line 329">
                <a:extLst>
                  <a:ext uri="{FF2B5EF4-FFF2-40B4-BE49-F238E27FC236}">
                    <a16:creationId xmlns:a16="http://schemas.microsoft.com/office/drawing/2014/main" id="{802BCEE9-2DCA-40E6-A399-0AD1AC7D9515}"/>
                  </a:ext>
                </a:extLst>
              </p:cNvPr>
              <p:cNvSpPr>
                <a:spLocks noChangeShapeType="1"/>
              </p:cNvSpPr>
              <p:nvPr/>
            </p:nvSpPr>
            <p:spPr bwMode="auto">
              <a:xfrm>
                <a:off x="6767834" y="2625801"/>
                <a:ext cx="104932" cy="0"/>
              </a:xfrm>
              <a:prstGeom prst="line">
                <a:avLst/>
              </a:prstGeom>
              <a:noFill/>
              <a:ln w="28575" cap="rnd">
                <a:solidFill>
                  <a:srgbClr val="ED6CA5"/>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grpSp>
        <p:grpSp>
          <p:nvGrpSpPr>
            <p:cNvPr id="278" name="Group 4"/>
            <p:cNvGrpSpPr/>
            <p:nvPr/>
          </p:nvGrpSpPr>
          <p:grpSpPr>
            <a:xfrm>
              <a:off x="1362561" y="1098420"/>
              <a:ext cx="3562868" cy="129490"/>
              <a:chOff x="2598327" y="1374503"/>
              <a:chExt cx="4274439" cy="172653"/>
            </a:xfrm>
          </p:grpSpPr>
          <p:sp>
            <p:nvSpPr>
              <p:cNvPr id="279" name="Line 330">
                <a:extLst>
                  <a:ext uri="{FF2B5EF4-FFF2-40B4-BE49-F238E27FC236}">
                    <a16:creationId xmlns:a16="http://schemas.microsoft.com/office/drawing/2014/main" id="{A419E251-FDBD-4C79-AF52-5A5C87AF2373}"/>
                  </a:ext>
                </a:extLst>
              </p:cNvPr>
              <p:cNvSpPr>
                <a:spLocks noChangeShapeType="1"/>
              </p:cNvSpPr>
              <p:nvPr/>
            </p:nvSpPr>
            <p:spPr bwMode="auto">
              <a:xfrm>
                <a:off x="2598327" y="1374503"/>
                <a:ext cx="625624"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0" name="Line 331">
                <a:extLst>
                  <a:ext uri="{FF2B5EF4-FFF2-40B4-BE49-F238E27FC236}">
                    <a16:creationId xmlns:a16="http://schemas.microsoft.com/office/drawing/2014/main" id="{A13158F5-FBF2-416B-A5D6-61A285D40032}"/>
                  </a:ext>
                </a:extLst>
              </p:cNvPr>
              <p:cNvSpPr>
                <a:spLocks noChangeShapeType="1"/>
              </p:cNvSpPr>
              <p:nvPr/>
            </p:nvSpPr>
            <p:spPr bwMode="auto">
              <a:xfrm>
                <a:off x="3223948" y="1374504"/>
                <a:ext cx="0" cy="8548"/>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1" name="Line 332">
                <a:extLst>
                  <a:ext uri="{FF2B5EF4-FFF2-40B4-BE49-F238E27FC236}">
                    <a16:creationId xmlns:a16="http://schemas.microsoft.com/office/drawing/2014/main" id="{D5B6CFEB-2B8A-4FFF-B733-C606111B1535}"/>
                  </a:ext>
                </a:extLst>
              </p:cNvPr>
              <p:cNvSpPr>
                <a:spLocks noChangeShapeType="1"/>
              </p:cNvSpPr>
              <p:nvPr/>
            </p:nvSpPr>
            <p:spPr bwMode="auto">
              <a:xfrm>
                <a:off x="3223951" y="1383050"/>
                <a:ext cx="833507"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2" name="Line 333">
                <a:extLst>
                  <a:ext uri="{FF2B5EF4-FFF2-40B4-BE49-F238E27FC236}">
                    <a16:creationId xmlns:a16="http://schemas.microsoft.com/office/drawing/2014/main" id="{B4254EDD-EA28-4CD5-95D6-54415074F859}"/>
                  </a:ext>
                </a:extLst>
              </p:cNvPr>
              <p:cNvSpPr>
                <a:spLocks noChangeShapeType="1"/>
              </p:cNvSpPr>
              <p:nvPr/>
            </p:nvSpPr>
            <p:spPr bwMode="auto">
              <a:xfrm>
                <a:off x="4057454" y="1383050"/>
                <a:ext cx="0" cy="10257"/>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3" name="Line 334">
                <a:extLst>
                  <a:ext uri="{FF2B5EF4-FFF2-40B4-BE49-F238E27FC236}">
                    <a16:creationId xmlns:a16="http://schemas.microsoft.com/office/drawing/2014/main" id="{01628981-F469-4199-B21C-3077D7A62808}"/>
                  </a:ext>
                </a:extLst>
              </p:cNvPr>
              <p:cNvSpPr>
                <a:spLocks noChangeShapeType="1"/>
              </p:cNvSpPr>
              <p:nvPr/>
            </p:nvSpPr>
            <p:spPr bwMode="auto">
              <a:xfrm>
                <a:off x="4057455" y="1393307"/>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4" name="Line 335">
                <a:extLst>
                  <a:ext uri="{FF2B5EF4-FFF2-40B4-BE49-F238E27FC236}">
                    <a16:creationId xmlns:a16="http://schemas.microsoft.com/office/drawing/2014/main" id="{44B296E6-BC9E-485B-A9BD-8CE9885BAD71}"/>
                  </a:ext>
                </a:extLst>
              </p:cNvPr>
              <p:cNvSpPr>
                <a:spLocks noChangeShapeType="1"/>
              </p:cNvSpPr>
              <p:nvPr/>
            </p:nvSpPr>
            <p:spPr bwMode="auto">
              <a:xfrm>
                <a:off x="4162385" y="1393307"/>
                <a:ext cx="102951"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5" name="Line 336">
                <a:extLst>
                  <a:ext uri="{FF2B5EF4-FFF2-40B4-BE49-F238E27FC236}">
                    <a16:creationId xmlns:a16="http://schemas.microsoft.com/office/drawing/2014/main" id="{DBBA498E-5E7C-4619-8EC8-7BC7910F219A}"/>
                  </a:ext>
                </a:extLst>
              </p:cNvPr>
              <p:cNvSpPr>
                <a:spLocks noChangeShapeType="1"/>
              </p:cNvSpPr>
              <p:nvPr/>
            </p:nvSpPr>
            <p:spPr bwMode="auto">
              <a:xfrm>
                <a:off x="4265336" y="1393308"/>
                <a:ext cx="0" cy="18805"/>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6" name="Line 337">
                <a:extLst>
                  <a:ext uri="{FF2B5EF4-FFF2-40B4-BE49-F238E27FC236}">
                    <a16:creationId xmlns:a16="http://schemas.microsoft.com/office/drawing/2014/main" id="{47D5FFA8-5D45-4B05-AEDA-FAB099DF1ADF}"/>
                  </a:ext>
                </a:extLst>
              </p:cNvPr>
              <p:cNvSpPr>
                <a:spLocks noChangeShapeType="1"/>
              </p:cNvSpPr>
              <p:nvPr/>
            </p:nvSpPr>
            <p:spPr bwMode="auto">
              <a:xfrm>
                <a:off x="4265337" y="1412110"/>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7" name="Line 338">
                <a:extLst>
                  <a:ext uri="{FF2B5EF4-FFF2-40B4-BE49-F238E27FC236}">
                    <a16:creationId xmlns:a16="http://schemas.microsoft.com/office/drawing/2014/main" id="{BC1FDD18-9101-41FB-9382-2C28242EE676}"/>
                  </a:ext>
                </a:extLst>
              </p:cNvPr>
              <p:cNvSpPr>
                <a:spLocks noChangeShapeType="1"/>
              </p:cNvSpPr>
              <p:nvPr/>
            </p:nvSpPr>
            <p:spPr bwMode="auto">
              <a:xfrm>
                <a:off x="4370266" y="1412112"/>
                <a:ext cx="0" cy="8548"/>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8" name="Line 339">
                <a:extLst>
                  <a:ext uri="{FF2B5EF4-FFF2-40B4-BE49-F238E27FC236}">
                    <a16:creationId xmlns:a16="http://schemas.microsoft.com/office/drawing/2014/main" id="{6A821AAD-6C3D-40A7-B2DA-6C2ABC0A5124}"/>
                  </a:ext>
                </a:extLst>
              </p:cNvPr>
              <p:cNvSpPr>
                <a:spLocks noChangeShapeType="1"/>
              </p:cNvSpPr>
              <p:nvPr/>
            </p:nvSpPr>
            <p:spPr bwMode="auto">
              <a:xfrm>
                <a:off x="4370266" y="1420658"/>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89" name="Line 340">
                <a:extLst>
                  <a:ext uri="{FF2B5EF4-FFF2-40B4-BE49-F238E27FC236}">
                    <a16:creationId xmlns:a16="http://schemas.microsoft.com/office/drawing/2014/main" id="{0B3ED23F-9B4E-408F-BA61-0B886FCE958B}"/>
                  </a:ext>
                </a:extLst>
              </p:cNvPr>
              <p:cNvSpPr>
                <a:spLocks noChangeShapeType="1"/>
              </p:cNvSpPr>
              <p:nvPr/>
            </p:nvSpPr>
            <p:spPr bwMode="auto">
              <a:xfrm>
                <a:off x="4475197" y="1420658"/>
                <a:ext cx="102951"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0" name="Line 341">
                <a:extLst>
                  <a:ext uri="{FF2B5EF4-FFF2-40B4-BE49-F238E27FC236}">
                    <a16:creationId xmlns:a16="http://schemas.microsoft.com/office/drawing/2014/main" id="{A7A29896-40DC-4C23-BA68-22CC7D451FED}"/>
                  </a:ext>
                </a:extLst>
              </p:cNvPr>
              <p:cNvSpPr>
                <a:spLocks noChangeShapeType="1"/>
              </p:cNvSpPr>
              <p:nvPr/>
            </p:nvSpPr>
            <p:spPr bwMode="auto">
              <a:xfrm>
                <a:off x="4578148" y="1420660"/>
                <a:ext cx="0" cy="20513"/>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1" name="Line 342">
                <a:extLst>
                  <a:ext uri="{FF2B5EF4-FFF2-40B4-BE49-F238E27FC236}">
                    <a16:creationId xmlns:a16="http://schemas.microsoft.com/office/drawing/2014/main" id="{1CD456EC-B155-4BE2-ABB1-5446509F34F9}"/>
                  </a:ext>
                </a:extLst>
              </p:cNvPr>
              <p:cNvSpPr>
                <a:spLocks noChangeShapeType="1"/>
              </p:cNvSpPr>
              <p:nvPr/>
            </p:nvSpPr>
            <p:spPr bwMode="auto">
              <a:xfrm>
                <a:off x="4578149" y="1441171"/>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2" name="Line 343">
                <a:extLst>
                  <a:ext uri="{FF2B5EF4-FFF2-40B4-BE49-F238E27FC236}">
                    <a16:creationId xmlns:a16="http://schemas.microsoft.com/office/drawing/2014/main" id="{D6DFF005-6851-40E1-B972-869DB658C44A}"/>
                  </a:ext>
                </a:extLst>
              </p:cNvPr>
              <p:cNvSpPr>
                <a:spLocks noChangeShapeType="1"/>
              </p:cNvSpPr>
              <p:nvPr/>
            </p:nvSpPr>
            <p:spPr bwMode="auto">
              <a:xfrm>
                <a:off x="4683079" y="1441172"/>
                <a:ext cx="0" cy="11967"/>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3" name="Line 344">
                <a:extLst>
                  <a:ext uri="{FF2B5EF4-FFF2-40B4-BE49-F238E27FC236}">
                    <a16:creationId xmlns:a16="http://schemas.microsoft.com/office/drawing/2014/main" id="{AF321BE5-D70B-426C-8D55-3251E10FAB55}"/>
                  </a:ext>
                </a:extLst>
              </p:cNvPr>
              <p:cNvSpPr>
                <a:spLocks noChangeShapeType="1"/>
              </p:cNvSpPr>
              <p:nvPr/>
            </p:nvSpPr>
            <p:spPr bwMode="auto">
              <a:xfrm>
                <a:off x="4683078" y="1453136"/>
                <a:ext cx="102951"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4" name="Line 345">
                <a:extLst>
                  <a:ext uri="{FF2B5EF4-FFF2-40B4-BE49-F238E27FC236}">
                    <a16:creationId xmlns:a16="http://schemas.microsoft.com/office/drawing/2014/main" id="{7A5CB9C9-69A4-458D-B54C-7C854C03C807}"/>
                  </a:ext>
                </a:extLst>
              </p:cNvPr>
              <p:cNvSpPr>
                <a:spLocks noChangeShapeType="1"/>
              </p:cNvSpPr>
              <p:nvPr/>
            </p:nvSpPr>
            <p:spPr bwMode="auto">
              <a:xfrm>
                <a:off x="4786029" y="1453136"/>
                <a:ext cx="0" cy="10257"/>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5" name="Line 346">
                <a:extLst>
                  <a:ext uri="{FF2B5EF4-FFF2-40B4-BE49-F238E27FC236}">
                    <a16:creationId xmlns:a16="http://schemas.microsoft.com/office/drawing/2014/main" id="{086CC87E-BDB7-48ED-B7C6-9929AE22CCE2}"/>
                  </a:ext>
                </a:extLst>
              </p:cNvPr>
              <p:cNvSpPr>
                <a:spLocks noChangeShapeType="1"/>
              </p:cNvSpPr>
              <p:nvPr/>
            </p:nvSpPr>
            <p:spPr bwMode="auto">
              <a:xfrm>
                <a:off x="4786030" y="1463393"/>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6" name="Line 347">
                <a:extLst>
                  <a:ext uri="{FF2B5EF4-FFF2-40B4-BE49-F238E27FC236}">
                    <a16:creationId xmlns:a16="http://schemas.microsoft.com/office/drawing/2014/main" id="{B33C016A-6A2D-4315-A133-48888313E9D5}"/>
                  </a:ext>
                </a:extLst>
              </p:cNvPr>
              <p:cNvSpPr>
                <a:spLocks noChangeShapeType="1"/>
              </p:cNvSpPr>
              <p:nvPr/>
            </p:nvSpPr>
            <p:spPr bwMode="auto">
              <a:xfrm>
                <a:off x="4890962" y="1463393"/>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7" name="Line 348">
                <a:extLst>
                  <a:ext uri="{FF2B5EF4-FFF2-40B4-BE49-F238E27FC236}">
                    <a16:creationId xmlns:a16="http://schemas.microsoft.com/office/drawing/2014/main" id="{8BB577D3-9BCF-47D0-B14B-1B4E16CCDAA8}"/>
                  </a:ext>
                </a:extLst>
              </p:cNvPr>
              <p:cNvSpPr>
                <a:spLocks noChangeShapeType="1"/>
              </p:cNvSpPr>
              <p:nvPr/>
            </p:nvSpPr>
            <p:spPr bwMode="auto">
              <a:xfrm>
                <a:off x="4995891" y="1463393"/>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8" name="Line 349">
                <a:extLst>
                  <a:ext uri="{FF2B5EF4-FFF2-40B4-BE49-F238E27FC236}">
                    <a16:creationId xmlns:a16="http://schemas.microsoft.com/office/drawing/2014/main" id="{11BE0AF9-9036-42CF-A058-4C4710C38784}"/>
                  </a:ext>
                </a:extLst>
              </p:cNvPr>
              <p:cNvSpPr>
                <a:spLocks noChangeShapeType="1"/>
              </p:cNvSpPr>
              <p:nvPr/>
            </p:nvSpPr>
            <p:spPr bwMode="auto">
              <a:xfrm>
                <a:off x="5100822" y="1463393"/>
                <a:ext cx="102951"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299" name="Line 350">
                <a:extLst>
                  <a:ext uri="{FF2B5EF4-FFF2-40B4-BE49-F238E27FC236}">
                    <a16:creationId xmlns:a16="http://schemas.microsoft.com/office/drawing/2014/main" id="{B5C85BBE-9A69-45E8-AB90-78AF0EEF15BB}"/>
                  </a:ext>
                </a:extLst>
              </p:cNvPr>
              <p:cNvSpPr>
                <a:spLocks noChangeShapeType="1"/>
              </p:cNvSpPr>
              <p:nvPr/>
            </p:nvSpPr>
            <p:spPr bwMode="auto">
              <a:xfrm>
                <a:off x="5203773" y="1463393"/>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0" name="Line 351">
                <a:extLst>
                  <a:ext uri="{FF2B5EF4-FFF2-40B4-BE49-F238E27FC236}">
                    <a16:creationId xmlns:a16="http://schemas.microsoft.com/office/drawing/2014/main" id="{98D76470-55D1-4F5A-AEE8-159888DCEEBF}"/>
                  </a:ext>
                </a:extLst>
              </p:cNvPr>
              <p:cNvSpPr>
                <a:spLocks noChangeShapeType="1"/>
              </p:cNvSpPr>
              <p:nvPr/>
            </p:nvSpPr>
            <p:spPr bwMode="auto">
              <a:xfrm>
                <a:off x="5308703" y="1463394"/>
                <a:ext cx="0" cy="17095"/>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1" name="Line 352">
                <a:extLst>
                  <a:ext uri="{FF2B5EF4-FFF2-40B4-BE49-F238E27FC236}">
                    <a16:creationId xmlns:a16="http://schemas.microsoft.com/office/drawing/2014/main" id="{33D3DE16-2B73-4689-B675-8017240DD6C3}"/>
                  </a:ext>
                </a:extLst>
              </p:cNvPr>
              <p:cNvSpPr>
                <a:spLocks noChangeShapeType="1"/>
              </p:cNvSpPr>
              <p:nvPr/>
            </p:nvSpPr>
            <p:spPr bwMode="auto">
              <a:xfrm>
                <a:off x="5308702" y="1480487"/>
                <a:ext cx="102951"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2" name="Line 353">
                <a:extLst>
                  <a:ext uri="{FF2B5EF4-FFF2-40B4-BE49-F238E27FC236}">
                    <a16:creationId xmlns:a16="http://schemas.microsoft.com/office/drawing/2014/main" id="{3982DABE-1B94-419B-84BD-736FB3EF88AF}"/>
                  </a:ext>
                </a:extLst>
              </p:cNvPr>
              <p:cNvSpPr>
                <a:spLocks noChangeShapeType="1"/>
              </p:cNvSpPr>
              <p:nvPr/>
            </p:nvSpPr>
            <p:spPr bwMode="auto">
              <a:xfrm>
                <a:off x="5411654" y="1480487"/>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3" name="Line 354">
                <a:extLst>
                  <a:ext uri="{FF2B5EF4-FFF2-40B4-BE49-F238E27FC236}">
                    <a16:creationId xmlns:a16="http://schemas.microsoft.com/office/drawing/2014/main" id="{A3908F29-37E3-4506-8166-51E87C2CD3F9}"/>
                  </a:ext>
                </a:extLst>
              </p:cNvPr>
              <p:cNvSpPr>
                <a:spLocks noChangeShapeType="1"/>
              </p:cNvSpPr>
              <p:nvPr/>
            </p:nvSpPr>
            <p:spPr bwMode="auto">
              <a:xfrm>
                <a:off x="5516585" y="1480488"/>
                <a:ext cx="0" cy="18805"/>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4" name="Line 355">
                <a:extLst>
                  <a:ext uri="{FF2B5EF4-FFF2-40B4-BE49-F238E27FC236}">
                    <a16:creationId xmlns:a16="http://schemas.microsoft.com/office/drawing/2014/main" id="{CDD856CB-D6C3-483B-AA5E-5CBC815126D5}"/>
                  </a:ext>
                </a:extLst>
              </p:cNvPr>
              <p:cNvSpPr>
                <a:spLocks noChangeShapeType="1"/>
              </p:cNvSpPr>
              <p:nvPr/>
            </p:nvSpPr>
            <p:spPr bwMode="auto">
              <a:xfrm>
                <a:off x="5516586" y="1499291"/>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5" name="Line 356">
                <a:extLst>
                  <a:ext uri="{FF2B5EF4-FFF2-40B4-BE49-F238E27FC236}">
                    <a16:creationId xmlns:a16="http://schemas.microsoft.com/office/drawing/2014/main" id="{E8F8F171-2EE1-497F-B77E-634098C5FB80}"/>
                  </a:ext>
                </a:extLst>
              </p:cNvPr>
              <p:cNvSpPr>
                <a:spLocks noChangeShapeType="1"/>
              </p:cNvSpPr>
              <p:nvPr/>
            </p:nvSpPr>
            <p:spPr bwMode="auto">
              <a:xfrm>
                <a:off x="5621515" y="1499291"/>
                <a:ext cx="102951"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6" name="Line 357">
                <a:extLst>
                  <a:ext uri="{FF2B5EF4-FFF2-40B4-BE49-F238E27FC236}">
                    <a16:creationId xmlns:a16="http://schemas.microsoft.com/office/drawing/2014/main" id="{48FA49AB-7E75-4638-8A89-9981CC881C75}"/>
                  </a:ext>
                </a:extLst>
              </p:cNvPr>
              <p:cNvSpPr>
                <a:spLocks noChangeShapeType="1"/>
              </p:cNvSpPr>
              <p:nvPr/>
            </p:nvSpPr>
            <p:spPr bwMode="auto">
              <a:xfrm>
                <a:off x="5724466" y="1499291"/>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7" name="Line 358">
                <a:extLst>
                  <a:ext uri="{FF2B5EF4-FFF2-40B4-BE49-F238E27FC236}">
                    <a16:creationId xmlns:a16="http://schemas.microsoft.com/office/drawing/2014/main" id="{07529878-DCF2-424D-AAA2-5ADC7B5C238A}"/>
                  </a:ext>
                </a:extLst>
              </p:cNvPr>
              <p:cNvSpPr>
                <a:spLocks noChangeShapeType="1"/>
              </p:cNvSpPr>
              <p:nvPr/>
            </p:nvSpPr>
            <p:spPr bwMode="auto">
              <a:xfrm>
                <a:off x="5829397" y="1499291"/>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8" name="Line 359">
                <a:extLst>
                  <a:ext uri="{FF2B5EF4-FFF2-40B4-BE49-F238E27FC236}">
                    <a16:creationId xmlns:a16="http://schemas.microsoft.com/office/drawing/2014/main" id="{D5C61318-8C36-4E6E-A8EF-5E0B563ADF35}"/>
                  </a:ext>
                </a:extLst>
              </p:cNvPr>
              <p:cNvSpPr>
                <a:spLocks noChangeShapeType="1"/>
              </p:cNvSpPr>
              <p:nvPr/>
            </p:nvSpPr>
            <p:spPr bwMode="auto">
              <a:xfrm>
                <a:off x="5934326" y="1499291"/>
                <a:ext cx="102951"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09" name="Line 360">
                <a:extLst>
                  <a:ext uri="{FF2B5EF4-FFF2-40B4-BE49-F238E27FC236}">
                    <a16:creationId xmlns:a16="http://schemas.microsoft.com/office/drawing/2014/main" id="{68C8891E-C500-4A9A-97FA-5BC4B144456E}"/>
                  </a:ext>
                </a:extLst>
              </p:cNvPr>
              <p:cNvSpPr>
                <a:spLocks noChangeShapeType="1"/>
              </p:cNvSpPr>
              <p:nvPr/>
            </p:nvSpPr>
            <p:spPr bwMode="auto">
              <a:xfrm>
                <a:off x="6037279" y="1499291"/>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10" name="Line 361">
                <a:extLst>
                  <a:ext uri="{FF2B5EF4-FFF2-40B4-BE49-F238E27FC236}">
                    <a16:creationId xmlns:a16="http://schemas.microsoft.com/office/drawing/2014/main" id="{370C8371-373F-4EAD-B0B7-E3BE7081D2C0}"/>
                  </a:ext>
                </a:extLst>
              </p:cNvPr>
              <p:cNvSpPr>
                <a:spLocks noChangeShapeType="1"/>
              </p:cNvSpPr>
              <p:nvPr/>
            </p:nvSpPr>
            <p:spPr bwMode="auto">
              <a:xfrm>
                <a:off x="6142210" y="1499291"/>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11" name="Line 362">
                <a:extLst>
                  <a:ext uri="{FF2B5EF4-FFF2-40B4-BE49-F238E27FC236}">
                    <a16:creationId xmlns:a16="http://schemas.microsoft.com/office/drawing/2014/main" id="{18AB9AFF-4DA7-4395-908B-D71AA0E803C0}"/>
                  </a:ext>
                </a:extLst>
              </p:cNvPr>
              <p:cNvSpPr>
                <a:spLocks noChangeShapeType="1"/>
              </p:cNvSpPr>
              <p:nvPr/>
            </p:nvSpPr>
            <p:spPr bwMode="auto">
              <a:xfrm>
                <a:off x="6247140" y="1499292"/>
                <a:ext cx="0" cy="47864"/>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12" name="Line 363">
                <a:extLst>
                  <a:ext uri="{FF2B5EF4-FFF2-40B4-BE49-F238E27FC236}">
                    <a16:creationId xmlns:a16="http://schemas.microsoft.com/office/drawing/2014/main" id="{143B2607-3737-4B30-8B37-85484B66BAF7}"/>
                  </a:ext>
                </a:extLst>
              </p:cNvPr>
              <p:cNvSpPr>
                <a:spLocks noChangeShapeType="1"/>
              </p:cNvSpPr>
              <p:nvPr/>
            </p:nvSpPr>
            <p:spPr bwMode="auto">
              <a:xfrm>
                <a:off x="6247140" y="1547155"/>
                <a:ext cx="102951"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13" name="Line 364">
                <a:extLst>
                  <a:ext uri="{FF2B5EF4-FFF2-40B4-BE49-F238E27FC236}">
                    <a16:creationId xmlns:a16="http://schemas.microsoft.com/office/drawing/2014/main" id="{1208B758-2D52-437B-8B3F-E4D65685EFCD}"/>
                  </a:ext>
                </a:extLst>
              </p:cNvPr>
              <p:cNvSpPr>
                <a:spLocks noChangeShapeType="1"/>
              </p:cNvSpPr>
              <p:nvPr/>
            </p:nvSpPr>
            <p:spPr bwMode="auto">
              <a:xfrm>
                <a:off x="6350090" y="1547155"/>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14" name="Line 365">
                <a:extLst>
                  <a:ext uri="{FF2B5EF4-FFF2-40B4-BE49-F238E27FC236}">
                    <a16:creationId xmlns:a16="http://schemas.microsoft.com/office/drawing/2014/main" id="{6CAC0224-83C8-4C66-8329-7D4A62988F04}"/>
                  </a:ext>
                </a:extLst>
              </p:cNvPr>
              <p:cNvSpPr>
                <a:spLocks noChangeShapeType="1"/>
              </p:cNvSpPr>
              <p:nvPr/>
            </p:nvSpPr>
            <p:spPr bwMode="auto">
              <a:xfrm>
                <a:off x="6455022" y="1547155"/>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15" name="Line 366">
                <a:extLst>
                  <a:ext uri="{FF2B5EF4-FFF2-40B4-BE49-F238E27FC236}">
                    <a16:creationId xmlns:a16="http://schemas.microsoft.com/office/drawing/2014/main" id="{346ECC7A-128A-4361-BCB4-F60459D0D562}"/>
                  </a:ext>
                </a:extLst>
              </p:cNvPr>
              <p:cNvSpPr>
                <a:spLocks noChangeShapeType="1"/>
              </p:cNvSpPr>
              <p:nvPr/>
            </p:nvSpPr>
            <p:spPr bwMode="auto">
              <a:xfrm>
                <a:off x="6559951" y="1547155"/>
                <a:ext cx="102951"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16" name="Line 367">
                <a:extLst>
                  <a:ext uri="{FF2B5EF4-FFF2-40B4-BE49-F238E27FC236}">
                    <a16:creationId xmlns:a16="http://schemas.microsoft.com/office/drawing/2014/main" id="{C56A44B5-0592-4CEA-B1E4-07FCE52B8B6A}"/>
                  </a:ext>
                </a:extLst>
              </p:cNvPr>
              <p:cNvSpPr>
                <a:spLocks noChangeShapeType="1"/>
              </p:cNvSpPr>
              <p:nvPr/>
            </p:nvSpPr>
            <p:spPr bwMode="auto">
              <a:xfrm>
                <a:off x="6662903" y="1547155"/>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sp>
            <p:nvSpPr>
              <p:cNvPr id="317" name="Line 368">
                <a:extLst>
                  <a:ext uri="{FF2B5EF4-FFF2-40B4-BE49-F238E27FC236}">
                    <a16:creationId xmlns:a16="http://schemas.microsoft.com/office/drawing/2014/main" id="{8E59325F-5E86-407A-BCF6-C710C4F28CDC}"/>
                  </a:ext>
                </a:extLst>
              </p:cNvPr>
              <p:cNvSpPr>
                <a:spLocks noChangeShapeType="1"/>
              </p:cNvSpPr>
              <p:nvPr/>
            </p:nvSpPr>
            <p:spPr bwMode="auto">
              <a:xfrm>
                <a:off x="6767834" y="1547155"/>
                <a:ext cx="104932" cy="0"/>
              </a:xfrm>
              <a:prstGeom prst="line">
                <a:avLst/>
              </a:prstGeom>
              <a:noFill/>
              <a:ln w="28575" cap="rnd">
                <a:solidFill>
                  <a:srgbClr val="00499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0" cap="none" spc="0" normalizeH="0" baseline="0" noProof="0">
                  <a:ln>
                    <a:noFill/>
                  </a:ln>
                  <a:solidFill>
                    <a:prstClr val="black"/>
                  </a:solidFill>
                  <a:effectLst/>
                  <a:uLnTx/>
                  <a:uFillTx/>
                  <a:latin typeface="Calibri"/>
                  <a:ea typeface="+mn-ea"/>
                  <a:cs typeface="Calibri"/>
                </a:endParaRPr>
              </a:p>
            </p:txBody>
          </p:sp>
        </p:grpSp>
        <p:sp>
          <p:nvSpPr>
            <p:cNvPr id="318" name="Line 369">
              <a:extLst>
                <a:ext uri="{FF2B5EF4-FFF2-40B4-BE49-F238E27FC236}">
                  <a16:creationId xmlns:a16="http://schemas.microsoft.com/office/drawing/2014/main" id="{F8EC5455-245D-4409-AE4C-328154EDDFD2}"/>
                </a:ext>
              </a:extLst>
            </p:cNvPr>
            <p:cNvSpPr>
              <a:spLocks noChangeShapeType="1"/>
            </p:cNvSpPr>
            <p:nvPr/>
          </p:nvSpPr>
          <p:spPr bwMode="auto">
            <a:xfrm flipV="1">
              <a:off x="1278387" y="1008877"/>
              <a:ext cx="0" cy="2215416"/>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19" name="Line 370">
              <a:extLst>
                <a:ext uri="{FF2B5EF4-FFF2-40B4-BE49-F238E27FC236}">
                  <a16:creationId xmlns:a16="http://schemas.microsoft.com/office/drawing/2014/main" id="{29E9DC07-F201-428E-B835-0AA2A73E6FD1}"/>
                </a:ext>
              </a:extLst>
            </p:cNvPr>
            <p:cNvSpPr>
              <a:spLocks noChangeShapeType="1"/>
            </p:cNvSpPr>
            <p:nvPr/>
          </p:nvSpPr>
          <p:spPr bwMode="auto">
            <a:xfrm flipH="1">
              <a:off x="1225605" y="3138821"/>
              <a:ext cx="52808" cy="0"/>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20" name="Line 372">
              <a:extLst>
                <a:ext uri="{FF2B5EF4-FFF2-40B4-BE49-F238E27FC236}">
                  <a16:creationId xmlns:a16="http://schemas.microsoft.com/office/drawing/2014/main" id="{9915ACE5-C1A9-4E3D-BCF8-D4FB4CCA9CE2}"/>
                </a:ext>
              </a:extLst>
            </p:cNvPr>
            <p:cNvSpPr>
              <a:spLocks noChangeShapeType="1"/>
            </p:cNvSpPr>
            <p:nvPr/>
          </p:nvSpPr>
          <p:spPr bwMode="auto">
            <a:xfrm flipH="1">
              <a:off x="1225605" y="2627703"/>
              <a:ext cx="52808" cy="0"/>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21" name="Line 374">
              <a:extLst>
                <a:ext uri="{FF2B5EF4-FFF2-40B4-BE49-F238E27FC236}">
                  <a16:creationId xmlns:a16="http://schemas.microsoft.com/office/drawing/2014/main" id="{16E30ACC-5B87-4F43-9C47-5F686EF3C6C8}"/>
                </a:ext>
              </a:extLst>
            </p:cNvPr>
            <p:cNvSpPr>
              <a:spLocks noChangeShapeType="1"/>
            </p:cNvSpPr>
            <p:nvPr/>
          </p:nvSpPr>
          <p:spPr bwMode="auto">
            <a:xfrm flipH="1">
              <a:off x="1225605" y="1607176"/>
              <a:ext cx="52808" cy="0"/>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22" name="Line 376">
              <a:extLst>
                <a:ext uri="{FF2B5EF4-FFF2-40B4-BE49-F238E27FC236}">
                  <a16:creationId xmlns:a16="http://schemas.microsoft.com/office/drawing/2014/main" id="{FB03EAC7-4D42-4025-9C0D-A578ECAE30D4}"/>
                </a:ext>
              </a:extLst>
            </p:cNvPr>
            <p:cNvSpPr>
              <a:spLocks noChangeShapeType="1"/>
            </p:cNvSpPr>
            <p:nvPr/>
          </p:nvSpPr>
          <p:spPr bwMode="auto">
            <a:xfrm flipH="1">
              <a:off x="1225605" y="2116584"/>
              <a:ext cx="52808" cy="0"/>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23" name="Line 378">
              <a:extLst>
                <a:ext uri="{FF2B5EF4-FFF2-40B4-BE49-F238E27FC236}">
                  <a16:creationId xmlns:a16="http://schemas.microsoft.com/office/drawing/2014/main" id="{A23FA39E-4396-4BA6-BA62-46E477165B6A}"/>
                </a:ext>
              </a:extLst>
            </p:cNvPr>
            <p:cNvSpPr>
              <a:spLocks noChangeShapeType="1"/>
            </p:cNvSpPr>
            <p:nvPr/>
          </p:nvSpPr>
          <p:spPr bwMode="auto">
            <a:xfrm flipH="1">
              <a:off x="1225605" y="1096057"/>
              <a:ext cx="52808" cy="0"/>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grpSp>
          <p:nvGrpSpPr>
            <p:cNvPr id="324" name="Group 2"/>
            <p:cNvGrpSpPr/>
            <p:nvPr/>
          </p:nvGrpSpPr>
          <p:grpSpPr>
            <a:xfrm>
              <a:off x="939998" y="1004541"/>
              <a:ext cx="242049" cy="2202638"/>
              <a:chOff x="2091391" y="1304417"/>
              <a:chExt cx="290391" cy="2202635"/>
            </a:xfrm>
          </p:grpSpPr>
          <p:sp>
            <p:nvSpPr>
              <p:cNvPr id="325" name="Rectangle 371">
                <a:extLst>
                  <a:ext uri="{FF2B5EF4-FFF2-40B4-BE49-F238E27FC236}">
                    <a16:creationId xmlns:a16="http://schemas.microsoft.com/office/drawing/2014/main" id="{8C23E8A8-B950-456D-9C4B-7F8FC17BCE0D}"/>
                  </a:ext>
                </a:extLst>
              </p:cNvPr>
              <p:cNvSpPr>
                <a:spLocks noChangeArrowheads="1"/>
              </p:cNvSpPr>
              <p:nvPr/>
            </p:nvSpPr>
            <p:spPr bwMode="auto">
              <a:xfrm>
                <a:off x="2284984" y="3345469"/>
                <a:ext cx="96798"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0</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sp>
            <p:nvSpPr>
              <p:cNvPr id="326" name="Rectangle 373">
                <a:extLst>
                  <a:ext uri="{FF2B5EF4-FFF2-40B4-BE49-F238E27FC236}">
                    <a16:creationId xmlns:a16="http://schemas.microsoft.com/office/drawing/2014/main" id="{859A9C8D-1B69-4EA4-A53E-B4AF52EF574A}"/>
                  </a:ext>
                </a:extLst>
              </p:cNvPr>
              <p:cNvSpPr>
                <a:spLocks noChangeArrowheads="1"/>
              </p:cNvSpPr>
              <p:nvPr/>
            </p:nvSpPr>
            <p:spPr bwMode="auto">
              <a:xfrm>
                <a:off x="2188188" y="2834350"/>
                <a:ext cx="193594"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25</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sp>
            <p:nvSpPr>
              <p:cNvPr id="327" name="Rectangle 375">
                <a:extLst>
                  <a:ext uri="{FF2B5EF4-FFF2-40B4-BE49-F238E27FC236}">
                    <a16:creationId xmlns:a16="http://schemas.microsoft.com/office/drawing/2014/main" id="{521B78CB-D0DD-48D7-8824-8497292FDCA9}"/>
                  </a:ext>
                </a:extLst>
              </p:cNvPr>
              <p:cNvSpPr>
                <a:spLocks noChangeArrowheads="1"/>
              </p:cNvSpPr>
              <p:nvPr/>
            </p:nvSpPr>
            <p:spPr bwMode="auto">
              <a:xfrm>
                <a:off x="2188188" y="1813825"/>
                <a:ext cx="193594"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75</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sp>
            <p:nvSpPr>
              <p:cNvPr id="328" name="Rectangle 377">
                <a:extLst>
                  <a:ext uri="{FF2B5EF4-FFF2-40B4-BE49-F238E27FC236}">
                    <a16:creationId xmlns:a16="http://schemas.microsoft.com/office/drawing/2014/main" id="{D1A01423-E65D-400F-A507-BBAD6FEC1DE9}"/>
                  </a:ext>
                </a:extLst>
              </p:cNvPr>
              <p:cNvSpPr>
                <a:spLocks noChangeArrowheads="1"/>
              </p:cNvSpPr>
              <p:nvPr/>
            </p:nvSpPr>
            <p:spPr bwMode="auto">
              <a:xfrm>
                <a:off x="2188188" y="2324942"/>
                <a:ext cx="193594"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50</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sp>
            <p:nvSpPr>
              <p:cNvPr id="329" name="Rectangle 379">
                <a:extLst>
                  <a:ext uri="{FF2B5EF4-FFF2-40B4-BE49-F238E27FC236}">
                    <a16:creationId xmlns:a16="http://schemas.microsoft.com/office/drawing/2014/main" id="{575C534B-EBD9-410B-A1F1-1C6C4F8A4D74}"/>
                  </a:ext>
                </a:extLst>
              </p:cNvPr>
              <p:cNvSpPr>
                <a:spLocks noChangeArrowheads="1"/>
              </p:cNvSpPr>
              <p:nvPr/>
            </p:nvSpPr>
            <p:spPr bwMode="auto">
              <a:xfrm>
                <a:off x="2091391" y="1304417"/>
                <a:ext cx="290391"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100</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grpSp>
        <p:sp>
          <p:nvSpPr>
            <p:cNvPr id="330" name="Rectangle 380">
              <a:extLst>
                <a:ext uri="{FF2B5EF4-FFF2-40B4-BE49-F238E27FC236}">
                  <a16:creationId xmlns:a16="http://schemas.microsoft.com/office/drawing/2014/main" id="{78048878-0878-4969-B067-A2ECD060A88B}"/>
                </a:ext>
              </a:extLst>
            </p:cNvPr>
            <p:cNvSpPr>
              <a:spLocks noChangeArrowheads="1"/>
            </p:cNvSpPr>
            <p:nvPr/>
          </p:nvSpPr>
          <p:spPr bwMode="auto">
            <a:xfrm>
              <a:off x="1317471" y="3949527"/>
              <a:ext cx="180129"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225</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31" name="Rectangle 381">
              <a:extLst>
                <a:ext uri="{FF2B5EF4-FFF2-40B4-BE49-F238E27FC236}">
                  <a16:creationId xmlns:a16="http://schemas.microsoft.com/office/drawing/2014/main" id="{9CE205B0-74A9-4CC4-B785-0FEE50396422}"/>
                </a:ext>
              </a:extLst>
            </p:cNvPr>
            <p:cNvSpPr>
              <a:spLocks noChangeArrowheads="1"/>
            </p:cNvSpPr>
            <p:nvPr/>
          </p:nvSpPr>
          <p:spPr bwMode="auto">
            <a:xfrm>
              <a:off x="2157372" y="3949527"/>
              <a:ext cx="180129"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224</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32" name="Rectangle 382">
              <a:extLst>
                <a:ext uri="{FF2B5EF4-FFF2-40B4-BE49-F238E27FC236}">
                  <a16:creationId xmlns:a16="http://schemas.microsoft.com/office/drawing/2014/main" id="{E0E81277-CE46-4B6C-9455-6971C8C1151D}"/>
                </a:ext>
              </a:extLst>
            </p:cNvPr>
            <p:cNvSpPr>
              <a:spLocks noChangeArrowheads="1"/>
            </p:cNvSpPr>
            <p:nvPr/>
          </p:nvSpPr>
          <p:spPr bwMode="auto">
            <a:xfrm>
              <a:off x="3025400" y="3949527"/>
              <a:ext cx="180129"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177</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33" name="Rectangle 383">
              <a:extLst>
                <a:ext uri="{FF2B5EF4-FFF2-40B4-BE49-F238E27FC236}">
                  <a16:creationId xmlns:a16="http://schemas.microsoft.com/office/drawing/2014/main" id="{31D0198A-A9D0-4709-8FDE-749A258783E6}"/>
                </a:ext>
              </a:extLst>
            </p:cNvPr>
            <p:cNvSpPr>
              <a:spLocks noChangeArrowheads="1"/>
            </p:cNvSpPr>
            <p:nvPr/>
          </p:nvSpPr>
          <p:spPr bwMode="auto">
            <a:xfrm>
              <a:off x="3931398" y="3949527"/>
              <a:ext cx="120086"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86</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34" name="Rectangle 384">
              <a:extLst>
                <a:ext uri="{FF2B5EF4-FFF2-40B4-BE49-F238E27FC236}">
                  <a16:creationId xmlns:a16="http://schemas.microsoft.com/office/drawing/2014/main" id="{F64CD43A-C5DC-48E6-B0CA-E1EC7EB7BA6A}"/>
                </a:ext>
              </a:extLst>
            </p:cNvPr>
            <p:cNvSpPr>
              <a:spLocks noChangeArrowheads="1"/>
            </p:cNvSpPr>
            <p:nvPr/>
          </p:nvSpPr>
          <p:spPr bwMode="auto">
            <a:xfrm>
              <a:off x="4837373" y="3949527"/>
              <a:ext cx="60043"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4</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35" name="Rectangle 386">
              <a:extLst>
                <a:ext uri="{FF2B5EF4-FFF2-40B4-BE49-F238E27FC236}">
                  <a16:creationId xmlns:a16="http://schemas.microsoft.com/office/drawing/2014/main" id="{6446B0AB-3F8C-4A05-BE28-98478639A65E}"/>
                </a:ext>
              </a:extLst>
            </p:cNvPr>
            <p:cNvSpPr>
              <a:spLocks noChangeArrowheads="1"/>
            </p:cNvSpPr>
            <p:nvPr/>
          </p:nvSpPr>
          <p:spPr bwMode="auto">
            <a:xfrm>
              <a:off x="1317471" y="3795679"/>
              <a:ext cx="180129"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233</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36" name="Rectangle 387">
              <a:extLst>
                <a:ext uri="{FF2B5EF4-FFF2-40B4-BE49-F238E27FC236}">
                  <a16:creationId xmlns:a16="http://schemas.microsoft.com/office/drawing/2014/main" id="{854F7722-E1CA-4DD2-9466-CE7405D14E47}"/>
                </a:ext>
              </a:extLst>
            </p:cNvPr>
            <p:cNvSpPr>
              <a:spLocks noChangeArrowheads="1"/>
            </p:cNvSpPr>
            <p:nvPr/>
          </p:nvSpPr>
          <p:spPr bwMode="auto">
            <a:xfrm>
              <a:off x="2157372" y="3795679"/>
              <a:ext cx="180129"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187</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37" name="Rectangle 388">
              <a:extLst>
                <a:ext uri="{FF2B5EF4-FFF2-40B4-BE49-F238E27FC236}">
                  <a16:creationId xmlns:a16="http://schemas.microsoft.com/office/drawing/2014/main" id="{E693369B-8222-457C-993E-1A25BED546BB}"/>
                </a:ext>
              </a:extLst>
            </p:cNvPr>
            <p:cNvSpPr>
              <a:spLocks noChangeArrowheads="1"/>
            </p:cNvSpPr>
            <p:nvPr/>
          </p:nvSpPr>
          <p:spPr bwMode="auto">
            <a:xfrm>
              <a:off x="3025400" y="3795679"/>
              <a:ext cx="180129"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136</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38" name="Rectangle 389">
              <a:extLst>
                <a:ext uri="{FF2B5EF4-FFF2-40B4-BE49-F238E27FC236}">
                  <a16:creationId xmlns:a16="http://schemas.microsoft.com/office/drawing/2014/main" id="{50E69B1F-F463-4F4D-AC9D-578A14C0126D}"/>
                </a:ext>
              </a:extLst>
            </p:cNvPr>
            <p:cNvSpPr>
              <a:spLocks noChangeArrowheads="1"/>
            </p:cNvSpPr>
            <p:nvPr/>
          </p:nvSpPr>
          <p:spPr bwMode="auto">
            <a:xfrm>
              <a:off x="3931398" y="3795679"/>
              <a:ext cx="120086"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50</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39" name="Rectangle 390">
              <a:extLst>
                <a:ext uri="{FF2B5EF4-FFF2-40B4-BE49-F238E27FC236}">
                  <a16:creationId xmlns:a16="http://schemas.microsoft.com/office/drawing/2014/main" id="{311269F3-850A-41ED-A349-736C36A06888}"/>
                </a:ext>
              </a:extLst>
            </p:cNvPr>
            <p:cNvSpPr>
              <a:spLocks noChangeArrowheads="1"/>
            </p:cNvSpPr>
            <p:nvPr/>
          </p:nvSpPr>
          <p:spPr bwMode="auto">
            <a:xfrm>
              <a:off x="4837373" y="3795679"/>
              <a:ext cx="60043"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4</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40" name="Rectangle 392">
              <a:extLst>
                <a:ext uri="{FF2B5EF4-FFF2-40B4-BE49-F238E27FC236}">
                  <a16:creationId xmlns:a16="http://schemas.microsoft.com/office/drawing/2014/main" id="{52FA3ACE-7B96-4D51-B18B-F4E279A1F0E4}"/>
                </a:ext>
              </a:extLst>
            </p:cNvPr>
            <p:cNvSpPr>
              <a:spLocks noChangeArrowheads="1"/>
            </p:cNvSpPr>
            <p:nvPr/>
          </p:nvSpPr>
          <p:spPr bwMode="auto">
            <a:xfrm>
              <a:off x="369853" y="3706625"/>
              <a:ext cx="728021" cy="1212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s-ES" sz="788" b="1" i="0" u="none" strike="noStrike" kern="1200" cap="none" spc="0" normalizeH="0" baseline="0" noProof="0">
                  <a:ln>
                    <a:noFill/>
                  </a:ln>
                  <a:solidFill>
                    <a:srgbClr val="000000"/>
                  </a:solidFill>
                  <a:effectLst/>
                  <a:uLnTx/>
                  <a:uFillTx/>
                  <a:latin typeface="Calibri"/>
                  <a:ea typeface="+mn-ea"/>
                  <a:cs typeface="Calibri"/>
                </a:rPr>
                <a:t>Number at risk</a:t>
              </a:r>
              <a:endParaRPr kumimoji="0" lang="es-ES" altLang="es-E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41" name="Line 393">
              <a:extLst>
                <a:ext uri="{FF2B5EF4-FFF2-40B4-BE49-F238E27FC236}">
                  <a16:creationId xmlns:a16="http://schemas.microsoft.com/office/drawing/2014/main" id="{EBD4A99C-F294-4AFD-8DC2-E905DB6F1430}"/>
                </a:ext>
              </a:extLst>
            </p:cNvPr>
            <p:cNvSpPr>
              <a:spLocks noChangeShapeType="1"/>
            </p:cNvSpPr>
            <p:nvPr/>
          </p:nvSpPr>
          <p:spPr bwMode="auto">
            <a:xfrm>
              <a:off x="1278390" y="3224293"/>
              <a:ext cx="3729543" cy="0"/>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42" name="Line 394">
              <a:extLst>
                <a:ext uri="{FF2B5EF4-FFF2-40B4-BE49-F238E27FC236}">
                  <a16:creationId xmlns:a16="http://schemas.microsoft.com/office/drawing/2014/main" id="{8DD72CF7-768E-4BEA-824B-769668CCFAF6}"/>
                </a:ext>
              </a:extLst>
            </p:cNvPr>
            <p:cNvSpPr>
              <a:spLocks noChangeShapeType="1"/>
            </p:cNvSpPr>
            <p:nvPr/>
          </p:nvSpPr>
          <p:spPr bwMode="auto">
            <a:xfrm>
              <a:off x="1362549" y="3224312"/>
              <a:ext cx="0" cy="54701"/>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43" name="Rectangle 395">
              <a:extLst>
                <a:ext uri="{FF2B5EF4-FFF2-40B4-BE49-F238E27FC236}">
                  <a16:creationId xmlns:a16="http://schemas.microsoft.com/office/drawing/2014/main" id="{20B8E7A1-C435-4471-A517-19BB24F0E3CA}"/>
                </a:ext>
              </a:extLst>
            </p:cNvPr>
            <p:cNvSpPr>
              <a:spLocks noChangeArrowheads="1"/>
            </p:cNvSpPr>
            <p:nvPr/>
          </p:nvSpPr>
          <p:spPr bwMode="auto">
            <a:xfrm>
              <a:off x="1325578" y="3308054"/>
              <a:ext cx="80684"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0</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sp>
          <p:nvSpPr>
            <p:cNvPr id="344" name="Line 396">
              <a:extLst>
                <a:ext uri="{FF2B5EF4-FFF2-40B4-BE49-F238E27FC236}">
                  <a16:creationId xmlns:a16="http://schemas.microsoft.com/office/drawing/2014/main" id="{4A03DE0C-9B75-4757-B763-BF6CD6812B3D}"/>
                </a:ext>
              </a:extLst>
            </p:cNvPr>
            <p:cNvSpPr>
              <a:spLocks noChangeShapeType="1"/>
            </p:cNvSpPr>
            <p:nvPr/>
          </p:nvSpPr>
          <p:spPr bwMode="auto">
            <a:xfrm>
              <a:off x="2230576" y="3224312"/>
              <a:ext cx="0" cy="54701"/>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45" name="Rectangle 397">
              <a:extLst>
                <a:ext uri="{FF2B5EF4-FFF2-40B4-BE49-F238E27FC236}">
                  <a16:creationId xmlns:a16="http://schemas.microsoft.com/office/drawing/2014/main" id="{2F0CBE58-26D1-4FEF-8815-78CD654DD354}"/>
                </a:ext>
              </a:extLst>
            </p:cNvPr>
            <p:cNvSpPr>
              <a:spLocks noChangeArrowheads="1"/>
            </p:cNvSpPr>
            <p:nvPr/>
          </p:nvSpPr>
          <p:spPr bwMode="auto">
            <a:xfrm>
              <a:off x="2147997" y="3308054"/>
              <a:ext cx="161365"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10</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sp>
          <p:nvSpPr>
            <p:cNvPr id="346" name="Line 398">
              <a:extLst>
                <a:ext uri="{FF2B5EF4-FFF2-40B4-BE49-F238E27FC236}">
                  <a16:creationId xmlns:a16="http://schemas.microsoft.com/office/drawing/2014/main" id="{6D297F4F-6532-46DE-8BBA-70F708757588}"/>
                </a:ext>
              </a:extLst>
            </p:cNvPr>
            <p:cNvSpPr>
              <a:spLocks noChangeShapeType="1"/>
            </p:cNvSpPr>
            <p:nvPr/>
          </p:nvSpPr>
          <p:spPr bwMode="auto">
            <a:xfrm>
              <a:off x="3100253" y="3224312"/>
              <a:ext cx="0" cy="54701"/>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47" name="Rectangle 399">
              <a:extLst>
                <a:ext uri="{FF2B5EF4-FFF2-40B4-BE49-F238E27FC236}">
                  <a16:creationId xmlns:a16="http://schemas.microsoft.com/office/drawing/2014/main" id="{445DE20B-EEC5-4DBB-9BCF-EF0F50CC7F05}"/>
                </a:ext>
              </a:extLst>
            </p:cNvPr>
            <p:cNvSpPr>
              <a:spLocks noChangeArrowheads="1"/>
            </p:cNvSpPr>
            <p:nvPr/>
          </p:nvSpPr>
          <p:spPr bwMode="auto">
            <a:xfrm>
              <a:off x="3016033" y="3308054"/>
              <a:ext cx="161365"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20</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sp>
          <p:nvSpPr>
            <p:cNvPr id="348" name="Line 400">
              <a:extLst>
                <a:ext uri="{FF2B5EF4-FFF2-40B4-BE49-F238E27FC236}">
                  <a16:creationId xmlns:a16="http://schemas.microsoft.com/office/drawing/2014/main" id="{E0CAB799-34DB-4193-AA7D-FC84B7D71986}"/>
                </a:ext>
              </a:extLst>
            </p:cNvPr>
            <p:cNvSpPr>
              <a:spLocks noChangeShapeType="1"/>
            </p:cNvSpPr>
            <p:nvPr/>
          </p:nvSpPr>
          <p:spPr bwMode="auto">
            <a:xfrm>
              <a:off x="3968279" y="3224312"/>
              <a:ext cx="0" cy="54701"/>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49" name="Rectangle 401">
              <a:extLst>
                <a:ext uri="{FF2B5EF4-FFF2-40B4-BE49-F238E27FC236}">
                  <a16:creationId xmlns:a16="http://schemas.microsoft.com/office/drawing/2014/main" id="{EC1D87C4-FAF9-42D2-A1C1-580C48D1873D}"/>
                </a:ext>
              </a:extLst>
            </p:cNvPr>
            <p:cNvSpPr>
              <a:spLocks noChangeArrowheads="1"/>
            </p:cNvSpPr>
            <p:nvPr/>
          </p:nvSpPr>
          <p:spPr bwMode="auto">
            <a:xfrm>
              <a:off x="3884057" y="3308054"/>
              <a:ext cx="161365"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30</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sp>
          <p:nvSpPr>
            <p:cNvPr id="350" name="Line 402">
              <a:extLst>
                <a:ext uri="{FF2B5EF4-FFF2-40B4-BE49-F238E27FC236}">
                  <a16:creationId xmlns:a16="http://schemas.microsoft.com/office/drawing/2014/main" id="{E1233846-A496-4C0D-9F8C-DFD947F29DBA}"/>
                </a:ext>
              </a:extLst>
            </p:cNvPr>
            <p:cNvSpPr>
              <a:spLocks noChangeShapeType="1"/>
            </p:cNvSpPr>
            <p:nvPr/>
          </p:nvSpPr>
          <p:spPr bwMode="auto">
            <a:xfrm>
              <a:off x="4837956" y="3224312"/>
              <a:ext cx="0" cy="54701"/>
            </a:xfrm>
            <a:prstGeom prst="line">
              <a:avLst/>
            </a:prstGeom>
            <a:noFill/>
            <a:ln w="9525" cap="flat">
              <a:solidFill>
                <a:srgbClr val="000000"/>
              </a:solidFill>
              <a:prstDash val="solid"/>
              <a:miter lim="800000"/>
              <a:headEnd/>
              <a:tailEnd/>
            </a:ln>
            <a:extLst>
              <a:ext uri="{909E8E84-426E-40dd-AFC4-6F175D3DCCD1}">
                <a14:hiddenFill xmlns="" xmlns:a14="http://schemas.microsoft.com/office/drawing/2010/main">
                  <a:noFill/>
                </a14:hiddenFill>
              </a:ext>
            </a:extLst>
          </p:spPr>
          <p:txBody>
            <a:bodyPr vert="horz" wrap="square" lIns="42861" tIns="21431" rIns="42861" bIns="2143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88" b="1" i="0" u="none" strike="noStrike" kern="1200" cap="none" spc="0" normalizeH="0" baseline="0" noProof="0">
                <a:ln>
                  <a:noFill/>
                </a:ln>
                <a:solidFill>
                  <a:prstClr val="black"/>
                </a:solidFill>
                <a:effectLst/>
                <a:uLnTx/>
                <a:uFillTx/>
                <a:latin typeface="Calibri"/>
                <a:ea typeface="+mn-ea"/>
                <a:cs typeface="Calibri"/>
              </a:endParaRPr>
            </a:p>
          </p:txBody>
        </p:sp>
        <p:sp>
          <p:nvSpPr>
            <p:cNvPr id="351" name="Rectangle 403">
              <a:extLst>
                <a:ext uri="{FF2B5EF4-FFF2-40B4-BE49-F238E27FC236}">
                  <a16:creationId xmlns:a16="http://schemas.microsoft.com/office/drawing/2014/main" id="{83DDD842-83C8-4E12-B4B4-12875008943C}"/>
                </a:ext>
              </a:extLst>
            </p:cNvPr>
            <p:cNvSpPr>
              <a:spLocks noChangeArrowheads="1"/>
            </p:cNvSpPr>
            <p:nvPr/>
          </p:nvSpPr>
          <p:spPr bwMode="auto">
            <a:xfrm>
              <a:off x="4753722" y="3308054"/>
              <a:ext cx="161365" cy="1615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altLang="es-ES" sz="1050" b="1" i="0" u="none" strike="noStrike" kern="1200" cap="none" spc="0" normalizeH="0" baseline="0" noProof="0">
                  <a:ln>
                    <a:noFill/>
                  </a:ln>
                  <a:solidFill>
                    <a:srgbClr val="000000"/>
                  </a:solidFill>
                  <a:effectLst/>
                  <a:uLnTx/>
                  <a:uFillTx/>
                  <a:latin typeface="Calibri"/>
                  <a:ea typeface="+mn-ea"/>
                  <a:cs typeface="Calibri"/>
                </a:rPr>
                <a:t>40</a:t>
              </a:r>
              <a:endParaRPr kumimoji="0" lang="es-ES" altLang="es-ES" sz="1050" b="1" i="0" u="none" strike="noStrike" kern="1200" cap="none" spc="0" normalizeH="0" baseline="0" noProof="0">
                <a:ln>
                  <a:noFill/>
                </a:ln>
                <a:solidFill>
                  <a:prstClr val="black"/>
                </a:solidFill>
                <a:effectLst/>
                <a:uLnTx/>
                <a:uFillTx/>
                <a:latin typeface="Calibri"/>
                <a:ea typeface="+mn-ea"/>
                <a:cs typeface="Calibri"/>
              </a:endParaRPr>
            </a:p>
          </p:txBody>
        </p:sp>
        <p:sp>
          <p:nvSpPr>
            <p:cNvPr id="352" name="TextBox 24">
              <a:extLst>
                <a:ext uri="{FF2B5EF4-FFF2-40B4-BE49-F238E27FC236}">
                  <a16:creationId xmlns:a16="http://schemas.microsoft.com/office/drawing/2014/main" id="{42104F92-575E-4253-A80A-BDE42A973FF0}"/>
                </a:ext>
              </a:extLst>
            </p:cNvPr>
            <p:cNvSpPr txBox="1"/>
            <p:nvPr/>
          </p:nvSpPr>
          <p:spPr>
            <a:xfrm>
              <a:off x="369850" y="3806257"/>
              <a:ext cx="828951" cy="308800"/>
            </a:xfrm>
            <a:prstGeom prst="rect">
              <a:avLst/>
            </a:prstGeom>
            <a:noFill/>
          </p:spPr>
          <p:txBody>
            <a:bodyPr wrap="square" lIns="57148" tIns="28574" rIns="57148" bIns="28574">
              <a:spAutoFit/>
            </a:bodyPr>
            <a:lstStyle/>
            <a:p>
              <a:pPr marL="0" marR="0" lvl="0" indent="0" algn="l" defTabSz="321450" rtl="0" eaLnBrk="1" fontAlgn="auto" latinLnBrk="0" hangingPunct="1">
                <a:lnSpc>
                  <a:spcPts val="1031"/>
                </a:lnSpc>
                <a:spcBef>
                  <a:spcPts val="0"/>
                </a:spcBef>
                <a:spcAft>
                  <a:spcPts val="0"/>
                </a:spcAft>
                <a:buClrTx/>
                <a:buSzTx/>
                <a:buFontTx/>
                <a:buNone/>
                <a:tabLst/>
                <a:defRPr/>
              </a:pPr>
              <a:r>
                <a:rPr kumimoji="0" lang="en-US" sz="788" b="1" i="0" u="none" strike="noStrike" kern="0" cap="none" spc="0" normalizeH="0" baseline="0" noProof="0">
                  <a:ln>
                    <a:noFill/>
                  </a:ln>
                  <a:solidFill>
                    <a:prstClr val="black"/>
                  </a:solidFill>
                  <a:effectLst/>
                  <a:uLnTx/>
                  <a:uFillTx/>
                  <a:latin typeface="Calibri"/>
                  <a:ea typeface="+mn-ea"/>
                  <a:cs typeface="Calibri"/>
                </a:rPr>
                <a:t>MRD positive</a:t>
              </a:r>
            </a:p>
            <a:p>
              <a:pPr marL="0" marR="0" lvl="0" indent="0" algn="l" defTabSz="321450" rtl="0" eaLnBrk="1" fontAlgn="auto" latinLnBrk="0" hangingPunct="1">
                <a:lnSpc>
                  <a:spcPts val="1031"/>
                </a:lnSpc>
                <a:spcBef>
                  <a:spcPts val="0"/>
                </a:spcBef>
                <a:spcAft>
                  <a:spcPts val="0"/>
                </a:spcAft>
                <a:buClrTx/>
                <a:buSzTx/>
                <a:buFontTx/>
                <a:buNone/>
                <a:tabLst/>
                <a:defRPr/>
              </a:pPr>
              <a:r>
                <a:rPr kumimoji="0" lang="en-US" sz="788" b="1" i="0" u="none" strike="noStrike" kern="0" cap="none" spc="0" normalizeH="0" baseline="0" noProof="0">
                  <a:ln>
                    <a:noFill/>
                  </a:ln>
                  <a:solidFill>
                    <a:prstClr val="black"/>
                  </a:solidFill>
                  <a:effectLst/>
                  <a:uLnTx/>
                  <a:uFillTx/>
                  <a:latin typeface="Calibri"/>
                  <a:ea typeface="+mn-ea"/>
                  <a:cs typeface="Calibri"/>
                </a:rPr>
                <a:t>MRD negative</a:t>
              </a:r>
              <a:endParaRPr kumimoji="0" lang="en-US" sz="788" b="1" i="0" u="none" strike="noStrike" kern="0" cap="none" spc="0" normalizeH="0" baseline="30000" noProof="0">
                <a:ln>
                  <a:noFill/>
                </a:ln>
                <a:solidFill>
                  <a:prstClr val="black"/>
                </a:solidFill>
                <a:effectLst/>
                <a:uLnTx/>
                <a:uFillTx/>
                <a:latin typeface="Calibri"/>
                <a:ea typeface="+mn-ea"/>
                <a:cs typeface="Calibri"/>
              </a:endParaRPr>
            </a:p>
          </p:txBody>
        </p:sp>
      </p:grpSp>
      <p:grpSp>
        <p:nvGrpSpPr>
          <p:cNvPr id="3" name="Grupo 2">
            <a:extLst>
              <a:ext uri="{FF2B5EF4-FFF2-40B4-BE49-F238E27FC236}">
                <a16:creationId xmlns:a16="http://schemas.microsoft.com/office/drawing/2014/main" id="{4425DCA1-FF8E-2C40-BF1B-AD71C20D0DCC}"/>
              </a:ext>
            </a:extLst>
          </p:cNvPr>
          <p:cNvGrpSpPr/>
          <p:nvPr/>
        </p:nvGrpSpPr>
        <p:grpSpPr>
          <a:xfrm>
            <a:off x="5385314" y="1453451"/>
            <a:ext cx="3353169" cy="2429160"/>
            <a:chOff x="6601478" y="1028732"/>
            <a:chExt cx="2846168" cy="3238880"/>
          </a:xfrm>
        </p:grpSpPr>
        <p:sp>
          <p:nvSpPr>
            <p:cNvPr id="168" name="Rectangle 19">
              <a:extLst>
                <a:ext uri="{FF2B5EF4-FFF2-40B4-BE49-F238E27FC236}">
                  <a16:creationId xmlns:a16="http://schemas.microsoft.com/office/drawing/2014/main" id="{D42E4387-3A6D-034E-8E7E-878AB64557FE}"/>
                </a:ext>
              </a:extLst>
            </p:cNvPr>
            <p:cNvSpPr/>
            <p:nvPr/>
          </p:nvSpPr>
          <p:spPr>
            <a:xfrm>
              <a:off x="6944454" y="1028732"/>
              <a:ext cx="2503192" cy="323888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1519"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69" name="TextBox 40">
              <a:extLst>
                <a:ext uri="{FF2B5EF4-FFF2-40B4-BE49-F238E27FC236}">
                  <a16:creationId xmlns:a16="http://schemas.microsoft.com/office/drawing/2014/main" id="{3534DEE3-E9AD-3F4D-AEF4-6C3861A1CEF9}"/>
                </a:ext>
              </a:extLst>
            </p:cNvPr>
            <p:cNvSpPr txBox="1"/>
            <p:nvPr/>
          </p:nvSpPr>
          <p:spPr>
            <a:xfrm>
              <a:off x="6918766" y="3921988"/>
              <a:ext cx="2469052" cy="304869"/>
            </a:xfrm>
            <a:prstGeom prst="rect">
              <a:avLst/>
            </a:prstGeom>
            <a:noFill/>
          </p:spPr>
          <p:txBody>
            <a:bodyPr wrap="none" rtlCol="0">
              <a:spAutoFit/>
            </a:bodyPr>
            <a:lstStyle/>
            <a:p>
              <a:pPr marL="0" marR="0" lvl="0" indent="0" algn="ctr" defTabSz="289339" rtl="0" eaLnBrk="1" fontAlgn="auto" latinLnBrk="0" hangingPunct="1">
                <a:lnSpc>
                  <a:spcPct val="100000"/>
                </a:lnSpc>
                <a:spcBef>
                  <a:spcPts val="0"/>
                </a:spcBef>
                <a:spcAft>
                  <a:spcPts val="0"/>
                </a:spcAft>
                <a:buClrTx/>
                <a:buSzTx/>
                <a:buFontTx/>
                <a:buNone/>
                <a:tabLst/>
                <a:defRPr/>
              </a:pPr>
              <a:r>
                <a:rPr kumimoji="0" lang="en-US" sz="886" b="1" i="0" u="none" strike="noStrike" kern="0" cap="none" spc="0" normalizeH="0" baseline="0" noProof="0">
                  <a:ln>
                    <a:noFill/>
                  </a:ln>
                  <a:solidFill>
                    <a:srgbClr val="4C4C4C"/>
                  </a:solidFill>
                  <a:effectLst/>
                  <a:uLnTx/>
                  <a:uFillTx/>
                  <a:latin typeface="Calibri" panose="020F0502020204030204" pitchFamily="34" charset="0"/>
                  <a:ea typeface="+mn-ea"/>
                  <a:cs typeface="Calibri" panose="020F0502020204030204" pitchFamily="34" charset="0"/>
                </a:rPr>
                <a:t>MRD-negative rate (10</a:t>
              </a:r>
              <a:r>
                <a:rPr kumimoji="0" lang="en-US" sz="886" b="1" i="0" u="none" strike="noStrike" kern="0" cap="none" spc="0" normalizeH="0" baseline="30000" noProof="0">
                  <a:ln>
                    <a:noFill/>
                  </a:ln>
                  <a:solidFill>
                    <a:srgbClr val="4C4C4C"/>
                  </a:solidFill>
                  <a:effectLst/>
                  <a:uLnTx/>
                  <a:uFillTx/>
                  <a:latin typeface="Calibri" panose="020F0502020204030204" pitchFamily="34" charset="0"/>
                  <a:ea typeface="+mn-ea"/>
                  <a:cs typeface="Calibri" panose="020F0502020204030204" pitchFamily="34" charset="0"/>
                </a:rPr>
                <a:t>−6</a:t>
              </a:r>
              <a:r>
                <a:rPr kumimoji="0" lang="en-US" sz="886" b="1" i="0" u="none" strike="noStrike" kern="0" cap="none" spc="0" normalizeH="0" baseline="0" noProof="0">
                  <a:ln>
                    <a:noFill/>
                  </a:ln>
                  <a:solidFill>
                    <a:srgbClr val="4C4C4C"/>
                  </a:solidFill>
                  <a:effectLst/>
                  <a:uLnTx/>
                  <a:uFillTx/>
                  <a:latin typeface="Calibri" panose="020F0502020204030204" pitchFamily="34" charset="0"/>
                  <a:ea typeface="+mn-ea"/>
                  <a:cs typeface="Calibri" panose="020F0502020204030204" pitchFamily="34" charset="0"/>
                </a:rPr>
                <a:t> threshold)</a:t>
              </a:r>
              <a:endParaRPr kumimoji="0" lang="en-US" sz="886" b="1" i="0" u="none" strike="noStrike" kern="0" cap="none" spc="0" normalizeH="0" baseline="30000" noProof="0">
                <a:ln>
                  <a:noFill/>
                </a:ln>
                <a:solidFill>
                  <a:srgbClr val="4C4C4C"/>
                </a:solidFill>
                <a:effectLst/>
                <a:uLnTx/>
                <a:uFillTx/>
                <a:latin typeface="Calibri" panose="020F0502020204030204" pitchFamily="34" charset="0"/>
                <a:ea typeface="+mn-ea"/>
                <a:cs typeface="Calibri" panose="020F0502020204030204" pitchFamily="34" charset="0"/>
              </a:endParaRPr>
            </a:p>
          </p:txBody>
        </p:sp>
        <p:graphicFrame>
          <p:nvGraphicFramePr>
            <p:cNvPr id="170" name="Chart 41">
              <a:extLst>
                <a:ext uri="{FF2B5EF4-FFF2-40B4-BE49-F238E27FC236}">
                  <a16:creationId xmlns:a16="http://schemas.microsoft.com/office/drawing/2014/main" id="{4F51FCD5-D845-9E4C-8559-31ECE909F0B8}"/>
                </a:ext>
              </a:extLst>
            </p:cNvPr>
            <p:cNvGraphicFramePr/>
            <p:nvPr/>
          </p:nvGraphicFramePr>
          <p:xfrm>
            <a:off x="7177791" y="1485591"/>
            <a:ext cx="2233721" cy="2404250"/>
          </p:xfrm>
          <a:graphic>
            <a:graphicData uri="http://schemas.openxmlformats.org/drawingml/2006/chart">
              <c:chart xmlns:c="http://schemas.openxmlformats.org/drawingml/2006/chart" xmlns:r="http://schemas.openxmlformats.org/officeDocument/2006/relationships" r:id="rId3"/>
            </a:graphicData>
          </a:graphic>
        </p:graphicFrame>
        <p:sp>
          <p:nvSpPr>
            <p:cNvPr id="171" name="TextBox 5">
              <a:extLst>
                <a:ext uri="{FF2B5EF4-FFF2-40B4-BE49-F238E27FC236}">
                  <a16:creationId xmlns:a16="http://schemas.microsoft.com/office/drawing/2014/main" id="{CD843053-6511-B747-8925-75D867CD85DD}"/>
                </a:ext>
              </a:extLst>
            </p:cNvPr>
            <p:cNvSpPr txBox="1"/>
            <p:nvPr/>
          </p:nvSpPr>
          <p:spPr>
            <a:xfrm>
              <a:off x="6601478" y="2172911"/>
              <a:ext cx="1329852" cy="330945"/>
            </a:xfrm>
            <a:prstGeom prst="rect">
              <a:avLst/>
            </a:prstGeom>
            <a:noFill/>
          </p:spPr>
          <p:txBody>
            <a:bodyPr wrap="none" rtlCol="0">
              <a:spAutoFit/>
            </a:bodyPr>
            <a:lstStyle/>
            <a:p>
              <a:pPr marL="0" marR="0" lvl="0" indent="0" algn="r" defTabSz="914400" rtl="0" eaLnBrk="0" fontAlgn="base" latinLnBrk="0" hangingPunct="0">
                <a:lnSpc>
                  <a:spcPct val="100000"/>
                </a:lnSpc>
                <a:spcBef>
                  <a:spcPct val="20000"/>
                </a:spcBef>
                <a:spcAft>
                  <a:spcPct val="0"/>
                </a:spcAft>
                <a:buClrTx/>
                <a:buSzTx/>
                <a:buFontTx/>
                <a:buNone/>
                <a:tabLst/>
                <a:defRPr/>
              </a:pPr>
              <a:r>
                <a:rPr kumimoji="0" lang="en-US" sz="1013" b="1" i="0" u="none" strike="noStrike" kern="1200" cap="none" spc="0" normalizeH="0" baseline="0" noProof="0">
                  <a:ln>
                    <a:noFill/>
                  </a:ln>
                  <a:solidFill>
                    <a:srgbClr val="595454"/>
                  </a:solidFill>
                  <a:effectLst/>
                  <a:uLnTx/>
                  <a:uFillTx/>
                  <a:latin typeface="Calibri" panose="020F0502020204030204" pitchFamily="34" charset="0"/>
                  <a:ea typeface="+mn-ea"/>
                  <a:cs typeface="Calibri" panose="020F0502020204030204" pitchFamily="34" charset="0"/>
                </a:rPr>
                <a:t>Post-induction</a:t>
              </a:r>
            </a:p>
          </p:txBody>
        </p:sp>
        <p:sp>
          <p:nvSpPr>
            <p:cNvPr id="172" name="TextBox 51">
              <a:extLst>
                <a:ext uri="{FF2B5EF4-FFF2-40B4-BE49-F238E27FC236}">
                  <a16:creationId xmlns:a16="http://schemas.microsoft.com/office/drawing/2014/main" id="{71041593-5990-EF47-88D4-0AAF3DAB4914}"/>
                </a:ext>
              </a:extLst>
            </p:cNvPr>
            <p:cNvSpPr txBox="1"/>
            <p:nvPr/>
          </p:nvSpPr>
          <p:spPr>
            <a:xfrm>
              <a:off x="6954141" y="3062063"/>
              <a:ext cx="977191" cy="330945"/>
            </a:xfrm>
            <a:prstGeom prst="rect">
              <a:avLst/>
            </a:prstGeom>
            <a:noFill/>
          </p:spPr>
          <p:txBody>
            <a:bodyPr wrap="none" rtlCol="0">
              <a:spAutoFit/>
            </a:bodyPr>
            <a:lstStyle/>
            <a:p>
              <a:pPr marL="0" marR="0" lvl="0" indent="0" algn="r" defTabSz="914400" rtl="0" eaLnBrk="0" fontAlgn="base" latinLnBrk="0" hangingPunct="0">
                <a:lnSpc>
                  <a:spcPct val="100000"/>
                </a:lnSpc>
                <a:spcBef>
                  <a:spcPct val="20000"/>
                </a:spcBef>
                <a:spcAft>
                  <a:spcPct val="0"/>
                </a:spcAft>
                <a:buClrTx/>
                <a:buSzTx/>
                <a:buFontTx/>
                <a:buNone/>
                <a:tabLst/>
                <a:defRPr/>
              </a:pPr>
              <a:r>
                <a:rPr kumimoji="0" lang="en-US" sz="1013" b="1" i="0" u="none" strike="noStrike" kern="1200" cap="none" spc="0" normalizeH="0" baseline="0" noProof="0">
                  <a:ln>
                    <a:noFill/>
                  </a:ln>
                  <a:solidFill>
                    <a:srgbClr val="595454"/>
                  </a:solidFill>
                  <a:effectLst/>
                  <a:uLnTx/>
                  <a:uFillTx/>
                  <a:latin typeface="Calibri" panose="020F0502020204030204" pitchFamily="34" charset="0"/>
                  <a:ea typeface="+mn-ea"/>
                  <a:cs typeface="Calibri" panose="020F0502020204030204" pitchFamily="34" charset="0"/>
                </a:rPr>
                <a:t>Post-ASCT</a:t>
              </a:r>
            </a:p>
          </p:txBody>
        </p:sp>
        <p:sp>
          <p:nvSpPr>
            <p:cNvPr id="173" name="TextBox 42">
              <a:extLst>
                <a:ext uri="{FF2B5EF4-FFF2-40B4-BE49-F238E27FC236}">
                  <a16:creationId xmlns:a16="http://schemas.microsoft.com/office/drawing/2014/main" id="{1B7D9FCD-9CD5-4640-9EB9-95E989B4EC15}"/>
                </a:ext>
              </a:extLst>
            </p:cNvPr>
            <p:cNvSpPr txBox="1"/>
            <p:nvPr/>
          </p:nvSpPr>
          <p:spPr>
            <a:xfrm>
              <a:off x="7681232" y="1194956"/>
              <a:ext cx="1115988" cy="338555"/>
            </a:xfrm>
            <a:prstGeom prst="rect">
              <a:avLst/>
            </a:prstGeom>
            <a:noFill/>
          </p:spPr>
          <p:txBody>
            <a:bodyPr wrap="none" rtlCol="0">
              <a:spAutoFit/>
            </a:bodyPr>
            <a:lstStyle/>
            <a:p>
              <a:pPr marL="0" marR="0" lvl="0" indent="0" algn="ctr" defTabSz="289339"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4C4C4C"/>
                  </a:solidFill>
                  <a:effectLst/>
                  <a:uLnTx/>
                  <a:uFillTx/>
                  <a:latin typeface="Calibri" panose="020F0502020204030204" pitchFamily="34" charset="0"/>
                  <a:ea typeface="+mn-ea"/>
                  <a:cs typeface="Calibri" panose="020F0502020204030204" pitchFamily="34" charset="0"/>
                </a:rPr>
                <a:t>PETHEMA GEM2012</a:t>
              </a:r>
              <a:endParaRPr kumimoji="0" lang="en-US" sz="1050" b="1" i="0" u="none" strike="noStrike" kern="0" cap="none" spc="0" normalizeH="0" baseline="30000" noProof="0">
                <a:ln>
                  <a:noFill/>
                </a:ln>
                <a:solidFill>
                  <a:srgbClr val="4C4C4C"/>
                </a:solidFill>
                <a:effectLst/>
                <a:uLnTx/>
                <a:uFillTx/>
                <a:latin typeface="Calibri" panose="020F0502020204030204" pitchFamily="34" charset="0"/>
                <a:ea typeface="+mn-ea"/>
                <a:cs typeface="Calibri" panose="020F0502020204030204" pitchFamily="34" charset="0"/>
              </a:endParaRPr>
            </a:p>
          </p:txBody>
        </p:sp>
      </p:grpSp>
      <p:sp>
        <p:nvSpPr>
          <p:cNvPr id="167" name="Marcador de texto 7">
            <a:extLst>
              <a:ext uri="{FF2B5EF4-FFF2-40B4-BE49-F238E27FC236}">
                <a16:creationId xmlns:a16="http://schemas.microsoft.com/office/drawing/2014/main" id="{B4B64BF5-3345-4CE9-99DA-7CD4BED8843B}"/>
              </a:ext>
            </a:extLst>
          </p:cNvPr>
          <p:cNvSpPr txBox="1">
            <a:spLocks/>
          </p:cNvSpPr>
          <p:nvPr/>
        </p:nvSpPr>
        <p:spPr>
          <a:xfrm>
            <a:off x="2578941" y="4827721"/>
            <a:ext cx="6310617" cy="235679"/>
          </a:xfrm>
          <a:prstGeom prst="rect">
            <a:avLst/>
          </a:prstGeom>
        </p:spPr>
        <p:txBody>
          <a:bodyPr vert="horz" wrap="square" lIns="0" tIns="0" rIns="0" bIns="81000" spcCol="301752" rtlCol="0" anchor="b">
            <a:spAutoFit/>
          </a:bodyPr>
          <a:lstStyle>
            <a:lvl1pPr marL="0" indent="0" algn="l" defTabSz="771525" rtl="0" eaLnBrk="1" latinLnBrk="0" hangingPunct="1">
              <a:lnSpc>
                <a:spcPct val="100000"/>
              </a:lnSpc>
              <a:spcBef>
                <a:spcPts val="0"/>
              </a:spcBef>
              <a:buFont typeface="Trebuchet MS" panose="020B0603020202020204" pitchFamily="34" charset="0"/>
              <a:buNone/>
              <a:defRPr sz="844" kern="1200">
                <a:solidFill>
                  <a:schemeClr val="tx1"/>
                </a:solidFill>
                <a:latin typeface="+mn-lt"/>
                <a:ea typeface="+mn-ea"/>
                <a:cs typeface="+mn-cs"/>
              </a:defRPr>
            </a:lvl1pPr>
            <a:lvl2pPr marL="385763"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2pPr>
            <a:lvl3pPr marL="578644"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3pPr>
            <a:lvl4pPr marL="771525"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4pPr>
            <a:lvl5pPr marL="964406" indent="-192881" algn="l" defTabSz="771525" rtl="0" eaLnBrk="1" latinLnBrk="0" hangingPunct="1">
              <a:lnSpc>
                <a:spcPct val="100000"/>
              </a:lnSpc>
              <a:spcBef>
                <a:spcPts val="506"/>
              </a:spcBef>
              <a:buFont typeface="Trebuchet MS" panose="020B0603020202020204" pitchFamily="34" charset="0"/>
              <a:buChar char="—"/>
              <a:defRPr sz="1688" kern="1200">
                <a:solidFill>
                  <a:schemeClr val="tx1"/>
                </a:solidFill>
                <a:latin typeface="+mn-lt"/>
                <a:ea typeface="+mn-ea"/>
                <a:cs typeface="+mn-cs"/>
              </a:defRPr>
            </a:lvl5pPr>
            <a:lvl6pPr marL="1157288"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6pPr>
            <a:lvl7pPr marL="1350169"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7pPr>
            <a:lvl8pPr marL="1543050"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8pPr>
            <a:lvl9pPr marL="1735931" indent="-192881" algn="l" defTabSz="771525" rtl="0" eaLnBrk="1" latinLnBrk="0" hangingPunct="1">
              <a:lnSpc>
                <a:spcPct val="100000"/>
              </a:lnSpc>
              <a:spcBef>
                <a:spcPts val="338"/>
              </a:spcBef>
              <a:buFont typeface="Trebuchet MS" panose="020B0603020202020204" pitchFamily="34" charset="0"/>
              <a:buChar char="—"/>
              <a:defRPr sz="1688" kern="1200">
                <a:solidFill>
                  <a:schemeClr val="tx1"/>
                </a:solidFill>
                <a:latin typeface="+mn-lt"/>
                <a:ea typeface="+mn-ea"/>
                <a:cs typeface="+mn-cs"/>
              </a:defRPr>
            </a:lvl9pPr>
          </a:lstStyle>
          <a:p>
            <a:pPr marL="0" marR="0" lvl="0" indent="0" algn="r" defTabSz="771525" rtl="0" eaLnBrk="1" fontAlgn="auto" latinLnBrk="0" hangingPunct="1">
              <a:lnSpc>
                <a:spcPct val="100000"/>
              </a:lnSpc>
              <a:spcBef>
                <a:spcPts val="0"/>
              </a:spcBef>
              <a:spcAft>
                <a:spcPts val="0"/>
              </a:spcAft>
              <a:buClrTx/>
              <a:buSzTx/>
              <a:buFont typeface="Trebuchet MS" panose="020B0603020202020204" pitchFamily="34" charset="0"/>
              <a:buNone/>
              <a:tabLst/>
              <a:defRPr/>
            </a:pPr>
            <a:r>
              <a:rPr kumimoji="0" lang="en-US" sz="1000" b="0" i="0" u="none" strike="noStrike" kern="0" cap="none" spc="-30" normalizeH="0" baseline="0" noProof="0">
                <a:ln>
                  <a:noFill/>
                </a:ln>
                <a:solidFill>
                  <a:srgbClr val="000020"/>
                </a:solidFill>
                <a:effectLst/>
                <a:uLnTx/>
                <a:uFillTx/>
                <a:latin typeface="Trebuchet MS"/>
                <a:ea typeface="ＭＳ Ｐゴシック" charset="-128"/>
              </a:rPr>
              <a:t>Rosiñol Dachs L, </a:t>
            </a:r>
            <a:r>
              <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rPr>
              <a:t>et al. </a:t>
            </a:r>
            <a:r>
              <a:rPr kumimoji="0" lang="en-US" sz="1000" b="0" i="1" u="none" strike="noStrike" kern="1200" cap="none" spc="0" normalizeH="0" baseline="0" noProof="0">
                <a:ln>
                  <a:noFill/>
                </a:ln>
                <a:solidFill>
                  <a:srgbClr val="1A1A1A"/>
                </a:solidFill>
                <a:effectLst/>
                <a:uLnTx/>
                <a:uFillTx/>
                <a:latin typeface="Trebuchet MS"/>
                <a:ea typeface="+mn-ea"/>
                <a:cs typeface="+mn-cs"/>
              </a:rPr>
              <a:t>Blood.</a:t>
            </a:r>
            <a:r>
              <a:rPr kumimoji="0" lang="en-US" sz="1000" b="0" i="0" u="none" strike="noStrike" kern="1200" cap="none" spc="0" normalizeH="0" baseline="0" noProof="0">
                <a:ln>
                  <a:noFill/>
                </a:ln>
                <a:solidFill>
                  <a:srgbClr val="1A1A1A"/>
                </a:solidFill>
                <a:effectLst/>
                <a:uLnTx/>
                <a:uFillTx/>
                <a:latin typeface="Trebuchet MS"/>
                <a:ea typeface="+mn-ea"/>
                <a:cs typeface="+mn-cs"/>
              </a:rPr>
              <a:t> 2018;132(suppl 1): abstract 3245.</a:t>
            </a:r>
            <a:endParaRPr kumimoji="0" lang="es-ES" sz="1000" b="0" i="0" u="none" strike="noStrike" kern="1200" cap="none" spc="0" normalizeH="0" baseline="0" noProof="0">
              <a:ln>
                <a:noFill/>
              </a:ln>
              <a:solidFill>
                <a:srgbClr val="595454">
                  <a:lumMod val="50000"/>
                </a:srgbClr>
              </a:solidFill>
              <a:effectLst/>
              <a:uLnTx/>
              <a:uFillTx/>
              <a:latin typeface="Trebuchet MS"/>
              <a:ea typeface="+mn-ea"/>
              <a:cs typeface="+mn-cs"/>
            </a:endParaRPr>
          </a:p>
        </p:txBody>
      </p:sp>
    </p:spTree>
    <p:extLst>
      <p:ext uri="{BB962C8B-B14F-4D97-AF65-F5344CB8AC3E}">
        <p14:creationId xmlns:p14="http://schemas.microsoft.com/office/powerpoint/2010/main" val="7461048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GMMA">
      <a:dk1>
        <a:srgbClr val="000000"/>
      </a:dk1>
      <a:lt1>
        <a:srgbClr val="FFFFFF"/>
      </a:lt1>
      <a:dk2>
        <a:srgbClr val="44546A"/>
      </a:dk2>
      <a:lt2>
        <a:srgbClr val="E7E6E6"/>
      </a:lt2>
      <a:accent1>
        <a:srgbClr val="00A9B7"/>
      </a:accent1>
      <a:accent2>
        <a:srgbClr val="236192"/>
      </a:accent2>
      <a:accent3>
        <a:srgbClr val="F57F28"/>
      </a:accent3>
      <a:accent4>
        <a:srgbClr val="00B140"/>
      </a:accent4>
      <a:accent5>
        <a:srgbClr val="007FA3"/>
      </a:accent5>
      <a:accent6>
        <a:srgbClr val="808285"/>
      </a:accent6>
      <a:hlink>
        <a:srgbClr val="414141"/>
      </a:hlink>
      <a:folHlink>
        <a:srgbClr val="E6E7E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extLst>
    <a:ext uri="{05A4C25C-085E-4340-85A3-A5531E510DB2}">
      <thm15:themeFamily xmlns:thm15="http://schemas.microsoft.com/office/thememl/2012/main" name="BMS Celgene PowerPoint Template 28Feb2020" id="{84CAF52A-11F7-4899-8E86-BD4B624511B9}" vid="{89DFA61F-4BD8-4221-8BD8-F2B2E6C9AD96}"/>
    </a:ext>
  </a:extLst>
</a:theme>
</file>

<file path=ppt/theme/theme13.xml><?xml version="1.0" encoding="utf-8"?>
<a:theme xmlns:a="http://schemas.openxmlformats.org/drawingml/2006/main" name="1_Office">
  <a:themeElements>
    <a:clrScheme name="Benutzerdefiniert 5">
      <a:dk1>
        <a:srgbClr val="000000"/>
      </a:dk1>
      <a:lt1>
        <a:srgbClr val="FFFFFF"/>
      </a:lt1>
      <a:dk2>
        <a:srgbClr val="4F88C2"/>
      </a:dk2>
      <a:lt2>
        <a:srgbClr val="EAF4EE"/>
      </a:lt2>
      <a:accent1>
        <a:srgbClr val="4F88C2"/>
      </a:accent1>
      <a:accent2>
        <a:srgbClr val="5EAE93"/>
      </a:accent2>
      <a:accent3>
        <a:srgbClr val="F08262"/>
      </a:accent3>
      <a:accent4>
        <a:srgbClr val="BB6478"/>
      </a:accent4>
      <a:accent5>
        <a:srgbClr val="4F88C2"/>
      </a:accent5>
      <a:accent6>
        <a:srgbClr val="5EAE93"/>
      </a:accent6>
      <a:hlink>
        <a:srgbClr val="E30613"/>
      </a:hlink>
      <a:folHlink>
        <a:srgbClr val="13439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solidFill>
            <a:schemeClr val="tx1"/>
          </a:solidFill>
        </a:ln>
      </a:spPr>
      <a:bodyPr wrap="square" rtlCol="0">
        <a:spAutoFit/>
      </a:bodyPr>
      <a:lstStyle>
        <a:defPPr>
          <a:defRPr sz="2800" dirty="0" smtClean="0"/>
        </a:defPPr>
      </a:lstStyle>
    </a:txDef>
  </a:objectDefaults>
  <a:extraClrSchemeLst/>
  <a:extLst>
    <a:ext uri="{05A4C25C-085E-4340-85A3-A5531E510DB2}">
      <thm15:themeFamily xmlns:thm15="http://schemas.microsoft.com/office/thememl/2012/main" name="ppt20_allgemein" id="{A99A90E9-3C1F-458F-BF73-9AB3886AEB0C}" vid="{EA3FE29C-5F12-44FD-B2FF-CA31BD66346D}"/>
    </a:ext>
  </a:extLst>
</a:theme>
</file>

<file path=ppt/theme/theme14.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FormalWhite-sampl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FormalWhite-samp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1" u="none" strike="noStrike" cap="none" normalizeH="0" baseline="0">
            <a:ln>
              <a:noFill/>
            </a:ln>
            <a:solidFill>
              <a:schemeClr val="tx1"/>
            </a:solidFill>
            <a:effectLst/>
            <a:latin typeface="Arial" pitchFamily="-10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1" u="none" strike="noStrike" cap="none" normalizeH="0" baseline="0">
            <a:ln>
              <a:noFill/>
            </a:ln>
            <a:solidFill>
              <a:schemeClr val="tx1"/>
            </a:solidFill>
            <a:effectLst/>
            <a:latin typeface="Arial" pitchFamily="-108" charset="0"/>
          </a:defRPr>
        </a:defPPr>
      </a:lstStyle>
    </a:lnDef>
  </a:objectDefaults>
  <a:extraClrSchemeLst>
    <a:extraClrScheme>
      <a:clrScheme name="FormalWhite-sampl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FormalWhite-sampl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FormalWhite-sampl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FormalWhite-sampl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FormalWhite-sampl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FormalWhite-sampl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FormalWhite-sampl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FormalWhite-sample 8">
        <a:dk1>
          <a:srgbClr val="000000"/>
        </a:dk1>
        <a:lt1>
          <a:srgbClr val="FFFFFF"/>
        </a:lt1>
        <a:dk2>
          <a:srgbClr val="0066FF"/>
        </a:dk2>
        <a:lt2>
          <a:srgbClr val="808080"/>
        </a:lt2>
        <a:accent1>
          <a:srgbClr val="FF6600"/>
        </a:accent1>
        <a:accent2>
          <a:srgbClr val="00CCFF"/>
        </a:accent2>
        <a:accent3>
          <a:srgbClr val="FFFFFF"/>
        </a:accent3>
        <a:accent4>
          <a:srgbClr val="000000"/>
        </a:accent4>
        <a:accent5>
          <a:srgbClr val="FFB8AA"/>
        </a:accent5>
        <a:accent6>
          <a:srgbClr val="00B9E7"/>
        </a:accent6>
        <a:hlink>
          <a:srgbClr val="FF0000"/>
        </a:hlink>
        <a:folHlink>
          <a:srgbClr val="33CC3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8_Office Theme">
  <a:themeElements>
    <a:clrScheme name="Custom 5">
      <a:dk1>
        <a:srgbClr val="000000"/>
      </a:dk1>
      <a:lt1>
        <a:sysClr val="window" lastClr="FFFFFF"/>
      </a:lt1>
      <a:dk2>
        <a:srgbClr val="898989"/>
      </a:dk2>
      <a:lt2>
        <a:srgbClr val="D8D9DB"/>
      </a:lt2>
      <a:accent1>
        <a:srgbClr val="CD113B"/>
      </a:accent1>
      <a:accent2>
        <a:srgbClr val="C00000"/>
      </a:accent2>
      <a:accent3>
        <a:srgbClr val="730002"/>
      </a:accent3>
      <a:accent4>
        <a:srgbClr val="404142"/>
      </a:accent4>
      <a:accent5>
        <a:srgbClr val="336699"/>
      </a:accent5>
      <a:accent6>
        <a:srgbClr val="FF9999"/>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Tema de Office">
  <a:themeElements>
    <a:clrScheme name="Tema d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elgene USMA Oncology March 2017">
    <a:dk1>
      <a:srgbClr val="4C4C4C"/>
    </a:dk1>
    <a:lt1>
      <a:srgbClr val="FFFFFF"/>
    </a:lt1>
    <a:dk2>
      <a:srgbClr val="4C4C4C"/>
    </a:dk2>
    <a:lt2>
      <a:srgbClr val="FFFFFF"/>
    </a:lt2>
    <a:accent1>
      <a:srgbClr val="222658"/>
    </a:accent1>
    <a:accent2>
      <a:srgbClr val="1EA9DB"/>
    </a:accent2>
    <a:accent3>
      <a:srgbClr val="BD3333"/>
    </a:accent3>
    <a:accent4>
      <a:srgbClr val="8F1176"/>
    </a:accent4>
    <a:accent5>
      <a:srgbClr val="54ADA4"/>
    </a:accent5>
    <a:accent6>
      <a:srgbClr val="D1890D"/>
    </a:accent6>
    <a:hlink>
      <a:srgbClr val="52A9E3"/>
    </a:hlink>
    <a:folHlink>
      <a:srgbClr val="A5A5A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elgene USMA Oncology March 2017">
    <a:dk1>
      <a:srgbClr val="4C4C4C"/>
    </a:dk1>
    <a:lt1>
      <a:srgbClr val="FFFFFF"/>
    </a:lt1>
    <a:dk2>
      <a:srgbClr val="4C4C4C"/>
    </a:dk2>
    <a:lt2>
      <a:srgbClr val="FFFFFF"/>
    </a:lt2>
    <a:accent1>
      <a:srgbClr val="222658"/>
    </a:accent1>
    <a:accent2>
      <a:srgbClr val="1EA9DB"/>
    </a:accent2>
    <a:accent3>
      <a:srgbClr val="BD3333"/>
    </a:accent3>
    <a:accent4>
      <a:srgbClr val="8F1176"/>
    </a:accent4>
    <a:accent5>
      <a:srgbClr val="54ADA4"/>
    </a:accent5>
    <a:accent6>
      <a:srgbClr val="D1890D"/>
    </a:accent6>
    <a:hlink>
      <a:srgbClr val="52A9E3"/>
    </a:hlink>
    <a:folHlink>
      <a:srgbClr val="A5A5A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elgene USMA Oncology March 2017">
    <a:dk1>
      <a:srgbClr val="4C4C4C"/>
    </a:dk1>
    <a:lt1>
      <a:srgbClr val="FFFFFF"/>
    </a:lt1>
    <a:dk2>
      <a:srgbClr val="4C4C4C"/>
    </a:dk2>
    <a:lt2>
      <a:srgbClr val="FFFFFF"/>
    </a:lt2>
    <a:accent1>
      <a:srgbClr val="222658"/>
    </a:accent1>
    <a:accent2>
      <a:srgbClr val="1EA9DB"/>
    </a:accent2>
    <a:accent3>
      <a:srgbClr val="BD3333"/>
    </a:accent3>
    <a:accent4>
      <a:srgbClr val="8F1176"/>
    </a:accent4>
    <a:accent5>
      <a:srgbClr val="54ADA4"/>
    </a:accent5>
    <a:accent6>
      <a:srgbClr val="D1890D"/>
    </a:accent6>
    <a:hlink>
      <a:srgbClr val="52A9E3"/>
    </a:hlink>
    <a:folHlink>
      <a:srgbClr val="A5A5A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35">
    <a:dk1>
      <a:srgbClr val="000000"/>
    </a:dk1>
    <a:lt1>
      <a:srgbClr val="FFFFFF"/>
    </a:lt1>
    <a:dk2>
      <a:srgbClr val="000000"/>
    </a:dk2>
    <a:lt2>
      <a:srgbClr val="C0C0C0"/>
    </a:lt2>
    <a:accent1>
      <a:srgbClr val="C0362C"/>
    </a:accent1>
    <a:accent2>
      <a:srgbClr val="777777"/>
    </a:accent2>
    <a:accent3>
      <a:srgbClr val="007CC2"/>
    </a:accent3>
    <a:accent4>
      <a:srgbClr val="FCC30C"/>
    </a:accent4>
    <a:accent5>
      <a:srgbClr val="42865C"/>
    </a:accent5>
    <a:accent6>
      <a:srgbClr val="81B5E2"/>
    </a:accent6>
    <a:hlink>
      <a:srgbClr val="000000"/>
    </a:hlink>
    <a:folHlink>
      <a:srgbClr val="000000"/>
    </a:folHlink>
  </a:clrScheme>
  <a:fontScheme name="Amgen Powerpoin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39435977012747869F121CBCB30E4D" ma:contentTypeVersion="15" ma:contentTypeDescription="Create a new document." ma:contentTypeScope="" ma:versionID="eb31c968e9e019355b212d48610cc464">
  <xsd:schema xmlns:xsd="http://www.w3.org/2001/XMLSchema" xmlns:xs="http://www.w3.org/2001/XMLSchema" xmlns:p="http://schemas.microsoft.com/office/2006/metadata/properties" xmlns:ns1="http://schemas.microsoft.com/sharepoint/v3" xmlns:ns2="4175ef34-c5a9-4ec9-94eb-8106128858b0" xmlns:ns3="0a76a436-438c-46ff-9f13-12c04794d570" targetNamespace="http://schemas.microsoft.com/office/2006/metadata/properties" ma:root="true" ma:fieldsID="0a15ad1f2f08952f493130a446782511" ns1:_="" ns2:_="" ns3:_="">
    <xsd:import namespace="http://schemas.microsoft.com/sharepoint/v3"/>
    <xsd:import namespace="4175ef34-c5a9-4ec9-94eb-8106128858b0"/>
    <xsd:import namespace="0a76a436-438c-46ff-9f13-12c04794d57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75ef34-c5a9-4ec9-94eb-8106128858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a76a436-438c-46ff-9f13-12c04794d57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B36DD794-9F54-45B3-B013-32C0E706B0FE}"/>
</file>

<file path=customXml/itemProps2.xml><?xml version="1.0" encoding="utf-8"?>
<ds:datastoreItem xmlns:ds="http://schemas.openxmlformats.org/officeDocument/2006/customXml" ds:itemID="{DAFB276E-35A1-4E21-9E19-B238D440E517}">
  <ds:schemaRefs>
    <ds:schemaRef ds:uri="http://schemas.microsoft.com/sharepoint/v3/contenttype/forms"/>
  </ds:schemaRefs>
</ds:datastoreItem>
</file>

<file path=customXml/itemProps3.xml><?xml version="1.0" encoding="utf-8"?>
<ds:datastoreItem xmlns:ds="http://schemas.openxmlformats.org/officeDocument/2006/customXml" ds:itemID="{99FB2D32-B4BF-41A1-898F-F9C152D17D5F}">
  <ds:schemaRefs>
    <ds:schemaRef ds:uri="http://purl.org/dc/elements/1.1/"/>
    <ds:schemaRef ds:uri="http://schemas.microsoft.com/office/2006/metadata/properties"/>
    <ds:schemaRef ds:uri="http://schemas.openxmlformats.org/package/2006/metadata/core-properties"/>
    <ds:schemaRef ds:uri="http://purl.org/dc/terms/"/>
    <ds:schemaRef ds:uri="0d068b83-6393-43b1-b5f0-56fcf750ccaa"/>
    <ds:schemaRef ds:uri="http://schemas.microsoft.com/office/2006/documentManagement/types"/>
    <ds:schemaRef ds:uri="http://www.w3.org/XML/1998/namespace"/>
    <ds:schemaRef ds:uri="http://purl.org/dc/dcmitype/"/>
    <ds:schemaRef ds:uri="f5c4c794-b219-42cb-bfc6-7bd5e3fe7365"/>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20048</Words>
  <Application>Microsoft Office PowerPoint</Application>
  <PresentationFormat>On-screen Show (16:9)</PresentationFormat>
  <Paragraphs>3384</Paragraphs>
  <Slides>238</Slides>
  <Notes>86</Notes>
  <HiddenSlides>1</HiddenSlides>
  <MMClips>0</MMClips>
  <ScaleCrop>false</ScaleCrop>
  <HeadingPairs>
    <vt:vector size="8" baseType="variant">
      <vt:variant>
        <vt:lpstr>Fonts Used</vt:lpstr>
      </vt:variant>
      <vt:variant>
        <vt:i4>26</vt:i4>
      </vt:variant>
      <vt:variant>
        <vt:lpstr>Theme</vt:lpstr>
      </vt:variant>
      <vt:variant>
        <vt:i4>14</vt:i4>
      </vt:variant>
      <vt:variant>
        <vt:lpstr>Embedded OLE Servers</vt:lpstr>
      </vt:variant>
      <vt:variant>
        <vt:i4>2</vt:i4>
      </vt:variant>
      <vt:variant>
        <vt:lpstr>Slide Titles</vt:lpstr>
      </vt:variant>
      <vt:variant>
        <vt:i4>238</vt:i4>
      </vt:variant>
    </vt:vector>
  </HeadingPairs>
  <TitlesOfParts>
    <vt:vector size="280" baseType="lpstr">
      <vt:lpstr>AdvOTd710a12c</vt:lpstr>
      <vt:lpstr>Arial</vt:lpstr>
      <vt:lpstr>Arial</vt:lpstr>
      <vt:lpstr>Arial Nova</vt:lpstr>
      <vt:lpstr>Bahnschrift Condensed</vt:lpstr>
      <vt:lpstr>Book Antiqua</vt:lpstr>
      <vt:lpstr>Calibri</vt:lpstr>
      <vt:lpstr>Calibri Light</vt:lpstr>
      <vt:lpstr>Courier New</vt:lpstr>
      <vt:lpstr>Franklin Gothic Book</vt:lpstr>
      <vt:lpstr>Franklin Gothic Medium Cond</vt:lpstr>
      <vt:lpstr>Frutiger LT Com 55 Roman</vt:lpstr>
      <vt:lpstr>Lucida Sans Unicode</vt:lpstr>
      <vt:lpstr>Myriad Pro</vt:lpstr>
      <vt:lpstr>Open Sans</vt:lpstr>
      <vt:lpstr>Open Sans Semibold</vt:lpstr>
      <vt:lpstr>OpenSans</vt:lpstr>
      <vt:lpstr>Roboto</vt:lpstr>
      <vt:lpstr>ScalaLancetPro</vt:lpstr>
      <vt:lpstr>Symbol</vt:lpstr>
      <vt:lpstr>System Font Regular</vt:lpstr>
      <vt:lpstr>Times New Roman</vt:lpstr>
      <vt:lpstr>Trebuchet MS</vt:lpstr>
      <vt:lpstr>Verdana</vt:lpstr>
      <vt:lpstr>Wingdings</vt:lpstr>
      <vt:lpstr>Wingdings 3</vt:lpstr>
      <vt:lpstr>2_Office Theme</vt:lpstr>
      <vt:lpstr>Office Theme</vt:lpstr>
      <vt:lpstr>6_FormalWhite-sample</vt:lpstr>
      <vt:lpstr>6_Office Theme</vt:lpstr>
      <vt:lpstr>7_Office Theme</vt:lpstr>
      <vt:lpstr>8_Office Theme</vt:lpstr>
      <vt:lpstr>4_Office Theme</vt:lpstr>
      <vt:lpstr>7_Tema de Office</vt:lpstr>
      <vt:lpstr>5_Tema de Office</vt:lpstr>
      <vt:lpstr>3_Office Theme</vt:lpstr>
      <vt:lpstr>5_Office Theme</vt:lpstr>
      <vt:lpstr>1_Bristol Myers Squibb</vt:lpstr>
      <vt:lpstr>1_Office</vt:lpstr>
      <vt:lpstr>9_Office Theme</vt:lpstr>
      <vt:lpstr>Acrobat Document</vt:lpstr>
      <vt:lpstr>think-cell Slide</vt:lpstr>
      <vt:lpstr>Global Multiple Myeloma Academy – Day 1</vt:lpstr>
      <vt:lpstr>Welcome and Meeting Overview</vt:lpstr>
      <vt:lpstr>Faculty</vt:lpstr>
      <vt:lpstr>Objectives of the Program</vt:lpstr>
      <vt:lpstr>Proposed Agenda Day 1 – Europe 17.00 – 20.00 (CET)/10.00 – 13.00 (MST)</vt:lpstr>
      <vt:lpstr>Proposed Agenda Day 2 – Europe 17.00 – 20.00 (CET)/10.00 – 13.00 (MST)</vt:lpstr>
      <vt:lpstr>Introduction to the Audience Response System</vt:lpstr>
      <vt:lpstr>Functionality and Settings: Q&amp;A</vt:lpstr>
      <vt:lpstr>Functionality and Settings: Polling Questions</vt:lpstr>
      <vt:lpstr> Question 1</vt:lpstr>
      <vt:lpstr> Question 2</vt:lpstr>
      <vt:lpstr> Question 3</vt:lpstr>
      <vt:lpstr>Smoldering Multiple Myeloma </vt:lpstr>
      <vt:lpstr>PowerPoint Presentation</vt:lpstr>
      <vt:lpstr>Disruption of the cancer care model</vt:lpstr>
      <vt:lpstr>PowerPoint Presentation</vt:lpstr>
      <vt:lpstr>MGUS and SMM lead to MM </vt:lpstr>
      <vt:lpstr>PowerPoint Presentation</vt:lpstr>
      <vt:lpstr>PowerPoint Presentation</vt:lpstr>
      <vt:lpstr>PowerPoint Presentation</vt:lpstr>
      <vt:lpstr>Mass spectrometry</vt:lpstr>
      <vt:lpstr>Prevalence of MGUS and MGIP in the population</vt:lpstr>
      <vt:lpstr>Prevalence by age, sex, and race</vt:lpstr>
      <vt:lpstr>Higher prevalence of HC-MGUS by MS compared with SPEP/IFX in the same PROMISE samples &gt;50 years</vt:lpstr>
      <vt:lpstr>Worse overall survival </vt:lpstr>
      <vt:lpstr>Associations with comorbidities: cardiovascular, autoimmune, and many hematologic malignancies</vt:lpstr>
      <vt:lpstr>PowerPoint Presentation</vt:lpstr>
      <vt:lpstr>2/20/20 model to identify high-risk SMM patients</vt:lpstr>
      <vt:lpstr>PowerPoint Presentation</vt:lpstr>
      <vt:lpstr>Progression risk incorporating FISH</vt:lpstr>
      <vt:lpstr>Impact of circulating plasma cells (CPCs) in smoldering MM</vt:lpstr>
      <vt:lpstr>PowerPoint Presentation</vt:lpstr>
      <vt:lpstr>PowerPoint Presentation</vt:lpstr>
      <vt:lpstr>PowerPoint Presentation</vt:lpstr>
      <vt:lpstr>PowerPoint Presentation</vt:lpstr>
      <vt:lpstr>PowerPoint Presentation</vt:lpstr>
      <vt:lpstr>Genomic landscape of progressors vs non-progressors  (N = 85)</vt:lpstr>
      <vt:lpstr>MAPK, DNA repair, and MYC predict rapid progression</vt:lpstr>
      <vt:lpstr>20/2/20 high-risk + high-risk genomics progress faster</vt:lpstr>
      <vt:lpstr>PowerPoint Presentation</vt:lpstr>
      <vt:lpstr>PowerPoint Presentation</vt:lpstr>
      <vt:lpstr>PowerPoint Presentation</vt:lpstr>
      <vt:lpstr>Our first attempts                     We need to get here</vt:lpstr>
      <vt:lpstr>Overview of treatment approach</vt:lpstr>
      <vt:lpstr>Ongoing clinical studies for SMM patients</vt:lpstr>
      <vt:lpstr>Precision intervention with elotuzumab in  smoldering myeloma</vt:lpstr>
      <vt:lpstr>Smoldering MM</vt:lpstr>
      <vt:lpstr>Ixazomib, lenalidomide, + dex for high-risk SMM </vt:lpstr>
      <vt:lpstr>Phase II trial of isatuximab in SMM patients</vt:lpstr>
      <vt:lpstr>PowerPoint Presentation</vt:lpstr>
      <vt:lpstr>PowerPoint Presentation</vt:lpstr>
      <vt:lpstr>Conclusions: The tipping point!</vt:lpstr>
      <vt:lpstr>Multiple-choice question 1</vt:lpstr>
      <vt:lpstr>Multiple-choice question 2</vt:lpstr>
      <vt:lpstr>COLLABORATORS</vt:lpstr>
      <vt:lpstr>Discussion</vt:lpstr>
      <vt:lpstr>Importance of Minimal Residual Disease and Genetic Testing in Multiple Myeloma</vt:lpstr>
      <vt:lpstr>Importance of Minimal Residual Disease and Genetic Testing in Multiple Myeloma </vt:lpstr>
      <vt:lpstr>PowerPoint Presentation</vt:lpstr>
      <vt:lpstr>Do you perform MRD and genetic testing in routine practi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ll you perform MRD and genetic testing in routine practice? </vt:lpstr>
      <vt:lpstr>Discussion</vt:lpstr>
      <vt:lpstr>Frontline Therapy for Newly Diagnosed Transplant-Eligible Multiple Myeloma: The Role of Transplantation</vt:lpstr>
      <vt:lpstr>Frontline Therapy for Newly Diagnosed Transplant-Eligible Multiple Myeloma: The Role of Transplantation</vt:lpstr>
      <vt:lpstr>Disclosures </vt:lpstr>
      <vt:lpstr>Is a patient with NDMM and transplant eligible potentially curable?</vt:lpstr>
      <vt:lpstr>What should the optimal treatment goals be for NDMM patients?</vt:lpstr>
      <vt:lpstr>MRD as predictor across MM patient subgroups</vt:lpstr>
      <vt:lpstr>Impact of PET-CT negativity on clinical outcomes </vt:lpstr>
      <vt:lpstr>MRD as predictor across MM patient subgroups</vt:lpstr>
      <vt:lpstr>Attrition rates by subsequent lines of therapy in patients with NDMM</vt:lpstr>
      <vt:lpstr>PowerPoint Presentation</vt:lpstr>
      <vt:lpstr>PowerPoint Presentation</vt:lpstr>
      <vt:lpstr>PowerPoint Presentation</vt:lpstr>
      <vt:lpstr>CASSIOPEIA: Landmark PFS analysis from post-induction – ≥CR + MRD negativity (MFC; 10–5) status by treatment group</vt:lpstr>
      <vt:lpstr>PowerPoint Presentation</vt:lpstr>
      <vt:lpstr>PowerPoint Presentation</vt:lpstr>
      <vt:lpstr>Integrated analysis of RVd vs VTd in transplant-eligible newly diagnosed MM patients</vt:lpstr>
      <vt:lpstr>≥VGPR AND MRD-negative rate post-induction and post-ASCT in GEM studies</vt:lpstr>
      <vt:lpstr>≥VGPR rate through induction and post-ASCT in GEM studies Secondary endpoint</vt:lpstr>
      <vt:lpstr>PowerPoint Presentation</vt:lpstr>
      <vt:lpstr>Safety</vt:lpstr>
      <vt:lpstr>What is the optimal number of induction cycles before ASCT?</vt:lpstr>
      <vt:lpstr>GEM-2012: RVd GEM (with R 25 mg × 21 days) × 6 cycles </vt:lpstr>
      <vt:lpstr>PowerPoint Presentation</vt:lpstr>
      <vt:lpstr>PowerPoint Presentation</vt:lpstr>
      <vt:lpstr>PowerPoint Presentation</vt:lpstr>
      <vt:lpstr>PowerPoint Presentation</vt:lpstr>
      <vt:lpstr>PowerPoint Presentation</vt:lpstr>
      <vt:lpstr>Carfilzomib-based induction/consolidation with or without ASCT followed by lenalidomide or carfilzomib-lenalidomide maintenance for high-risk patients</vt:lpstr>
      <vt:lpstr>What is the role of ASCT?</vt:lpstr>
      <vt:lpstr>MIDAS phase III clinical trial: French group</vt:lpstr>
      <vt:lpstr>PowerPoint Presentation</vt:lpstr>
      <vt:lpstr>GMMG-HD7 trial: Addition of isatuximab to lenalidomide, bortezomib and dexamethasone</vt:lpstr>
      <vt:lpstr>Response rates after induction therapy</vt:lpstr>
      <vt:lpstr>GMMG-HD7 trial: MRD negativity</vt:lpstr>
      <vt:lpstr>Updated analysis of GRIFFIN after 24 months of maintenance</vt:lpstr>
      <vt:lpstr>Updated analysis of GRIFFIN after 24 months of maintenance: Response rates</vt:lpstr>
      <vt:lpstr>GRIFFIN: PFS in the ITT population</vt:lpstr>
      <vt:lpstr>A subgroup analysis of GRIFFIN: sCR and MRD rates by subgroup </vt:lpstr>
      <vt:lpstr>PowerPoint Presentation</vt:lpstr>
      <vt:lpstr>GMMG-HD6: Phase III randomized trial of elotuzumab in combination with lenalidomide, bortezomib, dexamethasone and autologous transplantation for NDMM</vt:lpstr>
      <vt:lpstr>PowerPoint Presentation</vt:lpstr>
      <vt:lpstr>Discussion</vt:lpstr>
      <vt:lpstr>Panel Discussion: Regional challenges of multiple myeloma diagnosis and treatment</vt:lpstr>
      <vt:lpstr>Panel Discussion: Regional challenges of multiple myeloma diagnosis</vt:lpstr>
      <vt:lpstr>PowerPoint Presentation</vt:lpstr>
      <vt:lpstr>PowerPoint Presentation</vt:lpstr>
      <vt:lpstr>Panel Discussion: Regional challenges of multiple myeloma treatment </vt:lpstr>
      <vt:lpstr>Global Multiple Myeloma Academy  Regional Challenges of Multiple Myeloma Diagnosis and Treatment  18 March 2022 </vt:lpstr>
      <vt:lpstr>PowerPoint Presentation</vt:lpstr>
      <vt:lpstr>PowerPoint Presentation</vt:lpstr>
      <vt:lpstr>ESMO Guideline 2021: Recommendations for MM Patients Who Receive a Third or Subsequent Line of Therapy</vt:lpstr>
      <vt:lpstr>Many thanks for your attention!</vt:lpstr>
      <vt:lpstr>Break</vt:lpstr>
      <vt:lpstr>Optimal Use of Consolidation and Maintenance Therapy</vt:lpstr>
      <vt:lpstr>Optimal Use of Consolidation and Maintenance Therapy in Myeloma</vt:lpstr>
      <vt:lpstr>Disclosures</vt:lpstr>
      <vt:lpstr>Question. Do you give consolidation or move straight through to maintenance?</vt:lpstr>
      <vt:lpstr>Consolidation? </vt:lpstr>
      <vt:lpstr>Controversial: STAMINA</vt:lpstr>
      <vt:lpstr>However, Consolidation According to EU Standards </vt:lpstr>
      <vt:lpstr>MRD Negative Rate After Prolonged Treatment = Consolidation</vt:lpstr>
      <vt:lpstr>Single or Tandem ASCT ?</vt:lpstr>
      <vt:lpstr>PowerPoint Presentation</vt:lpstr>
      <vt:lpstr>Perspectives 2021–2022</vt:lpstr>
      <vt:lpstr>PowerPoint Presentation</vt:lpstr>
      <vt:lpstr>Remaining Questions on Consolidation</vt:lpstr>
      <vt:lpstr>Maintenance Lenalidomide </vt:lpstr>
      <vt:lpstr>Maintenance Lenalidomide in HR NDMM</vt:lpstr>
      <vt:lpstr>Maintenance Ixazomib? </vt:lpstr>
      <vt:lpstr>Maintenance Bortezomib in del(17p)</vt:lpstr>
      <vt:lpstr>PowerPoint Presentation</vt:lpstr>
      <vt:lpstr>PowerPoint Presentation</vt:lpstr>
      <vt:lpstr>PowerPoint Presentation</vt:lpstr>
      <vt:lpstr>Perspectives 2021–2022</vt:lpstr>
      <vt:lpstr>Remaining Questions on Maintenance</vt:lpstr>
      <vt:lpstr>PowerPoint Presentation</vt:lpstr>
      <vt:lpstr>PowerPoint Presentation</vt:lpstr>
      <vt:lpstr>PowerPoint Presentation</vt:lpstr>
      <vt:lpstr>Question. Do you give consolidation or move straight through to maintenance?</vt:lpstr>
      <vt:lpstr>Merci!</vt:lpstr>
      <vt:lpstr>Discussion</vt:lpstr>
      <vt:lpstr>Frontline Therapy for Newly Diagnosed Transplant-Ineligible Patients</vt:lpstr>
      <vt:lpstr>Keith Stewart, MBChB, MBA  Professor of Medicine  Director, Princess Margaret Cancer Centre Toronto</vt:lpstr>
      <vt:lpstr>Which of the following has not shown significant improvement in PFS?</vt:lpstr>
      <vt:lpstr>Treatment of Non–Transplant-Eligible Myeloma, Newly Diagnosed</vt:lpstr>
      <vt:lpstr>PowerPoint Presentation</vt:lpstr>
      <vt:lpstr>Study Design Rd vs Rd-R</vt:lpstr>
      <vt:lpstr>Rd vs Rd-R: PFS and OS</vt:lpstr>
      <vt:lpstr>Rd vs Rd-R: Event-Free Survival Median follow-up 25 months</vt:lpstr>
      <vt:lpstr>SWOG S0777: Study Design VRd vs Rd</vt:lpstr>
      <vt:lpstr>SWOG S0777: PFS and OS</vt:lpstr>
      <vt:lpstr>Modified RVD (“RVD-lite”) for Elderly/Frail</vt:lpstr>
      <vt:lpstr>PowerPoint Presentation</vt:lpstr>
      <vt:lpstr>PowerPoint Presentation</vt:lpstr>
      <vt:lpstr>PowerPoint Presentation</vt:lpstr>
      <vt:lpstr>The Phase 3 TOURMALINE-MM2 Trial: Oral Ixazomib, Lenalidomide, and Dexamethasone vs Placebo-Rd for Transplant-Ineligible Patients with Newly Diagnosed Multiple Myeloma</vt:lpstr>
      <vt:lpstr>Ixazomib-Rd vs Placebo-Rd: PFS</vt:lpstr>
      <vt:lpstr>Longer TTP With Ixazomib-Rd vs Placebo-Rd</vt:lpstr>
      <vt:lpstr>Median OS Not Reached in Either Arm</vt:lpstr>
      <vt:lpstr>ALCYONE: Study Design</vt:lpstr>
      <vt:lpstr>ALCYONE</vt:lpstr>
      <vt:lpstr>ALCYONE: MRD Status (10-5)</vt:lpstr>
      <vt:lpstr>PowerPoint Presentation</vt:lpstr>
      <vt:lpstr>PowerPoint Presentation</vt:lpstr>
      <vt:lpstr>PowerPoint Presentation</vt:lpstr>
      <vt:lpstr>Study Design and Objectives</vt:lpstr>
      <vt:lpstr>Outcome (data cutoff 15 Oct 2021)</vt:lpstr>
      <vt:lpstr>CARTITUDE-5 (MMY3004, NCT04923893) Phase III Study in NDMM Not Intended for Transplant </vt:lpstr>
      <vt:lpstr>Clinical Take-Homes: Induction Therapy</vt:lpstr>
      <vt:lpstr>When using Rd as induction in an elderly patient, which of the following statements is true?</vt:lpstr>
      <vt:lpstr>Discussion</vt:lpstr>
      <vt:lpstr>Debate: Smoldering Myeloma: To Treat or Not to Treat?  </vt:lpstr>
      <vt:lpstr>Pre-Debate Question for the Audience</vt:lpstr>
      <vt:lpstr>Debate: Smoldering Myeloma: To Treat or Not to Treat?  </vt:lpstr>
      <vt:lpstr>Progression risk incorporating FISH</vt:lpstr>
      <vt:lpstr>Would You Treat Stage I–II Breast Cancer or Wait for Metastasis?</vt:lpstr>
      <vt:lpstr>PowerPoint Presentation</vt:lpstr>
      <vt:lpstr>Our First Attempts                               We Need to Get Here</vt:lpstr>
      <vt:lpstr>To Treat or Not to Treat – the Tipping Point!</vt:lpstr>
      <vt:lpstr>Debate: Smoldering Myeloma: To Treat or Not to Treat?  </vt:lpstr>
      <vt:lpstr>Smoldering Myeloma:  To Treat or Not to Treat?</vt:lpstr>
      <vt:lpstr>So What if We Treat Patients With SMM? </vt:lpstr>
      <vt:lpstr>What If We Treat Patients With Smoldering MM?   </vt:lpstr>
      <vt:lpstr>QUIREDEX Study: High-Risk SMM – Len-Dex vs Observation</vt:lpstr>
      <vt:lpstr>E3A06 Study: Randomized Trial of Lenalidomide vs Observation in Smoldering Multiple Myeloma</vt:lpstr>
      <vt:lpstr>Do We Use All the Available Tools to Avoid Overtreatment or Undertreatment in SMM ?</vt:lpstr>
      <vt:lpstr>Smoldering Myeloma: To Treat or Not to Treat?</vt:lpstr>
      <vt:lpstr>Post-Debate Question for the Audience</vt:lpstr>
      <vt:lpstr>Debate: Is Myeloma Curable or Not?</vt:lpstr>
      <vt:lpstr>Pre-Debate Question for the Audience</vt:lpstr>
      <vt:lpstr>Debate: Is Myeloma Curable or Not?</vt:lpstr>
      <vt:lpstr>Rafael Fonseca, MD Chief Innovation Officer  Mayo Clinic in Arizona Is Myeloma Curable? YES!</vt:lpstr>
      <vt:lpstr>PowerPoint Presentation</vt:lpstr>
      <vt:lpstr>PowerPoint Presentation</vt:lpstr>
      <vt:lpstr>Three Meta-analyses Validate MRD for Prognosis </vt:lpstr>
      <vt:lpstr>FORTE Sustained MRD Negativity</vt:lpstr>
      <vt:lpstr>Drive to MRD Negative</vt:lpstr>
      <vt:lpstr>PowerPoint Presentation</vt:lpstr>
      <vt:lpstr>Debate: Is Myeloma Curable or Not?</vt:lpstr>
      <vt:lpstr>Is Myeloma Curable or Not?  NO</vt:lpstr>
      <vt:lpstr>Disclosures</vt:lpstr>
      <vt:lpstr>Definition of Cure</vt:lpstr>
      <vt:lpstr>Overall Survival Improves, but No Plateau and No Cure Yet</vt:lpstr>
      <vt:lpstr>PowerPoint Presentation</vt:lpstr>
      <vt:lpstr>PowerPoint Presentation</vt:lpstr>
      <vt:lpstr>Objective Is Sustained MRD</vt:lpstr>
      <vt:lpstr>CARTITUDE-1 Sustained MRD and Survival</vt:lpstr>
      <vt:lpstr>Cure NO; Soon Maybe With At Least 20 Years Follow-up</vt:lpstr>
      <vt:lpstr>PowerPoint Presentation</vt:lpstr>
      <vt:lpstr>Merci!</vt:lpstr>
      <vt:lpstr>Post-Debate Question for the Audience</vt:lpstr>
      <vt:lpstr>Discussion</vt:lpstr>
      <vt:lpstr>Session Close –  Audience Response Questions</vt:lpstr>
      <vt:lpstr> Question 1</vt:lpstr>
      <vt:lpstr> Question 2</vt:lpstr>
      <vt:lpstr>Thank You!</vt:lpstr>
      <vt:lpstr>Proposed Agenda Day 2 – Europe 17.00 – 20.00 (CET)/10.00 – 13.00 (MST)</vt:lpstr>
      <vt:lpstr>Global Multiple Myeloma Academy​ Emerging and Practical Concepts in Multiple Myelom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leria Rozhanets</dc:creator>
  <cp:lastModifiedBy>Istvan Borbiro, PhD</cp:lastModifiedBy>
  <cp:revision>2</cp:revision>
  <dcterms:created xsi:type="dcterms:W3CDTF">2020-03-23T22:05:17Z</dcterms:created>
  <dcterms:modified xsi:type="dcterms:W3CDTF">2022-03-30T06:4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39435977012747869F121CBCB30E4D</vt:lpwstr>
  </property>
  <property fmtid="{D5CDD505-2E9C-101B-9397-08002B2CF9AE}" pid="3" name="MSIP_Label_9425994c-7497-4569-93dd-1b50bd1b8c00_Enabled">
    <vt:lpwstr>true</vt:lpwstr>
  </property>
  <property fmtid="{D5CDD505-2E9C-101B-9397-08002B2CF9AE}" pid="4" name="MSIP_Label_9425994c-7497-4569-93dd-1b50bd1b8c00_SetDate">
    <vt:lpwstr>2022-03-22T09:52:00Z</vt:lpwstr>
  </property>
  <property fmtid="{D5CDD505-2E9C-101B-9397-08002B2CF9AE}" pid="5" name="MSIP_Label_9425994c-7497-4569-93dd-1b50bd1b8c00_Method">
    <vt:lpwstr>Standard</vt:lpwstr>
  </property>
  <property fmtid="{D5CDD505-2E9C-101B-9397-08002B2CF9AE}" pid="6" name="MSIP_Label_9425994c-7497-4569-93dd-1b50bd1b8c00_Name">
    <vt:lpwstr>Sensitive Employee Only</vt:lpwstr>
  </property>
  <property fmtid="{D5CDD505-2E9C-101B-9397-08002B2CF9AE}" pid="7" name="MSIP_Label_9425994c-7497-4569-93dd-1b50bd1b8c00_SiteId">
    <vt:lpwstr>5f514d96-54d2-47ee-9777-a3fe7af12b7e</vt:lpwstr>
  </property>
  <property fmtid="{D5CDD505-2E9C-101B-9397-08002B2CF9AE}" pid="8" name="MSIP_Label_9425994c-7497-4569-93dd-1b50bd1b8c00_ActionId">
    <vt:lpwstr>5d1d8b81-2389-4bd8-9e1c-cfb5ee82d60c</vt:lpwstr>
  </property>
  <property fmtid="{D5CDD505-2E9C-101B-9397-08002B2CF9AE}" pid="9" name="MSIP_Label_9425994c-7497-4569-93dd-1b50bd1b8c00_ContentBits">
    <vt:lpwstr>0</vt:lpwstr>
  </property>
</Properties>
</file>